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40.xml" ContentType="application/vnd.openxmlformats-officedocument.presentationml.tags+xml"/>
  <Override PartName="/ppt/tags/tag508.xml" ContentType="application/vnd.openxmlformats-officedocument.presentationml.tags+xml"/>
  <Override PartName="/ppt/tags/tag507.xml" ContentType="application/vnd.openxmlformats-officedocument.presentationml.tags+xml"/>
  <Override PartName="/ppt/tags/tag506.xml" ContentType="application/vnd.openxmlformats-officedocument.presentationml.tags+xml"/>
  <Override PartName="/ppt/tags/tag500.xml" ContentType="application/vnd.openxmlformats-officedocument.presentationml.tags+xml"/>
  <Override PartName="/ppt/tags/tag504.xml" ContentType="application/vnd.openxmlformats-officedocument.presentationml.tags+xml"/>
  <Override PartName="/ppt/tags/tag503.xml" ContentType="application/vnd.openxmlformats-officedocument.presentationml.tags+xml"/>
  <Override PartName="/ppt/tags/tag502.xml" ContentType="application/vnd.openxmlformats-officedocument.presentationml.tags+xml"/>
  <Override PartName="/ppt/tags/tag501.xml" ContentType="application/vnd.openxmlformats-officedocument.presentationml.tags+xml"/>
  <Override PartName="/ppt/tags/tag505.xml" ContentType="application/vnd.openxmlformats-officedocument.presentationml.tags+xml"/>
  <Override PartName="/ppt/tags/tag499.xml" ContentType="application/vnd.openxmlformats-officedocument.presentationml.tags+xml"/>
  <Override PartName="/ppt/tags/tag510.xml" ContentType="application/vnd.openxmlformats-officedocument.presentationml.tags+xml"/>
  <Override PartName="/ppt/tags/tag518.xml" ContentType="application/vnd.openxmlformats-officedocument.presentationml.tags+xml"/>
  <Override PartName="/ppt/tags/tag517.xml" ContentType="application/vnd.openxmlformats-officedocument.presentationml.tags+xml"/>
  <Override PartName="/ppt/tags/tag516.xml" ContentType="application/vnd.openxmlformats-officedocument.presentationml.tags+xml"/>
  <Override PartName="/ppt/tags/tag515.xml" ContentType="application/vnd.openxmlformats-officedocument.presentationml.tags+xml"/>
  <Override PartName="/ppt/tags/tag514.xml" ContentType="application/vnd.openxmlformats-officedocument.presentationml.tags+xml"/>
  <Override PartName="/ppt/tags/tag513.xml" ContentType="application/vnd.openxmlformats-officedocument.presentationml.tags+xml"/>
  <Override PartName="/ppt/tags/tag512.xml" ContentType="application/vnd.openxmlformats-officedocument.presentationml.tags+xml"/>
  <Override PartName="/ppt/tags/tag511.xml" ContentType="application/vnd.openxmlformats-officedocument.presentationml.tags+xml"/>
  <Override PartName="/ppt/tags/tag509.xml" ContentType="application/vnd.openxmlformats-officedocument.presentationml.tags+xml"/>
  <Override PartName="/ppt/tags/tag491.xml" ContentType="application/vnd.openxmlformats-officedocument.presentationml.tags+xml"/>
  <Override PartName="/ppt/tags/tag497.xml" ContentType="application/vnd.openxmlformats-officedocument.presentationml.tags+xml"/>
  <Override PartName="/ppt/tags/tag485.xml" ContentType="application/vnd.openxmlformats-officedocument.presentationml.tags+xml"/>
  <Override PartName="/ppt/tags/tag484.xml" ContentType="application/vnd.openxmlformats-officedocument.presentationml.tags+xml"/>
  <Override PartName="/ppt/tags/tag483.xml" ContentType="application/vnd.openxmlformats-officedocument.presentationml.tags+xml"/>
  <Override PartName="/ppt/tags/tag482.xml" ContentType="application/vnd.openxmlformats-officedocument.presentationml.tags+xml"/>
  <Override PartName="/ppt/tags/tag481.xml" ContentType="application/vnd.openxmlformats-officedocument.presentationml.tags+xml"/>
  <Override PartName="/ppt/tags/tag480.xml" ContentType="application/vnd.openxmlformats-officedocument.presentationml.tags+xml"/>
  <Override PartName="/ppt/tags/tag479.xml" ContentType="application/vnd.openxmlformats-officedocument.presentationml.tags+xml"/>
  <Override PartName="/ppt/tags/tag478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96.xml" ContentType="application/vnd.openxmlformats-officedocument.presentationml.tags+xml"/>
  <Override PartName="/ppt/tags/tag495.xml" ContentType="application/vnd.openxmlformats-officedocument.presentationml.tags+xml"/>
  <Override PartName="/ppt/tags/tag494.xml" ContentType="application/vnd.openxmlformats-officedocument.presentationml.tags+xml"/>
  <Override PartName="/ppt/tags/tag493.xml" ContentType="application/vnd.openxmlformats-officedocument.presentationml.tags+xml"/>
  <Override PartName="/ppt/tags/tag492.xml" ContentType="application/vnd.openxmlformats-officedocument.presentationml.tags+xml"/>
  <Override PartName="/ppt/tags/tag519.xml" ContentType="application/vnd.openxmlformats-officedocument.presentationml.tags+xml"/>
  <Override PartName="/ppt/tags/tag490.xml" ContentType="application/vnd.openxmlformats-officedocument.presentationml.tags+xml"/>
  <Override PartName="/ppt/tags/tag489.xml" ContentType="application/vnd.openxmlformats-officedocument.presentationml.tags+xml"/>
  <Override PartName="/ppt/tags/tag498.xml" ContentType="application/vnd.openxmlformats-officedocument.presentationml.tags+xml"/>
  <Override PartName="/ppt/tags/tag526.xml" ContentType="application/vnd.openxmlformats-officedocument.presentationml.tags+xml"/>
  <Override PartName="/ppt/tags/tag521.xml" ContentType="application/vnd.openxmlformats-officedocument.presentationml.tags+xml"/>
  <Override PartName="/ppt/tags/tag550.xml" ContentType="application/vnd.openxmlformats-officedocument.presentationml.tags+xml"/>
  <Override PartName="/ppt/tags/tag549.xml" ContentType="application/vnd.openxmlformats-officedocument.presentationml.tags+xml"/>
  <Override PartName="/ppt/tags/tag548.xml" ContentType="application/vnd.openxmlformats-officedocument.presentationml.tags+xml"/>
  <Override PartName="/ppt/tags/tag547.xml" ContentType="application/vnd.openxmlformats-officedocument.presentationml.tags+xml"/>
  <Override PartName="/ppt/tags/tag546.xml" ContentType="application/vnd.openxmlformats-officedocument.presentationml.tags+xml"/>
  <Override PartName="/ppt/tags/tag545.xml" ContentType="application/vnd.openxmlformats-officedocument.presentationml.tags+xml"/>
  <Override PartName="/ppt/tags/tag544.xml" ContentType="application/vnd.openxmlformats-officedocument.presentationml.tags+xml"/>
  <Override PartName="/ppt/tags/tag543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61.xml" ContentType="application/vnd.openxmlformats-officedocument.presentationml.tags+xml"/>
  <Override PartName="/ppt/tags/tag560.xml" ContentType="application/vnd.openxmlformats-officedocument.presentationml.tags+xml"/>
  <Override PartName="/ppt/tags/tag559.xml" ContentType="application/vnd.openxmlformats-officedocument.presentationml.tags+xml"/>
  <Override PartName="/ppt/tags/tag558.xml" ContentType="application/vnd.openxmlformats-officedocument.presentationml.tags+xml"/>
  <Override PartName="/ppt/tags/tag557.xml" ContentType="application/vnd.openxmlformats-officedocument.presentationml.tags+xml"/>
  <Override PartName="/ppt/tags/tag556.xml" ContentType="application/vnd.openxmlformats-officedocument.presentationml.tags+xml"/>
  <Override PartName="/ppt/tags/tag555.xml" ContentType="application/vnd.openxmlformats-officedocument.presentationml.tags+xml"/>
  <Override PartName="/ppt/tags/tag554.xml" ContentType="application/vnd.openxmlformats-officedocument.presentationml.tags+xml"/>
  <Override PartName="/ppt/tags/tag542.xml" ContentType="application/vnd.openxmlformats-officedocument.presentationml.tags+xml"/>
  <Override PartName="/ppt/tags/tag541.xml" ContentType="application/vnd.openxmlformats-officedocument.presentationml.tags+xml"/>
  <Override PartName="/ppt/tags/tag540.xml" ContentType="application/vnd.openxmlformats-officedocument.presentationml.tags+xml"/>
  <Override PartName="/ppt/tags/tag529.xml" ContentType="application/vnd.openxmlformats-officedocument.presentationml.tags+xml"/>
  <Override PartName="/ppt/tags/tag528.xml" ContentType="application/vnd.openxmlformats-officedocument.presentationml.tags+xml"/>
  <Override PartName="/ppt/tags/tag527.xml" ContentType="application/vnd.openxmlformats-officedocument.presentationml.tags+xml"/>
  <Override PartName="/ppt/tags/tag477.xml" ContentType="application/vnd.openxmlformats-officedocument.presentationml.tags+xml"/>
  <Override PartName="/ppt/tags/tag525.xml" ContentType="application/vnd.openxmlformats-officedocument.presentationml.tags+xml"/>
  <Override PartName="/ppt/tags/tag524.xml" ContentType="application/vnd.openxmlformats-officedocument.presentationml.tags+xml"/>
  <Override PartName="/ppt/tags/tag523.xml" ContentType="application/vnd.openxmlformats-officedocument.presentationml.tags+xml"/>
  <Override PartName="/ppt/tags/tag522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9.xml" ContentType="application/vnd.openxmlformats-officedocument.presentationml.tags+xml"/>
  <Override PartName="/ppt/tags/tag538.xml" ContentType="application/vnd.openxmlformats-officedocument.presentationml.tags+xml"/>
  <Override PartName="/ppt/tags/tag537.xml" ContentType="application/vnd.openxmlformats-officedocument.presentationml.tags+xml"/>
  <Override PartName="/ppt/tags/tag536.xml" ContentType="application/vnd.openxmlformats-officedocument.presentationml.tags+xml"/>
  <Override PartName="/ppt/tags/tag535.xml" ContentType="application/vnd.openxmlformats-officedocument.presentationml.tags+xml"/>
  <Override PartName="/ppt/tags/tag534.xml" ContentType="application/vnd.openxmlformats-officedocument.presentationml.tags+xml"/>
  <Override PartName="/ppt/tags/tag533.xml" ContentType="application/vnd.openxmlformats-officedocument.presentationml.tags+xml"/>
  <Override PartName="/ppt/tags/tag520.xml" ContentType="application/vnd.openxmlformats-officedocument.presentationml.tags+xml"/>
  <Override PartName="/ppt/tags/tag470.xml" ContentType="application/vnd.openxmlformats-officedocument.presentationml.tags+xml"/>
  <Override PartName="/ppt/tags/tag475.xml" ContentType="application/vnd.openxmlformats-officedocument.presentationml.tags+xml"/>
  <Override PartName="/ppt/tags/tag419.xml" ContentType="application/vnd.openxmlformats-officedocument.presentationml.tags+xml"/>
  <Override PartName="/ppt/tags/tag418.xml" ContentType="application/vnd.openxmlformats-officedocument.presentationml.tags+xml"/>
  <Override PartName="/ppt/tags/tag417.xml" ContentType="application/vnd.openxmlformats-officedocument.presentationml.tags+xml"/>
  <Override PartName="/ppt/tags/tag416.xml" ContentType="application/vnd.openxmlformats-officedocument.presentationml.tags+xml"/>
  <Override PartName="/ppt/tags/tag415.xml" ContentType="application/vnd.openxmlformats-officedocument.presentationml.tags+xml"/>
  <Override PartName="/ppt/tags/tag414.xml" ContentType="application/vnd.openxmlformats-officedocument.presentationml.tags+xml"/>
  <Override PartName="/ppt/tags/tag413.xml" ContentType="application/vnd.openxmlformats-officedocument.presentationml.tags+xml"/>
  <Override PartName="/ppt/tags/tag412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30.xml" ContentType="application/vnd.openxmlformats-officedocument.presentationml.tags+xml"/>
  <Override PartName="/ppt/tags/tag429.xml" ContentType="application/vnd.openxmlformats-officedocument.presentationml.tags+xml"/>
  <Override PartName="/ppt/tags/tag428.xml" ContentType="application/vnd.openxmlformats-officedocument.presentationml.tags+xml"/>
  <Override PartName="/ppt/tags/tag427.xml" ContentType="application/vnd.openxmlformats-officedocument.presentationml.tags+xml"/>
  <Override PartName="/ppt/tags/tag426.xml" ContentType="application/vnd.openxmlformats-officedocument.presentationml.tags+xml"/>
  <Override PartName="/ppt/tags/tag425.xml" ContentType="application/vnd.openxmlformats-officedocument.presentationml.tags+xml"/>
  <Override PartName="/ppt/tags/tag424.xml" ContentType="application/vnd.openxmlformats-officedocument.presentationml.tags+xml"/>
  <Override PartName="/ppt/tags/tag423.xml" ContentType="application/vnd.openxmlformats-officedocument.presentationml.tags+xml"/>
  <Override PartName="/ppt/tags/tag411.xml" ContentType="application/vnd.openxmlformats-officedocument.presentationml.tags+xml"/>
  <Override PartName="/ppt/tags/tag410.xml" ContentType="application/vnd.openxmlformats-officedocument.presentationml.tags+xml"/>
  <Override PartName="/ppt/tags/tag409.xml" ContentType="application/vnd.openxmlformats-officedocument.presentationml.tags+xml"/>
  <Override PartName="/ppt/tags/tag397.xml" ContentType="application/vnd.openxmlformats-officedocument.presentationml.tags+xml"/>
  <Override PartName="/ppt/tags/tag396.xml" ContentType="application/vnd.openxmlformats-officedocument.presentationml.tags+xml"/>
  <Override PartName="/ppt/tags/tag395.xml" ContentType="application/vnd.openxmlformats-officedocument.presentationml.tags+xml"/>
  <Override PartName="/ppt/tags/tag394.xml" ContentType="application/vnd.openxmlformats-officedocument.presentationml.tags+xml"/>
  <Override PartName="/ppt/tags/tag393.xml" ContentType="application/vnd.openxmlformats-officedocument.presentationml.tags+xml"/>
  <Override PartName="/ppt/tags/tag392.xml" ContentType="application/vnd.openxmlformats-officedocument.presentationml.tags+xml"/>
  <Override PartName="/ppt/tags/tag391.xml" ContentType="application/vnd.openxmlformats-officedocument.presentationml.tags+xml"/>
  <Override PartName="/ppt/tags/tag390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8.xml" ContentType="application/vnd.openxmlformats-officedocument.presentationml.tags+xml"/>
  <Override PartName="/ppt/tags/tag407.xml" ContentType="application/vnd.openxmlformats-officedocument.presentationml.tags+xml"/>
  <Override PartName="/ppt/tags/tag406.xml" ContentType="application/vnd.openxmlformats-officedocument.presentationml.tags+xml"/>
  <Override PartName="/ppt/tags/tag405.xml" ContentType="application/vnd.openxmlformats-officedocument.presentationml.tags+xml"/>
  <Override PartName="/ppt/tags/tag404.xml" ContentType="application/vnd.openxmlformats-officedocument.presentationml.tags+xml"/>
  <Override PartName="/ppt/tags/tag403.xml" ContentType="application/vnd.openxmlformats-officedocument.presentationml.tags+xml"/>
  <Override PartName="/ppt/tags/tag402.xml" ContentType="application/vnd.openxmlformats-officedocument.presentationml.tags+xml"/>
  <Override PartName="/ppt/tags/tag401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63.xml" ContentType="application/vnd.openxmlformats-officedocument.presentationml.tags+xml"/>
  <Override PartName="/ppt/tags/tag462.xml" ContentType="application/vnd.openxmlformats-officedocument.presentationml.tags+xml"/>
  <Override PartName="/ppt/tags/tag461.xml" ContentType="application/vnd.openxmlformats-officedocument.presentationml.tags+xml"/>
  <Override PartName="/ppt/tags/tag460.xml" ContentType="application/vnd.openxmlformats-officedocument.presentationml.tags+xml"/>
  <Override PartName="/ppt/tags/tag459.xml" ContentType="application/vnd.openxmlformats-officedocument.presentationml.tags+xml"/>
  <Override PartName="/ppt/tags/tag458.xml" ContentType="application/vnd.openxmlformats-officedocument.presentationml.tags+xml"/>
  <Override PartName="/ppt/tags/tag457.xml" ContentType="application/vnd.openxmlformats-officedocument.presentationml.tags+xml"/>
  <Override PartName="/ppt/tags/tag456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74.xml" ContentType="application/vnd.openxmlformats-officedocument.presentationml.tags+xml"/>
  <Override PartName="/ppt/tags/tag473.xml" ContentType="application/vnd.openxmlformats-officedocument.presentationml.tags+xml"/>
  <Override PartName="/ppt/tags/tag472.xml" ContentType="application/vnd.openxmlformats-officedocument.presentationml.tags+xml"/>
  <Override PartName="/ppt/tags/tag471.xml" ContentType="application/vnd.openxmlformats-officedocument.presentationml.tags+xml"/>
  <Override PartName="/ppt/tags/tag562.xml" ContentType="application/vnd.openxmlformats-officedocument.presentationml.tags+xml"/>
  <Override PartName="/ppt/tags/tag469.xml" ContentType="application/vnd.openxmlformats-officedocument.presentationml.tags+xml"/>
  <Override PartName="/ppt/tags/tag468.xml" ContentType="application/vnd.openxmlformats-officedocument.presentationml.tags+xml"/>
  <Override PartName="/ppt/tags/tag467.xml" ContentType="application/vnd.openxmlformats-officedocument.presentationml.tags+xml"/>
  <Override PartName="/ppt/tags/tag455.xml" ContentType="application/vnd.openxmlformats-officedocument.presentationml.tags+xml"/>
  <Override PartName="/ppt/tags/tag454.xml" ContentType="application/vnd.openxmlformats-officedocument.presentationml.tags+xml"/>
  <Override PartName="/ppt/tags/tag453.xml" ContentType="application/vnd.openxmlformats-officedocument.presentationml.tags+xml"/>
  <Override PartName="/ppt/tags/tag441.xml" ContentType="application/vnd.openxmlformats-officedocument.presentationml.tags+xml"/>
  <Override PartName="/ppt/tags/tag440.xml" ContentType="application/vnd.openxmlformats-officedocument.presentationml.tags+xml"/>
  <Override PartName="/ppt/tags/tag439.xml" ContentType="application/vnd.openxmlformats-officedocument.presentationml.tags+xml"/>
  <Override PartName="/ppt/tags/tag438.xml" ContentType="application/vnd.openxmlformats-officedocument.presentationml.tags+xml"/>
  <Override PartName="/ppt/tags/tag437.xml" ContentType="application/vnd.openxmlformats-officedocument.presentationml.tags+xml"/>
  <Override PartName="/ppt/tags/tag436.xml" ContentType="application/vnd.openxmlformats-officedocument.presentationml.tags+xml"/>
  <Override PartName="/ppt/tags/tag435.xml" ContentType="application/vnd.openxmlformats-officedocument.presentationml.tags+xml"/>
  <Override PartName="/ppt/tags/tag434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52.xml" ContentType="application/vnd.openxmlformats-officedocument.presentationml.tags+xml"/>
  <Override PartName="/ppt/tags/tag451.xml" ContentType="application/vnd.openxmlformats-officedocument.presentationml.tags+xml"/>
  <Override PartName="/ppt/tags/tag450.xml" ContentType="application/vnd.openxmlformats-officedocument.presentationml.tags+xml"/>
  <Override PartName="/ppt/tags/tag449.xml" ContentType="application/vnd.openxmlformats-officedocument.presentationml.tags+xml"/>
  <Override PartName="/ppt/tags/tag448.xml" ContentType="application/vnd.openxmlformats-officedocument.presentationml.tags+xml"/>
  <Override PartName="/ppt/tags/tag447.xml" ContentType="application/vnd.openxmlformats-officedocument.presentationml.tags+xml"/>
  <Override PartName="/ppt/tags/tag446.xml" ContentType="application/vnd.openxmlformats-officedocument.presentationml.tags+xml"/>
  <Override PartName="/ppt/tags/tag445.xml" ContentType="application/vnd.openxmlformats-officedocument.presentationml.tags+xml"/>
  <Override PartName="/ppt/tags/tag476.xml" ContentType="application/vnd.openxmlformats-officedocument.presentationml.tags+xml"/>
  <Override PartName="/ppt/tags/tag570.xml" ContentType="application/vnd.openxmlformats-officedocument.presentationml.tags+xml"/>
  <Override PartName="/ppt/tags/tag564.xml" ContentType="application/vnd.openxmlformats-officedocument.presentationml.tags+xml"/>
  <Override PartName="/ppt/tags/tag682.xml" ContentType="application/vnd.openxmlformats-officedocument.presentationml.tags+xml"/>
  <Override PartName="/ppt/tags/tag681.xml" ContentType="application/vnd.openxmlformats-officedocument.presentationml.tags+xml"/>
  <Override PartName="/ppt/tags/tag680.xml" ContentType="application/vnd.openxmlformats-officedocument.presentationml.tags+xml"/>
  <Override PartName="/ppt/tags/tag679.xml" ContentType="application/vnd.openxmlformats-officedocument.presentationml.tags+xml"/>
  <Override PartName="/ppt/tags/tag678.xml" ContentType="application/vnd.openxmlformats-officedocument.presentationml.tags+xml"/>
  <Override PartName="/ppt/tags/tag677.xml" ContentType="application/vnd.openxmlformats-officedocument.presentationml.tags+xml"/>
  <Override PartName="/ppt/tags/tag676.xml" ContentType="application/vnd.openxmlformats-officedocument.presentationml.tags+xml"/>
  <Override PartName="/ppt/tags/tag675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93.xml" ContentType="application/vnd.openxmlformats-officedocument.presentationml.tags+xml"/>
  <Override PartName="/ppt/tags/tag692.xml" ContentType="application/vnd.openxmlformats-officedocument.presentationml.tags+xml"/>
  <Override PartName="/ppt/tags/tag691.xml" ContentType="application/vnd.openxmlformats-officedocument.presentationml.tags+xml"/>
  <Override PartName="/ppt/tags/tag690.xml" ContentType="application/vnd.openxmlformats-officedocument.presentationml.tags+xml"/>
  <Override PartName="/ppt/tags/tag689.xml" ContentType="application/vnd.openxmlformats-officedocument.presentationml.tags+xml"/>
  <Override PartName="/ppt/tags/tag688.xml" ContentType="application/vnd.openxmlformats-officedocument.presentationml.tags+xml"/>
  <Override PartName="/ppt/tags/tag687.xml" ContentType="application/vnd.openxmlformats-officedocument.presentationml.tags+xml"/>
  <Override PartName="/ppt/tags/tag686.xml" ContentType="application/vnd.openxmlformats-officedocument.presentationml.tags+xml"/>
  <Override PartName="/ppt/tags/tag674.xml" ContentType="application/vnd.openxmlformats-officedocument.presentationml.tags+xml"/>
  <Override PartName="/ppt/tags/tag673.xml" ContentType="application/vnd.openxmlformats-officedocument.presentationml.tags+xml"/>
  <Override PartName="/ppt/tags/tag672.xml" ContentType="application/vnd.openxmlformats-officedocument.presentationml.tags+xml"/>
  <Override PartName="/ppt/tags/tag660.xml" ContentType="application/vnd.openxmlformats-officedocument.presentationml.tags+xml"/>
  <Override PartName="/ppt/tags/tag659.xml" ContentType="application/vnd.openxmlformats-officedocument.presentationml.tags+xml"/>
  <Override PartName="/ppt/tags/tag658.xml" ContentType="application/vnd.openxmlformats-officedocument.presentationml.tags+xml"/>
  <Override PartName="/ppt/tags/tag657.xml" ContentType="application/vnd.openxmlformats-officedocument.presentationml.tags+xml"/>
  <Override PartName="/ppt/tags/tag656.xml" ContentType="application/vnd.openxmlformats-officedocument.presentationml.tags+xml"/>
  <Override PartName="/ppt/tags/tag655.xml" ContentType="application/vnd.openxmlformats-officedocument.presentationml.tags+xml"/>
  <Override PartName="/ppt/tags/tag654.xml" ContentType="application/vnd.openxmlformats-officedocument.presentationml.tags+xml"/>
  <Override PartName="/ppt/tags/tag653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71.xml" ContentType="application/vnd.openxmlformats-officedocument.presentationml.tags+xml"/>
  <Override PartName="/ppt/tags/tag670.xml" ContentType="application/vnd.openxmlformats-officedocument.presentationml.tags+xml"/>
  <Override PartName="/ppt/tags/tag669.xml" ContentType="application/vnd.openxmlformats-officedocument.presentationml.tags+xml"/>
  <Override PartName="/ppt/tags/tag668.xml" ContentType="application/vnd.openxmlformats-officedocument.presentationml.tags+xml"/>
  <Override PartName="/ppt/tags/tag667.xml" ContentType="application/vnd.openxmlformats-officedocument.presentationml.tags+xml"/>
  <Override PartName="/ppt/tags/tag666.xml" ContentType="application/vnd.openxmlformats-officedocument.presentationml.tags+xml"/>
  <Override PartName="/ppt/tags/tag665.xml" ContentType="application/vnd.openxmlformats-officedocument.presentationml.tags+xml"/>
  <Override PartName="/ppt/tags/tag664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docProps/core.xml" ContentType="application/vnd.openxmlformats-package.core-propertie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app.xml" ContentType="application/vnd.openxmlformats-officedocument.extended-propertie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704.xml" ContentType="application/vnd.openxmlformats-officedocument.presentationml.tags+xml"/>
  <Override PartName="/ppt/tags/tag703.xml" ContentType="application/vnd.openxmlformats-officedocument.presentationml.tags+xml"/>
  <Override PartName="/ppt/tags/tag702.xml" ContentType="application/vnd.openxmlformats-officedocument.presentationml.tags+xml"/>
  <Override PartName="/ppt/tags/tag701.xml" ContentType="application/vnd.openxmlformats-officedocument.presentationml.tags+xml"/>
  <Override PartName="/ppt/tags/tag700.xml" ContentType="application/vnd.openxmlformats-officedocument.presentationml.tags+xml"/>
  <Override PartName="/ppt/tags/tag699.xml" ContentType="application/vnd.openxmlformats-officedocument.presentationml.tags+xml"/>
  <Override PartName="/ppt/tags/tag698.xml" ContentType="application/vnd.openxmlformats-officedocument.presentationml.tags+xml"/>
  <Override PartName="/ppt/tags/tag697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708.xml" ContentType="application/vnd.openxmlformats-officedocument.presentationml.tags+xml"/>
  <Override PartName="/ppt/tags/tag652.xml" ContentType="application/vnd.openxmlformats-officedocument.presentationml.tags+xml"/>
  <Override PartName="/ppt/tags/tag651.xml" ContentType="application/vnd.openxmlformats-officedocument.presentationml.tags+xml"/>
  <Override PartName="/ppt/tags/tag650.xml" ContentType="application/vnd.openxmlformats-officedocument.presentationml.tags+xml"/>
  <Override PartName="/ppt/tags/tag595.xml" ContentType="application/vnd.openxmlformats-officedocument.presentationml.tags+xml"/>
  <Override PartName="/ppt/tags/tag594.xml" ContentType="application/vnd.openxmlformats-officedocument.presentationml.tags+xml"/>
  <Override PartName="/ppt/tags/tag593.xml" ContentType="application/vnd.openxmlformats-officedocument.presentationml.tags+xml"/>
  <Override PartName="/ppt/tags/tag592.xml" ContentType="application/vnd.openxmlformats-officedocument.presentationml.tags+xml"/>
  <Override PartName="/ppt/tags/tag591.xml" ContentType="application/vnd.openxmlformats-officedocument.presentationml.tags+xml"/>
  <Override PartName="/ppt/tags/tag590.xml" ContentType="application/vnd.openxmlformats-officedocument.presentationml.tags+xml"/>
  <Override PartName="/ppt/tags/tag589.xml" ContentType="application/vnd.openxmlformats-officedocument.presentationml.tags+xml"/>
  <Override PartName="/ppt/tags/tag588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606.xml" ContentType="application/vnd.openxmlformats-officedocument.presentationml.tags+xml"/>
  <Override PartName="/ppt/tags/tag605.xml" ContentType="application/vnd.openxmlformats-officedocument.presentationml.tags+xml"/>
  <Override PartName="/ppt/tags/tag604.xml" ContentType="application/vnd.openxmlformats-officedocument.presentationml.tags+xml"/>
  <Override PartName="/ppt/tags/tag603.xml" ContentType="application/vnd.openxmlformats-officedocument.presentationml.tags+xml"/>
  <Override PartName="/ppt/tags/tag602.xml" ContentType="application/vnd.openxmlformats-officedocument.presentationml.tags+xml"/>
  <Override PartName="/ppt/tags/tag601.xml" ContentType="application/vnd.openxmlformats-officedocument.presentationml.tags+xml"/>
  <Override PartName="/ppt/tags/tag600.xml" ContentType="application/vnd.openxmlformats-officedocument.presentationml.tags+xml"/>
  <Override PartName="/ppt/tags/tag599.xml" ContentType="application/vnd.openxmlformats-officedocument.presentationml.tags+xml"/>
  <Override PartName="/ppt/tags/tag587.xml" ContentType="application/vnd.openxmlformats-officedocument.presentationml.tags+xml"/>
  <Override PartName="/ppt/tags/tag586.xml" ContentType="application/vnd.openxmlformats-officedocument.presentationml.tags+xml"/>
  <Override PartName="/ppt/tags/tag585.xml" ContentType="application/vnd.openxmlformats-officedocument.presentationml.tags+xml"/>
  <Override PartName="/ppt/tags/tag573.xml" ContentType="application/vnd.openxmlformats-officedocument.presentationml.tags+xml"/>
  <Override PartName="/ppt/tags/tag572.xml" ContentType="application/vnd.openxmlformats-officedocument.presentationml.tags+xml"/>
  <Override PartName="/ppt/tags/tag571.xml" ContentType="application/vnd.openxmlformats-officedocument.presentationml.tags+xml"/>
  <Override PartName="/ppt/tags/tag569.xml" ContentType="application/vnd.openxmlformats-officedocument.presentationml.tags+xml"/>
  <Override PartName="/ppt/tags/tag568.xml" ContentType="application/vnd.openxmlformats-officedocument.presentationml.tags+xml"/>
  <Override PartName="/ppt/tags/tag567.xml" ContentType="application/vnd.openxmlformats-officedocument.presentationml.tags+xml"/>
  <Override PartName="/ppt/tags/tag566.xml" ContentType="application/vnd.openxmlformats-officedocument.presentationml.tags+xml"/>
  <Override PartName="/ppt/tags/tag565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84.xml" ContentType="application/vnd.openxmlformats-officedocument.presentationml.tags+xml"/>
  <Override PartName="/ppt/tags/tag583.xml" ContentType="application/vnd.openxmlformats-officedocument.presentationml.tags+xml"/>
  <Override PartName="/ppt/tags/tag582.xml" ContentType="application/vnd.openxmlformats-officedocument.presentationml.tags+xml"/>
  <Override PartName="/ppt/tags/tag581.xml" ContentType="application/vnd.openxmlformats-officedocument.presentationml.tags+xml"/>
  <Override PartName="/ppt/tags/tag580.xml" ContentType="application/vnd.openxmlformats-officedocument.presentationml.tags+xml"/>
  <Override PartName="/ppt/tags/tag579.xml" ContentType="application/vnd.openxmlformats-officedocument.presentationml.tags+xml"/>
  <Override PartName="/ppt/tags/tag578.xml" ContentType="application/vnd.openxmlformats-officedocument.presentationml.tags+xml"/>
  <Override PartName="/ppt/tags/tag577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38.xml" ContentType="application/vnd.openxmlformats-officedocument.presentationml.tags+xml"/>
  <Override PartName="/ppt/tags/tag637.xml" ContentType="application/vnd.openxmlformats-officedocument.presentationml.tags+xml"/>
  <Override PartName="/ppt/tags/tag636.xml" ContentType="application/vnd.openxmlformats-officedocument.presentationml.tags+xml"/>
  <Override PartName="/ppt/tags/tag635.xml" ContentType="application/vnd.openxmlformats-officedocument.presentationml.tags+xml"/>
  <Override PartName="/ppt/tags/tag634.xml" ContentType="application/vnd.openxmlformats-officedocument.presentationml.tags+xml"/>
  <Override PartName="/ppt/tags/tag633.xml" ContentType="application/vnd.openxmlformats-officedocument.presentationml.tags+xml"/>
  <Override PartName="/ppt/tags/tag632.xml" ContentType="application/vnd.openxmlformats-officedocument.presentationml.tags+xml"/>
  <Override PartName="/ppt/tags/tag631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9.xml" ContentType="application/vnd.openxmlformats-officedocument.presentationml.tags+xml"/>
  <Override PartName="/ppt/tags/tag648.xml" ContentType="application/vnd.openxmlformats-officedocument.presentationml.tags+xml"/>
  <Override PartName="/ppt/tags/tag647.xml" ContentType="application/vnd.openxmlformats-officedocument.presentationml.tags+xml"/>
  <Override PartName="/ppt/tags/tag646.xml" ContentType="application/vnd.openxmlformats-officedocument.presentationml.tags+xml"/>
  <Override PartName="/ppt/tags/tag645.xml" ContentType="application/vnd.openxmlformats-officedocument.presentationml.tags+xml"/>
  <Override PartName="/ppt/tags/tag644.xml" ContentType="application/vnd.openxmlformats-officedocument.presentationml.tags+xml"/>
  <Override PartName="/ppt/tags/tag643.xml" ContentType="application/vnd.openxmlformats-officedocument.presentationml.tags+xml"/>
  <Override PartName="/ppt/tags/tag642.xml" ContentType="application/vnd.openxmlformats-officedocument.presentationml.tags+xml"/>
  <Override PartName="/ppt/tags/tag630.xml" ContentType="application/vnd.openxmlformats-officedocument.presentationml.tags+xml"/>
  <Override PartName="/ppt/tags/tag629.xml" ContentType="application/vnd.openxmlformats-officedocument.presentationml.tags+xml"/>
  <Override PartName="/ppt/tags/tag628.xml" ContentType="application/vnd.openxmlformats-officedocument.presentationml.tags+xml"/>
  <Override PartName="/ppt/tags/tag617.xml" ContentType="application/vnd.openxmlformats-officedocument.presentationml.tags+xml"/>
  <Override PartName="/ppt/tags/tag616.xml" ContentType="application/vnd.openxmlformats-officedocument.presentationml.tags+xml"/>
  <Override PartName="/ppt/tags/tag615.xml" ContentType="application/vnd.openxmlformats-officedocument.presentationml.tags+xml"/>
  <Override PartName="/ppt/tags/tag614.xml" ContentType="application/vnd.openxmlformats-officedocument.presentationml.tags+xml"/>
  <Override PartName="/ppt/tags/tag613.xml" ContentType="application/vnd.openxmlformats-officedocument.presentationml.tags+xml"/>
  <Override PartName="/ppt/tags/tag612.xml" ContentType="application/vnd.openxmlformats-officedocument.presentationml.tags+xml"/>
  <Override PartName="/ppt/tags/tag611.xml" ContentType="application/vnd.openxmlformats-officedocument.presentationml.tags+xml"/>
  <Override PartName="/ppt/tags/tag610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7.xml" ContentType="application/vnd.openxmlformats-officedocument.presentationml.tags+xml"/>
  <Override PartName="/ppt/tags/tag626.xml" ContentType="application/vnd.openxmlformats-officedocument.presentationml.tags+xml"/>
  <Override PartName="/ppt/tags/tag625.xml" ContentType="application/vnd.openxmlformats-officedocument.presentationml.tags+xml"/>
  <Override PartName="/ppt/tags/tag624.xml" ContentType="application/vnd.openxmlformats-officedocument.presentationml.tags+xml"/>
  <Override PartName="/ppt/tags/tag623.xml" ContentType="application/vnd.openxmlformats-officedocument.presentationml.tags+xml"/>
  <Override PartName="/ppt/tags/tag622.xml" ContentType="application/vnd.openxmlformats-officedocument.presentationml.tags+xml"/>
  <Override PartName="/ppt/tags/tag621.xml" ContentType="application/vnd.openxmlformats-officedocument.presentationml.tags+xml"/>
  <Override PartName="/ppt/tags/tag563.xml" ContentType="application/vnd.openxmlformats-officedocument.presentationml.tags+xml"/>
  <Override PartName="/ppt/tags/tag389.xml" ContentType="application/vnd.openxmlformats-officedocument.presentationml.tags+xml"/>
  <Override PartName="/ppt/tags/tag387.xml" ContentType="application/vnd.openxmlformats-officedocument.presentationml.tags+xml"/>
  <Override PartName="/ppt/tags/tag162.xml" ContentType="application/vnd.openxmlformats-officedocument.presentationml.tags+xml"/>
  <Override PartName="/ppt/tags/tag161.xml" ContentType="application/vnd.openxmlformats-officedocument.presentationml.tags+xml"/>
  <Override PartName="/ppt/tags/tag160.xml" ContentType="application/vnd.openxmlformats-officedocument.presentationml.tags+xml"/>
  <Override PartName="/ppt/tags/tag159.xml" ContentType="application/vnd.openxmlformats-officedocument.presentationml.tags+xml"/>
  <Override PartName="/ppt/tags/tag158.xml" ContentType="application/vnd.openxmlformats-officedocument.presentationml.tags+xml"/>
  <Override PartName="/ppt/tags/tag157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154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73.xml" ContentType="application/vnd.openxmlformats-officedocument.presentationml.tags+xml"/>
  <Override PartName="/ppt/tags/tag172.xml" ContentType="application/vnd.openxmlformats-officedocument.presentationml.tags+xml"/>
  <Override PartName="/ppt/tags/tag171.xml" ContentType="application/vnd.openxmlformats-officedocument.presentationml.tags+xml"/>
  <Override PartName="/ppt/tags/tag170.xml" ContentType="application/vnd.openxmlformats-officedocument.presentationml.tags+xml"/>
  <Override PartName="/ppt/tags/tag169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66.xml" ContentType="application/vnd.openxmlformats-officedocument.presentationml.tags+xml"/>
  <Override PartName="/ppt/tags/tag153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39.xml" ContentType="application/vnd.openxmlformats-officedocument.presentationml.tags+xml"/>
  <Override PartName="/ppt/tags/tag138.xml" ContentType="application/vnd.openxmlformats-officedocument.presentationml.tags+xml"/>
  <Override PartName="/ppt/tags/tag137.xml" ContentType="application/vnd.openxmlformats-officedocument.presentationml.tags+xml"/>
  <Override PartName="/ppt/tags/tag136.xml" ContentType="application/vnd.openxmlformats-officedocument.presentationml.tags+xml"/>
  <Override PartName="/ppt/tags/tag135.xml" ContentType="application/vnd.openxmlformats-officedocument.presentationml.tags+xml"/>
  <Override PartName="/ppt/tags/tag134.xml" ContentType="application/vnd.openxmlformats-officedocument.presentationml.tags+xml"/>
  <Override PartName="/ppt/tags/tag133.xml" ContentType="application/vnd.openxmlformats-officedocument.presentationml.tags+xml"/>
  <Override PartName="/ppt/tags/tag132.xml" ContentType="application/vnd.openxmlformats-officedocument.presentationml.tags+xml"/>
  <Override PartName="/ppt/tags/tag131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145.xml" ContentType="application/vnd.openxmlformats-officedocument.presentationml.tags+xml"/>
  <Override PartName="/ppt/tags/tag144.xml" ContentType="application/vnd.openxmlformats-officedocument.presentationml.tags+xml"/>
  <Override PartName="/ppt/tags/tag14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207.xml" ContentType="application/vnd.openxmlformats-officedocument.presentationml.tags+xml"/>
  <Override PartName="/ppt/tags/tag206.xml" ContentType="application/vnd.openxmlformats-officedocument.presentationml.tags+xml"/>
  <Override PartName="/ppt/tags/tag205.xml" ContentType="application/vnd.openxmlformats-officedocument.presentationml.tags+xml"/>
  <Override PartName="/ppt/tags/tag204.xml" ContentType="application/vnd.openxmlformats-officedocument.presentationml.tags+xml"/>
  <Override PartName="/ppt/tags/tag203.xml" ContentType="application/vnd.openxmlformats-officedocument.presentationml.tags+xml"/>
  <Override PartName="/ppt/tags/tag202.xml" ContentType="application/vnd.openxmlformats-officedocument.presentationml.tags+xml"/>
  <Override PartName="/ppt/tags/tag201.xml" ContentType="application/vnd.openxmlformats-officedocument.presentationml.tags+xml"/>
  <Override PartName="/ppt/tags/tag200.xml" ContentType="application/vnd.openxmlformats-officedocument.presentationml.tags+xml"/>
  <Override PartName="/ppt/tags/tag199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8.xml" ContentType="application/vnd.openxmlformats-officedocument.presentationml.tags+xml"/>
  <Override PartName="/ppt/tags/tag217.xml" ContentType="application/vnd.openxmlformats-officedocument.presentationml.tags+xml"/>
  <Override PartName="/ppt/tags/tag216.xml" ContentType="application/vnd.openxmlformats-officedocument.presentationml.tags+xml"/>
  <Override PartName="/ppt/tags/tag215.xml" ContentType="application/vnd.openxmlformats-officedocument.presentationml.tags+xml"/>
  <Override PartName="/ppt/tags/tag214.xml" ContentType="application/vnd.openxmlformats-officedocument.presentationml.tags+xml"/>
  <Override PartName="/ppt/tags/tag213.xml" ContentType="application/vnd.openxmlformats-officedocument.presentationml.tags+xml"/>
  <Override PartName="/ppt/tags/tag212.xml" ContentType="application/vnd.openxmlformats-officedocument.presentationml.tags+xml"/>
  <Override PartName="/ppt/tags/tag211.xml" ContentType="application/vnd.openxmlformats-officedocument.presentationml.tags+xml"/>
  <Override PartName="/ppt/tags/tag198.xml" ContentType="application/vnd.openxmlformats-officedocument.presentationml.tags+xml"/>
  <Override PartName="/ppt/tags/tag197.xml" ContentType="application/vnd.openxmlformats-officedocument.presentationml.tags+xml"/>
  <Override PartName="/ppt/tags/tag196.xml" ContentType="application/vnd.openxmlformats-officedocument.presentationml.tags+xml"/>
  <Override PartName="/ppt/tags/tag184.xml" ContentType="application/vnd.openxmlformats-officedocument.presentationml.tags+xml"/>
  <Override PartName="/ppt/tags/tag183.xml" ContentType="application/vnd.openxmlformats-officedocument.presentationml.tags+xml"/>
  <Override PartName="/ppt/tags/tag182.xml" ContentType="application/vnd.openxmlformats-officedocument.presentationml.tags+xml"/>
  <Override PartName="/ppt/tags/tag181.xml" ContentType="application/vnd.openxmlformats-officedocument.presentationml.tags+xml"/>
  <Override PartName="/ppt/tags/tag180.xml" ContentType="application/vnd.openxmlformats-officedocument.presentationml.tags+xml"/>
  <Override PartName="/ppt/tags/tag179.xml" ContentType="application/vnd.openxmlformats-officedocument.presentationml.tags+xml"/>
  <Override PartName="/ppt/tags/tag178.xml" ContentType="application/vnd.openxmlformats-officedocument.presentationml.tags+xml"/>
  <Override PartName="/ppt/tags/tag177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95.xml" ContentType="application/vnd.openxmlformats-officedocument.presentationml.tags+xml"/>
  <Override PartName="/ppt/tags/tag194.xml" ContentType="application/vnd.openxmlformats-officedocument.presentationml.tags+xml"/>
  <Override PartName="/ppt/tags/tag193.xml" ContentType="application/vnd.openxmlformats-officedocument.presentationml.tags+xml"/>
  <Override PartName="/ppt/tags/tag192.xml" ContentType="application/vnd.openxmlformats-officedocument.presentationml.tags+xml"/>
  <Override PartName="/ppt/tags/tag191.xml" ContentType="application/vnd.openxmlformats-officedocument.presentationml.tags+xml"/>
  <Override PartName="/ppt/tags/tag190.xml" ContentType="application/vnd.openxmlformats-officedocument.presentationml.tags+xml"/>
  <Override PartName="/ppt/tags/tag189.xml" ContentType="application/vnd.openxmlformats-officedocument.presentationml.tags+xml"/>
  <Override PartName="/ppt/tags/tag188.xml" ContentType="application/vnd.openxmlformats-officedocument.presentationml.tags+xml"/>
  <Override PartName="/ppt/tags/tag130.xml" ContentType="application/vnd.openxmlformats-officedocument.presentationml.tags+xml"/>
  <Override PartName="/ppt/tags/tag129.xml" ContentType="application/vnd.openxmlformats-officedocument.presentationml.tags+xml"/>
  <Override PartName="/ppt/tags/tag128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82.xml" ContentType="application/vnd.openxmlformats-officedocument.presentationml.tag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76.xml" ContentType="application/vnd.openxmlformats-officedocument.presentationml.tags+xml"/>
  <Override PartName="/ppt/tags/tag75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116.xml" ContentType="application/vnd.openxmlformats-officedocument.presentationml.tags+xml"/>
  <Override PartName="/ppt/tags/tag115.xml" ContentType="application/vnd.openxmlformats-officedocument.presentationml.tags+xml"/>
  <Override PartName="/ppt/tags/tag114.xml" ContentType="application/vnd.openxmlformats-officedocument.presentationml.tags+xml"/>
  <Override PartName="/ppt/tags/tag113.xml" ContentType="application/vnd.openxmlformats-officedocument.presentationml.tags+xml"/>
  <Override PartName="/ppt/tags/tag112.xml" ContentType="application/vnd.openxmlformats-officedocument.presentationml.tags+xml"/>
  <Override PartName="/ppt/tags/tag111.xml" ContentType="application/vnd.openxmlformats-officedocument.presentationml.tags+xml"/>
  <Override PartName="/ppt/tags/tag110.xml" ContentType="application/vnd.openxmlformats-officedocument.presentationml.tags+xml"/>
  <Override PartName="/ppt/tags/tag109.xml" ContentType="application/vnd.openxmlformats-officedocument.presentationml.tags+xml"/>
  <Override PartName="/ppt/tags/tag108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7.xml" ContentType="application/vnd.openxmlformats-officedocument.presentationml.tags+xml"/>
  <Override PartName="/ppt/tags/tag126.xml" ContentType="application/vnd.openxmlformats-officedocument.presentationml.tags+xml"/>
  <Override PartName="/ppt/tags/tag125.xml" ContentType="application/vnd.openxmlformats-officedocument.presentationml.tags+xml"/>
  <Override PartName="/ppt/tags/tag124.xml" ContentType="application/vnd.openxmlformats-officedocument.presentationml.tags+xml"/>
  <Override PartName="/ppt/tags/tag123.xml" ContentType="application/vnd.openxmlformats-officedocument.presentationml.tags+xml"/>
  <Override PartName="/ppt/tags/tag122.xml" ContentType="application/vnd.openxmlformats-officedocument.presentationml.tags+xml"/>
  <Override PartName="/ppt/tags/tag121.xml" ContentType="application/vnd.openxmlformats-officedocument.presentationml.tags+xml"/>
  <Override PartName="/ppt/tags/tag120.xml" ContentType="application/vnd.openxmlformats-officedocument.presentationml.tags+xml"/>
  <Override PartName="/ppt/tags/tag107.xml" ContentType="application/vnd.openxmlformats-officedocument.presentationml.tags+xml"/>
  <Override PartName="/ppt/tags/tag106.xml" ContentType="application/vnd.openxmlformats-officedocument.presentationml.tags+xml"/>
  <Override PartName="/ppt/tags/tag105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91.xml" ContentType="application/vnd.openxmlformats-officedocument.presentationml.tags+xml"/>
  <Override PartName="/ppt/tags/tag90.xml" ContentType="application/vnd.openxmlformats-officedocument.presentationml.tags+xml"/>
  <Override PartName="/ppt/tags/tag89.xml" ContentType="application/vnd.openxmlformats-officedocument.presentationml.tags+xml"/>
  <Override PartName="/ppt/tags/tag88.xml" ContentType="application/vnd.openxmlformats-officedocument.presentationml.tags+xml"/>
  <Override PartName="/ppt/tags/tag87.xml" ContentType="application/vnd.openxmlformats-officedocument.presentationml.tags+xml"/>
  <Override PartName="/ppt/tags/tag86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104.xml" ContentType="application/vnd.openxmlformats-officedocument.presentationml.tags+xml"/>
  <Override PartName="/ppt/tags/tag103.xml" ContentType="application/vnd.openxmlformats-officedocument.presentationml.tags+xml"/>
  <Override PartName="/ppt/tags/tag102.xml" ContentType="application/vnd.openxmlformats-officedocument.presentationml.tags+xml"/>
  <Override PartName="/ppt/tags/tag101.xml" ContentType="application/vnd.openxmlformats-officedocument.presentationml.tags+xml"/>
  <Override PartName="/ppt/tags/tag100.xml" ContentType="application/vnd.openxmlformats-officedocument.presentationml.tags+xml"/>
  <Override PartName="/ppt/tags/tag99.xml" ContentType="application/vnd.openxmlformats-officedocument.presentationml.tags+xml"/>
  <Override PartName="/ppt/tags/tag98.xml" ContentType="application/vnd.openxmlformats-officedocument.presentationml.tags+xml"/>
  <Override PartName="/ppt/tags/tag97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342.xml" ContentType="application/vnd.openxmlformats-officedocument.presentationml.tags+xml"/>
  <Override PartName="/ppt/tags/tag341.xml" ContentType="application/vnd.openxmlformats-officedocument.presentationml.tags+xml"/>
  <Override PartName="/ppt/tags/tag340.xml" ContentType="application/vnd.openxmlformats-officedocument.presentationml.tags+xml"/>
  <Override PartName="/ppt/tags/tag339.xml" ContentType="application/vnd.openxmlformats-officedocument.presentationml.tags+xml"/>
  <Override PartName="/ppt/tags/tag338.xml" ContentType="application/vnd.openxmlformats-officedocument.presentationml.tags+xml"/>
  <Override PartName="/ppt/tags/tag337.xml" ContentType="application/vnd.openxmlformats-officedocument.presentationml.tags+xml"/>
  <Override PartName="/ppt/tags/tag336.xml" ContentType="application/vnd.openxmlformats-officedocument.presentationml.tags+xml"/>
  <Override PartName="/ppt/tags/tag335.xml" ContentType="application/vnd.openxmlformats-officedocument.presentationml.tags+xml"/>
  <Override PartName="/ppt/tags/tag334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53.xml" ContentType="application/vnd.openxmlformats-officedocument.presentationml.tags+xml"/>
  <Override PartName="/ppt/tags/tag352.xml" ContentType="application/vnd.openxmlformats-officedocument.presentationml.tags+xml"/>
  <Override PartName="/ppt/tags/tag351.xml" ContentType="application/vnd.openxmlformats-officedocument.presentationml.tags+xml"/>
  <Override PartName="/ppt/tags/tag350.xml" ContentType="application/vnd.openxmlformats-officedocument.presentationml.tags+xml"/>
  <Override PartName="/ppt/tags/tag349.xml" ContentType="application/vnd.openxmlformats-officedocument.presentationml.tags+xml"/>
  <Override PartName="/ppt/tags/tag348.xml" ContentType="application/vnd.openxmlformats-officedocument.presentationml.tags+xml"/>
  <Override PartName="/ppt/tags/tag347.xml" ContentType="application/vnd.openxmlformats-officedocument.presentationml.tags+xml"/>
  <Override PartName="/ppt/tags/tag346.xml" ContentType="application/vnd.openxmlformats-officedocument.presentationml.tags+xml"/>
  <Override PartName="/ppt/tags/tag333.xml" ContentType="application/vnd.openxmlformats-officedocument.presentationml.tags+xml"/>
  <Override PartName="/ppt/tags/tag332.xml" ContentType="application/vnd.openxmlformats-officedocument.presentationml.tags+xml"/>
  <Override PartName="/ppt/tags/tag331.xml" ContentType="application/vnd.openxmlformats-officedocument.presentationml.tags+xml"/>
  <Override PartName="/ppt/tags/tag319.xml" ContentType="application/vnd.openxmlformats-officedocument.presentationml.tags+xml"/>
  <Override PartName="/ppt/tags/tag318.xml" ContentType="application/vnd.openxmlformats-officedocument.presentationml.tags+xml"/>
  <Override PartName="/ppt/tags/tag317.xml" ContentType="application/vnd.openxmlformats-officedocument.presentationml.tags+xml"/>
  <Override PartName="/ppt/tags/tag316.xml" ContentType="application/vnd.openxmlformats-officedocument.presentationml.tags+xml"/>
  <Override PartName="/ppt/tags/tag315.xml" ContentType="application/vnd.openxmlformats-officedocument.presentationml.tags+xml"/>
  <Override PartName="/ppt/tags/tag314.xml" ContentType="application/vnd.openxmlformats-officedocument.presentationml.tags+xml"/>
  <Override PartName="/ppt/tags/tag313.xml" ContentType="application/vnd.openxmlformats-officedocument.presentationml.tags+xml"/>
  <Override PartName="/ppt/tags/tag31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30.xml" ContentType="application/vnd.openxmlformats-officedocument.presentationml.tags+xml"/>
  <Override PartName="/ppt/tags/tag329.xml" ContentType="application/vnd.openxmlformats-officedocument.presentationml.tags+xml"/>
  <Override PartName="/ppt/tags/tag328.xml" ContentType="application/vnd.openxmlformats-officedocument.presentationml.tags+xml"/>
  <Override PartName="/ppt/tags/tag327.xml" ContentType="application/vnd.openxmlformats-officedocument.presentationml.tags+xml"/>
  <Override PartName="/ppt/tags/tag326.xml" ContentType="application/vnd.openxmlformats-officedocument.presentationml.tags+xml"/>
  <Override PartName="/ppt/tags/tag325.xml" ContentType="application/vnd.openxmlformats-officedocument.presentationml.tags+xml"/>
  <Override PartName="/ppt/tags/tag324.xml" ContentType="application/vnd.openxmlformats-officedocument.presentationml.tags+xml"/>
  <Override PartName="/ppt/tags/tag323.xml" ContentType="application/vnd.openxmlformats-officedocument.presentationml.tags+xml"/>
  <Override PartName="/ppt/tags/tag354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5.xml" ContentType="application/vnd.openxmlformats-officedocument.presentationml.tags+xml"/>
  <Override PartName="/ppt/tags/tag374.xml" ContentType="application/vnd.openxmlformats-officedocument.presentationml.tags+xml"/>
  <Override PartName="/ppt/tags/tag373.xml" ContentType="application/vnd.openxmlformats-officedocument.presentationml.tags+xml"/>
  <Override PartName="/ppt/tags/tag372.xml" ContentType="application/vnd.openxmlformats-officedocument.presentationml.tags+xml"/>
  <Override PartName="/ppt/tags/tag371.xml" ContentType="application/vnd.openxmlformats-officedocument.presentationml.tags+xml"/>
  <Override PartName="/ppt/tags/tag370.xml" ContentType="application/vnd.openxmlformats-officedocument.presentationml.tags+xml"/>
  <Override PartName="/ppt/tags/tag369.xml" ContentType="application/vnd.openxmlformats-officedocument.presentationml.tags+xml"/>
  <Override PartName="/ppt/tags/tag368.xml" ContentType="application/vnd.openxmlformats-officedocument.presentationml.tags+xml"/>
  <Override PartName="/ppt/tags/tag367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86.xml" ContentType="application/vnd.openxmlformats-officedocument.presentationml.tags+xml"/>
  <Override PartName="/ppt/tags/tag385.xml" ContentType="application/vnd.openxmlformats-officedocument.presentationml.tags+xml"/>
  <Override PartName="/ppt/tags/tag384.xml" ContentType="application/vnd.openxmlformats-officedocument.presentationml.tags+xml"/>
  <Override PartName="/ppt/tags/tag383.xml" ContentType="application/vnd.openxmlformats-officedocument.presentationml.tags+xml"/>
  <Override PartName="/ppt/tags/tag382.xml" ContentType="application/vnd.openxmlformats-officedocument.presentationml.tags+xml"/>
  <Override PartName="/ppt/tags/tag381.xml" ContentType="application/vnd.openxmlformats-officedocument.presentationml.tags+xml"/>
  <Override PartName="/ppt/tags/tag380.xml" ContentType="application/vnd.openxmlformats-officedocument.presentationml.tags+xml"/>
  <Override PartName="/ppt/tags/tag379.xml" ContentType="application/vnd.openxmlformats-officedocument.presentationml.tags+xml"/>
  <Override PartName="/ppt/tags/tag366.xml" ContentType="application/vnd.openxmlformats-officedocument.presentationml.tags+xml"/>
  <Override PartName="/ppt/tags/tag365.xml" ContentType="application/vnd.openxmlformats-officedocument.presentationml.tags+xml"/>
  <Override PartName="/ppt/tags/tag364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355.xml" ContentType="application/vnd.openxmlformats-officedocument.presentationml.tags+xml"/>
  <Override PartName="/ppt/tags/tag363.xml" ContentType="application/vnd.openxmlformats-officedocument.presentationml.tags+xml"/>
  <Override PartName="/ppt/tags/tag362.xml" ContentType="application/vnd.openxmlformats-officedocument.presentationml.tags+xml"/>
  <Override PartName="/ppt/tags/tag361.xml" ContentType="application/vnd.openxmlformats-officedocument.presentationml.tags+xml"/>
  <Override PartName="/ppt/tags/tag360.xml" ContentType="application/vnd.openxmlformats-officedocument.presentationml.tags+xml"/>
  <Override PartName="/ppt/tags/tag359.xml" ContentType="application/vnd.openxmlformats-officedocument.presentationml.tags+xml"/>
  <Override PartName="/ppt/tags/tag358.xml" ContentType="application/vnd.openxmlformats-officedocument.presentationml.tags+xml"/>
  <Override PartName="/ppt/tags/tag357.xml" ContentType="application/vnd.openxmlformats-officedocument.presentationml.tags+xml"/>
  <Override PartName="/ppt/tags/tag356.xml" ContentType="application/vnd.openxmlformats-officedocument.presentationml.tags+xml"/>
  <Override PartName="/ppt/tags/tag311.xml" ContentType="application/vnd.openxmlformats-officedocument.presentationml.tags+xml"/>
  <Override PartName="/ppt/tags/tag310.xml" ContentType="application/vnd.openxmlformats-officedocument.presentationml.tags+xml"/>
  <Override PartName="/ppt/tags/tag309.xml" ContentType="application/vnd.openxmlformats-officedocument.presentationml.tags+xml"/>
  <Override PartName="/ppt/tags/tag252.xml" ContentType="application/vnd.openxmlformats-officedocument.presentationml.tags+xml"/>
  <Override PartName="/ppt/tags/tag251.xml" ContentType="application/vnd.openxmlformats-officedocument.presentationml.tags+xml"/>
  <Override PartName="/ppt/tags/tag250.xml" ContentType="application/vnd.openxmlformats-officedocument.presentationml.tags+xml"/>
  <Override PartName="/ppt/tags/tag249.xml" ContentType="application/vnd.openxmlformats-officedocument.presentationml.tags+xml"/>
  <Override PartName="/ppt/tags/tag248.xml" ContentType="application/vnd.openxmlformats-officedocument.presentationml.tags+xml"/>
  <Override PartName="/ppt/tags/tag247.xml" ContentType="application/vnd.openxmlformats-officedocument.presentationml.tags+xml"/>
  <Override PartName="/ppt/tags/tag246.xml" ContentType="application/vnd.openxmlformats-officedocument.presentationml.tags+xml"/>
  <Override PartName="/ppt/tags/tag245.xml" ContentType="application/vnd.openxmlformats-officedocument.presentationml.tags+xml"/>
  <Override PartName="/ppt/tags/tag244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63.xml" ContentType="application/vnd.openxmlformats-officedocument.presentationml.tags+xml"/>
  <Override PartName="/ppt/tags/tag262.xml" ContentType="application/vnd.openxmlformats-officedocument.presentationml.tags+xml"/>
  <Override PartName="/ppt/tags/tag261.xml" ContentType="application/vnd.openxmlformats-officedocument.presentationml.tags+xml"/>
  <Override PartName="/ppt/tags/tag260.xml" ContentType="application/vnd.openxmlformats-officedocument.presentationml.tags+xml"/>
  <Override PartName="/ppt/tags/tag259.xml" ContentType="application/vnd.openxmlformats-officedocument.presentationml.tags+xml"/>
  <Override PartName="/ppt/tags/tag258.xml" ContentType="application/vnd.openxmlformats-officedocument.presentationml.tags+xml"/>
  <Override PartName="/ppt/tags/tag257.xml" ContentType="application/vnd.openxmlformats-officedocument.presentationml.tags+xml"/>
  <Override PartName="/ppt/tags/tag256.xml" ContentType="application/vnd.openxmlformats-officedocument.presentationml.tags+xml"/>
  <Override PartName="/ppt/tags/tag243.xml" ContentType="application/vnd.openxmlformats-officedocument.presentationml.tags+xml"/>
  <Override PartName="/ppt/tags/tag242.xml" ContentType="application/vnd.openxmlformats-officedocument.presentationml.tags+xml"/>
  <Override PartName="/ppt/tags/tag241.xml" ContentType="application/vnd.openxmlformats-officedocument.presentationml.tags+xml"/>
  <Override PartName="/ppt/tags/tag229.xml" ContentType="application/vnd.openxmlformats-officedocument.presentationml.tags+xml"/>
  <Override PartName="/ppt/tags/tag228.xml" ContentType="application/vnd.openxmlformats-officedocument.presentationml.tags+xml"/>
  <Override PartName="/ppt/tags/tag227.xml" ContentType="application/vnd.openxmlformats-officedocument.presentationml.tags+xml"/>
  <Override PartName="/ppt/tags/tag226.xml" ContentType="application/vnd.openxmlformats-officedocument.presentationml.tags+xml"/>
  <Override PartName="/ppt/tags/tag225.xml" ContentType="application/vnd.openxmlformats-officedocument.presentationml.tags+xml"/>
  <Override PartName="/ppt/tags/tag224.xml" ContentType="application/vnd.openxmlformats-officedocument.presentationml.tags+xml"/>
  <Override PartName="/ppt/tags/tag223.xml" ContentType="application/vnd.openxmlformats-officedocument.presentationml.tags+xml"/>
  <Override PartName="/ppt/tags/tag222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40.xml" ContentType="application/vnd.openxmlformats-officedocument.presentationml.tags+xml"/>
  <Override PartName="/ppt/tags/tag239.xml" ContentType="application/vnd.openxmlformats-officedocument.presentationml.tags+xml"/>
  <Override PartName="/ppt/tags/tag238.xml" ContentType="application/vnd.openxmlformats-officedocument.presentationml.tags+xml"/>
  <Override PartName="/ppt/tags/tag237.xml" ContentType="application/vnd.openxmlformats-officedocument.presentationml.tags+xml"/>
  <Override PartName="/ppt/tags/tag236.xml" ContentType="application/vnd.openxmlformats-officedocument.presentationml.tags+xml"/>
  <Override PartName="/ppt/tags/tag235.xml" ContentType="application/vnd.openxmlformats-officedocument.presentationml.tags+xml"/>
  <Override PartName="/ppt/tags/tag234.xml" ContentType="application/vnd.openxmlformats-officedocument.presentationml.tags+xml"/>
  <Override PartName="/ppt/tags/tag23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97.xml" ContentType="application/vnd.openxmlformats-officedocument.presentationml.tags+xml"/>
  <Override PartName="/ppt/tags/tag296.xml" ContentType="application/vnd.openxmlformats-officedocument.presentationml.tags+xml"/>
  <Override PartName="/ppt/tags/tag295.xml" ContentType="application/vnd.openxmlformats-officedocument.presentationml.tags+xml"/>
  <Override PartName="/ppt/tags/tag294.xml" ContentType="application/vnd.openxmlformats-officedocument.presentationml.tags+xml"/>
  <Override PartName="/ppt/tags/tag293.xml" ContentType="application/vnd.openxmlformats-officedocument.presentationml.tags+xml"/>
  <Override PartName="/ppt/tags/tag292.xml" ContentType="application/vnd.openxmlformats-officedocument.presentationml.tags+xml"/>
  <Override PartName="/ppt/tags/tag291.xml" ContentType="application/vnd.openxmlformats-officedocument.presentationml.tags+xml"/>
  <Override PartName="/ppt/tags/tag290.xml" ContentType="application/vnd.openxmlformats-officedocument.presentationml.tags+xml"/>
  <Override PartName="/ppt/tags/tag289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8.xml" ContentType="application/vnd.openxmlformats-officedocument.presentationml.tags+xml"/>
  <Override PartName="/ppt/tags/tag307.xml" ContentType="application/vnd.openxmlformats-officedocument.presentationml.tags+xml"/>
  <Override PartName="/ppt/tags/tag306.xml" ContentType="application/vnd.openxmlformats-officedocument.presentationml.tags+xml"/>
  <Override PartName="/ppt/tags/tag305.xml" ContentType="application/vnd.openxmlformats-officedocument.presentationml.tags+xml"/>
  <Override PartName="/ppt/tags/tag304.xml" ContentType="application/vnd.openxmlformats-officedocument.presentationml.tags+xml"/>
  <Override PartName="/ppt/tags/tag303.xml" ContentType="application/vnd.openxmlformats-officedocument.presentationml.tags+xml"/>
  <Override PartName="/ppt/tags/tag302.xml" ContentType="application/vnd.openxmlformats-officedocument.presentationml.tags+xml"/>
  <Override PartName="/ppt/tags/tag301.xml" ContentType="application/vnd.openxmlformats-officedocument.presentationml.tags+xml"/>
  <Override PartName="/ppt/tags/tag288.xml" ContentType="application/vnd.openxmlformats-officedocument.presentationml.tags+xml"/>
  <Override PartName="/ppt/tags/tag287.xml" ContentType="application/vnd.openxmlformats-officedocument.presentationml.tags+xml"/>
  <Override PartName="/ppt/tags/tag286.xml" ContentType="application/vnd.openxmlformats-officedocument.presentationml.tags+xml"/>
  <Override PartName="/ppt/tags/tag274.xml" ContentType="application/vnd.openxmlformats-officedocument.presentationml.tags+xml"/>
  <Override PartName="/ppt/tags/tag273.xml" ContentType="application/vnd.openxmlformats-officedocument.presentationml.tags+xml"/>
  <Override PartName="/ppt/tags/tag272.xml" ContentType="application/vnd.openxmlformats-officedocument.presentationml.tags+xml"/>
  <Override PartName="/ppt/tags/tag271.xml" ContentType="application/vnd.openxmlformats-officedocument.presentationml.tags+xml"/>
  <Override PartName="/ppt/tags/tag270.xml" ContentType="application/vnd.openxmlformats-officedocument.presentationml.tags+xml"/>
  <Override PartName="/ppt/tags/tag269.xml" ContentType="application/vnd.openxmlformats-officedocument.presentationml.tags+xml"/>
  <Override PartName="/ppt/tags/tag268.xml" ContentType="application/vnd.openxmlformats-officedocument.presentationml.tags+xml"/>
  <Override PartName="/ppt/tags/tag267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85.xml" ContentType="application/vnd.openxmlformats-officedocument.presentationml.tags+xml"/>
  <Override PartName="/ppt/tags/tag284.xml" ContentType="application/vnd.openxmlformats-officedocument.presentationml.tags+xml"/>
  <Override PartName="/ppt/tags/tag283.xml" ContentType="application/vnd.openxmlformats-officedocument.presentationml.tags+xml"/>
  <Override PartName="/ppt/tags/tag282.xml" ContentType="application/vnd.openxmlformats-officedocument.presentationml.tags+xml"/>
  <Override PartName="/ppt/tags/tag281.xml" ContentType="application/vnd.openxmlformats-officedocument.presentationml.tags+xml"/>
  <Override PartName="/ppt/tags/tag280.xml" ContentType="application/vnd.openxmlformats-officedocument.presentationml.tags+xml"/>
  <Override PartName="/ppt/tags/tag279.xml" ContentType="application/vnd.openxmlformats-officedocument.presentationml.tags+xml"/>
  <Override PartName="/ppt/tags/tag278.xml" ContentType="application/vnd.openxmlformats-officedocument.presentationml.tags+xml"/>
  <Override PartName="/ppt/tags/tag388.xml" ContentType="application/vnd.openxmlformats-officedocument.presentationml.tags+xml"/>
  <Override PartName="/customXml/itemProps5.xml" ContentType="application/vnd.openxmlformats-officedocument.customXmlProperties+xml"/>
  <Override PartName="/customXml/itemProps4.xml" ContentType="application/vnd.openxmlformats-officedocument.customXml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6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0" r:id="rId3"/>
    <p:sldId id="275" r:id="rId4"/>
    <p:sldId id="278" r:id="rId5"/>
    <p:sldId id="279" r:id="rId6"/>
    <p:sldId id="272" r:id="rId7"/>
    <p:sldId id="280" r:id="rId8"/>
    <p:sldId id="274" r:id="rId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59" autoAdjust="0"/>
    <p:restoredTop sz="94660"/>
  </p:normalViewPr>
  <p:slideViewPr>
    <p:cSldViewPr snapToGrid="0">
      <p:cViewPr>
        <p:scale>
          <a:sx n="79" d="100"/>
          <a:sy n="79" d="100"/>
        </p:scale>
        <p:origin x="-96" y="-6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18" Type="http://schemas.openxmlformats.org/officeDocument/2006/relationships/customXml" Target="../customXml/item5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17" Type="http://schemas.openxmlformats.org/officeDocument/2006/relationships/customXml" Target="../customXml/item4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19" Type="http://schemas.openxmlformats.org/officeDocument/2006/relationships/customXml" Target="../customXml/item6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ustomXml" Target="../customXml/item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69CB8-F204-4D06-B913-C5A26A89888A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B6E300-0A13-4A81-945A-7333C271A069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71962-1EA4-46E7-BCB0-F36CE46D1A59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BB376-B19C-488D-ABEB-03C7E6E9E3E0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F077B-A50F-4D64-8574-E2D6A98A5553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9E2A62-1983-43A1-A163-D8AA46534C80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F3E3B-34E3-4345-B2A1-994B83598A9C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816C96-82A1-4D77-8ADA-627AC6FE3D65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102C1E-28F2-47E9-802D-339E64E2F920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24271A48-F18A-45B3-BC05-1E27DA3F88AF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47F8-9654-4282-85D2-65F41AAE7A75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5DC5B261-8843-42D1-AAFC-05E20E2D9B97}" type="datetimeFigureOut">
              <a:rPr lang="en-US" dirty="0"/>
              <a:t>10/29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jpeg"/><Relationship Id="rId7" Type="http://schemas.openxmlformats.org/officeDocument/2006/relationships/image" Target="../media/image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jpe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10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image" Target="../media/image20.jpeg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image" Target="../media/image11.png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image" Target="../media/image21.jpe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image" Target="../media/image12.jpeg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image" Target="../media/image22.jpeg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image" Target="../media/image13.jpeg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hyperlink" Target="http://www.formandoformadores.org.mx/" TargetMode="Externa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image" Target="../media/image14.jpeg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image" Target="../media/image15.jpeg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334" Type="http://schemas.openxmlformats.org/officeDocument/2006/relationships/tags" Target="../tags/tag334.xml"/><Relationship Id="rId350" Type="http://schemas.openxmlformats.org/officeDocument/2006/relationships/tags" Target="../tags/tag350.xml"/><Relationship Id="rId355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image" Target="../media/image16.png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hyperlink" Target="http://www.massociedad.org.mx/" TargetMode="Externa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image" Target="../media/image17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image" Target="../media/image18.jpeg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image" Target="../media/image19.jpeg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471.xml"/><Relationship Id="rId299" Type="http://schemas.openxmlformats.org/officeDocument/2006/relationships/tags" Target="../tags/tag653.xml"/><Relationship Id="rId303" Type="http://schemas.openxmlformats.org/officeDocument/2006/relationships/tags" Target="../tags/tag657.xml"/><Relationship Id="rId21" Type="http://schemas.openxmlformats.org/officeDocument/2006/relationships/tags" Target="../tags/tag375.xml"/><Relationship Id="rId42" Type="http://schemas.openxmlformats.org/officeDocument/2006/relationships/tags" Target="../tags/tag396.xml"/><Relationship Id="rId63" Type="http://schemas.openxmlformats.org/officeDocument/2006/relationships/tags" Target="../tags/tag417.xml"/><Relationship Id="rId84" Type="http://schemas.openxmlformats.org/officeDocument/2006/relationships/tags" Target="../tags/tag438.xml"/><Relationship Id="rId138" Type="http://schemas.openxmlformats.org/officeDocument/2006/relationships/tags" Target="../tags/tag492.xml"/><Relationship Id="rId159" Type="http://schemas.openxmlformats.org/officeDocument/2006/relationships/tags" Target="../tags/tag513.xml"/><Relationship Id="rId324" Type="http://schemas.openxmlformats.org/officeDocument/2006/relationships/tags" Target="../tags/tag678.xml"/><Relationship Id="rId345" Type="http://schemas.openxmlformats.org/officeDocument/2006/relationships/tags" Target="../tags/tag699.xml"/><Relationship Id="rId366" Type="http://schemas.openxmlformats.org/officeDocument/2006/relationships/image" Target="../media/image31.png"/><Relationship Id="rId170" Type="http://schemas.openxmlformats.org/officeDocument/2006/relationships/tags" Target="../tags/tag524.xml"/><Relationship Id="rId191" Type="http://schemas.openxmlformats.org/officeDocument/2006/relationships/tags" Target="../tags/tag545.xml"/><Relationship Id="rId205" Type="http://schemas.openxmlformats.org/officeDocument/2006/relationships/tags" Target="../tags/tag559.xml"/><Relationship Id="rId226" Type="http://schemas.openxmlformats.org/officeDocument/2006/relationships/tags" Target="../tags/tag580.xml"/><Relationship Id="rId247" Type="http://schemas.openxmlformats.org/officeDocument/2006/relationships/tags" Target="../tags/tag601.xml"/><Relationship Id="rId107" Type="http://schemas.openxmlformats.org/officeDocument/2006/relationships/tags" Target="../tags/tag461.xml"/><Relationship Id="rId268" Type="http://schemas.openxmlformats.org/officeDocument/2006/relationships/tags" Target="../tags/tag622.xml"/><Relationship Id="rId289" Type="http://schemas.openxmlformats.org/officeDocument/2006/relationships/tags" Target="../tags/tag643.xml"/><Relationship Id="rId11" Type="http://schemas.openxmlformats.org/officeDocument/2006/relationships/tags" Target="../tags/tag365.xml"/><Relationship Id="rId32" Type="http://schemas.openxmlformats.org/officeDocument/2006/relationships/tags" Target="../tags/tag386.xml"/><Relationship Id="rId53" Type="http://schemas.openxmlformats.org/officeDocument/2006/relationships/tags" Target="../tags/tag407.xml"/><Relationship Id="rId74" Type="http://schemas.openxmlformats.org/officeDocument/2006/relationships/tags" Target="../tags/tag428.xml"/><Relationship Id="rId128" Type="http://schemas.openxmlformats.org/officeDocument/2006/relationships/tags" Target="../tags/tag482.xml"/><Relationship Id="rId149" Type="http://schemas.openxmlformats.org/officeDocument/2006/relationships/tags" Target="../tags/tag503.xml"/><Relationship Id="rId314" Type="http://schemas.openxmlformats.org/officeDocument/2006/relationships/tags" Target="../tags/tag668.xml"/><Relationship Id="rId335" Type="http://schemas.openxmlformats.org/officeDocument/2006/relationships/tags" Target="../tags/tag689.xml"/><Relationship Id="rId356" Type="http://schemas.openxmlformats.org/officeDocument/2006/relationships/image" Target="../media/image23.png"/><Relationship Id="rId5" Type="http://schemas.openxmlformats.org/officeDocument/2006/relationships/tags" Target="../tags/tag359.xml"/><Relationship Id="rId95" Type="http://schemas.openxmlformats.org/officeDocument/2006/relationships/tags" Target="../tags/tag449.xml"/><Relationship Id="rId160" Type="http://schemas.openxmlformats.org/officeDocument/2006/relationships/tags" Target="../tags/tag514.xml"/><Relationship Id="rId181" Type="http://schemas.openxmlformats.org/officeDocument/2006/relationships/tags" Target="../tags/tag535.xml"/><Relationship Id="rId216" Type="http://schemas.openxmlformats.org/officeDocument/2006/relationships/tags" Target="../tags/tag570.xml"/><Relationship Id="rId237" Type="http://schemas.openxmlformats.org/officeDocument/2006/relationships/tags" Target="../tags/tag591.xml"/><Relationship Id="rId258" Type="http://schemas.openxmlformats.org/officeDocument/2006/relationships/tags" Target="../tags/tag612.xml"/><Relationship Id="rId279" Type="http://schemas.openxmlformats.org/officeDocument/2006/relationships/tags" Target="../tags/tag633.xml"/><Relationship Id="rId22" Type="http://schemas.openxmlformats.org/officeDocument/2006/relationships/tags" Target="../tags/tag376.xml"/><Relationship Id="rId43" Type="http://schemas.openxmlformats.org/officeDocument/2006/relationships/tags" Target="../tags/tag397.xml"/><Relationship Id="rId64" Type="http://schemas.openxmlformats.org/officeDocument/2006/relationships/tags" Target="../tags/tag418.xml"/><Relationship Id="rId118" Type="http://schemas.openxmlformats.org/officeDocument/2006/relationships/tags" Target="../tags/tag472.xml"/><Relationship Id="rId139" Type="http://schemas.openxmlformats.org/officeDocument/2006/relationships/tags" Target="../tags/tag493.xml"/><Relationship Id="rId290" Type="http://schemas.openxmlformats.org/officeDocument/2006/relationships/tags" Target="../tags/tag644.xml"/><Relationship Id="rId304" Type="http://schemas.openxmlformats.org/officeDocument/2006/relationships/tags" Target="../tags/tag658.xml"/><Relationship Id="rId325" Type="http://schemas.openxmlformats.org/officeDocument/2006/relationships/tags" Target="../tags/tag679.xml"/><Relationship Id="rId346" Type="http://schemas.openxmlformats.org/officeDocument/2006/relationships/tags" Target="../tags/tag700.xml"/><Relationship Id="rId367" Type="http://schemas.openxmlformats.org/officeDocument/2006/relationships/image" Target="../media/image32.png"/><Relationship Id="rId85" Type="http://schemas.openxmlformats.org/officeDocument/2006/relationships/tags" Target="../tags/tag439.xml"/><Relationship Id="rId150" Type="http://schemas.openxmlformats.org/officeDocument/2006/relationships/tags" Target="../tags/tag504.xml"/><Relationship Id="rId171" Type="http://schemas.openxmlformats.org/officeDocument/2006/relationships/tags" Target="../tags/tag525.xml"/><Relationship Id="rId192" Type="http://schemas.openxmlformats.org/officeDocument/2006/relationships/tags" Target="../tags/tag546.xml"/><Relationship Id="rId206" Type="http://schemas.openxmlformats.org/officeDocument/2006/relationships/tags" Target="../tags/tag560.xml"/><Relationship Id="rId227" Type="http://schemas.openxmlformats.org/officeDocument/2006/relationships/tags" Target="../tags/tag581.xml"/><Relationship Id="rId248" Type="http://schemas.openxmlformats.org/officeDocument/2006/relationships/tags" Target="../tags/tag602.xml"/><Relationship Id="rId269" Type="http://schemas.openxmlformats.org/officeDocument/2006/relationships/tags" Target="../tags/tag623.xml"/><Relationship Id="rId12" Type="http://schemas.openxmlformats.org/officeDocument/2006/relationships/tags" Target="../tags/tag366.xml"/><Relationship Id="rId33" Type="http://schemas.openxmlformats.org/officeDocument/2006/relationships/tags" Target="../tags/tag387.xml"/><Relationship Id="rId108" Type="http://schemas.openxmlformats.org/officeDocument/2006/relationships/tags" Target="../tags/tag462.xml"/><Relationship Id="rId129" Type="http://schemas.openxmlformats.org/officeDocument/2006/relationships/tags" Target="../tags/tag483.xml"/><Relationship Id="rId280" Type="http://schemas.openxmlformats.org/officeDocument/2006/relationships/tags" Target="../tags/tag634.xml"/><Relationship Id="rId315" Type="http://schemas.openxmlformats.org/officeDocument/2006/relationships/tags" Target="../tags/tag669.xml"/><Relationship Id="rId336" Type="http://schemas.openxmlformats.org/officeDocument/2006/relationships/tags" Target="../tags/tag690.xml"/><Relationship Id="rId357" Type="http://schemas.openxmlformats.org/officeDocument/2006/relationships/image" Target="../media/image24.jpeg"/><Relationship Id="rId54" Type="http://schemas.openxmlformats.org/officeDocument/2006/relationships/tags" Target="../tags/tag408.xml"/><Relationship Id="rId75" Type="http://schemas.openxmlformats.org/officeDocument/2006/relationships/tags" Target="../tags/tag429.xml"/><Relationship Id="rId96" Type="http://schemas.openxmlformats.org/officeDocument/2006/relationships/tags" Target="../tags/tag450.xml"/><Relationship Id="rId140" Type="http://schemas.openxmlformats.org/officeDocument/2006/relationships/tags" Target="../tags/tag494.xml"/><Relationship Id="rId161" Type="http://schemas.openxmlformats.org/officeDocument/2006/relationships/tags" Target="../tags/tag515.xml"/><Relationship Id="rId182" Type="http://schemas.openxmlformats.org/officeDocument/2006/relationships/tags" Target="../tags/tag536.xml"/><Relationship Id="rId217" Type="http://schemas.openxmlformats.org/officeDocument/2006/relationships/tags" Target="../tags/tag571.xml"/><Relationship Id="rId6" Type="http://schemas.openxmlformats.org/officeDocument/2006/relationships/tags" Target="../tags/tag360.xml"/><Relationship Id="rId238" Type="http://schemas.openxmlformats.org/officeDocument/2006/relationships/tags" Target="../tags/tag592.xml"/><Relationship Id="rId259" Type="http://schemas.openxmlformats.org/officeDocument/2006/relationships/tags" Target="../tags/tag613.xml"/><Relationship Id="rId23" Type="http://schemas.openxmlformats.org/officeDocument/2006/relationships/tags" Target="../tags/tag377.xml"/><Relationship Id="rId119" Type="http://schemas.openxmlformats.org/officeDocument/2006/relationships/tags" Target="../tags/tag473.xml"/><Relationship Id="rId270" Type="http://schemas.openxmlformats.org/officeDocument/2006/relationships/tags" Target="../tags/tag624.xml"/><Relationship Id="rId291" Type="http://schemas.openxmlformats.org/officeDocument/2006/relationships/tags" Target="../tags/tag645.xml"/><Relationship Id="rId305" Type="http://schemas.openxmlformats.org/officeDocument/2006/relationships/tags" Target="../tags/tag659.xml"/><Relationship Id="rId326" Type="http://schemas.openxmlformats.org/officeDocument/2006/relationships/tags" Target="../tags/tag680.xml"/><Relationship Id="rId347" Type="http://schemas.openxmlformats.org/officeDocument/2006/relationships/tags" Target="../tags/tag701.xml"/><Relationship Id="rId44" Type="http://schemas.openxmlformats.org/officeDocument/2006/relationships/tags" Target="../tags/tag398.xml"/><Relationship Id="rId65" Type="http://schemas.openxmlformats.org/officeDocument/2006/relationships/tags" Target="../tags/tag419.xml"/><Relationship Id="rId86" Type="http://schemas.openxmlformats.org/officeDocument/2006/relationships/tags" Target="../tags/tag440.xml"/><Relationship Id="rId130" Type="http://schemas.openxmlformats.org/officeDocument/2006/relationships/tags" Target="../tags/tag484.xml"/><Relationship Id="rId151" Type="http://schemas.openxmlformats.org/officeDocument/2006/relationships/tags" Target="../tags/tag505.xml"/><Relationship Id="rId368" Type="http://schemas.openxmlformats.org/officeDocument/2006/relationships/image" Target="../media/image33.jpeg"/><Relationship Id="rId172" Type="http://schemas.openxmlformats.org/officeDocument/2006/relationships/tags" Target="../tags/tag526.xml"/><Relationship Id="rId193" Type="http://schemas.openxmlformats.org/officeDocument/2006/relationships/tags" Target="../tags/tag547.xml"/><Relationship Id="rId207" Type="http://schemas.openxmlformats.org/officeDocument/2006/relationships/tags" Target="../tags/tag561.xml"/><Relationship Id="rId228" Type="http://schemas.openxmlformats.org/officeDocument/2006/relationships/tags" Target="../tags/tag582.xml"/><Relationship Id="rId249" Type="http://schemas.openxmlformats.org/officeDocument/2006/relationships/tags" Target="../tags/tag603.xml"/><Relationship Id="rId13" Type="http://schemas.openxmlformats.org/officeDocument/2006/relationships/tags" Target="../tags/tag367.xml"/><Relationship Id="rId109" Type="http://schemas.openxmlformats.org/officeDocument/2006/relationships/tags" Target="../tags/tag463.xml"/><Relationship Id="rId260" Type="http://schemas.openxmlformats.org/officeDocument/2006/relationships/tags" Target="../tags/tag614.xml"/><Relationship Id="rId281" Type="http://schemas.openxmlformats.org/officeDocument/2006/relationships/tags" Target="../tags/tag635.xml"/><Relationship Id="rId316" Type="http://schemas.openxmlformats.org/officeDocument/2006/relationships/tags" Target="../tags/tag670.xml"/><Relationship Id="rId337" Type="http://schemas.openxmlformats.org/officeDocument/2006/relationships/tags" Target="../tags/tag691.xml"/><Relationship Id="rId34" Type="http://schemas.openxmlformats.org/officeDocument/2006/relationships/tags" Target="../tags/tag388.xml"/><Relationship Id="rId55" Type="http://schemas.openxmlformats.org/officeDocument/2006/relationships/tags" Target="../tags/tag409.xml"/><Relationship Id="rId76" Type="http://schemas.openxmlformats.org/officeDocument/2006/relationships/tags" Target="../tags/tag430.xml"/><Relationship Id="rId97" Type="http://schemas.openxmlformats.org/officeDocument/2006/relationships/tags" Target="../tags/tag451.xml"/><Relationship Id="rId120" Type="http://schemas.openxmlformats.org/officeDocument/2006/relationships/tags" Target="../tags/tag474.xml"/><Relationship Id="rId141" Type="http://schemas.openxmlformats.org/officeDocument/2006/relationships/tags" Target="../tags/tag495.xml"/><Relationship Id="rId358" Type="http://schemas.openxmlformats.org/officeDocument/2006/relationships/image" Target="../media/image25.jpeg"/><Relationship Id="rId7" Type="http://schemas.openxmlformats.org/officeDocument/2006/relationships/tags" Target="../tags/tag361.xml"/><Relationship Id="rId162" Type="http://schemas.openxmlformats.org/officeDocument/2006/relationships/tags" Target="../tags/tag516.xml"/><Relationship Id="rId183" Type="http://schemas.openxmlformats.org/officeDocument/2006/relationships/tags" Target="../tags/tag537.xml"/><Relationship Id="rId218" Type="http://schemas.openxmlformats.org/officeDocument/2006/relationships/tags" Target="../tags/tag572.xml"/><Relationship Id="rId239" Type="http://schemas.openxmlformats.org/officeDocument/2006/relationships/tags" Target="../tags/tag593.xml"/><Relationship Id="rId250" Type="http://schemas.openxmlformats.org/officeDocument/2006/relationships/tags" Target="../tags/tag604.xml"/><Relationship Id="rId271" Type="http://schemas.openxmlformats.org/officeDocument/2006/relationships/tags" Target="../tags/tag625.xml"/><Relationship Id="rId292" Type="http://schemas.openxmlformats.org/officeDocument/2006/relationships/tags" Target="../tags/tag646.xml"/><Relationship Id="rId306" Type="http://schemas.openxmlformats.org/officeDocument/2006/relationships/tags" Target="../tags/tag660.xml"/><Relationship Id="rId24" Type="http://schemas.openxmlformats.org/officeDocument/2006/relationships/tags" Target="../tags/tag378.xml"/><Relationship Id="rId45" Type="http://schemas.openxmlformats.org/officeDocument/2006/relationships/tags" Target="../tags/tag399.xml"/><Relationship Id="rId66" Type="http://schemas.openxmlformats.org/officeDocument/2006/relationships/tags" Target="../tags/tag420.xml"/><Relationship Id="rId87" Type="http://schemas.openxmlformats.org/officeDocument/2006/relationships/tags" Target="../tags/tag441.xml"/><Relationship Id="rId110" Type="http://schemas.openxmlformats.org/officeDocument/2006/relationships/tags" Target="../tags/tag464.xml"/><Relationship Id="rId131" Type="http://schemas.openxmlformats.org/officeDocument/2006/relationships/tags" Target="../tags/tag485.xml"/><Relationship Id="rId327" Type="http://schemas.openxmlformats.org/officeDocument/2006/relationships/tags" Target="../tags/tag681.xml"/><Relationship Id="rId348" Type="http://schemas.openxmlformats.org/officeDocument/2006/relationships/tags" Target="../tags/tag702.xml"/><Relationship Id="rId369" Type="http://schemas.openxmlformats.org/officeDocument/2006/relationships/image" Target="../media/image34.jpeg"/><Relationship Id="rId152" Type="http://schemas.openxmlformats.org/officeDocument/2006/relationships/tags" Target="../tags/tag506.xml"/><Relationship Id="rId173" Type="http://schemas.openxmlformats.org/officeDocument/2006/relationships/tags" Target="../tags/tag527.xml"/><Relationship Id="rId194" Type="http://schemas.openxmlformats.org/officeDocument/2006/relationships/tags" Target="../tags/tag548.xml"/><Relationship Id="rId208" Type="http://schemas.openxmlformats.org/officeDocument/2006/relationships/tags" Target="../tags/tag562.xml"/><Relationship Id="rId229" Type="http://schemas.openxmlformats.org/officeDocument/2006/relationships/tags" Target="../tags/tag583.xml"/><Relationship Id="rId240" Type="http://schemas.openxmlformats.org/officeDocument/2006/relationships/tags" Target="../tags/tag594.xml"/><Relationship Id="rId261" Type="http://schemas.openxmlformats.org/officeDocument/2006/relationships/tags" Target="../tags/tag615.xml"/><Relationship Id="rId14" Type="http://schemas.openxmlformats.org/officeDocument/2006/relationships/tags" Target="../tags/tag368.xml"/><Relationship Id="rId35" Type="http://schemas.openxmlformats.org/officeDocument/2006/relationships/tags" Target="../tags/tag389.xml"/><Relationship Id="rId56" Type="http://schemas.openxmlformats.org/officeDocument/2006/relationships/tags" Target="../tags/tag410.xml"/><Relationship Id="rId77" Type="http://schemas.openxmlformats.org/officeDocument/2006/relationships/tags" Target="../tags/tag431.xml"/><Relationship Id="rId100" Type="http://schemas.openxmlformats.org/officeDocument/2006/relationships/tags" Target="../tags/tag454.xml"/><Relationship Id="rId282" Type="http://schemas.openxmlformats.org/officeDocument/2006/relationships/tags" Target="../tags/tag636.xml"/><Relationship Id="rId317" Type="http://schemas.openxmlformats.org/officeDocument/2006/relationships/tags" Target="../tags/tag671.xml"/><Relationship Id="rId338" Type="http://schemas.openxmlformats.org/officeDocument/2006/relationships/tags" Target="../tags/tag692.xml"/><Relationship Id="rId359" Type="http://schemas.openxmlformats.org/officeDocument/2006/relationships/image" Target="../media/image26.gif"/><Relationship Id="rId8" Type="http://schemas.openxmlformats.org/officeDocument/2006/relationships/tags" Target="../tags/tag362.xml"/><Relationship Id="rId98" Type="http://schemas.openxmlformats.org/officeDocument/2006/relationships/tags" Target="../tags/tag452.xml"/><Relationship Id="rId121" Type="http://schemas.openxmlformats.org/officeDocument/2006/relationships/tags" Target="../tags/tag475.xml"/><Relationship Id="rId142" Type="http://schemas.openxmlformats.org/officeDocument/2006/relationships/tags" Target="../tags/tag496.xml"/><Relationship Id="rId163" Type="http://schemas.openxmlformats.org/officeDocument/2006/relationships/tags" Target="../tags/tag517.xml"/><Relationship Id="rId184" Type="http://schemas.openxmlformats.org/officeDocument/2006/relationships/tags" Target="../tags/tag538.xml"/><Relationship Id="rId219" Type="http://schemas.openxmlformats.org/officeDocument/2006/relationships/tags" Target="../tags/tag573.xml"/><Relationship Id="rId370" Type="http://schemas.openxmlformats.org/officeDocument/2006/relationships/image" Target="../media/image14.jpeg"/><Relationship Id="rId230" Type="http://schemas.openxmlformats.org/officeDocument/2006/relationships/tags" Target="../tags/tag584.xml"/><Relationship Id="rId251" Type="http://schemas.openxmlformats.org/officeDocument/2006/relationships/tags" Target="../tags/tag605.xml"/><Relationship Id="rId25" Type="http://schemas.openxmlformats.org/officeDocument/2006/relationships/tags" Target="../tags/tag379.xml"/><Relationship Id="rId46" Type="http://schemas.openxmlformats.org/officeDocument/2006/relationships/tags" Target="../tags/tag400.xml"/><Relationship Id="rId67" Type="http://schemas.openxmlformats.org/officeDocument/2006/relationships/tags" Target="../tags/tag421.xml"/><Relationship Id="rId272" Type="http://schemas.openxmlformats.org/officeDocument/2006/relationships/tags" Target="../tags/tag626.xml"/><Relationship Id="rId293" Type="http://schemas.openxmlformats.org/officeDocument/2006/relationships/tags" Target="../tags/tag647.xml"/><Relationship Id="rId307" Type="http://schemas.openxmlformats.org/officeDocument/2006/relationships/tags" Target="../tags/tag661.xml"/><Relationship Id="rId328" Type="http://schemas.openxmlformats.org/officeDocument/2006/relationships/tags" Target="../tags/tag682.xml"/><Relationship Id="rId349" Type="http://schemas.openxmlformats.org/officeDocument/2006/relationships/tags" Target="../tags/tag703.xml"/><Relationship Id="rId88" Type="http://schemas.openxmlformats.org/officeDocument/2006/relationships/tags" Target="../tags/tag442.xml"/><Relationship Id="rId111" Type="http://schemas.openxmlformats.org/officeDocument/2006/relationships/tags" Target="../tags/tag465.xml"/><Relationship Id="rId132" Type="http://schemas.openxmlformats.org/officeDocument/2006/relationships/tags" Target="../tags/tag486.xml"/><Relationship Id="rId153" Type="http://schemas.openxmlformats.org/officeDocument/2006/relationships/tags" Target="../tags/tag507.xml"/><Relationship Id="rId174" Type="http://schemas.openxmlformats.org/officeDocument/2006/relationships/tags" Target="../tags/tag528.xml"/><Relationship Id="rId195" Type="http://schemas.openxmlformats.org/officeDocument/2006/relationships/tags" Target="../tags/tag549.xml"/><Relationship Id="rId209" Type="http://schemas.openxmlformats.org/officeDocument/2006/relationships/tags" Target="../tags/tag563.xml"/><Relationship Id="rId360" Type="http://schemas.openxmlformats.org/officeDocument/2006/relationships/image" Target="../media/image27.jpeg"/><Relationship Id="rId220" Type="http://schemas.openxmlformats.org/officeDocument/2006/relationships/tags" Target="../tags/tag574.xml"/><Relationship Id="rId241" Type="http://schemas.openxmlformats.org/officeDocument/2006/relationships/tags" Target="../tags/tag595.xml"/><Relationship Id="rId15" Type="http://schemas.openxmlformats.org/officeDocument/2006/relationships/tags" Target="../tags/tag369.xml"/><Relationship Id="rId36" Type="http://schemas.openxmlformats.org/officeDocument/2006/relationships/tags" Target="../tags/tag390.xml"/><Relationship Id="rId57" Type="http://schemas.openxmlformats.org/officeDocument/2006/relationships/tags" Target="../tags/tag411.xml"/><Relationship Id="rId262" Type="http://schemas.openxmlformats.org/officeDocument/2006/relationships/tags" Target="../tags/tag616.xml"/><Relationship Id="rId283" Type="http://schemas.openxmlformats.org/officeDocument/2006/relationships/tags" Target="../tags/tag637.xml"/><Relationship Id="rId318" Type="http://schemas.openxmlformats.org/officeDocument/2006/relationships/tags" Target="../tags/tag672.xml"/><Relationship Id="rId339" Type="http://schemas.openxmlformats.org/officeDocument/2006/relationships/tags" Target="../tags/tag693.xml"/><Relationship Id="rId78" Type="http://schemas.openxmlformats.org/officeDocument/2006/relationships/tags" Target="../tags/tag432.xml"/><Relationship Id="rId99" Type="http://schemas.openxmlformats.org/officeDocument/2006/relationships/tags" Target="../tags/tag453.xml"/><Relationship Id="rId101" Type="http://schemas.openxmlformats.org/officeDocument/2006/relationships/tags" Target="../tags/tag455.xml"/><Relationship Id="rId122" Type="http://schemas.openxmlformats.org/officeDocument/2006/relationships/tags" Target="../tags/tag476.xml"/><Relationship Id="rId143" Type="http://schemas.openxmlformats.org/officeDocument/2006/relationships/tags" Target="../tags/tag497.xml"/><Relationship Id="rId164" Type="http://schemas.openxmlformats.org/officeDocument/2006/relationships/tags" Target="../tags/tag518.xml"/><Relationship Id="rId185" Type="http://schemas.openxmlformats.org/officeDocument/2006/relationships/tags" Target="../tags/tag539.xml"/><Relationship Id="rId350" Type="http://schemas.openxmlformats.org/officeDocument/2006/relationships/tags" Target="../tags/tag704.xml"/><Relationship Id="rId371" Type="http://schemas.openxmlformats.org/officeDocument/2006/relationships/image" Target="../media/image35.gif"/><Relationship Id="rId4" Type="http://schemas.openxmlformats.org/officeDocument/2006/relationships/tags" Target="../tags/tag358.xml"/><Relationship Id="rId9" Type="http://schemas.openxmlformats.org/officeDocument/2006/relationships/tags" Target="../tags/tag363.xml"/><Relationship Id="rId180" Type="http://schemas.openxmlformats.org/officeDocument/2006/relationships/tags" Target="../tags/tag534.xml"/><Relationship Id="rId210" Type="http://schemas.openxmlformats.org/officeDocument/2006/relationships/tags" Target="../tags/tag564.xml"/><Relationship Id="rId215" Type="http://schemas.openxmlformats.org/officeDocument/2006/relationships/tags" Target="../tags/tag569.xml"/><Relationship Id="rId236" Type="http://schemas.openxmlformats.org/officeDocument/2006/relationships/tags" Target="../tags/tag590.xml"/><Relationship Id="rId257" Type="http://schemas.openxmlformats.org/officeDocument/2006/relationships/tags" Target="../tags/tag611.xml"/><Relationship Id="rId278" Type="http://schemas.openxmlformats.org/officeDocument/2006/relationships/tags" Target="../tags/tag632.xml"/><Relationship Id="rId26" Type="http://schemas.openxmlformats.org/officeDocument/2006/relationships/tags" Target="../tags/tag380.xml"/><Relationship Id="rId231" Type="http://schemas.openxmlformats.org/officeDocument/2006/relationships/tags" Target="../tags/tag585.xml"/><Relationship Id="rId252" Type="http://schemas.openxmlformats.org/officeDocument/2006/relationships/tags" Target="../tags/tag606.xml"/><Relationship Id="rId273" Type="http://schemas.openxmlformats.org/officeDocument/2006/relationships/tags" Target="../tags/tag627.xml"/><Relationship Id="rId294" Type="http://schemas.openxmlformats.org/officeDocument/2006/relationships/tags" Target="../tags/tag648.xml"/><Relationship Id="rId308" Type="http://schemas.openxmlformats.org/officeDocument/2006/relationships/tags" Target="../tags/tag662.xml"/><Relationship Id="rId329" Type="http://schemas.openxmlformats.org/officeDocument/2006/relationships/tags" Target="../tags/tag683.xml"/><Relationship Id="rId47" Type="http://schemas.openxmlformats.org/officeDocument/2006/relationships/tags" Target="../tags/tag401.xml"/><Relationship Id="rId68" Type="http://schemas.openxmlformats.org/officeDocument/2006/relationships/tags" Target="../tags/tag422.xml"/><Relationship Id="rId89" Type="http://schemas.openxmlformats.org/officeDocument/2006/relationships/tags" Target="../tags/tag443.xml"/><Relationship Id="rId112" Type="http://schemas.openxmlformats.org/officeDocument/2006/relationships/tags" Target="../tags/tag466.xml"/><Relationship Id="rId133" Type="http://schemas.openxmlformats.org/officeDocument/2006/relationships/tags" Target="../tags/tag487.xml"/><Relationship Id="rId154" Type="http://schemas.openxmlformats.org/officeDocument/2006/relationships/tags" Target="../tags/tag508.xml"/><Relationship Id="rId175" Type="http://schemas.openxmlformats.org/officeDocument/2006/relationships/tags" Target="../tags/tag529.xml"/><Relationship Id="rId340" Type="http://schemas.openxmlformats.org/officeDocument/2006/relationships/tags" Target="../tags/tag694.xml"/><Relationship Id="rId361" Type="http://schemas.openxmlformats.org/officeDocument/2006/relationships/hyperlink" Target="http://www.cca.org.mx/" TargetMode="External"/><Relationship Id="rId196" Type="http://schemas.openxmlformats.org/officeDocument/2006/relationships/tags" Target="../tags/tag550.xml"/><Relationship Id="rId200" Type="http://schemas.openxmlformats.org/officeDocument/2006/relationships/tags" Target="../tags/tag554.xml"/><Relationship Id="rId16" Type="http://schemas.openxmlformats.org/officeDocument/2006/relationships/tags" Target="../tags/tag370.xml"/><Relationship Id="rId221" Type="http://schemas.openxmlformats.org/officeDocument/2006/relationships/tags" Target="../tags/tag575.xml"/><Relationship Id="rId242" Type="http://schemas.openxmlformats.org/officeDocument/2006/relationships/tags" Target="../tags/tag596.xml"/><Relationship Id="rId263" Type="http://schemas.openxmlformats.org/officeDocument/2006/relationships/tags" Target="../tags/tag617.xml"/><Relationship Id="rId284" Type="http://schemas.openxmlformats.org/officeDocument/2006/relationships/tags" Target="../tags/tag638.xml"/><Relationship Id="rId319" Type="http://schemas.openxmlformats.org/officeDocument/2006/relationships/tags" Target="../tags/tag673.xml"/><Relationship Id="rId37" Type="http://schemas.openxmlformats.org/officeDocument/2006/relationships/tags" Target="../tags/tag391.xml"/><Relationship Id="rId58" Type="http://schemas.openxmlformats.org/officeDocument/2006/relationships/tags" Target="../tags/tag412.xml"/><Relationship Id="rId79" Type="http://schemas.openxmlformats.org/officeDocument/2006/relationships/tags" Target="../tags/tag433.xml"/><Relationship Id="rId102" Type="http://schemas.openxmlformats.org/officeDocument/2006/relationships/tags" Target="../tags/tag456.xml"/><Relationship Id="rId123" Type="http://schemas.openxmlformats.org/officeDocument/2006/relationships/tags" Target="../tags/tag477.xml"/><Relationship Id="rId144" Type="http://schemas.openxmlformats.org/officeDocument/2006/relationships/tags" Target="../tags/tag498.xml"/><Relationship Id="rId330" Type="http://schemas.openxmlformats.org/officeDocument/2006/relationships/tags" Target="../tags/tag684.xml"/><Relationship Id="rId90" Type="http://schemas.openxmlformats.org/officeDocument/2006/relationships/tags" Target="../tags/tag444.xml"/><Relationship Id="rId165" Type="http://schemas.openxmlformats.org/officeDocument/2006/relationships/tags" Target="../tags/tag519.xml"/><Relationship Id="rId186" Type="http://schemas.openxmlformats.org/officeDocument/2006/relationships/tags" Target="../tags/tag540.xml"/><Relationship Id="rId351" Type="http://schemas.openxmlformats.org/officeDocument/2006/relationships/tags" Target="../tags/tag705.xml"/><Relationship Id="rId372" Type="http://schemas.openxmlformats.org/officeDocument/2006/relationships/image" Target="../media/image36.gif"/><Relationship Id="rId211" Type="http://schemas.openxmlformats.org/officeDocument/2006/relationships/tags" Target="../tags/tag565.xml"/><Relationship Id="rId232" Type="http://schemas.openxmlformats.org/officeDocument/2006/relationships/tags" Target="../tags/tag586.xml"/><Relationship Id="rId253" Type="http://schemas.openxmlformats.org/officeDocument/2006/relationships/tags" Target="../tags/tag607.xml"/><Relationship Id="rId274" Type="http://schemas.openxmlformats.org/officeDocument/2006/relationships/tags" Target="../tags/tag628.xml"/><Relationship Id="rId295" Type="http://schemas.openxmlformats.org/officeDocument/2006/relationships/tags" Target="../tags/tag649.xml"/><Relationship Id="rId309" Type="http://schemas.openxmlformats.org/officeDocument/2006/relationships/tags" Target="../tags/tag663.xml"/><Relationship Id="rId27" Type="http://schemas.openxmlformats.org/officeDocument/2006/relationships/tags" Target="../tags/tag381.xml"/><Relationship Id="rId48" Type="http://schemas.openxmlformats.org/officeDocument/2006/relationships/tags" Target="../tags/tag402.xml"/><Relationship Id="rId69" Type="http://schemas.openxmlformats.org/officeDocument/2006/relationships/tags" Target="../tags/tag423.xml"/><Relationship Id="rId113" Type="http://schemas.openxmlformats.org/officeDocument/2006/relationships/tags" Target="../tags/tag467.xml"/><Relationship Id="rId134" Type="http://schemas.openxmlformats.org/officeDocument/2006/relationships/tags" Target="../tags/tag488.xml"/><Relationship Id="rId320" Type="http://schemas.openxmlformats.org/officeDocument/2006/relationships/tags" Target="../tags/tag674.xml"/><Relationship Id="rId80" Type="http://schemas.openxmlformats.org/officeDocument/2006/relationships/tags" Target="../tags/tag434.xml"/><Relationship Id="rId155" Type="http://schemas.openxmlformats.org/officeDocument/2006/relationships/tags" Target="../tags/tag509.xml"/><Relationship Id="rId176" Type="http://schemas.openxmlformats.org/officeDocument/2006/relationships/tags" Target="../tags/tag530.xml"/><Relationship Id="rId197" Type="http://schemas.openxmlformats.org/officeDocument/2006/relationships/tags" Target="../tags/tag551.xml"/><Relationship Id="rId341" Type="http://schemas.openxmlformats.org/officeDocument/2006/relationships/tags" Target="../tags/tag695.xml"/><Relationship Id="rId362" Type="http://schemas.openxmlformats.org/officeDocument/2006/relationships/image" Target="../media/image28.png"/><Relationship Id="rId201" Type="http://schemas.openxmlformats.org/officeDocument/2006/relationships/tags" Target="../tags/tag555.xml"/><Relationship Id="rId222" Type="http://schemas.openxmlformats.org/officeDocument/2006/relationships/tags" Target="../tags/tag576.xml"/><Relationship Id="rId243" Type="http://schemas.openxmlformats.org/officeDocument/2006/relationships/tags" Target="../tags/tag597.xml"/><Relationship Id="rId264" Type="http://schemas.openxmlformats.org/officeDocument/2006/relationships/tags" Target="../tags/tag618.xml"/><Relationship Id="rId285" Type="http://schemas.openxmlformats.org/officeDocument/2006/relationships/tags" Target="../tags/tag639.xml"/><Relationship Id="rId17" Type="http://schemas.openxmlformats.org/officeDocument/2006/relationships/tags" Target="../tags/tag371.xml"/><Relationship Id="rId38" Type="http://schemas.openxmlformats.org/officeDocument/2006/relationships/tags" Target="../tags/tag392.xml"/><Relationship Id="rId59" Type="http://schemas.openxmlformats.org/officeDocument/2006/relationships/tags" Target="../tags/tag413.xml"/><Relationship Id="rId103" Type="http://schemas.openxmlformats.org/officeDocument/2006/relationships/tags" Target="../tags/tag457.xml"/><Relationship Id="rId124" Type="http://schemas.openxmlformats.org/officeDocument/2006/relationships/tags" Target="../tags/tag478.xml"/><Relationship Id="rId310" Type="http://schemas.openxmlformats.org/officeDocument/2006/relationships/tags" Target="../tags/tag664.xml"/><Relationship Id="rId70" Type="http://schemas.openxmlformats.org/officeDocument/2006/relationships/tags" Target="../tags/tag424.xml"/><Relationship Id="rId91" Type="http://schemas.openxmlformats.org/officeDocument/2006/relationships/tags" Target="../tags/tag445.xml"/><Relationship Id="rId145" Type="http://schemas.openxmlformats.org/officeDocument/2006/relationships/tags" Target="../tags/tag499.xml"/><Relationship Id="rId166" Type="http://schemas.openxmlformats.org/officeDocument/2006/relationships/tags" Target="../tags/tag520.xml"/><Relationship Id="rId187" Type="http://schemas.openxmlformats.org/officeDocument/2006/relationships/tags" Target="../tags/tag541.xml"/><Relationship Id="rId331" Type="http://schemas.openxmlformats.org/officeDocument/2006/relationships/tags" Target="../tags/tag685.xml"/><Relationship Id="rId352" Type="http://schemas.openxmlformats.org/officeDocument/2006/relationships/tags" Target="../tags/tag706.xml"/><Relationship Id="rId373" Type="http://schemas.openxmlformats.org/officeDocument/2006/relationships/hyperlink" Target="http://www.emprendegestionpublica.org/" TargetMode="External"/><Relationship Id="rId1" Type="http://schemas.openxmlformats.org/officeDocument/2006/relationships/tags" Target="../tags/tag355.xml"/><Relationship Id="rId212" Type="http://schemas.openxmlformats.org/officeDocument/2006/relationships/tags" Target="../tags/tag566.xml"/><Relationship Id="rId233" Type="http://schemas.openxmlformats.org/officeDocument/2006/relationships/tags" Target="../tags/tag587.xml"/><Relationship Id="rId254" Type="http://schemas.openxmlformats.org/officeDocument/2006/relationships/tags" Target="../tags/tag608.xml"/><Relationship Id="rId28" Type="http://schemas.openxmlformats.org/officeDocument/2006/relationships/tags" Target="../tags/tag382.xml"/><Relationship Id="rId49" Type="http://schemas.openxmlformats.org/officeDocument/2006/relationships/tags" Target="../tags/tag403.xml"/><Relationship Id="rId114" Type="http://schemas.openxmlformats.org/officeDocument/2006/relationships/tags" Target="../tags/tag468.xml"/><Relationship Id="rId275" Type="http://schemas.openxmlformats.org/officeDocument/2006/relationships/tags" Target="../tags/tag629.xml"/><Relationship Id="rId296" Type="http://schemas.openxmlformats.org/officeDocument/2006/relationships/tags" Target="../tags/tag650.xml"/><Relationship Id="rId300" Type="http://schemas.openxmlformats.org/officeDocument/2006/relationships/tags" Target="../tags/tag654.xml"/><Relationship Id="rId60" Type="http://schemas.openxmlformats.org/officeDocument/2006/relationships/tags" Target="../tags/tag414.xml"/><Relationship Id="rId81" Type="http://schemas.openxmlformats.org/officeDocument/2006/relationships/tags" Target="../tags/tag435.xml"/><Relationship Id="rId135" Type="http://schemas.openxmlformats.org/officeDocument/2006/relationships/tags" Target="../tags/tag489.xml"/><Relationship Id="rId156" Type="http://schemas.openxmlformats.org/officeDocument/2006/relationships/tags" Target="../tags/tag510.xml"/><Relationship Id="rId177" Type="http://schemas.openxmlformats.org/officeDocument/2006/relationships/tags" Target="../tags/tag531.xml"/><Relationship Id="rId198" Type="http://schemas.openxmlformats.org/officeDocument/2006/relationships/tags" Target="../tags/tag552.xml"/><Relationship Id="rId321" Type="http://schemas.openxmlformats.org/officeDocument/2006/relationships/tags" Target="../tags/tag675.xml"/><Relationship Id="rId342" Type="http://schemas.openxmlformats.org/officeDocument/2006/relationships/tags" Target="../tags/tag696.xml"/><Relationship Id="rId363" Type="http://schemas.openxmlformats.org/officeDocument/2006/relationships/hyperlink" Target="http://www.aprendizajeverde.net/" TargetMode="External"/><Relationship Id="rId202" Type="http://schemas.openxmlformats.org/officeDocument/2006/relationships/tags" Target="../tags/tag556.xml"/><Relationship Id="rId223" Type="http://schemas.openxmlformats.org/officeDocument/2006/relationships/tags" Target="../tags/tag577.xml"/><Relationship Id="rId244" Type="http://schemas.openxmlformats.org/officeDocument/2006/relationships/tags" Target="../tags/tag598.xml"/><Relationship Id="rId18" Type="http://schemas.openxmlformats.org/officeDocument/2006/relationships/tags" Target="../tags/tag372.xml"/><Relationship Id="rId39" Type="http://schemas.openxmlformats.org/officeDocument/2006/relationships/tags" Target="../tags/tag393.xml"/><Relationship Id="rId265" Type="http://schemas.openxmlformats.org/officeDocument/2006/relationships/tags" Target="../tags/tag619.xml"/><Relationship Id="rId286" Type="http://schemas.openxmlformats.org/officeDocument/2006/relationships/tags" Target="../tags/tag640.xml"/><Relationship Id="rId50" Type="http://schemas.openxmlformats.org/officeDocument/2006/relationships/tags" Target="../tags/tag404.xml"/><Relationship Id="rId104" Type="http://schemas.openxmlformats.org/officeDocument/2006/relationships/tags" Target="../tags/tag458.xml"/><Relationship Id="rId125" Type="http://schemas.openxmlformats.org/officeDocument/2006/relationships/tags" Target="../tags/tag479.xml"/><Relationship Id="rId146" Type="http://schemas.openxmlformats.org/officeDocument/2006/relationships/tags" Target="../tags/tag500.xml"/><Relationship Id="rId167" Type="http://schemas.openxmlformats.org/officeDocument/2006/relationships/tags" Target="../tags/tag521.xml"/><Relationship Id="rId188" Type="http://schemas.openxmlformats.org/officeDocument/2006/relationships/tags" Target="../tags/tag542.xml"/><Relationship Id="rId311" Type="http://schemas.openxmlformats.org/officeDocument/2006/relationships/tags" Target="../tags/tag665.xml"/><Relationship Id="rId332" Type="http://schemas.openxmlformats.org/officeDocument/2006/relationships/tags" Target="../tags/tag686.xml"/><Relationship Id="rId353" Type="http://schemas.openxmlformats.org/officeDocument/2006/relationships/tags" Target="../tags/tag707.xml"/><Relationship Id="rId71" Type="http://schemas.openxmlformats.org/officeDocument/2006/relationships/tags" Target="../tags/tag425.xml"/><Relationship Id="rId92" Type="http://schemas.openxmlformats.org/officeDocument/2006/relationships/tags" Target="../tags/tag446.xml"/><Relationship Id="rId213" Type="http://schemas.openxmlformats.org/officeDocument/2006/relationships/tags" Target="../tags/tag567.xml"/><Relationship Id="rId234" Type="http://schemas.openxmlformats.org/officeDocument/2006/relationships/tags" Target="../tags/tag588.xml"/><Relationship Id="rId2" Type="http://schemas.openxmlformats.org/officeDocument/2006/relationships/tags" Target="../tags/tag356.xml"/><Relationship Id="rId29" Type="http://schemas.openxmlformats.org/officeDocument/2006/relationships/tags" Target="../tags/tag383.xml"/><Relationship Id="rId255" Type="http://schemas.openxmlformats.org/officeDocument/2006/relationships/tags" Target="../tags/tag609.xml"/><Relationship Id="rId276" Type="http://schemas.openxmlformats.org/officeDocument/2006/relationships/tags" Target="../tags/tag630.xml"/><Relationship Id="rId297" Type="http://schemas.openxmlformats.org/officeDocument/2006/relationships/tags" Target="../tags/tag651.xml"/><Relationship Id="rId40" Type="http://schemas.openxmlformats.org/officeDocument/2006/relationships/tags" Target="../tags/tag394.xml"/><Relationship Id="rId115" Type="http://schemas.openxmlformats.org/officeDocument/2006/relationships/tags" Target="../tags/tag469.xml"/><Relationship Id="rId136" Type="http://schemas.openxmlformats.org/officeDocument/2006/relationships/tags" Target="../tags/tag490.xml"/><Relationship Id="rId157" Type="http://schemas.openxmlformats.org/officeDocument/2006/relationships/tags" Target="../tags/tag511.xml"/><Relationship Id="rId178" Type="http://schemas.openxmlformats.org/officeDocument/2006/relationships/tags" Target="../tags/tag532.xml"/><Relationship Id="rId301" Type="http://schemas.openxmlformats.org/officeDocument/2006/relationships/tags" Target="../tags/tag655.xml"/><Relationship Id="rId322" Type="http://schemas.openxmlformats.org/officeDocument/2006/relationships/tags" Target="../tags/tag676.xml"/><Relationship Id="rId343" Type="http://schemas.openxmlformats.org/officeDocument/2006/relationships/tags" Target="../tags/tag697.xml"/><Relationship Id="rId364" Type="http://schemas.openxmlformats.org/officeDocument/2006/relationships/image" Target="../media/image29.png"/><Relationship Id="rId61" Type="http://schemas.openxmlformats.org/officeDocument/2006/relationships/tags" Target="../tags/tag415.xml"/><Relationship Id="rId82" Type="http://schemas.openxmlformats.org/officeDocument/2006/relationships/tags" Target="../tags/tag436.xml"/><Relationship Id="rId199" Type="http://schemas.openxmlformats.org/officeDocument/2006/relationships/tags" Target="../tags/tag553.xml"/><Relationship Id="rId203" Type="http://schemas.openxmlformats.org/officeDocument/2006/relationships/tags" Target="../tags/tag557.xml"/><Relationship Id="rId19" Type="http://schemas.openxmlformats.org/officeDocument/2006/relationships/tags" Target="../tags/tag373.xml"/><Relationship Id="rId224" Type="http://schemas.openxmlformats.org/officeDocument/2006/relationships/tags" Target="../tags/tag578.xml"/><Relationship Id="rId245" Type="http://schemas.openxmlformats.org/officeDocument/2006/relationships/tags" Target="../tags/tag599.xml"/><Relationship Id="rId266" Type="http://schemas.openxmlformats.org/officeDocument/2006/relationships/tags" Target="../tags/tag620.xml"/><Relationship Id="rId287" Type="http://schemas.openxmlformats.org/officeDocument/2006/relationships/tags" Target="../tags/tag641.xml"/><Relationship Id="rId30" Type="http://schemas.openxmlformats.org/officeDocument/2006/relationships/tags" Target="../tags/tag384.xml"/><Relationship Id="rId105" Type="http://schemas.openxmlformats.org/officeDocument/2006/relationships/tags" Target="../tags/tag459.xml"/><Relationship Id="rId126" Type="http://schemas.openxmlformats.org/officeDocument/2006/relationships/tags" Target="../tags/tag480.xml"/><Relationship Id="rId147" Type="http://schemas.openxmlformats.org/officeDocument/2006/relationships/tags" Target="../tags/tag501.xml"/><Relationship Id="rId168" Type="http://schemas.openxmlformats.org/officeDocument/2006/relationships/tags" Target="../tags/tag522.xml"/><Relationship Id="rId312" Type="http://schemas.openxmlformats.org/officeDocument/2006/relationships/tags" Target="../tags/tag666.xml"/><Relationship Id="rId333" Type="http://schemas.openxmlformats.org/officeDocument/2006/relationships/tags" Target="../tags/tag687.xml"/><Relationship Id="rId354" Type="http://schemas.openxmlformats.org/officeDocument/2006/relationships/tags" Target="../tags/tag708.xml"/><Relationship Id="rId51" Type="http://schemas.openxmlformats.org/officeDocument/2006/relationships/tags" Target="../tags/tag405.xml"/><Relationship Id="rId72" Type="http://schemas.openxmlformats.org/officeDocument/2006/relationships/tags" Target="../tags/tag426.xml"/><Relationship Id="rId93" Type="http://schemas.openxmlformats.org/officeDocument/2006/relationships/tags" Target="../tags/tag447.xml"/><Relationship Id="rId189" Type="http://schemas.openxmlformats.org/officeDocument/2006/relationships/tags" Target="../tags/tag543.xml"/><Relationship Id="rId3" Type="http://schemas.openxmlformats.org/officeDocument/2006/relationships/tags" Target="../tags/tag357.xml"/><Relationship Id="rId214" Type="http://schemas.openxmlformats.org/officeDocument/2006/relationships/tags" Target="../tags/tag568.xml"/><Relationship Id="rId235" Type="http://schemas.openxmlformats.org/officeDocument/2006/relationships/tags" Target="../tags/tag589.xml"/><Relationship Id="rId256" Type="http://schemas.openxmlformats.org/officeDocument/2006/relationships/tags" Target="../tags/tag610.xml"/><Relationship Id="rId277" Type="http://schemas.openxmlformats.org/officeDocument/2006/relationships/tags" Target="../tags/tag631.xml"/><Relationship Id="rId298" Type="http://schemas.openxmlformats.org/officeDocument/2006/relationships/tags" Target="../tags/tag652.xml"/><Relationship Id="rId116" Type="http://schemas.openxmlformats.org/officeDocument/2006/relationships/tags" Target="../tags/tag470.xml"/><Relationship Id="rId137" Type="http://schemas.openxmlformats.org/officeDocument/2006/relationships/tags" Target="../tags/tag491.xml"/><Relationship Id="rId158" Type="http://schemas.openxmlformats.org/officeDocument/2006/relationships/tags" Target="../tags/tag512.xml"/><Relationship Id="rId302" Type="http://schemas.openxmlformats.org/officeDocument/2006/relationships/tags" Target="../tags/tag656.xml"/><Relationship Id="rId323" Type="http://schemas.openxmlformats.org/officeDocument/2006/relationships/tags" Target="../tags/tag677.xml"/><Relationship Id="rId344" Type="http://schemas.openxmlformats.org/officeDocument/2006/relationships/tags" Target="../tags/tag698.xml"/><Relationship Id="rId20" Type="http://schemas.openxmlformats.org/officeDocument/2006/relationships/tags" Target="../tags/tag374.xml"/><Relationship Id="rId41" Type="http://schemas.openxmlformats.org/officeDocument/2006/relationships/tags" Target="../tags/tag395.xml"/><Relationship Id="rId62" Type="http://schemas.openxmlformats.org/officeDocument/2006/relationships/tags" Target="../tags/tag416.xml"/><Relationship Id="rId83" Type="http://schemas.openxmlformats.org/officeDocument/2006/relationships/tags" Target="../tags/tag437.xml"/><Relationship Id="rId179" Type="http://schemas.openxmlformats.org/officeDocument/2006/relationships/tags" Target="../tags/tag533.xml"/><Relationship Id="rId365" Type="http://schemas.openxmlformats.org/officeDocument/2006/relationships/image" Target="../media/image30.png"/><Relationship Id="rId190" Type="http://schemas.openxmlformats.org/officeDocument/2006/relationships/tags" Target="../tags/tag544.xml"/><Relationship Id="rId204" Type="http://schemas.openxmlformats.org/officeDocument/2006/relationships/tags" Target="../tags/tag558.xml"/><Relationship Id="rId225" Type="http://schemas.openxmlformats.org/officeDocument/2006/relationships/tags" Target="../tags/tag579.xml"/><Relationship Id="rId246" Type="http://schemas.openxmlformats.org/officeDocument/2006/relationships/tags" Target="../tags/tag600.xml"/><Relationship Id="rId267" Type="http://schemas.openxmlformats.org/officeDocument/2006/relationships/tags" Target="../tags/tag621.xml"/><Relationship Id="rId288" Type="http://schemas.openxmlformats.org/officeDocument/2006/relationships/tags" Target="../tags/tag642.xml"/><Relationship Id="rId106" Type="http://schemas.openxmlformats.org/officeDocument/2006/relationships/tags" Target="../tags/tag460.xml"/><Relationship Id="rId127" Type="http://schemas.openxmlformats.org/officeDocument/2006/relationships/tags" Target="../tags/tag481.xml"/><Relationship Id="rId313" Type="http://schemas.openxmlformats.org/officeDocument/2006/relationships/tags" Target="../tags/tag667.xml"/><Relationship Id="rId10" Type="http://schemas.openxmlformats.org/officeDocument/2006/relationships/tags" Target="../tags/tag364.xml"/><Relationship Id="rId31" Type="http://schemas.openxmlformats.org/officeDocument/2006/relationships/tags" Target="../tags/tag385.xml"/><Relationship Id="rId52" Type="http://schemas.openxmlformats.org/officeDocument/2006/relationships/tags" Target="../tags/tag406.xml"/><Relationship Id="rId73" Type="http://schemas.openxmlformats.org/officeDocument/2006/relationships/tags" Target="../tags/tag427.xml"/><Relationship Id="rId94" Type="http://schemas.openxmlformats.org/officeDocument/2006/relationships/tags" Target="../tags/tag448.xml"/><Relationship Id="rId148" Type="http://schemas.openxmlformats.org/officeDocument/2006/relationships/tags" Target="../tags/tag502.xml"/><Relationship Id="rId169" Type="http://schemas.openxmlformats.org/officeDocument/2006/relationships/tags" Target="../tags/tag523.xml"/><Relationship Id="rId334" Type="http://schemas.openxmlformats.org/officeDocument/2006/relationships/tags" Target="../tags/tag688.xml"/><Relationship Id="rId355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claudia.salinas@itesm.mx" TargetMode="External"/><Relationship Id="rId2" Type="http://schemas.openxmlformats.org/officeDocument/2006/relationships/hyperlink" Target="mailto:laruiz@itesm.mx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dirty="0" err="1" smtClean="0"/>
              <a:t>Innovación</a:t>
            </a:r>
            <a:r>
              <a:rPr lang="en-US" dirty="0" smtClean="0"/>
              <a:t> Social</a:t>
            </a:r>
            <a:endParaRPr lang="es-MX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4909" y="6438967"/>
            <a:ext cx="10058400" cy="515624"/>
          </a:xfrm>
        </p:spPr>
        <p:txBody>
          <a:bodyPr/>
          <a:lstStyle/>
          <a:p>
            <a:r>
              <a:rPr lang="en-US" b="1" dirty="0" err="1" smtClean="0">
                <a:solidFill>
                  <a:srgbClr val="FFFF00"/>
                </a:solidFill>
              </a:rPr>
              <a:t>Dirección</a:t>
            </a:r>
            <a:r>
              <a:rPr lang="en-US" b="1" dirty="0" smtClean="0">
                <a:solidFill>
                  <a:srgbClr val="FFFF00"/>
                </a:solidFill>
              </a:rPr>
              <a:t> de Educación para el </a:t>
            </a:r>
            <a:r>
              <a:rPr lang="en-US" b="1" dirty="0" err="1" smtClean="0">
                <a:solidFill>
                  <a:srgbClr val="FFFF00"/>
                </a:solidFill>
              </a:rPr>
              <a:t>desarrollo</a:t>
            </a:r>
            <a:endParaRPr lang="es-MX" b="1" dirty="0">
              <a:solidFill>
                <a:srgbClr val="FFFF00"/>
              </a:solidFill>
            </a:endParaRPr>
          </a:p>
        </p:txBody>
      </p:sp>
      <p:pic>
        <p:nvPicPr>
          <p:cNvPr id="4" name="Picture 2" descr="http://www.itesm.mx/wps/wcm/connect/d5a3070043c4ee59b9ffffa3bdd0ae95/1/Logo_EGAP.jpg?MOD=AJPERES&amp;CACHEID=d5a3070043c4ee59b9ffffa3bdd0ae95/1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97280" y="628443"/>
            <a:ext cx="3604323" cy="88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5663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3064" y="-73962"/>
            <a:ext cx="7393922" cy="1107996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u="sng" dirty="0" err="1" smtClean="0"/>
              <a:t>Retos</a:t>
            </a:r>
            <a:r>
              <a:rPr lang="en-US" sz="4000" u="sng" dirty="0" smtClean="0"/>
              <a:t> a los que </a:t>
            </a:r>
            <a:r>
              <a:rPr lang="en-US" sz="4000" u="sng" dirty="0" err="1" smtClean="0"/>
              <a:t>nos</a:t>
            </a:r>
            <a:r>
              <a:rPr lang="en-US" sz="4000" u="sng" dirty="0" smtClean="0"/>
              <a:t/>
            </a:r>
            <a:br>
              <a:rPr lang="en-US" sz="4000" u="sng" dirty="0" smtClean="0"/>
            </a:br>
            <a:r>
              <a:rPr lang="en-US" sz="4000" u="sng" dirty="0" smtClean="0"/>
              <a:t> </a:t>
            </a:r>
            <a:r>
              <a:rPr lang="en-US" sz="4000" u="sng" dirty="0" err="1" smtClean="0"/>
              <a:t>enfrentamos</a:t>
            </a:r>
            <a:r>
              <a:rPr lang="en-US" sz="4000" u="sng" dirty="0"/>
              <a:t> </a:t>
            </a:r>
            <a:r>
              <a:rPr lang="en-US" sz="4000" u="sng" dirty="0" err="1" smtClean="0"/>
              <a:t>vs</a:t>
            </a:r>
            <a:r>
              <a:rPr lang="en-US" sz="4000" u="sng" dirty="0" smtClean="0"/>
              <a:t> el </a:t>
            </a:r>
            <a:r>
              <a:rPr lang="en-US" sz="4000" u="sng" dirty="0" err="1" smtClean="0"/>
              <a:t>empoderamiento</a:t>
            </a:r>
            <a:r>
              <a:rPr lang="en-US" sz="4000" u="sng" dirty="0" smtClean="0"/>
              <a:t> de </a:t>
            </a:r>
            <a:endParaRPr lang="es-MX" sz="4000" u="sng" dirty="0"/>
          </a:p>
        </p:txBody>
      </p:sp>
      <p:grpSp>
        <p:nvGrpSpPr>
          <p:cNvPr id="13" name="Group 12"/>
          <p:cNvGrpSpPr/>
          <p:nvPr/>
        </p:nvGrpSpPr>
        <p:grpSpPr>
          <a:xfrm>
            <a:off x="1744047" y="1861019"/>
            <a:ext cx="3595978" cy="996531"/>
            <a:chOff x="2020426" y="1600907"/>
            <a:chExt cx="3595978" cy="1097280"/>
          </a:xfrm>
        </p:grpSpPr>
        <p:sp>
          <p:nvSpPr>
            <p:cNvPr id="8" name="Rounded Rectangle 7"/>
            <p:cNvSpPr/>
            <p:nvPr/>
          </p:nvSpPr>
          <p:spPr bwMode="auto">
            <a:xfrm>
              <a:off x="2020426" y="1600907"/>
              <a:ext cx="2194560" cy="109728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MX" sz="240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pic>
          <p:nvPicPr>
            <p:cNvPr id="1038" name="Picture 14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198762" y="1675187"/>
              <a:ext cx="1812890" cy="10058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2645526" y="1880846"/>
              <a:ext cx="2970878" cy="4405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b="1" dirty="0" err="1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esarrollo</a:t>
              </a:r>
              <a:r>
                <a:rPr lang="en-US" sz="2000" b="1" dirty="0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de </a:t>
              </a:r>
              <a:r>
                <a:rPr lang="en-US" sz="2000" b="1" dirty="0" err="1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apacidades</a:t>
              </a:r>
              <a:endParaRPr lang="en-US" sz="2000" b="1" dirty="0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8177475" y="4127243"/>
            <a:ext cx="3068955" cy="1106842"/>
            <a:chOff x="5029125" y="1688271"/>
            <a:chExt cx="3068955" cy="1224232"/>
          </a:xfrm>
        </p:grpSpPr>
        <p:sp>
          <p:nvSpPr>
            <p:cNvPr id="22" name="Rounded Rectangle 21"/>
            <p:cNvSpPr/>
            <p:nvPr/>
          </p:nvSpPr>
          <p:spPr bwMode="auto">
            <a:xfrm>
              <a:off x="5029125" y="1688271"/>
              <a:ext cx="2194560" cy="1097280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MX" sz="240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554004" y="2129539"/>
              <a:ext cx="1544076" cy="7829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b="1" dirty="0" err="1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Funcionarios</a:t>
              </a:r>
              <a:endParaRPr lang="en-US" sz="2000" b="1" dirty="0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algn="r"/>
              <a:r>
                <a:rPr lang="en-US" sz="2000" b="1" dirty="0" err="1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úblicos</a:t>
              </a:r>
              <a:endParaRPr lang="es-MX" sz="2000" b="1" dirty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783083" y="3022014"/>
            <a:ext cx="4083087" cy="917450"/>
            <a:chOff x="5088667" y="2924944"/>
            <a:chExt cx="4083087" cy="1107460"/>
          </a:xfrm>
        </p:grpSpPr>
        <p:sp>
          <p:nvSpPr>
            <p:cNvPr id="26" name="Rounded Rectangle 25"/>
            <p:cNvSpPr/>
            <p:nvPr/>
          </p:nvSpPr>
          <p:spPr bwMode="auto">
            <a:xfrm>
              <a:off x="5088667" y="2924944"/>
              <a:ext cx="2194560" cy="109728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MX" sz="240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pic>
          <p:nvPicPr>
            <p:cNvPr id="1029" name="Picture 5" descr="C:\Users\L00564567\AppData\Local\Microsoft\Windows\Temporary Internet Files\Content.IE5\96KDSQTG\MP900289343[1]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5124" y="2983000"/>
              <a:ext cx="1520162" cy="1005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7605427" y="3326519"/>
              <a:ext cx="1566327" cy="7058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MX" sz="1600" b="1" dirty="0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ccesibilidad </a:t>
              </a:r>
              <a:endParaRPr lang="es-MX" sz="1600" b="1" dirty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algn="r"/>
              <a:r>
                <a:rPr lang="es-MX" sz="1600" b="1" dirty="0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l conocimiento</a:t>
              </a:r>
              <a:endParaRPr lang="es-MX" sz="1600" b="1" dirty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205927" y="5371542"/>
            <a:ext cx="3093270" cy="1046507"/>
            <a:chOff x="3337214" y="5448988"/>
            <a:chExt cx="3093270" cy="1046507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25" name="Rounded Rectangle 24"/>
            <p:cNvSpPr/>
            <p:nvPr/>
          </p:nvSpPr>
          <p:spPr bwMode="auto">
            <a:xfrm>
              <a:off x="3337214" y="5448988"/>
              <a:ext cx="2194560" cy="877492"/>
            </a:xfrm>
            <a:prstGeom prst="roundRect">
              <a:avLst/>
            </a:prstGeom>
            <a:grpFill/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MX" sz="240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4964955" y="5787609"/>
              <a:ext cx="1465529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b="1" dirty="0" err="1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munidad</a:t>
              </a:r>
              <a:r>
                <a:rPr lang="en-US" sz="2000" b="1" dirty="0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</a:p>
            <a:p>
              <a:pPr algn="r"/>
              <a:r>
                <a:rPr lang="en-US" sz="2000" b="1" dirty="0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en General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783083" y="4097679"/>
            <a:ext cx="3082870" cy="857038"/>
            <a:chOff x="5088667" y="4178568"/>
            <a:chExt cx="3082870" cy="1097280"/>
          </a:xfrm>
        </p:grpSpPr>
        <p:sp>
          <p:nvSpPr>
            <p:cNvPr id="27" name="Rounded Rectangle 26"/>
            <p:cNvSpPr/>
            <p:nvPr/>
          </p:nvSpPr>
          <p:spPr bwMode="auto">
            <a:xfrm>
              <a:off x="5088667" y="4178568"/>
              <a:ext cx="2194560" cy="1097280"/>
            </a:xfrm>
            <a:prstGeom prst="round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MX" sz="240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039318" y="4522140"/>
              <a:ext cx="1132219" cy="7486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MX" sz="1600" b="1" dirty="0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esigualdad </a:t>
              </a:r>
              <a:endParaRPr lang="es-MX" sz="1600" b="1" dirty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36" name="Rounded Rectangle 35"/>
          <p:cNvSpPr/>
          <p:nvPr/>
        </p:nvSpPr>
        <p:spPr bwMode="auto">
          <a:xfrm>
            <a:off x="7985041" y="1904243"/>
            <a:ext cx="2194560" cy="93991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2400">
              <a:solidFill>
                <a:schemeClr val="tx1"/>
              </a:solidFill>
              <a:latin typeface="Arial Narrow" pitchFamily="34" charset="0"/>
            </a:endParaRPr>
          </a:p>
        </p:txBody>
      </p:sp>
      <p:pic>
        <p:nvPicPr>
          <p:cNvPr id="39" name="Picture 16" descr="http://d3kg7tnmlk2xo8.cloudfront.net/wp-content/uploads/2011/03/millenial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8136" y="1964252"/>
            <a:ext cx="1614858" cy="82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9444136" y="2182869"/>
            <a:ext cx="2591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RGANIZACIONES DE LA SOCIEDAD CIVIL</a:t>
            </a:r>
            <a:endParaRPr lang="es-MX" sz="1600" b="1" dirty="0">
              <a:effectLst>
                <a:glow rad="101600">
                  <a:schemeClr val="bg2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3" name="Picture 2" descr="http://definicion.de/wp-content/uploads/2009/12/pobreza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540" y="4127243"/>
            <a:ext cx="1472488" cy="798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Subtitle 2"/>
          <p:cNvSpPr txBox="1">
            <a:spLocks/>
          </p:cNvSpPr>
          <p:nvPr/>
        </p:nvSpPr>
        <p:spPr>
          <a:xfrm>
            <a:off x="7423579" y="6418247"/>
            <a:ext cx="4649151" cy="515624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smtClean="0">
                <a:solidFill>
                  <a:srgbClr val="FFFF00"/>
                </a:solidFill>
              </a:rPr>
              <a:t>Dirección de Educación para el desarrollo</a:t>
            </a:r>
            <a:endParaRPr lang="es-MX" b="1" dirty="0">
              <a:solidFill>
                <a:srgbClr val="FFFF00"/>
              </a:solidFill>
            </a:endParaRPr>
          </a:p>
        </p:txBody>
      </p:sp>
      <p:pic>
        <p:nvPicPr>
          <p:cNvPr id="30" name="Picture 2" descr="http://www.itesm.mx/wps/wcm/connect/d5a3070043c4ee59b9ffffa3bdd0ae95/1/Logo_EGAP.jpg?MOD=AJPERES&amp;CACHEID=d5a3070043c4ee59b9ffffa3bdd0ae95/1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0386" y="116388"/>
            <a:ext cx="1734614" cy="42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itle 1"/>
          <p:cNvSpPr txBox="1">
            <a:spLocks/>
          </p:cNvSpPr>
          <p:nvPr/>
        </p:nvSpPr>
        <p:spPr>
          <a:xfrm>
            <a:off x="5528804" y="465651"/>
            <a:ext cx="7393922" cy="110799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u="sng" dirty="0" err="1" smtClean="0"/>
              <a:t>Actores</a:t>
            </a:r>
            <a:r>
              <a:rPr lang="en-US" sz="4000" u="sng" dirty="0" smtClean="0"/>
              <a:t> Clave para el </a:t>
            </a:r>
            <a:r>
              <a:rPr lang="en-US" sz="4000" u="sng" dirty="0" err="1" smtClean="0"/>
              <a:t>desarrollo</a:t>
            </a:r>
            <a:endParaRPr lang="es-MX" sz="4000" u="sng" dirty="0"/>
          </a:p>
        </p:txBody>
      </p:sp>
      <p:grpSp>
        <p:nvGrpSpPr>
          <p:cNvPr id="40" name="Group 39"/>
          <p:cNvGrpSpPr/>
          <p:nvPr/>
        </p:nvGrpSpPr>
        <p:grpSpPr>
          <a:xfrm>
            <a:off x="8103812" y="3027627"/>
            <a:ext cx="3341842" cy="940388"/>
            <a:chOff x="5601012" y="3972625"/>
            <a:chExt cx="2647632" cy="1097280"/>
          </a:xfrm>
        </p:grpSpPr>
        <p:sp>
          <p:nvSpPr>
            <p:cNvPr id="41" name="Rounded Rectangle 40"/>
            <p:cNvSpPr/>
            <p:nvPr/>
          </p:nvSpPr>
          <p:spPr bwMode="auto">
            <a:xfrm>
              <a:off x="5601012" y="3972625"/>
              <a:ext cx="1777774" cy="109728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MX" sz="240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903769" y="4431449"/>
              <a:ext cx="1344875" cy="4668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MX" sz="2000" b="1" dirty="0" smtClean="0">
                  <a:effectLst>
                    <a:glow rad="101600">
                      <a:schemeClr val="bg2">
                        <a:alpha val="6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fesores</a:t>
              </a:r>
              <a:endParaRPr lang="es-MX" sz="2000" b="1" dirty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pic>
        <p:nvPicPr>
          <p:cNvPr id="44" name="Picture 43" descr="_MG_1803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4722" y="4198618"/>
            <a:ext cx="1275198" cy="840073"/>
          </a:xfrm>
          <a:prstGeom prst="rect">
            <a:avLst/>
          </a:prstGeom>
          <a:ln w="25400">
            <a:solidFill>
              <a:schemeClr val="bg1"/>
            </a:solidFill>
          </a:ln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71536" y="3034939"/>
            <a:ext cx="1276618" cy="914416"/>
          </a:xfrm>
          <a:prstGeom prst="rect">
            <a:avLst/>
          </a:prstGeom>
          <a:ln w="31750">
            <a:solidFill>
              <a:schemeClr val="bg1"/>
            </a:solidFill>
          </a:ln>
        </p:spPr>
      </p:pic>
      <p:pic>
        <p:nvPicPr>
          <p:cNvPr id="47" name="Picture 2" descr="F:\Recursos\Fotos\Sociales\03 varios alumnos CCA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90845" y="5361217"/>
            <a:ext cx="1038000" cy="886012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Rounded Rectangle 47"/>
          <p:cNvSpPr/>
          <p:nvPr/>
        </p:nvSpPr>
        <p:spPr bwMode="auto">
          <a:xfrm>
            <a:off x="1798504" y="5170228"/>
            <a:ext cx="2194560" cy="8570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240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722946" y="5300706"/>
            <a:ext cx="12983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 err="1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lta</a:t>
            </a:r>
            <a:r>
              <a:rPr lang="en-US" sz="1600" b="1" dirty="0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 </a:t>
            </a:r>
            <a:r>
              <a:rPr lang="en-US" sz="1600" b="1" dirty="0" err="1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ectividad</a:t>
            </a:r>
            <a:endParaRPr lang="es-MX" sz="1600" b="1" dirty="0">
              <a:effectLst>
                <a:glow rad="101600">
                  <a:schemeClr val="bg2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85950" y="5170228"/>
            <a:ext cx="1310754" cy="83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99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9707" y="531508"/>
            <a:ext cx="7393922" cy="1107996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s-MX" sz="4000" dirty="0"/>
              <a:t>¿Cómo podemos innovar </a:t>
            </a:r>
            <a:r>
              <a:rPr lang="en-US" sz="4000" dirty="0" smtClean="0"/>
              <a:t>y </a:t>
            </a:r>
            <a:r>
              <a:rPr lang="en-US" sz="4000" dirty="0" err="1" smtClean="0"/>
              <a:t>brindar</a:t>
            </a:r>
            <a:r>
              <a:rPr lang="en-US" sz="4000" dirty="0" smtClean="0"/>
              <a:t> </a:t>
            </a:r>
            <a:r>
              <a:rPr lang="en-US" sz="4000" dirty="0" err="1" smtClean="0"/>
              <a:t>soluciones</a:t>
            </a:r>
            <a:r>
              <a:rPr lang="en-US" sz="4000" dirty="0" smtClean="0"/>
              <a:t> a los </a:t>
            </a:r>
            <a:r>
              <a:rPr lang="en-US" sz="4000" dirty="0" err="1" smtClean="0"/>
              <a:t>retos</a:t>
            </a:r>
            <a:r>
              <a:rPr lang="en-US" sz="4000" dirty="0" smtClean="0"/>
              <a:t>?</a:t>
            </a:r>
            <a:endParaRPr lang="es-MX" sz="4000" dirty="0"/>
          </a:p>
        </p:txBody>
      </p:sp>
      <p:sp>
        <p:nvSpPr>
          <p:cNvPr id="29" name="TextBox 28"/>
          <p:cNvSpPr txBox="1"/>
          <p:nvPr/>
        </p:nvSpPr>
        <p:spPr>
          <a:xfrm>
            <a:off x="9038437" y="4264555"/>
            <a:ext cx="1544076" cy="707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b="1" dirty="0" err="1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ncionarios</a:t>
            </a:r>
            <a:endParaRPr lang="en-US" sz="2000" b="1" dirty="0" smtClean="0">
              <a:effectLst>
                <a:glow rad="101600">
                  <a:schemeClr val="bg2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r"/>
            <a:r>
              <a:rPr lang="en-US" sz="2000" b="1" dirty="0" err="1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úblicos</a:t>
            </a:r>
            <a:endParaRPr lang="es-MX" sz="2000" b="1" dirty="0">
              <a:effectLst>
                <a:glow rad="101600">
                  <a:schemeClr val="bg2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111155" y="5450280"/>
            <a:ext cx="14655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b="1" dirty="0" err="1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unidad</a:t>
            </a:r>
            <a:r>
              <a:rPr lang="en-US" sz="2000" b="1" dirty="0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r"/>
            <a:r>
              <a:rPr lang="en-US" sz="2000" b="1" dirty="0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 General</a:t>
            </a:r>
          </a:p>
        </p:txBody>
      </p:sp>
      <p:pic>
        <p:nvPicPr>
          <p:cNvPr id="39" name="Picture 16" descr="http://d3kg7tnmlk2xo8.cloudfront.net/wp-content/uploads/2011/03/millenial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3579" y="2041764"/>
            <a:ext cx="1614858" cy="82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8665625" y="2077508"/>
            <a:ext cx="2591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RGANIZACIONES DE LA SOCIEDAD CIVIL</a:t>
            </a:r>
            <a:endParaRPr lang="es-MX" sz="1600" b="1" dirty="0">
              <a:effectLst>
                <a:glow rad="101600">
                  <a:schemeClr val="bg2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583395" y="1899310"/>
            <a:ext cx="545809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dirty="0" smtClean="0">
                <a:solidFill>
                  <a:schemeClr val="accent1"/>
                </a:solidFill>
              </a:rPr>
              <a:t>Desarrollando las  Potencialidades </a:t>
            </a:r>
          </a:p>
          <a:p>
            <a:pPr algn="ctr"/>
            <a:r>
              <a:rPr lang="es-MX" sz="2800" dirty="0" smtClean="0">
                <a:solidFill>
                  <a:schemeClr val="accent1"/>
                </a:solidFill>
              </a:rPr>
              <a:t>De los Actores Clave a través del uso de las </a:t>
            </a:r>
            <a:r>
              <a:rPr lang="es-MX" sz="2800" dirty="0" err="1" smtClean="0">
                <a:solidFill>
                  <a:schemeClr val="accent1"/>
                </a:solidFill>
              </a:rPr>
              <a:t>TICs</a:t>
            </a:r>
            <a:endParaRPr lang="es-MX" sz="2400" dirty="0">
              <a:solidFill>
                <a:schemeClr val="accent1"/>
              </a:solidFill>
            </a:endParaRPr>
          </a:p>
        </p:txBody>
      </p:sp>
      <p:sp>
        <p:nvSpPr>
          <p:cNvPr id="37" name="Subtitle 2"/>
          <p:cNvSpPr txBox="1">
            <a:spLocks/>
          </p:cNvSpPr>
          <p:nvPr/>
        </p:nvSpPr>
        <p:spPr>
          <a:xfrm>
            <a:off x="7423579" y="6418247"/>
            <a:ext cx="4649151" cy="515624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smtClean="0">
                <a:solidFill>
                  <a:srgbClr val="FFFF00"/>
                </a:solidFill>
              </a:rPr>
              <a:t>Dirección de Educación para el desarrollo</a:t>
            </a:r>
            <a:endParaRPr lang="es-MX" b="1" dirty="0">
              <a:solidFill>
                <a:srgbClr val="FFFF00"/>
              </a:solidFill>
            </a:endParaRPr>
          </a:p>
        </p:txBody>
      </p:sp>
      <p:pic>
        <p:nvPicPr>
          <p:cNvPr id="30" name="Picture 2" descr="http://www.itesm.mx/wps/wcm/connect/d5a3070043c4ee59b9ffffa3bdd0ae95/1/Logo_EGAP.jpg?MOD=AJPERES&amp;CACHEID=d5a3070043c4ee59b9ffffa3bdd0ae95/1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0386" y="116388"/>
            <a:ext cx="1734614" cy="42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itle 1"/>
          <p:cNvSpPr txBox="1">
            <a:spLocks/>
          </p:cNvSpPr>
          <p:nvPr/>
        </p:nvSpPr>
        <p:spPr>
          <a:xfrm>
            <a:off x="1262423" y="1044809"/>
            <a:ext cx="7393922" cy="157108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s-MX" sz="4000" u="sng" dirty="0"/>
          </a:p>
        </p:txBody>
      </p:sp>
      <p:sp>
        <p:nvSpPr>
          <p:cNvPr id="42" name="TextBox 41"/>
          <p:cNvSpPr txBox="1"/>
          <p:nvPr/>
        </p:nvSpPr>
        <p:spPr>
          <a:xfrm>
            <a:off x="9879182" y="3381542"/>
            <a:ext cx="16975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 smtClean="0">
                <a:effectLst>
                  <a:glow rad="101600">
                    <a:schemeClr val="bg2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fesores y actores educativos</a:t>
            </a:r>
            <a:endParaRPr lang="es-MX" sz="2000" b="1" dirty="0">
              <a:effectLst>
                <a:glow rad="101600">
                  <a:schemeClr val="bg2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4" name="Picture 43" descr="_MG_1803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338" y="4198463"/>
            <a:ext cx="1275198" cy="840073"/>
          </a:xfrm>
          <a:prstGeom prst="rect">
            <a:avLst/>
          </a:prstGeom>
          <a:ln w="25400">
            <a:solidFill>
              <a:schemeClr val="bg1"/>
            </a:solidFill>
          </a:ln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0536" y="3124389"/>
            <a:ext cx="1276618" cy="914416"/>
          </a:xfrm>
          <a:prstGeom prst="rect">
            <a:avLst/>
          </a:prstGeom>
          <a:ln w="31750">
            <a:solidFill>
              <a:schemeClr val="bg1"/>
            </a:solidFill>
          </a:ln>
        </p:spPr>
      </p:pic>
      <p:pic>
        <p:nvPicPr>
          <p:cNvPr id="47" name="Picture 2" descr="F:\Recursos\Fotos\Sociales\03 varios alumnos CCA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27007" y="5272154"/>
            <a:ext cx="1038000" cy="88601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8377" y="3369437"/>
            <a:ext cx="3218085" cy="2607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714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3342051" y="2889424"/>
            <a:ext cx="4895891" cy="2901182"/>
            <a:chOff x="5868471" y="1124744"/>
            <a:chExt cx="8856657" cy="4810948"/>
          </a:xfrm>
        </p:grpSpPr>
        <p:grpSp>
          <p:nvGrpSpPr>
            <p:cNvPr id="3" name="Group 15"/>
            <p:cNvGrpSpPr>
              <a:grpSpLocks/>
            </p:cNvGrpSpPr>
            <p:nvPr/>
          </p:nvGrpSpPr>
          <p:grpSpPr bwMode="auto">
            <a:xfrm>
              <a:off x="5868471" y="1124744"/>
              <a:ext cx="3096017" cy="4810948"/>
              <a:chOff x="5868471" y="1124744"/>
              <a:chExt cx="3096017" cy="4810948"/>
            </a:xfrm>
          </p:grpSpPr>
          <p:sp>
            <p:nvSpPr>
              <p:cNvPr id="410" name="Freeform 4"/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8181015" y="5863994"/>
                <a:ext cx="41864" cy="64528"/>
              </a:xfrm>
              <a:custGeom>
                <a:avLst/>
                <a:gdLst>
                  <a:gd name="T0" fmla="*/ 0 w 73"/>
                  <a:gd name="T1" fmla="*/ 0 h 20"/>
                  <a:gd name="T2" fmla="*/ 188447642 w 73"/>
                  <a:gd name="T3" fmla="*/ 2147483647 h 20"/>
                  <a:gd name="T4" fmla="*/ 754447775 w 73"/>
                  <a:gd name="T5" fmla="*/ 2147483647 h 20"/>
                  <a:gd name="T6" fmla="*/ 1508895550 w 73"/>
                  <a:gd name="T7" fmla="*/ 2147483647 h 20"/>
                  <a:gd name="T8" fmla="*/ 2147483647 w 73"/>
                  <a:gd name="T9" fmla="*/ 2147483647 h 20"/>
                  <a:gd name="T10" fmla="*/ 2147483647 w 73"/>
                  <a:gd name="T11" fmla="*/ 2147483647 h 20"/>
                  <a:gd name="T12" fmla="*/ 2147483647 w 73"/>
                  <a:gd name="T13" fmla="*/ 2147483647 h 20"/>
                  <a:gd name="T14" fmla="*/ 2147483647 w 73"/>
                  <a:gd name="T15" fmla="*/ 2147483647 h 20"/>
                  <a:gd name="T16" fmla="*/ 2147483647 w 73"/>
                  <a:gd name="T17" fmla="*/ 2147483647 h 20"/>
                  <a:gd name="T18" fmla="*/ 2147483647 w 73"/>
                  <a:gd name="T19" fmla="*/ 2147483647 h 20"/>
                  <a:gd name="T20" fmla="*/ 2147483647 w 73"/>
                  <a:gd name="T21" fmla="*/ 2147483647 h 20"/>
                  <a:gd name="T22" fmla="*/ 2147483647 w 73"/>
                  <a:gd name="T23" fmla="*/ 2147483647 h 20"/>
                  <a:gd name="T24" fmla="*/ 2147483647 w 73"/>
                  <a:gd name="T25" fmla="*/ 2147483647 h 20"/>
                  <a:gd name="T26" fmla="*/ 2147483647 w 73"/>
                  <a:gd name="T27" fmla="*/ 2147483647 h 20"/>
                  <a:gd name="T28" fmla="*/ 2147483647 w 73"/>
                  <a:gd name="T29" fmla="*/ 2147483647 h 20"/>
                  <a:gd name="T30" fmla="*/ 2147483647 w 73"/>
                  <a:gd name="T31" fmla="*/ 2147483647 h 20"/>
                  <a:gd name="T32" fmla="*/ 2147483647 w 73"/>
                  <a:gd name="T33" fmla="*/ 0 h 20"/>
                  <a:gd name="T34" fmla="*/ 0 w 73"/>
                  <a:gd name="T35" fmla="*/ 0 h 2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3" h="20">
                    <a:moveTo>
                      <a:pt x="0" y="0"/>
                    </a:moveTo>
                    <a:lnTo>
                      <a:pt x="1" y="5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13" y="20"/>
                    </a:lnTo>
                    <a:lnTo>
                      <a:pt x="16" y="17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7" y="10"/>
                    </a:lnTo>
                    <a:lnTo>
                      <a:pt x="36" y="8"/>
                    </a:lnTo>
                    <a:lnTo>
                      <a:pt x="46" y="7"/>
                    </a:lnTo>
                    <a:lnTo>
                      <a:pt x="54" y="7"/>
                    </a:lnTo>
                    <a:lnTo>
                      <a:pt x="63" y="6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1" name="Freeform 5"/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5868471" y="1461725"/>
                <a:ext cx="984825" cy="503680"/>
              </a:xfrm>
              <a:custGeom>
                <a:avLst/>
                <a:gdLst>
                  <a:gd name="T0" fmla="*/ 2147483647 w 1808"/>
                  <a:gd name="T1" fmla="*/ 2147483647 h 850"/>
                  <a:gd name="T2" fmla="*/ 2147483647 w 1808"/>
                  <a:gd name="T3" fmla="*/ 2147483647 h 850"/>
                  <a:gd name="T4" fmla="*/ 2147483647 w 1808"/>
                  <a:gd name="T5" fmla="*/ 2147483647 h 850"/>
                  <a:gd name="T6" fmla="*/ 2147483647 w 1808"/>
                  <a:gd name="T7" fmla="*/ 2147483647 h 850"/>
                  <a:gd name="T8" fmla="*/ 2147483647 w 1808"/>
                  <a:gd name="T9" fmla="*/ 2147483647 h 850"/>
                  <a:gd name="T10" fmla="*/ 2147483647 w 1808"/>
                  <a:gd name="T11" fmla="*/ 2147483647 h 850"/>
                  <a:gd name="T12" fmla="*/ 2147483647 w 1808"/>
                  <a:gd name="T13" fmla="*/ 2147483647 h 850"/>
                  <a:gd name="T14" fmla="*/ 2147483647 w 1808"/>
                  <a:gd name="T15" fmla="*/ 2147483647 h 850"/>
                  <a:gd name="T16" fmla="*/ 2147483647 w 1808"/>
                  <a:gd name="T17" fmla="*/ 2147483647 h 850"/>
                  <a:gd name="T18" fmla="*/ 2147483647 w 1808"/>
                  <a:gd name="T19" fmla="*/ 2147483647 h 850"/>
                  <a:gd name="T20" fmla="*/ 2147483647 w 1808"/>
                  <a:gd name="T21" fmla="*/ 2147483647 h 850"/>
                  <a:gd name="T22" fmla="*/ 2147483647 w 1808"/>
                  <a:gd name="T23" fmla="*/ 2147483647 h 850"/>
                  <a:gd name="T24" fmla="*/ 2147483647 w 1808"/>
                  <a:gd name="T25" fmla="*/ 2147483647 h 850"/>
                  <a:gd name="T26" fmla="*/ 2147483647 w 1808"/>
                  <a:gd name="T27" fmla="*/ 2147483647 h 850"/>
                  <a:gd name="T28" fmla="*/ 2147483647 w 1808"/>
                  <a:gd name="T29" fmla="*/ 2147483647 h 850"/>
                  <a:gd name="T30" fmla="*/ 2147483647 w 1808"/>
                  <a:gd name="T31" fmla="*/ 2147483647 h 850"/>
                  <a:gd name="T32" fmla="*/ 2147483647 w 1808"/>
                  <a:gd name="T33" fmla="*/ 2147483647 h 850"/>
                  <a:gd name="T34" fmla="*/ 2147483647 w 1808"/>
                  <a:gd name="T35" fmla="*/ 2147483647 h 850"/>
                  <a:gd name="T36" fmla="*/ 2147483647 w 1808"/>
                  <a:gd name="T37" fmla="*/ 2147483647 h 850"/>
                  <a:gd name="T38" fmla="*/ 2147483647 w 1808"/>
                  <a:gd name="T39" fmla="*/ 2147483647 h 850"/>
                  <a:gd name="T40" fmla="*/ 2147483647 w 1808"/>
                  <a:gd name="T41" fmla="*/ 2147483647 h 850"/>
                  <a:gd name="T42" fmla="*/ 2147483647 w 1808"/>
                  <a:gd name="T43" fmla="*/ 2147483647 h 850"/>
                  <a:gd name="T44" fmla="*/ 646514735 w 1808"/>
                  <a:gd name="T45" fmla="*/ 2147483647 h 850"/>
                  <a:gd name="T46" fmla="*/ 2147483647 w 1808"/>
                  <a:gd name="T47" fmla="*/ 2147483647 h 850"/>
                  <a:gd name="T48" fmla="*/ 2147483647 w 1808"/>
                  <a:gd name="T49" fmla="*/ 2147483647 h 850"/>
                  <a:gd name="T50" fmla="*/ 2147483647 w 1808"/>
                  <a:gd name="T51" fmla="*/ 2147483647 h 850"/>
                  <a:gd name="T52" fmla="*/ 2147483647 w 1808"/>
                  <a:gd name="T53" fmla="*/ 2147483647 h 850"/>
                  <a:gd name="T54" fmla="*/ 2147483647 w 1808"/>
                  <a:gd name="T55" fmla="*/ 2147483647 h 850"/>
                  <a:gd name="T56" fmla="*/ 2147483647 w 1808"/>
                  <a:gd name="T57" fmla="*/ 2147483647 h 850"/>
                  <a:gd name="T58" fmla="*/ 2147483647 w 1808"/>
                  <a:gd name="T59" fmla="*/ 2147483647 h 850"/>
                  <a:gd name="T60" fmla="*/ 2147483647 w 1808"/>
                  <a:gd name="T61" fmla="*/ 2147483647 h 850"/>
                  <a:gd name="T62" fmla="*/ 2147483647 w 1808"/>
                  <a:gd name="T63" fmla="*/ 2147483647 h 850"/>
                  <a:gd name="T64" fmla="*/ 2147483647 w 1808"/>
                  <a:gd name="T65" fmla="*/ 2147483647 h 850"/>
                  <a:gd name="T66" fmla="*/ 2147483647 w 1808"/>
                  <a:gd name="T67" fmla="*/ 2147483647 h 850"/>
                  <a:gd name="T68" fmla="*/ 2147483647 w 1808"/>
                  <a:gd name="T69" fmla="*/ 2147483647 h 850"/>
                  <a:gd name="T70" fmla="*/ 2147483647 w 1808"/>
                  <a:gd name="T71" fmla="*/ 2147483647 h 850"/>
                  <a:gd name="T72" fmla="*/ 2147483647 w 1808"/>
                  <a:gd name="T73" fmla="*/ 2147483647 h 850"/>
                  <a:gd name="T74" fmla="*/ 2147483647 w 1808"/>
                  <a:gd name="T75" fmla="*/ 2147483647 h 850"/>
                  <a:gd name="T76" fmla="*/ 2147483647 w 1808"/>
                  <a:gd name="T77" fmla="*/ 2147483647 h 850"/>
                  <a:gd name="T78" fmla="*/ 2147483647 w 1808"/>
                  <a:gd name="T79" fmla="*/ 2147483647 h 850"/>
                  <a:gd name="T80" fmla="*/ 2147483647 w 1808"/>
                  <a:gd name="T81" fmla="*/ 2147483647 h 850"/>
                  <a:gd name="T82" fmla="*/ 2147483647 w 1808"/>
                  <a:gd name="T83" fmla="*/ 2147483647 h 850"/>
                  <a:gd name="T84" fmla="*/ 2147483647 w 1808"/>
                  <a:gd name="T85" fmla="*/ 2147483647 h 850"/>
                  <a:gd name="T86" fmla="*/ 2147483647 w 1808"/>
                  <a:gd name="T87" fmla="*/ 2147483647 h 850"/>
                  <a:gd name="T88" fmla="*/ 2147483647 w 1808"/>
                  <a:gd name="T89" fmla="*/ 2147483647 h 850"/>
                  <a:gd name="T90" fmla="*/ 2147483647 w 1808"/>
                  <a:gd name="T91" fmla="*/ 1872592170 h 850"/>
                  <a:gd name="T92" fmla="*/ 2147483647 w 1808"/>
                  <a:gd name="T93" fmla="*/ 416092418 h 850"/>
                  <a:gd name="T94" fmla="*/ 2147483647 w 1808"/>
                  <a:gd name="T95" fmla="*/ 2080813482 h 850"/>
                  <a:gd name="T96" fmla="*/ 2147483647 w 1808"/>
                  <a:gd name="T97" fmla="*/ 2147483647 h 850"/>
                  <a:gd name="T98" fmla="*/ 2147483647 w 1808"/>
                  <a:gd name="T99" fmla="*/ 2147483647 h 850"/>
                  <a:gd name="T100" fmla="*/ 2147483647 w 1808"/>
                  <a:gd name="T101" fmla="*/ 2147483647 h 850"/>
                  <a:gd name="T102" fmla="*/ 2147483647 w 1808"/>
                  <a:gd name="T103" fmla="*/ 2147483647 h 850"/>
                  <a:gd name="T104" fmla="*/ 2147483647 w 1808"/>
                  <a:gd name="T105" fmla="*/ 2147483647 h 850"/>
                  <a:gd name="T106" fmla="*/ 2147483647 w 1808"/>
                  <a:gd name="T107" fmla="*/ 2147483647 h 850"/>
                  <a:gd name="T108" fmla="*/ 2147483647 w 1808"/>
                  <a:gd name="T109" fmla="*/ 2147483647 h 850"/>
                  <a:gd name="T110" fmla="*/ 2147483647 w 1808"/>
                  <a:gd name="T111" fmla="*/ 2147483647 h 850"/>
                  <a:gd name="T112" fmla="*/ 2147483647 w 1808"/>
                  <a:gd name="T113" fmla="*/ 2147483647 h 850"/>
                  <a:gd name="T114" fmla="*/ 2147483647 w 1808"/>
                  <a:gd name="T115" fmla="*/ 2147483647 h 850"/>
                  <a:gd name="T116" fmla="*/ 2147483647 w 1808"/>
                  <a:gd name="T117" fmla="*/ 2147483647 h 850"/>
                  <a:gd name="T118" fmla="*/ 2147483647 w 1808"/>
                  <a:gd name="T119" fmla="*/ 2147483647 h 850"/>
                  <a:gd name="T120" fmla="*/ 2147483647 w 1808"/>
                  <a:gd name="T121" fmla="*/ 2147483647 h 85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808" h="850">
                    <a:moveTo>
                      <a:pt x="1410" y="842"/>
                    </a:moveTo>
                    <a:lnTo>
                      <a:pt x="1405" y="841"/>
                    </a:lnTo>
                    <a:lnTo>
                      <a:pt x="1403" y="838"/>
                    </a:lnTo>
                    <a:lnTo>
                      <a:pt x="1401" y="834"/>
                    </a:lnTo>
                    <a:lnTo>
                      <a:pt x="1399" y="830"/>
                    </a:lnTo>
                    <a:lnTo>
                      <a:pt x="1396" y="819"/>
                    </a:lnTo>
                    <a:lnTo>
                      <a:pt x="1395" y="807"/>
                    </a:lnTo>
                    <a:lnTo>
                      <a:pt x="1396" y="795"/>
                    </a:lnTo>
                    <a:lnTo>
                      <a:pt x="1398" y="784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399" y="764"/>
                    </a:lnTo>
                    <a:lnTo>
                      <a:pt x="1396" y="760"/>
                    </a:lnTo>
                    <a:lnTo>
                      <a:pt x="1394" y="753"/>
                    </a:lnTo>
                    <a:lnTo>
                      <a:pt x="1392" y="746"/>
                    </a:lnTo>
                    <a:lnTo>
                      <a:pt x="1390" y="729"/>
                    </a:lnTo>
                    <a:lnTo>
                      <a:pt x="1389" y="708"/>
                    </a:lnTo>
                    <a:lnTo>
                      <a:pt x="1389" y="670"/>
                    </a:lnTo>
                    <a:lnTo>
                      <a:pt x="1389" y="645"/>
                    </a:lnTo>
                    <a:lnTo>
                      <a:pt x="1382" y="647"/>
                    </a:lnTo>
                    <a:lnTo>
                      <a:pt x="1373" y="648"/>
                    </a:lnTo>
                    <a:lnTo>
                      <a:pt x="1362" y="648"/>
                    </a:lnTo>
                    <a:lnTo>
                      <a:pt x="1351" y="648"/>
                    </a:lnTo>
                    <a:lnTo>
                      <a:pt x="1340" y="647"/>
                    </a:lnTo>
                    <a:lnTo>
                      <a:pt x="1332" y="645"/>
                    </a:lnTo>
                    <a:lnTo>
                      <a:pt x="1327" y="644"/>
                    </a:lnTo>
                    <a:lnTo>
                      <a:pt x="1325" y="642"/>
                    </a:lnTo>
                    <a:lnTo>
                      <a:pt x="1323" y="641"/>
                    </a:lnTo>
                    <a:lnTo>
                      <a:pt x="1323" y="638"/>
                    </a:lnTo>
                    <a:lnTo>
                      <a:pt x="1290" y="682"/>
                    </a:lnTo>
                    <a:lnTo>
                      <a:pt x="1284" y="668"/>
                    </a:lnTo>
                    <a:lnTo>
                      <a:pt x="1279" y="659"/>
                    </a:lnTo>
                    <a:lnTo>
                      <a:pt x="1273" y="650"/>
                    </a:lnTo>
                    <a:lnTo>
                      <a:pt x="1268" y="645"/>
                    </a:lnTo>
                    <a:lnTo>
                      <a:pt x="1264" y="639"/>
                    </a:lnTo>
                    <a:lnTo>
                      <a:pt x="1259" y="631"/>
                    </a:lnTo>
                    <a:lnTo>
                      <a:pt x="1257" y="622"/>
                    </a:lnTo>
                    <a:lnTo>
                      <a:pt x="1256" y="608"/>
                    </a:lnTo>
                    <a:lnTo>
                      <a:pt x="1226" y="602"/>
                    </a:lnTo>
                    <a:lnTo>
                      <a:pt x="1195" y="595"/>
                    </a:lnTo>
                    <a:lnTo>
                      <a:pt x="1165" y="588"/>
                    </a:lnTo>
                    <a:lnTo>
                      <a:pt x="1134" y="582"/>
                    </a:lnTo>
                    <a:lnTo>
                      <a:pt x="1104" y="576"/>
                    </a:lnTo>
                    <a:lnTo>
                      <a:pt x="1074" y="569"/>
                    </a:lnTo>
                    <a:lnTo>
                      <a:pt x="1045" y="561"/>
                    </a:lnTo>
                    <a:lnTo>
                      <a:pt x="1018" y="553"/>
                    </a:lnTo>
                    <a:lnTo>
                      <a:pt x="984" y="553"/>
                    </a:lnTo>
                    <a:lnTo>
                      <a:pt x="977" y="546"/>
                    </a:lnTo>
                    <a:lnTo>
                      <a:pt x="973" y="537"/>
                    </a:lnTo>
                    <a:lnTo>
                      <a:pt x="969" y="528"/>
                    </a:lnTo>
                    <a:lnTo>
                      <a:pt x="966" y="521"/>
                    </a:lnTo>
                    <a:lnTo>
                      <a:pt x="962" y="514"/>
                    </a:lnTo>
                    <a:lnTo>
                      <a:pt x="956" y="508"/>
                    </a:lnTo>
                    <a:lnTo>
                      <a:pt x="952" y="506"/>
                    </a:lnTo>
                    <a:lnTo>
                      <a:pt x="948" y="505"/>
                    </a:lnTo>
                    <a:lnTo>
                      <a:pt x="943" y="504"/>
                    </a:lnTo>
                    <a:lnTo>
                      <a:pt x="937" y="503"/>
                    </a:lnTo>
                    <a:lnTo>
                      <a:pt x="929" y="504"/>
                    </a:lnTo>
                    <a:lnTo>
                      <a:pt x="922" y="505"/>
                    </a:lnTo>
                    <a:lnTo>
                      <a:pt x="916" y="507"/>
                    </a:lnTo>
                    <a:lnTo>
                      <a:pt x="910" y="509"/>
                    </a:lnTo>
                    <a:lnTo>
                      <a:pt x="906" y="512"/>
                    </a:lnTo>
                    <a:lnTo>
                      <a:pt x="901" y="516"/>
                    </a:lnTo>
                    <a:lnTo>
                      <a:pt x="898" y="519"/>
                    </a:lnTo>
                    <a:lnTo>
                      <a:pt x="895" y="523"/>
                    </a:lnTo>
                    <a:lnTo>
                      <a:pt x="886" y="539"/>
                    </a:lnTo>
                    <a:lnTo>
                      <a:pt x="877" y="553"/>
                    </a:lnTo>
                    <a:lnTo>
                      <a:pt x="870" y="559"/>
                    </a:lnTo>
                    <a:lnTo>
                      <a:pt x="861" y="564"/>
                    </a:lnTo>
                    <a:lnTo>
                      <a:pt x="849" y="570"/>
                    </a:lnTo>
                    <a:lnTo>
                      <a:pt x="835" y="576"/>
                    </a:lnTo>
                    <a:lnTo>
                      <a:pt x="806" y="587"/>
                    </a:lnTo>
                    <a:lnTo>
                      <a:pt x="772" y="597"/>
                    </a:lnTo>
                    <a:lnTo>
                      <a:pt x="738" y="607"/>
                    </a:lnTo>
                    <a:lnTo>
                      <a:pt x="705" y="614"/>
                    </a:lnTo>
                    <a:lnTo>
                      <a:pt x="689" y="617"/>
                    </a:lnTo>
                    <a:lnTo>
                      <a:pt x="675" y="619"/>
                    </a:lnTo>
                    <a:lnTo>
                      <a:pt x="663" y="620"/>
                    </a:lnTo>
                    <a:lnTo>
                      <a:pt x="652" y="620"/>
                    </a:lnTo>
                    <a:lnTo>
                      <a:pt x="656" y="614"/>
                    </a:lnTo>
                    <a:lnTo>
                      <a:pt x="667" y="597"/>
                    </a:lnTo>
                    <a:lnTo>
                      <a:pt x="673" y="589"/>
                    </a:lnTo>
                    <a:lnTo>
                      <a:pt x="677" y="581"/>
                    </a:lnTo>
                    <a:lnTo>
                      <a:pt x="678" y="578"/>
                    </a:lnTo>
                    <a:lnTo>
                      <a:pt x="679" y="575"/>
                    </a:lnTo>
                    <a:lnTo>
                      <a:pt x="679" y="572"/>
                    </a:lnTo>
                    <a:lnTo>
                      <a:pt x="678" y="571"/>
                    </a:lnTo>
                    <a:lnTo>
                      <a:pt x="689" y="562"/>
                    </a:lnTo>
                    <a:lnTo>
                      <a:pt x="700" y="555"/>
                    </a:lnTo>
                    <a:lnTo>
                      <a:pt x="711" y="551"/>
                    </a:lnTo>
                    <a:lnTo>
                      <a:pt x="721" y="548"/>
                    </a:lnTo>
                    <a:lnTo>
                      <a:pt x="732" y="546"/>
                    </a:lnTo>
                    <a:lnTo>
                      <a:pt x="742" y="546"/>
                    </a:lnTo>
                    <a:lnTo>
                      <a:pt x="751" y="546"/>
                    </a:lnTo>
                    <a:lnTo>
                      <a:pt x="761" y="546"/>
                    </a:lnTo>
                    <a:lnTo>
                      <a:pt x="769" y="546"/>
                    </a:lnTo>
                    <a:lnTo>
                      <a:pt x="778" y="546"/>
                    </a:lnTo>
                    <a:lnTo>
                      <a:pt x="786" y="545"/>
                    </a:lnTo>
                    <a:lnTo>
                      <a:pt x="794" y="543"/>
                    </a:lnTo>
                    <a:lnTo>
                      <a:pt x="800" y="538"/>
                    </a:lnTo>
                    <a:lnTo>
                      <a:pt x="807" y="533"/>
                    </a:lnTo>
                    <a:lnTo>
                      <a:pt x="812" y="525"/>
                    </a:lnTo>
                    <a:lnTo>
                      <a:pt x="818" y="515"/>
                    </a:lnTo>
                    <a:lnTo>
                      <a:pt x="744" y="515"/>
                    </a:lnTo>
                    <a:lnTo>
                      <a:pt x="724" y="528"/>
                    </a:lnTo>
                    <a:lnTo>
                      <a:pt x="705" y="540"/>
                    </a:lnTo>
                    <a:lnTo>
                      <a:pt x="685" y="551"/>
                    </a:lnTo>
                    <a:lnTo>
                      <a:pt x="664" y="560"/>
                    </a:lnTo>
                    <a:lnTo>
                      <a:pt x="643" y="568"/>
                    </a:lnTo>
                    <a:lnTo>
                      <a:pt x="622" y="575"/>
                    </a:lnTo>
                    <a:lnTo>
                      <a:pt x="600" y="582"/>
                    </a:lnTo>
                    <a:lnTo>
                      <a:pt x="578" y="589"/>
                    </a:lnTo>
                    <a:lnTo>
                      <a:pt x="573" y="592"/>
                    </a:lnTo>
                    <a:lnTo>
                      <a:pt x="567" y="594"/>
                    </a:lnTo>
                    <a:lnTo>
                      <a:pt x="564" y="599"/>
                    </a:lnTo>
                    <a:lnTo>
                      <a:pt x="560" y="602"/>
                    </a:lnTo>
                    <a:lnTo>
                      <a:pt x="554" y="609"/>
                    </a:lnTo>
                    <a:lnTo>
                      <a:pt x="550" y="617"/>
                    </a:lnTo>
                    <a:lnTo>
                      <a:pt x="547" y="625"/>
                    </a:lnTo>
                    <a:lnTo>
                      <a:pt x="543" y="633"/>
                    </a:lnTo>
                    <a:lnTo>
                      <a:pt x="541" y="636"/>
                    </a:lnTo>
                    <a:lnTo>
                      <a:pt x="539" y="639"/>
                    </a:lnTo>
                    <a:lnTo>
                      <a:pt x="536" y="642"/>
                    </a:lnTo>
                    <a:lnTo>
                      <a:pt x="532" y="645"/>
                    </a:lnTo>
                    <a:lnTo>
                      <a:pt x="529" y="648"/>
                    </a:lnTo>
                    <a:lnTo>
                      <a:pt x="526" y="650"/>
                    </a:lnTo>
                    <a:lnTo>
                      <a:pt x="521" y="652"/>
                    </a:lnTo>
                    <a:lnTo>
                      <a:pt x="517" y="654"/>
                    </a:lnTo>
                    <a:lnTo>
                      <a:pt x="507" y="655"/>
                    </a:lnTo>
                    <a:lnTo>
                      <a:pt x="496" y="655"/>
                    </a:lnTo>
                    <a:lnTo>
                      <a:pt x="474" y="652"/>
                    </a:lnTo>
                    <a:lnTo>
                      <a:pt x="459" y="651"/>
                    </a:lnTo>
                    <a:lnTo>
                      <a:pt x="452" y="654"/>
                    </a:lnTo>
                    <a:lnTo>
                      <a:pt x="444" y="657"/>
                    </a:lnTo>
                    <a:lnTo>
                      <a:pt x="438" y="661"/>
                    </a:lnTo>
                    <a:lnTo>
                      <a:pt x="430" y="665"/>
                    </a:lnTo>
                    <a:lnTo>
                      <a:pt x="417" y="674"/>
                    </a:lnTo>
                    <a:lnTo>
                      <a:pt x="405" y="684"/>
                    </a:lnTo>
                    <a:lnTo>
                      <a:pt x="394" y="694"/>
                    </a:lnTo>
                    <a:lnTo>
                      <a:pt x="383" y="702"/>
                    </a:lnTo>
                    <a:lnTo>
                      <a:pt x="374" y="708"/>
                    </a:lnTo>
                    <a:lnTo>
                      <a:pt x="367" y="713"/>
                    </a:lnTo>
                    <a:lnTo>
                      <a:pt x="335" y="722"/>
                    </a:lnTo>
                    <a:lnTo>
                      <a:pt x="309" y="729"/>
                    </a:lnTo>
                    <a:lnTo>
                      <a:pt x="287" y="737"/>
                    </a:lnTo>
                    <a:lnTo>
                      <a:pt x="270" y="743"/>
                    </a:lnTo>
                    <a:lnTo>
                      <a:pt x="252" y="750"/>
                    </a:lnTo>
                    <a:lnTo>
                      <a:pt x="235" y="757"/>
                    </a:lnTo>
                    <a:lnTo>
                      <a:pt x="216" y="766"/>
                    </a:lnTo>
                    <a:lnTo>
                      <a:pt x="193" y="775"/>
                    </a:lnTo>
                    <a:lnTo>
                      <a:pt x="168" y="786"/>
                    </a:lnTo>
                    <a:lnTo>
                      <a:pt x="145" y="795"/>
                    </a:lnTo>
                    <a:lnTo>
                      <a:pt x="124" y="802"/>
                    </a:lnTo>
                    <a:lnTo>
                      <a:pt x="105" y="807"/>
                    </a:lnTo>
                    <a:lnTo>
                      <a:pt x="87" y="812"/>
                    </a:lnTo>
                    <a:lnTo>
                      <a:pt x="68" y="818"/>
                    </a:lnTo>
                    <a:lnTo>
                      <a:pt x="48" y="826"/>
                    </a:lnTo>
                    <a:lnTo>
                      <a:pt x="27" y="836"/>
                    </a:lnTo>
                    <a:lnTo>
                      <a:pt x="1" y="824"/>
                    </a:lnTo>
                    <a:lnTo>
                      <a:pt x="4" y="817"/>
                    </a:lnTo>
                    <a:lnTo>
                      <a:pt x="4" y="813"/>
                    </a:lnTo>
                    <a:lnTo>
                      <a:pt x="3" y="810"/>
                    </a:lnTo>
                    <a:lnTo>
                      <a:pt x="2" y="808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799"/>
                    </a:lnTo>
                    <a:lnTo>
                      <a:pt x="7" y="793"/>
                    </a:lnTo>
                    <a:lnTo>
                      <a:pt x="14" y="789"/>
                    </a:lnTo>
                    <a:lnTo>
                      <a:pt x="21" y="785"/>
                    </a:lnTo>
                    <a:lnTo>
                      <a:pt x="28" y="782"/>
                    </a:lnTo>
                    <a:lnTo>
                      <a:pt x="36" y="779"/>
                    </a:lnTo>
                    <a:lnTo>
                      <a:pt x="52" y="774"/>
                    </a:lnTo>
                    <a:lnTo>
                      <a:pt x="70" y="771"/>
                    </a:lnTo>
                    <a:lnTo>
                      <a:pt x="102" y="766"/>
                    </a:lnTo>
                    <a:lnTo>
                      <a:pt x="127" y="761"/>
                    </a:lnTo>
                    <a:lnTo>
                      <a:pt x="143" y="757"/>
                    </a:lnTo>
                    <a:lnTo>
                      <a:pt x="158" y="751"/>
                    </a:lnTo>
                    <a:lnTo>
                      <a:pt x="173" y="746"/>
                    </a:lnTo>
                    <a:lnTo>
                      <a:pt x="188" y="739"/>
                    </a:lnTo>
                    <a:lnTo>
                      <a:pt x="215" y="726"/>
                    </a:lnTo>
                    <a:lnTo>
                      <a:pt x="240" y="712"/>
                    </a:lnTo>
                    <a:lnTo>
                      <a:pt x="265" y="696"/>
                    </a:lnTo>
                    <a:lnTo>
                      <a:pt x="291" y="681"/>
                    </a:lnTo>
                    <a:lnTo>
                      <a:pt x="315" y="666"/>
                    </a:lnTo>
                    <a:lnTo>
                      <a:pt x="339" y="651"/>
                    </a:lnTo>
                    <a:lnTo>
                      <a:pt x="327" y="643"/>
                    </a:lnTo>
                    <a:lnTo>
                      <a:pt x="317" y="636"/>
                    </a:lnTo>
                    <a:lnTo>
                      <a:pt x="308" y="631"/>
                    </a:lnTo>
                    <a:lnTo>
                      <a:pt x="300" y="626"/>
                    </a:lnTo>
                    <a:lnTo>
                      <a:pt x="292" y="629"/>
                    </a:lnTo>
                    <a:lnTo>
                      <a:pt x="285" y="634"/>
                    </a:lnTo>
                    <a:lnTo>
                      <a:pt x="280" y="639"/>
                    </a:lnTo>
                    <a:lnTo>
                      <a:pt x="273" y="644"/>
                    </a:lnTo>
                    <a:lnTo>
                      <a:pt x="267" y="649"/>
                    </a:lnTo>
                    <a:lnTo>
                      <a:pt x="260" y="654"/>
                    </a:lnTo>
                    <a:lnTo>
                      <a:pt x="253" y="657"/>
                    </a:lnTo>
                    <a:lnTo>
                      <a:pt x="247" y="658"/>
                    </a:lnTo>
                    <a:lnTo>
                      <a:pt x="225" y="657"/>
                    </a:lnTo>
                    <a:lnTo>
                      <a:pt x="192" y="652"/>
                    </a:lnTo>
                    <a:lnTo>
                      <a:pt x="174" y="650"/>
                    </a:lnTo>
                    <a:lnTo>
                      <a:pt x="160" y="646"/>
                    </a:lnTo>
                    <a:lnTo>
                      <a:pt x="155" y="645"/>
                    </a:lnTo>
                    <a:lnTo>
                      <a:pt x="150" y="643"/>
                    </a:lnTo>
                    <a:lnTo>
                      <a:pt x="148" y="641"/>
                    </a:lnTo>
                    <a:lnTo>
                      <a:pt x="147" y="638"/>
                    </a:lnTo>
                    <a:lnTo>
                      <a:pt x="148" y="635"/>
                    </a:lnTo>
                    <a:lnTo>
                      <a:pt x="150" y="631"/>
                    </a:lnTo>
                    <a:lnTo>
                      <a:pt x="155" y="626"/>
                    </a:lnTo>
                    <a:lnTo>
                      <a:pt x="159" y="621"/>
                    </a:lnTo>
                    <a:lnTo>
                      <a:pt x="172" y="610"/>
                    </a:lnTo>
                    <a:lnTo>
                      <a:pt x="189" y="597"/>
                    </a:lnTo>
                    <a:lnTo>
                      <a:pt x="204" y="584"/>
                    </a:lnTo>
                    <a:lnTo>
                      <a:pt x="219" y="571"/>
                    </a:lnTo>
                    <a:lnTo>
                      <a:pt x="226" y="565"/>
                    </a:lnTo>
                    <a:lnTo>
                      <a:pt x="231" y="559"/>
                    </a:lnTo>
                    <a:lnTo>
                      <a:pt x="237" y="553"/>
                    </a:lnTo>
                    <a:lnTo>
                      <a:pt x="240" y="547"/>
                    </a:lnTo>
                    <a:lnTo>
                      <a:pt x="223" y="550"/>
                    </a:lnTo>
                    <a:lnTo>
                      <a:pt x="207" y="556"/>
                    </a:lnTo>
                    <a:lnTo>
                      <a:pt x="191" y="562"/>
                    </a:lnTo>
                    <a:lnTo>
                      <a:pt x="175" y="568"/>
                    </a:lnTo>
                    <a:lnTo>
                      <a:pt x="168" y="571"/>
                    </a:lnTo>
                    <a:lnTo>
                      <a:pt x="160" y="573"/>
                    </a:lnTo>
                    <a:lnTo>
                      <a:pt x="152" y="575"/>
                    </a:lnTo>
                    <a:lnTo>
                      <a:pt x="144" y="576"/>
                    </a:lnTo>
                    <a:lnTo>
                      <a:pt x="135" y="576"/>
                    </a:lnTo>
                    <a:lnTo>
                      <a:pt x="126" y="575"/>
                    </a:lnTo>
                    <a:lnTo>
                      <a:pt x="116" y="574"/>
                    </a:lnTo>
                    <a:lnTo>
                      <a:pt x="107" y="571"/>
                    </a:lnTo>
                    <a:lnTo>
                      <a:pt x="107" y="565"/>
                    </a:lnTo>
                    <a:lnTo>
                      <a:pt x="143" y="536"/>
                    </a:lnTo>
                    <a:lnTo>
                      <a:pt x="182" y="508"/>
                    </a:lnTo>
                    <a:lnTo>
                      <a:pt x="223" y="476"/>
                    </a:lnTo>
                    <a:lnTo>
                      <a:pt x="267" y="442"/>
                    </a:lnTo>
                    <a:lnTo>
                      <a:pt x="286" y="426"/>
                    </a:lnTo>
                    <a:lnTo>
                      <a:pt x="306" y="411"/>
                    </a:lnTo>
                    <a:lnTo>
                      <a:pt x="326" y="395"/>
                    </a:lnTo>
                    <a:lnTo>
                      <a:pt x="346" y="380"/>
                    </a:lnTo>
                    <a:lnTo>
                      <a:pt x="386" y="411"/>
                    </a:lnTo>
                    <a:lnTo>
                      <a:pt x="393" y="405"/>
                    </a:lnTo>
                    <a:lnTo>
                      <a:pt x="399" y="400"/>
                    </a:lnTo>
                    <a:lnTo>
                      <a:pt x="406" y="396"/>
                    </a:lnTo>
                    <a:lnTo>
                      <a:pt x="414" y="393"/>
                    </a:lnTo>
                    <a:lnTo>
                      <a:pt x="428" y="386"/>
                    </a:lnTo>
                    <a:lnTo>
                      <a:pt x="444" y="382"/>
                    </a:lnTo>
                    <a:lnTo>
                      <a:pt x="476" y="374"/>
                    </a:lnTo>
                    <a:lnTo>
                      <a:pt x="509" y="370"/>
                    </a:lnTo>
                    <a:lnTo>
                      <a:pt x="524" y="367"/>
                    </a:lnTo>
                    <a:lnTo>
                      <a:pt x="539" y="363"/>
                    </a:lnTo>
                    <a:lnTo>
                      <a:pt x="552" y="359"/>
                    </a:lnTo>
                    <a:lnTo>
                      <a:pt x="563" y="353"/>
                    </a:lnTo>
                    <a:lnTo>
                      <a:pt x="569" y="349"/>
                    </a:lnTo>
                    <a:lnTo>
                      <a:pt x="574" y="345"/>
                    </a:lnTo>
                    <a:lnTo>
                      <a:pt x="578" y="340"/>
                    </a:lnTo>
                    <a:lnTo>
                      <a:pt x="582" y="335"/>
                    </a:lnTo>
                    <a:lnTo>
                      <a:pt x="585" y="329"/>
                    </a:lnTo>
                    <a:lnTo>
                      <a:pt x="588" y="322"/>
                    </a:lnTo>
                    <a:lnTo>
                      <a:pt x="590" y="314"/>
                    </a:lnTo>
                    <a:lnTo>
                      <a:pt x="592" y="306"/>
                    </a:lnTo>
                    <a:lnTo>
                      <a:pt x="559" y="306"/>
                    </a:lnTo>
                    <a:lnTo>
                      <a:pt x="548" y="312"/>
                    </a:lnTo>
                    <a:lnTo>
                      <a:pt x="535" y="321"/>
                    </a:lnTo>
                    <a:lnTo>
                      <a:pt x="528" y="325"/>
                    </a:lnTo>
                    <a:lnTo>
                      <a:pt x="520" y="328"/>
                    </a:lnTo>
                    <a:lnTo>
                      <a:pt x="513" y="330"/>
                    </a:lnTo>
                    <a:lnTo>
                      <a:pt x="506" y="331"/>
                    </a:lnTo>
                    <a:lnTo>
                      <a:pt x="495" y="330"/>
                    </a:lnTo>
                    <a:lnTo>
                      <a:pt x="485" y="327"/>
                    </a:lnTo>
                    <a:lnTo>
                      <a:pt x="474" y="324"/>
                    </a:lnTo>
                    <a:lnTo>
                      <a:pt x="463" y="321"/>
                    </a:lnTo>
                    <a:lnTo>
                      <a:pt x="453" y="318"/>
                    </a:lnTo>
                    <a:lnTo>
                      <a:pt x="443" y="317"/>
                    </a:lnTo>
                    <a:lnTo>
                      <a:pt x="438" y="318"/>
                    </a:lnTo>
                    <a:lnTo>
                      <a:pt x="433" y="319"/>
                    </a:lnTo>
                    <a:lnTo>
                      <a:pt x="430" y="322"/>
                    </a:lnTo>
                    <a:lnTo>
                      <a:pt x="426" y="325"/>
                    </a:lnTo>
                    <a:lnTo>
                      <a:pt x="432" y="316"/>
                    </a:lnTo>
                    <a:lnTo>
                      <a:pt x="443" y="307"/>
                    </a:lnTo>
                    <a:lnTo>
                      <a:pt x="457" y="297"/>
                    </a:lnTo>
                    <a:lnTo>
                      <a:pt x="472" y="287"/>
                    </a:lnTo>
                    <a:lnTo>
                      <a:pt x="506" y="265"/>
                    </a:lnTo>
                    <a:lnTo>
                      <a:pt x="539" y="244"/>
                    </a:lnTo>
                    <a:lnTo>
                      <a:pt x="698" y="250"/>
                    </a:lnTo>
                    <a:lnTo>
                      <a:pt x="701" y="246"/>
                    </a:lnTo>
                    <a:lnTo>
                      <a:pt x="704" y="243"/>
                    </a:lnTo>
                    <a:lnTo>
                      <a:pt x="708" y="240"/>
                    </a:lnTo>
                    <a:lnTo>
                      <a:pt x="711" y="238"/>
                    </a:lnTo>
                    <a:lnTo>
                      <a:pt x="719" y="236"/>
                    </a:lnTo>
                    <a:lnTo>
                      <a:pt x="728" y="234"/>
                    </a:lnTo>
                    <a:lnTo>
                      <a:pt x="745" y="234"/>
                    </a:lnTo>
                    <a:lnTo>
                      <a:pt x="758" y="232"/>
                    </a:lnTo>
                    <a:lnTo>
                      <a:pt x="756" y="224"/>
                    </a:lnTo>
                    <a:lnTo>
                      <a:pt x="753" y="216"/>
                    </a:lnTo>
                    <a:lnTo>
                      <a:pt x="749" y="210"/>
                    </a:lnTo>
                    <a:lnTo>
                      <a:pt x="742" y="204"/>
                    </a:lnTo>
                    <a:lnTo>
                      <a:pt x="737" y="199"/>
                    </a:lnTo>
                    <a:lnTo>
                      <a:pt x="729" y="195"/>
                    </a:lnTo>
                    <a:lnTo>
                      <a:pt x="721" y="191"/>
                    </a:lnTo>
                    <a:lnTo>
                      <a:pt x="713" y="188"/>
                    </a:lnTo>
                    <a:lnTo>
                      <a:pt x="698" y="182"/>
                    </a:lnTo>
                    <a:lnTo>
                      <a:pt x="684" y="176"/>
                    </a:lnTo>
                    <a:lnTo>
                      <a:pt x="678" y="172"/>
                    </a:lnTo>
                    <a:lnTo>
                      <a:pt x="673" y="168"/>
                    </a:lnTo>
                    <a:lnTo>
                      <a:pt x="668" y="164"/>
                    </a:lnTo>
                    <a:lnTo>
                      <a:pt x="665" y="159"/>
                    </a:lnTo>
                    <a:lnTo>
                      <a:pt x="687" y="143"/>
                    </a:lnTo>
                    <a:lnTo>
                      <a:pt x="712" y="127"/>
                    </a:lnTo>
                    <a:lnTo>
                      <a:pt x="739" y="109"/>
                    </a:lnTo>
                    <a:lnTo>
                      <a:pt x="765" y="90"/>
                    </a:lnTo>
                    <a:lnTo>
                      <a:pt x="812" y="78"/>
                    </a:lnTo>
                    <a:lnTo>
                      <a:pt x="858" y="65"/>
                    </a:lnTo>
                    <a:lnTo>
                      <a:pt x="902" y="52"/>
                    </a:lnTo>
                    <a:lnTo>
                      <a:pt x="945" y="38"/>
                    </a:lnTo>
                    <a:lnTo>
                      <a:pt x="966" y="33"/>
                    </a:lnTo>
                    <a:lnTo>
                      <a:pt x="988" y="27"/>
                    </a:lnTo>
                    <a:lnTo>
                      <a:pt x="1010" y="22"/>
                    </a:lnTo>
                    <a:lnTo>
                      <a:pt x="1033" y="18"/>
                    </a:lnTo>
                    <a:lnTo>
                      <a:pt x="1056" y="15"/>
                    </a:lnTo>
                    <a:lnTo>
                      <a:pt x="1080" y="12"/>
                    </a:lnTo>
                    <a:lnTo>
                      <a:pt x="1104" y="11"/>
                    </a:lnTo>
                    <a:lnTo>
                      <a:pt x="1130" y="10"/>
                    </a:lnTo>
                    <a:lnTo>
                      <a:pt x="1157" y="9"/>
                    </a:lnTo>
                    <a:lnTo>
                      <a:pt x="1176" y="7"/>
                    </a:lnTo>
                    <a:lnTo>
                      <a:pt x="1192" y="5"/>
                    </a:lnTo>
                    <a:lnTo>
                      <a:pt x="1216" y="4"/>
                    </a:lnTo>
                    <a:lnTo>
                      <a:pt x="1241" y="3"/>
                    </a:lnTo>
                    <a:lnTo>
                      <a:pt x="1262" y="0"/>
                    </a:lnTo>
                    <a:lnTo>
                      <a:pt x="1270" y="0"/>
                    </a:lnTo>
                    <a:lnTo>
                      <a:pt x="1277" y="2"/>
                    </a:lnTo>
                    <a:lnTo>
                      <a:pt x="1280" y="3"/>
                    </a:lnTo>
                    <a:lnTo>
                      <a:pt x="1281" y="5"/>
                    </a:lnTo>
                    <a:lnTo>
                      <a:pt x="1282" y="7"/>
                    </a:lnTo>
                    <a:lnTo>
                      <a:pt x="1283" y="10"/>
                    </a:lnTo>
                    <a:lnTo>
                      <a:pt x="1306" y="10"/>
                    </a:lnTo>
                    <a:lnTo>
                      <a:pt x="1333" y="10"/>
                    </a:lnTo>
                    <a:lnTo>
                      <a:pt x="1354" y="10"/>
                    </a:lnTo>
                    <a:lnTo>
                      <a:pt x="1362" y="10"/>
                    </a:lnTo>
                    <a:lnTo>
                      <a:pt x="1380" y="11"/>
                    </a:lnTo>
                    <a:lnTo>
                      <a:pt x="1399" y="12"/>
                    </a:lnTo>
                    <a:lnTo>
                      <a:pt x="1417" y="15"/>
                    </a:lnTo>
                    <a:lnTo>
                      <a:pt x="1437" y="18"/>
                    </a:lnTo>
                    <a:lnTo>
                      <a:pt x="1475" y="26"/>
                    </a:lnTo>
                    <a:lnTo>
                      <a:pt x="1516" y="34"/>
                    </a:lnTo>
                    <a:lnTo>
                      <a:pt x="1557" y="44"/>
                    </a:lnTo>
                    <a:lnTo>
                      <a:pt x="1597" y="52"/>
                    </a:lnTo>
                    <a:lnTo>
                      <a:pt x="1617" y="55"/>
                    </a:lnTo>
                    <a:lnTo>
                      <a:pt x="1637" y="58"/>
                    </a:lnTo>
                    <a:lnTo>
                      <a:pt x="1656" y="59"/>
                    </a:lnTo>
                    <a:lnTo>
                      <a:pt x="1675" y="60"/>
                    </a:lnTo>
                    <a:lnTo>
                      <a:pt x="1761" y="41"/>
                    </a:lnTo>
                    <a:lnTo>
                      <a:pt x="1772" y="46"/>
                    </a:lnTo>
                    <a:lnTo>
                      <a:pt x="1784" y="51"/>
                    </a:lnTo>
                    <a:lnTo>
                      <a:pt x="1797" y="55"/>
                    </a:lnTo>
                    <a:lnTo>
                      <a:pt x="1808" y="60"/>
                    </a:lnTo>
                    <a:lnTo>
                      <a:pt x="1223" y="540"/>
                    </a:lnTo>
                    <a:lnTo>
                      <a:pt x="1258" y="540"/>
                    </a:lnTo>
                    <a:lnTo>
                      <a:pt x="1287" y="540"/>
                    </a:lnTo>
                    <a:lnTo>
                      <a:pt x="1309" y="540"/>
                    </a:lnTo>
                    <a:lnTo>
                      <a:pt x="1329" y="540"/>
                    </a:lnTo>
                    <a:lnTo>
                      <a:pt x="1328" y="547"/>
                    </a:lnTo>
                    <a:lnTo>
                      <a:pt x="1327" y="553"/>
                    </a:lnTo>
                    <a:lnTo>
                      <a:pt x="1325" y="559"/>
                    </a:lnTo>
                    <a:lnTo>
                      <a:pt x="1323" y="565"/>
                    </a:lnTo>
                    <a:lnTo>
                      <a:pt x="1321" y="571"/>
                    </a:lnTo>
                    <a:lnTo>
                      <a:pt x="1318" y="576"/>
                    </a:lnTo>
                    <a:lnTo>
                      <a:pt x="1316" y="583"/>
                    </a:lnTo>
                    <a:lnTo>
                      <a:pt x="1316" y="589"/>
                    </a:lnTo>
                    <a:lnTo>
                      <a:pt x="1317" y="592"/>
                    </a:lnTo>
                    <a:lnTo>
                      <a:pt x="1320" y="595"/>
                    </a:lnTo>
                    <a:lnTo>
                      <a:pt x="1323" y="599"/>
                    </a:lnTo>
                    <a:lnTo>
                      <a:pt x="1327" y="601"/>
                    </a:lnTo>
                    <a:lnTo>
                      <a:pt x="1336" y="606"/>
                    </a:lnTo>
                    <a:lnTo>
                      <a:pt x="1343" y="608"/>
                    </a:lnTo>
                    <a:lnTo>
                      <a:pt x="1351" y="608"/>
                    </a:lnTo>
                    <a:lnTo>
                      <a:pt x="1358" y="607"/>
                    </a:lnTo>
                    <a:lnTo>
                      <a:pt x="1365" y="605"/>
                    </a:lnTo>
                    <a:lnTo>
                      <a:pt x="1371" y="604"/>
                    </a:lnTo>
                    <a:lnTo>
                      <a:pt x="1382" y="599"/>
                    </a:lnTo>
                    <a:lnTo>
                      <a:pt x="1391" y="592"/>
                    </a:lnTo>
                    <a:lnTo>
                      <a:pt x="1400" y="587"/>
                    </a:lnTo>
                    <a:lnTo>
                      <a:pt x="1409" y="582"/>
                    </a:lnTo>
                    <a:lnTo>
                      <a:pt x="1413" y="580"/>
                    </a:lnTo>
                    <a:lnTo>
                      <a:pt x="1417" y="578"/>
                    </a:lnTo>
                    <a:lnTo>
                      <a:pt x="1423" y="577"/>
                    </a:lnTo>
                    <a:lnTo>
                      <a:pt x="1429" y="577"/>
                    </a:lnTo>
                    <a:lnTo>
                      <a:pt x="1441" y="596"/>
                    </a:lnTo>
                    <a:lnTo>
                      <a:pt x="1457" y="617"/>
                    </a:lnTo>
                    <a:lnTo>
                      <a:pt x="1465" y="629"/>
                    </a:lnTo>
                    <a:lnTo>
                      <a:pt x="1470" y="643"/>
                    </a:lnTo>
                    <a:lnTo>
                      <a:pt x="1472" y="650"/>
                    </a:lnTo>
                    <a:lnTo>
                      <a:pt x="1474" y="659"/>
                    </a:lnTo>
                    <a:lnTo>
                      <a:pt x="1475" y="667"/>
                    </a:lnTo>
                    <a:lnTo>
                      <a:pt x="1475" y="676"/>
                    </a:lnTo>
                    <a:lnTo>
                      <a:pt x="1475" y="681"/>
                    </a:lnTo>
                    <a:lnTo>
                      <a:pt x="1474" y="686"/>
                    </a:lnTo>
                    <a:lnTo>
                      <a:pt x="1473" y="690"/>
                    </a:lnTo>
                    <a:lnTo>
                      <a:pt x="1471" y="694"/>
                    </a:lnTo>
                    <a:lnTo>
                      <a:pt x="1467" y="700"/>
                    </a:lnTo>
                    <a:lnTo>
                      <a:pt x="1462" y="706"/>
                    </a:lnTo>
                    <a:lnTo>
                      <a:pt x="1457" y="713"/>
                    </a:lnTo>
                    <a:lnTo>
                      <a:pt x="1454" y="719"/>
                    </a:lnTo>
                    <a:lnTo>
                      <a:pt x="1451" y="723"/>
                    </a:lnTo>
                    <a:lnTo>
                      <a:pt x="1450" y="727"/>
                    </a:lnTo>
                    <a:lnTo>
                      <a:pt x="1449" y="732"/>
                    </a:lnTo>
                    <a:lnTo>
                      <a:pt x="1449" y="737"/>
                    </a:lnTo>
                    <a:lnTo>
                      <a:pt x="1449" y="742"/>
                    </a:lnTo>
                    <a:lnTo>
                      <a:pt x="1450" y="746"/>
                    </a:lnTo>
                    <a:lnTo>
                      <a:pt x="1452" y="750"/>
                    </a:lnTo>
                    <a:lnTo>
                      <a:pt x="1455" y="754"/>
                    </a:lnTo>
                    <a:lnTo>
                      <a:pt x="1459" y="761"/>
                    </a:lnTo>
                    <a:lnTo>
                      <a:pt x="1466" y="769"/>
                    </a:lnTo>
                    <a:lnTo>
                      <a:pt x="1471" y="775"/>
                    </a:lnTo>
                    <a:lnTo>
                      <a:pt x="1477" y="783"/>
                    </a:lnTo>
                    <a:lnTo>
                      <a:pt x="1479" y="786"/>
                    </a:lnTo>
                    <a:lnTo>
                      <a:pt x="1481" y="790"/>
                    </a:lnTo>
                    <a:lnTo>
                      <a:pt x="1482" y="794"/>
                    </a:lnTo>
                    <a:lnTo>
                      <a:pt x="1482" y="799"/>
                    </a:lnTo>
                    <a:lnTo>
                      <a:pt x="1482" y="802"/>
                    </a:lnTo>
                    <a:lnTo>
                      <a:pt x="1480" y="807"/>
                    </a:lnTo>
                    <a:lnTo>
                      <a:pt x="1477" y="811"/>
                    </a:lnTo>
                    <a:lnTo>
                      <a:pt x="1473" y="816"/>
                    </a:lnTo>
                    <a:lnTo>
                      <a:pt x="1463" y="826"/>
                    </a:lnTo>
                    <a:lnTo>
                      <a:pt x="1452" y="835"/>
                    </a:lnTo>
                    <a:lnTo>
                      <a:pt x="1446" y="839"/>
                    </a:lnTo>
                    <a:lnTo>
                      <a:pt x="1439" y="843"/>
                    </a:lnTo>
                    <a:lnTo>
                      <a:pt x="1433" y="846"/>
                    </a:lnTo>
                    <a:lnTo>
                      <a:pt x="1426" y="848"/>
                    </a:lnTo>
                    <a:lnTo>
                      <a:pt x="1419" y="850"/>
                    </a:lnTo>
                    <a:lnTo>
                      <a:pt x="1414" y="850"/>
                    </a:lnTo>
                    <a:lnTo>
                      <a:pt x="1407" y="850"/>
                    </a:lnTo>
                    <a:lnTo>
                      <a:pt x="1402" y="848"/>
                    </a:lnTo>
                    <a:lnTo>
                      <a:pt x="1410" y="8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2" name="Freeform 6"/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6446607" y="2157198"/>
                <a:ext cx="1734408" cy="869341"/>
              </a:xfrm>
              <a:custGeom>
                <a:avLst/>
                <a:gdLst>
                  <a:gd name="T0" fmla="*/ 2147483647 w 3175"/>
                  <a:gd name="T1" fmla="*/ 2147483647 h 1472"/>
                  <a:gd name="T2" fmla="*/ 2147483647 w 3175"/>
                  <a:gd name="T3" fmla="*/ 2147483647 h 1472"/>
                  <a:gd name="T4" fmla="*/ 2147483647 w 3175"/>
                  <a:gd name="T5" fmla="*/ 2147483647 h 1472"/>
                  <a:gd name="T6" fmla="*/ 2147483647 w 3175"/>
                  <a:gd name="T7" fmla="*/ 2147483647 h 1472"/>
                  <a:gd name="T8" fmla="*/ 2147483647 w 3175"/>
                  <a:gd name="T9" fmla="*/ 2147483647 h 1472"/>
                  <a:gd name="T10" fmla="*/ 2147483647 w 3175"/>
                  <a:gd name="T11" fmla="*/ 2147483647 h 1472"/>
                  <a:gd name="T12" fmla="*/ 2147483647 w 3175"/>
                  <a:gd name="T13" fmla="*/ 2147483647 h 1472"/>
                  <a:gd name="T14" fmla="*/ 2147483647 w 3175"/>
                  <a:gd name="T15" fmla="*/ 2147483647 h 1472"/>
                  <a:gd name="T16" fmla="*/ 2147483647 w 3175"/>
                  <a:gd name="T17" fmla="*/ 2147483647 h 1472"/>
                  <a:gd name="T18" fmla="*/ 2147483647 w 3175"/>
                  <a:gd name="T19" fmla="*/ 2147483647 h 1472"/>
                  <a:gd name="T20" fmla="*/ 2147483647 w 3175"/>
                  <a:gd name="T21" fmla="*/ 2147483647 h 1472"/>
                  <a:gd name="T22" fmla="*/ 2147483647 w 3175"/>
                  <a:gd name="T23" fmla="*/ 2147483647 h 1472"/>
                  <a:gd name="T24" fmla="*/ 2147483647 w 3175"/>
                  <a:gd name="T25" fmla="*/ 2147483647 h 1472"/>
                  <a:gd name="T26" fmla="*/ 2147483647 w 3175"/>
                  <a:gd name="T27" fmla="*/ 2147483647 h 1472"/>
                  <a:gd name="T28" fmla="*/ 2147483647 w 3175"/>
                  <a:gd name="T29" fmla="*/ 2147483647 h 1472"/>
                  <a:gd name="T30" fmla="*/ 2147483647 w 3175"/>
                  <a:gd name="T31" fmla="*/ 2147483647 h 1472"/>
                  <a:gd name="T32" fmla="*/ 2147483647 w 3175"/>
                  <a:gd name="T33" fmla="*/ 2147483647 h 1472"/>
                  <a:gd name="T34" fmla="*/ 2147483647 w 3175"/>
                  <a:gd name="T35" fmla="*/ 2147483647 h 1472"/>
                  <a:gd name="T36" fmla="*/ 2147483647 w 3175"/>
                  <a:gd name="T37" fmla="*/ 2147483647 h 1472"/>
                  <a:gd name="T38" fmla="*/ 2147483647 w 3175"/>
                  <a:gd name="T39" fmla="*/ 2147483647 h 1472"/>
                  <a:gd name="T40" fmla="*/ 2147483647 w 3175"/>
                  <a:gd name="T41" fmla="*/ 2147483647 h 1472"/>
                  <a:gd name="T42" fmla="*/ 2147483647 w 3175"/>
                  <a:gd name="T43" fmla="*/ 2147483647 h 1472"/>
                  <a:gd name="T44" fmla="*/ 2147483647 w 3175"/>
                  <a:gd name="T45" fmla="*/ 2147483647 h 1472"/>
                  <a:gd name="T46" fmla="*/ 2147483647 w 3175"/>
                  <a:gd name="T47" fmla="*/ 2147483647 h 1472"/>
                  <a:gd name="T48" fmla="*/ 2147483647 w 3175"/>
                  <a:gd name="T49" fmla="*/ 2147483647 h 1472"/>
                  <a:gd name="T50" fmla="*/ 2147483647 w 3175"/>
                  <a:gd name="T51" fmla="*/ 2147483647 h 1472"/>
                  <a:gd name="T52" fmla="*/ 2147483647 w 3175"/>
                  <a:gd name="T53" fmla="*/ 2147483647 h 1472"/>
                  <a:gd name="T54" fmla="*/ 2147483647 w 3175"/>
                  <a:gd name="T55" fmla="*/ 2147483647 h 1472"/>
                  <a:gd name="T56" fmla="*/ 2147483647 w 3175"/>
                  <a:gd name="T57" fmla="*/ 2147483647 h 1472"/>
                  <a:gd name="T58" fmla="*/ 2147483647 w 3175"/>
                  <a:gd name="T59" fmla="*/ 2147483647 h 1472"/>
                  <a:gd name="T60" fmla="*/ 2147483647 w 3175"/>
                  <a:gd name="T61" fmla="*/ 2147483647 h 1472"/>
                  <a:gd name="T62" fmla="*/ 2147483647 w 3175"/>
                  <a:gd name="T63" fmla="*/ 2147483647 h 1472"/>
                  <a:gd name="T64" fmla="*/ 2147483647 w 3175"/>
                  <a:gd name="T65" fmla="*/ 2147483647 h 1472"/>
                  <a:gd name="T66" fmla="*/ 2147483647 w 3175"/>
                  <a:gd name="T67" fmla="*/ 2147483647 h 1472"/>
                  <a:gd name="T68" fmla="*/ 2147483647 w 3175"/>
                  <a:gd name="T69" fmla="*/ 2147483647 h 1472"/>
                  <a:gd name="T70" fmla="*/ 0 w 3175"/>
                  <a:gd name="T71" fmla="*/ 2147483647 h 1472"/>
                  <a:gd name="T72" fmla="*/ 2147483647 w 3175"/>
                  <a:gd name="T73" fmla="*/ 2147483647 h 1472"/>
                  <a:gd name="T74" fmla="*/ 2147483647 w 3175"/>
                  <a:gd name="T75" fmla="*/ 2147483647 h 1472"/>
                  <a:gd name="T76" fmla="*/ 2147483647 w 3175"/>
                  <a:gd name="T77" fmla="*/ 2147483647 h 1472"/>
                  <a:gd name="T78" fmla="*/ 2147483647 w 3175"/>
                  <a:gd name="T79" fmla="*/ 2147483647 h 1472"/>
                  <a:gd name="T80" fmla="*/ 2147483647 w 3175"/>
                  <a:gd name="T81" fmla="*/ 0 h 1472"/>
                  <a:gd name="T82" fmla="*/ 2147483647 w 3175"/>
                  <a:gd name="T83" fmla="*/ 2147483647 h 1472"/>
                  <a:gd name="T84" fmla="*/ 2147483647 w 3175"/>
                  <a:gd name="T85" fmla="*/ 2147483647 h 1472"/>
                  <a:gd name="T86" fmla="*/ 2147483647 w 3175"/>
                  <a:gd name="T87" fmla="*/ 2147483647 h 1472"/>
                  <a:gd name="T88" fmla="*/ 2147483647 w 3175"/>
                  <a:gd name="T89" fmla="*/ 2147483647 h 1472"/>
                  <a:gd name="T90" fmla="*/ 2147483647 w 3175"/>
                  <a:gd name="T91" fmla="*/ 2147483647 h 1472"/>
                  <a:gd name="T92" fmla="*/ 2147483647 w 3175"/>
                  <a:gd name="T93" fmla="*/ 2147483647 h 1472"/>
                  <a:gd name="T94" fmla="*/ 2147483647 w 3175"/>
                  <a:gd name="T95" fmla="*/ 2147483647 h 1472"/>
                  <a:gd name="T96" fmla="*/ 2147483647 w 3175"/>
                  <a:gd name="T97" fmla="*/ 2147483647 h 1472"/>
                  <a:gd name="T98" fmla="*/ 2147483647 w 3175"/>
                  <a:gd name="T99" fmla="*/ 2147483647 h 1472"/>
                  <a:gd name="T100" fmla="*/ 2147483647 w 3175"/>
                  <a:gd name="T101" fmla="*/ 2147483647 h 1472"/>
                  <a:gd name="T102" fmla="*/ 2147483647 w 3175"/>
                  <a:gd name="T103" fmla="*/ 2147483647 h 1472"/>
                  <a:gd name="T104" fmla="*/ 2147483647 w 3175"/>
                  <a:gd name="T105" fmla="*/ 2147483647 h 1472"/>
                  <a:gd name="T106" fmla="*/ 2147483647 w 3175"/>
                  <a:gd name="T107" fmla="*/ 2147483647 h 1472"/>
                  <a:gd name="T108" fmla="*/ 2147483647 w 3175"/>
                  <a:gd name="T109" fmla="*/ 2147483647 h 1472"/>
                  <a:gd name="T110" fmla="*/ 2147483647 w 3175"/>
                  <a:gd name="T111" fmla="*/ 2147483647 h 1472"/>
                  <a:gd name="T112" fmla="*/ 2147483647 w 3175"/>
                  <a:gd name="T113" fmla="*/ 2147483647 h 1472"/>
                  <a:gd name="T114" fmla="*/ 2147483647 w 3175"/>
                  <a:gd name="T115" fmla="*/ 2147483647 h 1472"/>
                  <a:gd name="T116" fmla="*/ 2147483647 w 3175"/>
                  <a:gd name="T117" fmla="*/ 2147483647 h 1472"/>
                  <a:gd name="T118" fmla="*/ 2147483647 w 3175"/>
                  <a:gd name="T119" fmla="*/ 2147483647 h 1472"/>
                  <a:gd name="T120" fmla="*/ 2147483647 w 3175"/>
                  <a:gd name="T121" fmla="*/ 2147483647 h 1472"/>
                  <a:gd name="T122" fmla="*/ 2147483647 w 3175"/>
                  <a:gd name="T123" fmla="*/ 2147483647 h 147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75" h="1472">
                    <a:moveTo>
                      <a:pt x="3155" y="258"/>
                    </a:moveTo>
                    <a:lnTo>
                      <a:pt x="3129" y="270"/>
                    </a:lnTo>
                    <a:lnTo>
                      <a:pt x="3104" y="281"/>
                    </a:lnTo>
                    <a:lnTo>
                      <a:pt x="3079" y="291"/>
                    </a:lnTo>
                    <a:lnTo>
                      <a:pt x="3055" y="300"/>
                    </a:lnTo>
                    <a:lnTo>
                      <a:pt x="3032" y="309"/>
                    </a:lnTo>
                    <a:lnTo>
                      <a:pt x="3008" y="317"/>
                    </a:lnTo>
                    <a:lnTo>
                      <a:pt x="2983" y="326"/>
                    </a:lnTo>
                    <a:lnTo>
                      <a:pt x="2956" y="333"/>
                    </a:lnTo>
                    <a:lnTo>
                      <a:pt x="2948" y="337"/>
                    </a:lnTo>
                    <a:lnTo>
                      <a:pt x="2940" y="341"/>
                    </a:lnTo>
                    <a:lnTo>
                      <a:pt x="2933" y="347"/>
                    </a:lnTo>
                    <a:lnTo>
                      <a:pt x="2928" y="353"/>
                    </a:lnTo>
                    <a:lnTo>
                      <a:pt x="2917" y="366"/>
                    </a:lnTo>
                    <a:lnTo>
                      <a:pt x="2909" y="382"/>
                    </a:lnTo>
                    <a:lnTo>
                      <a:pt x="2900" y="397"/>
                    </a:lnTo>
                    <a:lnTo>
                      <a:pt x="2894" y="410"/>
                    </a:lnTo>
                    <a:lnTo>
                      <a:pt x="2889" y="416"/>
                    </a:lnTo>
                    <a:lnTo>
                      <a:pt x="2885" y="422"/>
                    </a:lnTo>
                    <a:lnTo>
                      <a:pt x="2881" y="427"/>
                    </a:lnTo>
                    <a:lnTo>
                      <a:pt x="2876" y="431"/>
                    </a:lnTo>
                    <a:lnTo>
                      <a:pt x="2876" y="436"/>
                    </a:lnTo>
                    <a:lnTo>
                      <a:pt x="2877" y="440"/>
                    </a:lnTo>
                    <a:lnTo>
                      <a:pt x="2880" y="445"/>
                    </a:lnTo>
                    <a:lnTo>
                      <a:pt x="2883" y="450"/>
                    </a:lnTo>
                    <a:lnTo>
                      <a:pt x="2896" y="440"/>
                    </a:lnTo>
                    <a:lnTo>
                      <a:pt x="2909" y="431"/>
                    </a:lnTo>
                    <a:lnTo>
                      <a:pt x="2910" y="438"/>
                    </a:lnTo>
                    <a:lnTo>
                      <a:pt x="2910" y="443"/>
                    </a:lnTo>
                    <a:lnTo>
                      <a:pt x="2909" y="448"/>
                    </a:lnTo>
                    <a:lnTo>
                      <a:pt x="2907" y="451"/>
                    </a:lnTo>
                    <a:lnTo>
                      <a:pt x="2905" y="455"/>
                    </a:lnTo>
                    <a:lnTo>
                      <a:pt x="2902" y="457"/>
                    </a:lnTo>
                    <a:lnTo>
                      <a:pt x="2898" y="459"/>
                    </a:lnTo>
                    <a:lnTo>
                      <a:pt x="2894" y="460"/>
                    </a:lnTo>
                    <a:lnTo>
                      <a:pt x="2883" y="462"/>
                    </a:lnTo>
                    <a:lnTo>
                      <a:pt x="2871" y="462"/>
                    </a:lnTo>
                    <a:lnTo>
                      <a:pt x="2858" y="462"/>
                    </a:lnTo>
                    <a:lnTo>
                      <a:pt x="2843" y="462"/>
                    </a:lnTo>
                    <a:lnTo>
                      <a:pt x="2820" y="463"/>
                    </a:lnTo>
                    <a:lnTo>
                      <a:pt x="2796" y="466"/>
                    </a:lnTo>
                    <a:lnTo>
                      <a:pt x="2773" y="470"/>
                    </a:lnTo>
                    <a:lnTo>
                      <a:pt x="2750" y="476"/>
                    </a:lnTo>
                    <a:lnTo>
                      <a:pt x="2728" y="483"/>
                    </a:lnTo>
                    <a:lnTo>
                      <a:pt x="2708" y="491"/>
                    </a:lnTo>
                    <a:lnTo>
                      <a:pt x="2691" y="498"/>
                    </a:lnTo>
                    <a:lnTo>
                      <a:pt x="2678" y="505"/>
                    </a:lnTo>
                    <a:lnTo>
                      <a:pt x="2678" y="542"/>
                    </a:lnTo>
                    <a:lnTo>
                      <a:pt x="2675" y="549"/>
                    </a:lnTo>
                    <a:lnTo>
                      <a:pt x="2673" y="555"/>
                    </a:lnTo>
                    <a:lnTo>
                      <a:pt x="2670" y="561"/>
                    </a:lnTo>
                    <a:lnTo>
                      <a:pt x="2667" y="566"/>
                    </a:lnTo>
                    <a:lnTo>
                      <a:pt x="2658" y="575"/>
                    </a:lnTo>
                    <a:lnTo>
                      <a:pt x="2649" y="584"/>
                    </a:lnTo>
                    <a:lnTo>
                      <a:pt x="2639" y="592"/>
                    </a:lnTo>
                    <a:lnTo>
                      <a:pt x="2628" y="602"/>
                    </a:lnTo>
                    <a:lnTo>
                      <a:pt x="2619" y="611"/>
                    </a:lnTo>
                    <a:lnTo>
                      <a:pt x="2611" y="622"/>
                    </a:lnTo>
                    <a:lnTo>
                      <a:pt x="2611" y="613"/>
                    </a:lnTo>
                    <a:lnTo>
                      <a:pt x="2611" y="604"/>
                    </a:lnTo>
                    <a:lnTo>
                      <a:pt x="2606" y="603"/>
                    </a:lnTo>
                    <a:lnTo>
                      <a:pt x="2602" y="600"/>
                    </a:lnTo>
                    <a:lnTo>
                      <a:pt x="2598" y="595"/>
                    </a:lnTo>
                    <a:lnTo>
                      <a:pt x="2596" y="590"/>
                    </a:lnTo>
                    <a:lnTo>
                      <a:pt x="2595" y="585"/>
                    </a:lnTo>
                    <a:lnTo>
                      <a:pt x="2595" y="580"/>
                    </a:lnTo>
                    <a:lnTo>
                      <a:pt x="2595" y="576"/>
                    </a:lnTo>
                    <a:lnTo>
                      <a:pt x="2597" y="573"/>
                    </a:lnTo>
                    <a:lnTo>
                      <a:pt x="2578" y="573"/>
                    </a:lnTo>
                    <a:lnTo>
                      <a:pt x="2575" y="587"/>
                    </a:lnTo>
                    <a:lnTo>
                      <a:pt x="2574" y="600"/>
                    </a:lnTo>
                    <a:lnTo>
                      <a:pt x="2574" y="610"/>
                    </a:lnTo>
                    <a:lnTo>
                      <a:pt x="2574" y="619"/>
                    </a:lnTo>
                    <a:lnTo>
                      <a:pt x="2577" y="633"/>
                    </a:lnTo>
                    <a:lnTo>
                      <a:pt x="2578" y="646"/>
                    </a:lnTo>
                    <a:lnTo>
                      <a:pt x="2577" y="658"/>
                    </a:lnTo>
                    <a:lnTo>
                      <a:pt x="2574" y="668"/>
                    </a:lnTo>
                    <a:lnTo>
                      <a:pt x="2570" y="677"/>
                    </a:lnTo>
                    <a:lnTo>
                      <a:pt x="2564" y="685"/>
                    </a:lnTo>
                    <a:lnTo>
                      <a:pt x="2559" y="693"/>
                    </a:lnTo>
                    <a:lnTo>
                      <a:pt x="2552" y="700"/>
                    </a:lnTo>
                    <a:lnTo>
                      <a:pt x="2545" y="707"/>
                    </a:lnTo>
                    <a:lnTo>
                      <a:pt x="2537" y="715"/>
                    </a:lnTo>
                    <a:lnTo>
                      <a:pt x="2538" y="684"/>
                    </a:lnTo>
                    <a:lnTo>
                      <a:pt x="2538" y="657"/>
                    </a:lnTo>
                    <a:lnTo>
                      <a:pt x="2540" y="630"/>
                    </a:lnTo>
                    <a:lnTo>
                      <a:pt x="2544" y="604"/>
                    </a:lnTo>
                    <a:lnTo>
                      <a:pt x="2535" y="607"/>
                    </a:lnTo>
                    <a:lnTo>
                      <a:pt x="2527" y="611"/>
                    </a:lnTo>
                    <a:lnTo>
                      <a:pt x="2519" y="615"/>
                    </a:lnTo>
                    <a:lnTo>
                      <a:pt x="2514" y="621"/>
                    </a:lnTo>
                    <a:lnTo>
                      <a:pt x="2510" y="628"/>
                    </a:lnTo>
                    <a:lnTo>
                      <a:pt x="2506" y="635"/>
                    </a:lnTo>
                    <a:lnTo>
                      <a:pt x="2505" y="643"/>
                    </a:lnTo>
                    <a:lnTo>
                      <a:pt x="2504" y="653"/>
                    </a:lnTo>
                    <a:lnTo>
                      <a:pt x="2491" y="653"/>
                    </a:lnTo>
                    <a:lnTo>
                      <a:pt x="2478" y="653"/>
                    </a:lnTo>
                    <a:lnTo>
                      <a:pt x="2478" y="658"/>
                    </a:lnTo>
                    <a:lnTo>
                      <a:pt x="2479" y="662"/>
                    </a:lnTo>
                    <a:lnTo>
                      <a:pt x="2480" y="666"/>
                    </a:lnTo>
                    <a:lnTo>
                      <a:pt x="2482" y="670"/>
                    </a:lnTo>
                    <a:lnTo>
                      <a:pt x="2486" y="678"/>
                    </a:lnTo>
                    <a:lnTo>
                      <a:pt x="2493" y="684"/>
                    </a:lnTo>
                    <a:lnTo>
                      <a:pt x="2499" y="690"/>
                    </a:lnTo>
                    <a:lnTo>
                      <a:pt x="2505" y="695"/>
                    </a:lnTo>
                    <a:lnTo>
                      <a:pt x="2512" y="699"/>
                    </a:lnTo>
                    <a:lnTo>
                      <a:pt x="2517" y="702"/>
                    </a:lnTo>
                    <a:lnTo>
                      <a:pt x="2517" y="727"/>
                    </a:lnTo>
                    <a:lnTo>
                      <a:pt x="2496" y="730"/>
                    </a:lnTo>
                    <a:lnTo>
                      <a:pt x="2479" y="730"/>
                    </a:lnTo>
                    <a:lnTo>
                      <a:pt x="2472" y="730"/>
                    </a:lnTo>
                    <a:lnTo>
                      <a:pt x="2466" y="730"/>
                    </a:lnTo>
                    <a:lnTo>
                      <a:pt x="2458" y="731"/>
                    </a:lnTo>
                    <a:lnTo>
                      <a:pt x="2451" y="733"/>
                    </a:lnTo>
                    <a:lnTo>
                      <a:pt x="2455" y="737"/>
                    </a:lnTo>
                    <a:lnTo>
                      <a:pt x="2459" y="741"/>
                    </a:lnTo>
                    <a:lnTo>
                      <a:pt x="2465" y="744"/>
                    </a:lnTo>
                    <a:lnTo>
                      <a:pt x="2471" y="747"/>
                    </a:lnTo>
                    <a:lnTo>
                      <a:pt x="2483" y="750"/>
                    </a:lnTo>
                    <a:lnTo>
                      <a:pt x="2491" y="751"/>
                    </a:lnTo>
                    <a:lnTo>
                      <a:pt x="2492" y="756"/>
                    </a:lnTo>
                    <a:lnTo>
                      <a:pt x="2493" y="760"/>
                    </a:lnTo>
                    <a:lnTo>
                      <a:pt x="2495" y="765"/>
                    </a:lnTo>
                    <a:lnTo>
                      <a:pt x="2499" y="769"/>
                    </a:lnTo>
                    <a:lnTo>
                      <a:pt x="2505" y="777"/>
                    </a:lnTo>
                    <a:lnTo>
                      <a:pt x="2511" y="782"/>
                    </a:lnTo>
                    <a:lnTo>
                      <a:pt x="2500" y="792"/>
                    </a:lnTo>
                    <a:lnTo>
                      <a:pt x="2489" y="802"/>
                    </a:lnTo>
                    <a:lnTo>
                      <a:pt x="2480" y="812"/>
                    </a:lnTo>
                    <a:lnTo>
                      <a:pt x="2471" y="823"/>
                    </a:lnTo>
                    <a:lnTo>
                      <a:pt x="2456" y="841"/>
                    </a:lnTo>
                    <a:lnTo>
                      <a:pt x="2441" y="859"/>
                    </a:lnTo>
                    <a:lnTo>
                      <a:pt x="2434" y="867"/>
                    </a:lnTo>
                    <a:lnTo>
                      <a:pt x="2425" y="876"/>
                    </a:lnTo>
                    <a:lnTo>
                      <a:pt x="2416" y="884"/>
                    </a:lnTo>
                    <a:lnTo>
                      <a:pt x="2406" y="892"/>
                    </a:lnTo>
                    <a:lnTo>
                      <a:pt x="2395" y="899"/>
                    </a:lnTo>
                    <a:lnTo>
                      <a:pt x="2382" y="905"/>
                    </a:lnTo>
                    <a:lnTo>
                      <a:pt x="2368" y="912"/>
                    </a:lnTo>
                    <a:lnTo>
                      <a:pt x="2351" y="917"/>
                    </a:lnTo>
                    <a:lnTo>
                      <a:pt x="2346" y="919"/>
                    </a:lnTo>
                    <a:lnTo>
                      <a:pt x="2339" y="923"/>
                    </a:lnTo>
                    <a:lnTo>
                      <a:pt x="2332" y="928"/>
                    </a:lnTo>
                    <a:lnTo>
                      <a:pt x="2324" y="935"/>
                    </a:lnTo>
                    <a:lnTo>
                      <a:pt x="2307" y="950"/>
                    </a:lnTo>
                    <a:lnTo>
                      <a:pt x="2289" y="967"/>
                    </a:lnTo>
                    <a:lnTo>
                      <a:pt x="2271" y="984"/>
                    </a:lnTo>
                    <a:lnTo>
                      <a:pt x="2255" y="999"/>
                    </a:lnTo>
                    <a:lnTo>
                      <a:pt x="2248" y="1006"/>
                    </a:lnTo>
                    <a:lnTo>
                      <a:pt x="2242" y="1011"/>
                    </a:lnTo>
                    <a:lnTo>
                      <a:pt x="2236" y="1014"/>
                    </a:lnTo>
                    <a:lnTo>
                      <a:pt x="2232" y="1016"/>
                    </a:lnTo>
                    <a:lnTo>
                      <a:pt x="2208" y="1025"/>
                    </a:lnTo>
                    <a:lnTo>
                      <a:pt x="2186" y="1034"/>
                    </a:lnTo>
                    <a:lnTo>
                      <a:pt x="2175" y="1039"/>
                    </a:lnTo>
                    <a:lnTo>
                      <a:pt x="2165" y="1045"/>
                    </a:lnTo>
                    <a:lnTo>
                      <a:pt x="2156" y="1051"/>
                    </a:lnTo>
                    <a:lnTo>
                      <a:pt x="2147" y="1057"/>
                    </a:lnTo>
                    <a:lnTo>
                      <a:pt x="2140" y="1064"/>
                    </a:lnTo>
                    <a:lnTo>
                      <a:pt x="2133" y="1072"/>
                    </a:lnTo>
                    <a:lnTo>
                      <a:pt x="2126" y="1080"/>
                    </a:lnTo>
                    <a:lnTo>
                      <a:pt x="2122" y="1090"/>
                    </a:lnTo>
                    <a:lnTo>
                      <a:pt x="2118" y="1101"/>
                    </a:lnTo>
                    <a:lnTo>
                      <a:pt x="2114" y="1113"/>
                    </a:lnTo>
                    <a:lnTo>
                      <a:pt x="2113" y="1125"/>
                    </a:lnTo>
                    <a:lnTo>
                      <a:pt x="2112" y="1139"/>
                    </a:lnTo>
                    <a:lnTo>
                      <a:pt x="2112" y="1151"/>
                    </a:lnTo>
                    <a:lnTo>
                      <a:pt x="2112" y="1174"/>
                    </a:lnTo>
                    <a:lnTo>
                      <a:pt x="2112" y="1195"/>
                    </a:lnTo>
                    <a:lnTo>
                      <a:pt x="2112" y="1207"/>
                    </a:lnTo>
                    <a:lnTo>
                      <a:pt x="2114" y="1223"/>
                    </a:lnTo>
                    <a:lnTo>
                      <a:pt x="2118" y="1240"/>
                    </a:lnTo>
                    <a:lnTo>
                      <a:pt x="2120" y="1249"/>
                    </a:lnTo>
                    <a:lnTo>
                      <a:pt x="2121" y="1259"/>
                    </a:lnTo>
                    <a:lnTo>
                      <a:pt x="2121" y="1270"/>
                    </a:lnTo>
                    <a:lnTo>
                      <a:pt x="2119" y="1281"/>
                    </a:lnTo>
                    <a:lnTo>
                      <a:pt x="2132" y="1343"/>
                    </a:lnTo>
                    <a:lnTo>
                      <a:pt x="2126" y="1379"/>
                    </a:lnTo>
                    <a:lnTo>
                      <a:pt x="2118" y="1417"/>
                    </a:lnTo>
                    <a:lnTo>
                      <a:pt x="2112" y="1435"/>
                    </a:lnTo>
                    <a:lnTo>
                      <a:pt x="2105" y="1450"/>
                    </a:lnTo>
                    <a:lnTo>
                      <a:pt x="2103" y="1457"/>
                    </a:lnTo>
                    <a:lnTo>
                      <a:pt x="2100" y="1463"/>
                    </a:lnTo>
                    <a:lnTo>
                      <a:pt x="2096" y="1468"/>
                    </a:lnTo>
                    <a:lnTo>
                      <a:pt x="2092" y="1472"/>
                    </a:lnTo>
                    <a:lnTo>
                      <a:pt x="2059" y="1472"/>
                    </a:lnTo>
                    <a:lnTo>
                      <a:pt x="2058" y="1464"/>
                    </a:lnTo>
                    <a:lnTo>
                      <a:pt x="2057" y="1456"/>
                    </a:lnTo>
                    <a:lnTo>
                      <a:pt x="2055" y="1450"/>
                    </a:lnTo>
                    <a:lnTo>
                      <a:pt x="2053" y="1445"/>
                    </a:lnTo>
                    <a:lnTo>
                      <a:pt x="2047" y="1437"/>
                    </a:lnTo>
                    <a:lnTo>
                      <a:pt x="2040" y="1430"/>
                    </a:lnTo>
                    <a:lnTo>
                      <a:pt x="2033" y="1425"/>
                    </a:lnTo>
                    <a:lnTo>
                      <a:pt x="2029" y="1418"/>
                    </a:lnTo>
                    <a:lnTo>
                      <a:pt x="2026" y="1414"/>
                    </a:lnTo>
                    <a:lnTo>
                      <a:pt x="2025" y="1410"/>
                    </a:lnTo>
                    <a:lnTo>
                      <a:pt x="2025" y="1405"/>
                    </a:lnTo>
                    <a:lnTo>
                      <a:pt x="2026" y="1398"/>
                    </a:lnTo>
                    <a:lnTo>
                      <a:pt x="2026" y="1373"/>
                    </a:lnTo>
                    <a:lnTo>
                      <a:pt x="2022" y="1373"/>
                    </a:lnTo>
                    <a:lnTo>
                      <a:pt x="2019" y="1372"/>
                    </a:lnTo>
                    <a:lnTo>
                      <a:pt x="2015" y="1370"/>
                    </a:lnTo>
                    <a:lnTo>
                      <a:pt x="2012" y="1367"/>
                    </a:lnTo>
                    <a:lnTo>
                      <a:pt x="2007" y="1361"/>
                    </a:lnTo>
                    <a:lnTo>
                      <a:pt x="2002" y="1353"/>
                    </a:lnTo>
                    <a:lnTo>
                      <a:pt x="1998" y="1344"/>
                    </a:lnTo>
                    <a:lnTo>
                      <a:pt x="1995" y="1335"/>
                    </a:lnTo>
                    <a:lnTo>
                      <a:pt x="1993" y="1326"/>
                    </a:lnTo>
                    <a:lnTo>
                      <a:pt x="1992" y="1318"/>
                    </a:lnTo>
                    <a:lnTo>
                      <a:pt x="1992" y="1298"/>
                    </a:lnTo>
                    <a:lnTo>
                      <a:pt x="1992" y="1281"/>
                    </a:lnTo>
                    <a:lnTo>
                      <a:pt x="1992" y="1265"/>
                    </a:lnTo>
                    <a:lnTo>
                      <a:pt x="1992" y="1244"/>
                    </a:lnTo>
                    <a:lnTo>
                      <a:pt x="1991" y="1234"/>
                    </a:lnTo>
                    <a:lnTo>
                      <a:pt x="1989" y="1224"/>
                    </a:lnTo>
                    <a:lnTo>
                      <a:pt x="1985" y="1212"/>
                    </a:lnTo>
                    <a:lnTo>
                      <a:pt x="1978" y="1201"/>
                    </a:lnTo>
                    <a:lnTo>
                      <a:pt x="1974" y="1196"/>
                    </a:lnTo>
                    <a:lnTo>
                      <a:pt x="1969" y="1191"/>
                    </a:lnTo>
                    <a:lnTo>
                      <a:pt x="1964" y="1187"/>
                    </a:lnTo>
                    <a:lnTo>
                      <a:pt x="1959" y="1184"/>
                    </a:lnTo>
                    <a:lnTo>
                      <a:pt x="1953" y="1181"/>
                    </a:lnTo>
                    <a:lnTo>
                      <a:pt x="1947" y="1178"/>
                    </a:lnTo>
                    <a:lnTo>
                      <a:pt x="1940" y="1177"/>
                    </a:lnTo>
                    <a:lnTo>
                      <a:pt x="1933" y="1177"/>
                    </a:lnTo>
                    <a:lnTo>
                      <a:pt x="1918" y="1177"/>
                    </a:lnTo>
                    <a:lnTo>
                      <a:pt x="1906" y="1177"/>
                    </a:lnTo>
                    <a:lnTo>
                      <a:pt x="1897" y="1177"/>
                    </a:lnTo>
                    <a:lnTo>
                      <a:pt x="1894" y="1177"/>
                    </a:lnTo>
                    <a:lnTo>
                      <a:pt x="1880" y="1176"/>
                    </a:lnTo>
                    <a:lnTo>
                      <a:pt x="1869" y="1175"/>
                    </a:lnTo>
                    <a:lnTo>
                      <a:pt x="1857" y="1173"/>
                    </a:lnTo>
                    <a:lnTo>
                      <a:pt x="1845" y="1171"/>
                    </a:lnTo>
                    <a:lnTo>
                      <a:pt x="1832" y="1168"/>
                    </a:lnTo>
                    <a:lnTo>
                      <a:pt x="1818" y="1166"/>
                    </a:lnTo>
                    <a:lnTo>
                      <a:pt x="1804" y="1165"/>
                    </a:lnTo>
                    <a:lnTo>
                      <a:pt x="1787" y="1164"/>
                    </a:lnTo>
                    <a:lnTo>
                      <a:pt x="1773" y="1164"/>
                    </a:lnTo>
                    <a:lnTo>
                      <a:pt x="1762" y="1162"/>
                    </a:lnTo>
                    <a:lnTo>
                      <a:pt x="1753" y="1159"/>
                    </a:lnTo>
                    <a:lnTo>
                      <a:pt x="1745" y="1155"/>
                    </a:lnTo>
                    <a:lnTo>
                      <a:pt x="1738" y="1151"/>
                    </a:lnTo>
                    <a:lnTo>
                      <a:pt x="1731" y="1148"/>
                    </a:lnTo>
                    <a:lnTo>
                      <a:pt x="1722" y="1146"/>
                    </a:lnTo>
                    <a:lnTo>
                      <a:pt x="1713" y="1145"/>
                    </a:lnTo>
                    <a:lnTo>
                      <a:pt x="1688" y="1144"/>
                    </a:lnTo>
                    <a:lnTo>
                      <a:pt x="1653" y="1143"/>
                    </a:lnTo>
                    <a:lnTo>
                      <a:pt x="1644" y="1144"/>
                    </a:lnTo>
                    <a:lnTo>
                      <a:pt x="1636" y="1144"/>
                    </a:lnTo>
                    <a:lnTo>
                      <a:pt x="1628" y="1146"/>
                    </a:lnTo>
                    <a:lnTo>
                      <a:pt x="1621" y="1148"/>
                    </a:lnTo>
                    <a:lnTo>
                      <a:pt x="1616" y="1151"/>
                    </a:lnTo>
                    <a:lnTo>
                      <a:pt x="1611" y="1155"/>
                    </a:lnTo>
                    <a:lnTo>
                      <a:pt x="1608" y="1159"/>
                    </a:lnTo>
                    <a:lnTo>
                      <a:pt x="1607" y="1164"/>
                    </a:lnTo>
                    <a:lnTo>
                      <a:pt x="1608" y="1169"/>
                    </a:lnTo>
                    <a:lnTo>
                      <a:pt x="1608" y="1173"/>
                    </a:lnTo>
                    <a:lnTo>
                      <a:pt x="1610" y="1176"/>
                    </a:lnTo>
                    <a:lnTo>
                      <a:pt x="1611" y="1180"/>
                    </a:lnTo>
                    <a:lnTo>
                      <a:pt x="1616" y="1186"/>
                    </a:lnTo>
                    <a:lnTo>
                      <a:pt x="1621" y="1192"/>
                    </a:lnTo>
                    <a:lnTo>
                      <a:pt x="1627" y="1197"/>
                    </a:lnTo>
                    <a:lnTo>
                      <a:pt x="1632" y="1204"/>
                    </a:lnTo>
                    <a:lnTo>
                      <a:pt x="1638" y="1212"/>
                    </a:lnTo>
                    <a:lnTo>
                      <a:pt x="1641" y="1220"/>
                    </a:lnTo>
                    <a:lnTo>
                      <a:pt x="1628" y="1221"/>
                    </a:lnTo>
                    <a:lnTo>
                      <a:pt x="1615" y="1223"/>
                    </a:lnTo>
                    <a:lnTo>
                      <a:pt x="1601" y="1226"/>
                    </a:lnTo>
                    <a:lnTo>
                      <a:pt x="1589" y="1229"/>
                    </a:lnTo>
                    <a:lnTo>
                      <a:pt x="1577" y="1232"/>
                    </a:lnTo>
                    <a:lnTo>
                      <a:pt x="1565" y="1235"/>
                    </a:lnTo>
                    <a:lnTo>
                      <a:pt x="1555" y="1237"/>
                    </a:lnTo>
                    <a:lnTo>
                      <a:pt x="1548" y="1238"/>
                    </a:lnTo>
                    <a:lnTo>
                      <a:pt x="1544" y="1237"/>
                    </a:lnTo>
                    <a:lnTo>
                      <a:pt x="1539" y="1233"/>
                    </a:lnTo>
                    <a:lnTo>
                      <a:pt x="1533" y="1228"/>
                    </a:lnTo>
                    <a:lnTo>
                      <a:pt x="1528" y="1222"/>
                    </a:lnTo>
                    <a:lnTo>
                      <a:pt x="1516" y="1210"/>
                    </a:lnTo>
                    <a:lnTo>
                      <a:pt x="1508" y="1201"/>
                    </a:lnTo>
                    <a:lnTo>
                      <a:pt x="1474" y="1214"/>
                    </a:lnTo>
                    <a:lnTo>
                      <a:pt x="1468" y="1213"/>
                    </a:lnTo>
                    <a:lnTo>
                      <a:pt x="1461" y="1210"/>
                    </a:lnTo>
                    <a:lnTo>
                      <a:pt x="1454" y="1205"/>
                    </a:lnTo>
                    <a:lnTo>
                      <a:pt x="1448" y="1201"/>
                    </a:lnTo>
                    <a:lnTo>
                      <a:pt x="1441" y="1196"/>
                    </a:lnTo>
                    <a:lnTo>
                      <a:pt x="1436" y="1192"/>
                    </a:lnTo>
                    <a:lnTo>
                      <a:pt x="1428" y="1190"/>
                    </a:lnTo>
                    <a:lnTo>
                      <a:pt x="1421" y="1189"/>
                    </a:lnTo>
                    <a:lnTo>
                      <a:pt x="1406" y="1190"/>
                    </a:lnTo>
                    <a:lnTo>
                      <a:pt x="1390" y="1192"/>
                    </a:lnTo>
                    <a:lnTo>
                      <a:pt x="1372" y="1197"/>
                    </a:lnTo>
                    <a:lnTo>
                      <a:pt x="1354" y="1203"/>
                    </a:lnTo>
                    <a:lnTo>
                      <a:pt x="1337" y="1211"/>
                    </a:lnTo>
                    <a:lnTo>
                      <a:pt x="1318" y="1219"/>
                    </a:lnTo>
                    <a:lnTo>
                      <a:pt x="1301" y="1228"/>
                    </a:lnTo>
                    <a:lnTo>
                      <a:pt x="1283" y="1238"/>
                    </a:lnTo>
                    <a:lnTo>
                      <a:pt x="1265" y="1249"/>
                    </a:lnTo>
                    <a:lnTo>
                      <a:pt x="1248" y="1259"/>
                    </a:lnTo>
                    <a:lnTo>
                      <a:pt x="1231" y="1272"/>
                    </a:lnTo>
                    <a:lnTo>
                      <a:pt x="1217" y="1283"/>
                    </a:lnTo>
                    <a:lnTo>
                      <a:pt x="1203" y="1294"/>
                    </a:lnTo>
                    <a:lnTo>
                      <a:pt x="1190" y="1304"/>
                    </a:lnTo>
                    <a:lnTo>
                      <a:pt x="1179" y="1314"/>
                    </a:lnTo>
                    <a:lnTo>
                      <a:pt x="1169" y="1325"/>
                    </a:lnTo>
                    <a:lnTo>
                      <a:pt x="1166" y="1328"/>
                    </a:lnTo>
                    <a:lnTo>
                      <a:pt x="1163" y="1333"/>
                    </a:lnTo>
                    <a:lnTo>
                      <a:pt x="1162" y="1337"/>
                    </a:lnTo>
                    <a:lnTo>
                      <a:pt x="1161" y="1342"/>
                    </a:lnTo>
                    <a:lnTo>
                      <a:pt x="1161" y="1354"/>
                    </a:lnTo>
                    <a:lnTo>
                      <a:pt x="1161" y="1366"/>
                    </a:lnTo>
                    <a:lnTo>
                      <a:pt x="1161" y="1379"/>
                    </a:lnTo>
                    <a:lnTo>
                      <a:pt x="1160" y="1392"/>
                    </a:lnTo>
                    <a:lnTo>
                      <a:pt x="1159" y="1399"/>
                    </a:lnTo>
                    <a:lnTo>
                      <a:pt x="1157" y="1405"/>
                    </a:lnTo>
                    <a:lnTo>
                      <a:pt x="1153" y="1411"/>
                    </a:lnTo>
                    <a:lnTo>
                      <a:pt x="1149" y="1417"/>
                    </a:lnTo>
                    <a:lnTo>
                      <a:pt x="1143" y="1416"/>
                    </a:lnTo>
                    <a:lnTo>
                      <a:pt x="1136" y="1415"/>
                    </a:lnTo>
                    <a:lnTo>
                      <a:pt x="1129" y="1414"/>
                    </a:lnTo>
                    <a:lnTo>
                      <a:pt x="1124" y="1412"/>
                    </a:lnTo>
                    <a:lnTo>
                      <a:pt x="1111" y="1408"/>
                    </a:lnTo>
                    <a:lnTo>
                      <a:pt x="1100" y="1401"/>
                    </a:lnTo>
                    <a:lnTo>
                      <a:pt x="1090" y="1394"/>
                    </a:lnTo>
                    <a:lnTo>
                      <a:pt x="1082" y="1386"/>
                    </a:lnTo>
                    <a:lnTo>
                      <a:pt x="1080" y="1382"/>
                    </a:lnTo>
                    <a:lnTo>
                      <a:pt x="1078" y="1377"/>
                    </a:lnTo>
                    <a:lnTo>
                      <a:pt x="1077" y="1372"/>
                    </a:lnTo>
                    <a:lnTo>
                      <a:pt x="1076" y="1367"/>
                    </a:lnTo>
                    <a:lnTo>
                      <a:pt x="1076" y="1356"/>
                    </a:lnTo>
                    <a:lnTo>
                      <a:pt x="1074" y="1344"/>
                    </a:lnTo>
                    <a:lnTo>
                      <a:pt x="1072" y="1330"/>
                    </a:lnTo>
                    <a:lnTo>
                      <a:pt x="1070" y="1315"/>
                    </a:lnTo>
                    <a:lnTo>
                      <a:pt x="1066" y="1300"/>
                    </a:lnTo>
                    <a:lnTo>
                      <a:pt x="1061" y="1285"/>
                    </a:lnTo>
                    <a:lnTo>
                      <a:pt x="1057" y="1270"/>
                    </a:lnTo>
                    <a:lnTo>
                      <a:pt x="1051" y="1254"/>
                    </a:lnTo>
                    <a:lnTo>
                      <a:pt x="1044" y="1240"/>
                    </a:lnTo>
                    <a:lnTo>
                      <a:pt x="1037" y="1227"/>
                    </a:lnTo>
                    <a:lnTo>
                      <a:pt x="1028" y="1215"/>
                    </a:lnTo>
                    <a:lnTo>
                      <a:pt x="1020" y="1203"/>
                    </a:lnTo>
                    <a:lnTo>
                      <a:pt x="1015" y="1199"/>
                    </a:lnTo>
                    <a:lnTo>
                      <a:pt x="1010" y="1195"/>
                    </a:lnTo>
                    <a:lnTo>
                      <a:pt x="1005" y="1191"/>
                    </a:lnTo>
                    <a:lnTo>
                      <a:pt x="1000" y="1188"/>
                    </a:lnTo>
                    <a:lnTo>
                      <a:pt x="994" y="1186"/>
                    </a:lnTo>
                    <a:lnTo>
                      <a:pt x="988" y="1184"/>
                    </a:lnTo>
                    <a:lnTo>
                      <a:pt x="982" y="1183"/>
                    </a:lnTo>
                    <a:lnTo>
                      <a:pt x="977" y="1183"/>
                    </a:lnTo>
                    <a:lnTo>
                      <a:pt x="964" y="1183"/>
                    </a:lnTo>
                    <a:lnTo>
                      <a:pt x="951" y="1186"/>
                    </a:lnTo>
                    <a:lnTo>
                      <a:pt x="940" y="1190"/>
                    </a:lnTo>
                    <a:lnTo>
                      <a:pt x="931" y="1195"/>
                    </a:lnTo>
                    <a:lnTo>
                      <a:pt x="926" y="1199"/>
                    </a:lnTo>
                    <a:lnTo>
                      <a:pt x="922" y="1202"/>
                    </a:lnTo>
                    <a:lnTo>
                      <a:pt x="919" y="1206"/>
                    </a:lnTo>
                    <a:lnTo>
                      <a:pt x="915" y="1212"/>
                    </a:lnTo>
                    <a:lnTo>
                      <a:pt x="913" y="1216"/>
                    </a:lnTo>
                    <a:lnTo>
                      <a:pt x="911" y="1221"/>
                    </a:lnTo>
                    <a:lnTo>
                      <a:pt x="910" y="1227"/>
                    </a:lnTo>
                    <a:lnTo>
                      <a:pt x="910" y="1232"/>
                    </a:lnTo>
                    <a:lnTo>
                      <a:pt x="883" y="1232"/>
                    </a:lnTo>
                    <a:lnTo>
                      <a:pt x="878" y="1229"/>
                    </a:lnTo>
                    <a:lnTo>
                      <a:pt x="872" y="1225"/>
                    </a:lnTo>
                    <a:lnTo>
                      <a:pt x="867" y="1219"/>
                    </a:lnTo>
                    <a:lnTo>
                      <a:pt x="861" y="1212"/>
                    </a:lnTo>
                    <a:lnTo>
                      <a:pt x="850" y="1196"/>
                    </a:lnTo>
                    <a:lnTo>
                      <a:pt x="839" y="1179"/>
                    </a:lnTo>
                    <a:lnTo>
                      <a:pt x="830" y="1161"/>
                    </a:lnTo>
                    <a:lnTo>
                      <a:pt x="821" y="1144"/>
                    </a:lnTo>
                    <a:lnTo>
                      <a:pt x="814" y="1131"/>
                    </a:lnTo>
                    <a:lnTo>
                      <a:pt x="810" y="1121"/>
                    </a:lnTo>
                    <a:lnTo>
                      <a:pt x="805" y="1120"/>
                    </a:lnTo>
                    <a:lnTo>
                      <a:pt x="801" y="1118"/>
                    </a:lnTo>
                    <a:lnTo>
                      <a:pt x="798" y="1115"/>
                    </a:lnTo>
                    <a:lnTo>
                      <a:pt x="794" y="1111"/>
                    </a:lnTo>
                    <a:lnTo>
                      <a:pt x="789" y="1100"/>
                    </a:lnTo>
                    <a:lnTo>
                      <a:pt x="782" y="1087"/>
                    </a:lnTo>
                    <a:lnTo>
                      <a:pt x="779" y="1081"/>
                    </a:lnTo>
                    <a:lnTo>
                      <a:pt x="775" y="1075"/>
                    </a:lnTo>
                    <a:lnTo>
                      <a:pt x="770" y="1069"/>
                    </a:lnTo>
                    <a:lnTo>
                      <a:pt x="765" y="1064"/>
                    </a:lnTo>
                    <a:lnTo>
                      <a:pt x="757" y="1060"/>
                    </a:lnTo>
                    <a:lnTo>
                      <a:pt x="749" y="1056"/>
                    </a:lnTo>
                    <a:lnTo>
                      <a:pt x="741" y="1054"/>
                    </a:lnTo>
                    <a:lnTo>
                      <a:pt x="731" y="1054"/>
                    </a:lnTo>
                    <a:lnTo>
                      <a:pt x="718" y="1054"/>
                    </a:lnTo>
                    <a:lnTo>
                      <a:pt x="706" y="1055"/>
                    </a:lnTo>
                    <a:lnTo>
                      <a:pt x="696" y="1057"/>
                    </a:lnTo>
                    <a:lnTo>
                      <a:pt x="687" y="1059"/>
                    </a:lnTo>
                    <a:lnTo>
                      <a:pt x="670" y="1065"/>
                    </a:lnTo>
                    <a:lnTo>
                      <a:pt x="656" y="1072"/>
                    </a:lnTo>
                    <a:lnTo>
                      <a:pt x="642" y="1078"/>
                    </a:lnTo>
                    <a:lnTo>
                      <a:pt x="624" y="1084"/>
                    </a:lnTo>
                    <a:lnTo>
                      <a:pt x="615" y="1087"/>
                    </a:lnTo>
                    <a:lnTo>
                      <a:pt x="604" y="1088"/>
                    </a:lnTo>
                    <a:lnTo>
                      <a:pt x="591" y="1089"/>
                    </a:lnTo>
                    <a:lnTo>
                      <a:pt x="577" y="1090"/>
                    </a:lnTo>
                    <a:lnTo>
                      <a:pt x="555" y="1089"/>
                    </a:lnTo>
                    <a:lnTo>
                      <a:pt x="533" y="1086"/>
                    </a:lnTo>
                    <a:lnTo>
                      <a:pt x="514" y="1083"/>
                    </a:lnTo>
                    <a:lnTo>
                      <a:pt x="496" y="1078"/>
                    </a:lnTo>
                    <a:lnTo>
                      <a:pt x="478" y="1072"/>
                    </a:lnTo>
                    <a:lnTo>
                      <a:pt x="462" y="1065"/>
                    </a:lnTo>
                    <a:lnTo>
                      <a:pt x="445" y="1058"/>
                    </a:lnTo>
                    <a:lnTo>
                      <a:pt x="430" y="1051"/>
                    </a:lnTo>
                    <a:lnTo>
                      <a:pt x="415" y="1043"/>
                    </a:lnTo>
                    <a:lnTo>
                      <a:pt x="398" y="1035"/>
                    </a:lnTo>
                    <a:lnTo>
                      <a:pt x="383" y="1028"/>
                    </a:lnTo>
                    <a:lnTo>
                      <a:pt x="366" y="1023"/>
                    </a:lnTo>
                    <a:lnTo>
                      <a:pt x="350" y="1017"/>
                    </a:lnTo>
                    <a:lnTo>
                      <a:pt x="331" y="1014"/>
                    </a:lnTo>
                    <a:lnTo>
                      <a:pt x="312" y="1011"/>
                    </a:lnTo>
                    <a:lnTo>
                      <a:pt x="292" y="1010"/>
                    </a:lnTo>
                    <a:lnTo>
                      <a:pt x="263" y="1012"/>
                    </a:lnTo>
                    <a:lnTo>
                      <a:pt x="234" y="1015"/>
                    </a:lnTo>
                    <a:lnTo>
                      <a:pt x="220" y="1016"/>
                    </a:lnTo>
                    <a:lnTo>
                      <a:pt x="205" y="1015"/>
                    </a:lnTo>
                    <a:lnTo>
                      <a:pt x="189" y="1014"/>
                    </a:lnTo>
                    <a:lnTo>
                      <a:pt x="172" y="1010"/>
                    </a:lnTo>
                    <a:lnTo>
                      <a:pt x="173" y="998"/>
                    </a:lnTo>
                    <a:lnTo>
                      <a:pt x="175" y="988"/>
                    </a:lnTo>
                    <a:lnTo>
                      <a:pt x="175" y="982"/>
                    </a:lnTo>
                    <a:lnTo>
                      <a:pt x="175" y="979"/>
                    </a:lnTo>
                    <a:lnTo>
                      <a:pt x="174" y="975"/>
                    </a:lnTo>
                    <a:lnTo>
                      <a:pt x="172" y="973"/>
                    </a:lnTo>
                    <a:lnTo>
                      <a:pt x="141" y="952"/>
                    </a:lnTo>
                    <a:lnTo>
                      <a:pt x="107" y="931"/>
                    </a:lnTo>
                    <a:lnTo>
                      <a:pt x="97" y="925"/>
                    </a:lnTo>
                    <a:lnTo>
                      <a:pt x="88" y="920"/>
                    </a:lnTo>
                    <a:lnTo>
                      <a:pt x="79" y="916"/>
                    </a:lnTo>
                    <a:lnTo>
                      <a:pt x="69" y="912"/>
                    </a:lnTo>
                    <a:lnTo>
                      <a:pt x="59" y="909"/>
                    </a:lnTo>
                    <a:lnTo>
                      <a:pt x="48" y="907"/>
                    </a:lnTo>
                    <a:lnTo>
                      <a:pt x="37" y="906"/>
                    </a:lnTo>
                    <a:lnTo>
                      <a:pt x="26" y="905"/>
                    </a:lnTo>
                    <a:lnTo>
                      <a:pt x="27" y="899"/>
                    </a:lnTo>
                    <a:lnTo>
                      <a:pt x="28" y="893"/>
                    </a:lnTo>
                    <a:lnTo>
                      <a:pt x="30" y="888"/>
                    </a:lnTo>
                    <a:lnTo>
                      <a:pt x="32" y="883"/>
                    </a:lnTo>
                    <a:lnTo>
                      <a:pt x="37" y="874"/>
                    </a:lnTo>
                    <a:lnTo>
                      <a:pt x="39" y="868"/>
                    </a:lnTo>
                    <a:lnTo>
                      <a:pt x="39" y="848"/>
                    </a:lnTo>
                    <a:lnTo>
                      <a:pt x="36" y="826"/>
                    </a:lnTo>
                    <a:lnTo>
                      <a:pt x="32" y="801"/>
                    </a:lnTo>
                    <a:lnTo>
                      <a:pt x="29" y="777"/>
                    </a:lnTo>
                    <a:lnTo>
                      <a:pt x="24" y="752"/>
                    </a:lnTo>
                    <a:lnTo>
                      <a:pt x="19" y="729"/>
                    </a:lnTo>
                    <a:lnTo>
                      <a:pt x="16" y="707"/>
                    </a:lnTo>
                    <a:lnTo>
                      <a:pt x="13" y="690"/>
                    </a:lnTo>
                    <a:lnTo>
                      <a:pt x="17" y="687"/>
                    </a:lnTo>
                    <a:lnTo>
                      <a:pt x="25" y="680"/>
                    </a:lnTo>
                    <a:lnTo>
                      <a:pt x="28" y="675"/>
                    </a:lnTo>
                    <a:lnTo>
                      <a:pt x="29" y="669"/>
                    </a:lnTo>
                    <a:lnTo>
                      <a:pt x="30" y="666"/>
                    </a:lnTo>
                    <a:lnTo>
                      <a:pt x="29" y="662"/>
                    </a:lnTo>
                    <a:lnTo>
                      <a:pt x="28" y="658"/>
                    </a:lnTo>
                    <a:lnTo>
                      <a:pt x="26" y="653"/>
                    </a:lnTo>
                    <a:lnTo>
                      <a:pt x="21" y="658"/>
                    </a:lnTo>
                    <a:lnTo>
                      <a:pt x="16" y="663"/>
                    </a:lnTo>
                    <a:lnTo>
                      <a:pt x="12" y="669"/>
                    </a:lnTo>
                    <a:lnTo>
                      <a:pt x="6" y="677"/>
                    </a:lnTo>
                    <a:lnTo>
                      <a:pt x="4" y="672"/>
                    </a:lnTo>
                    <a:lnTo>
                      <a:pt x="3" y="667"/>
                    </a:lnTo>
                    <a:lnTo>
                      <a:pt x="2" y="660"/>
                    </a:lnTo>
                    <a:lnTo>
                      <a:pt x="1" y="653"/>
                    </a:lnTo>
                    <a:lnTo>
                      <a:pt x="0" y="639"/>
                    </a:lnTo>
                    <a:lnTo>
                      <a:pt x="0" y="628"/>
                    </a:lnTo>
                    <a:lnTo>
                      <a:pt x="0" y="604"/>
                    </a:lnTo>
                    <a:lnTo>
                      <a:pt x="2" y="581"/>
                    </a:lnTo>
                    <a:lnTo>
                      <a:pt x="3" y="570"/>
                    </a:lnTo>
                    <a:lnTo>
                      <a:pt x="5" y="558"/>
                    </a:lnTo>
                    <a:lnTo>
                      <a:pt x="8" y="545"/>
                    </a:lnTo>
                    <a:lnTo>
                      <a:pt x="13" y="529"/>
                    </a:lnTo>
                    <a:lnTo>
                      <a:pt x="26" y="514"/>
                    </a:lnTo>
                    <a:lnTo>
                      <a:pt x="38" y="499"/>
                    </a:lnTo>
                    <a:lnTo>
                      <a:pt x="50" y="482"/>
                    </a:lnTo>
                    <a:lnTo>
                      <a:pt x="61" y="467"/>
                    </a:lnTo>
                    <a:lnTo>
                      <a:pt x="81" y="434"/>
                    </a:lnTo>
                    <a:lnTo>
                      <a:pt x="101" y="401"/>
                    </a:lnTo>
                    <a:lnTo>
                      <a:pt x="119" y="368"/>
                    </a:lnTo>
                    <a:lnTo>
                      <a:pt x="141" y="336"/>
                    </a:lnTo>
                    <a:lnTo>
                      <a:pt x="152" y="321"/>
                    </a:lnTo>
                    <a:lnTo>
                      <a:pt x="164" y="305"/>
                    </a:lnTo>
                    <a:lnTo>
                      <a:pt x="177" y="291"/>
                    </a:lnTo>
                    <a:lnTo>
                      <a:pt x="193" y="277"/>
                    </a:lnTo>
                    <a:lnTo>
                      <a:pt x="198" y="271"/>
                    </a:lnTo>
                    <a:lnTo>
                      <a:pt x="204" y="265"/>
                    </a:lnTo>
                    <a:lnTo>
                      <a:pt x="208" y="257"/>
                    </a:lnTo>
                    <a:lnTo>
                      <a:pt x="213" y="250"/>
                    </a:lnTo>
                    <a:lnTo>
                      <a:pt x="219" y="234"/>
                    </a:lnTo>
                    <a:lnTo>
                      <a:pt x="227" y="218"/>
                    </a:lnTo>
                    <a:lnTo>
                      <a:pt x="233" y="200"/>
                    </a:lnTo>
                    <a:lnTo>
                      <a:pt x="242" y="184"/>
                    </a:lnTo>
                    <a:lnTo>
                      <a:pt x="247" y="176"/>
                    </a:lnTo>
                    <a:lnTo>
                      <a:pt x="252" y="169"/>
                    </a:lnTo>
                    <a:lnTo>
                      <a:pt x="259" y="161"/>
                    </a:lnTo>
                    <a:lnTo>
                      <a:pt x="265" y="154"/>
                    </a:lnTo>
                    <a:lnTo>
                      <a:pt x="266" y="131"/>
                    </a:lnTo>
                    <a:lnTo>
                      <a:pt x="270" y="109"/>
                    </a:lnTo>
                    <a:lnTo>
                      <a:pt x="274" y="89"/>
                    </a:lnTo>
                    <a:lnTo>
                      <a:pt x="278" y="73"/>
                    </a:lnTo>
                    <a:lnTo>
                      <a:pt x="299" y="74"/>
                    </a:lnTo>
                    <a:lnTo>
                      <a:pt x="326" y="77"/>
                    </a:lnTo>
                    <a:lnTo>
                      <a:pt x="349" y="79"/>
                    </a:lnTo>
                    <a:lnTo>
                      <a:pt x="359" y="80"/>
                    </a:lnTo>
                    <a:lnTo>
                      <a:pt x="357" y="91"/>
                    </a:lnTo>
                    <a:lnTo>
                      <a:pt x="355" y="102"/>
                    </a:lnTo>
                    <a:lnTo>
                      <a:pt x="352" y="112"/>
                    </a:lnTo>
                    <a:lnTo>
                      <a:pt x="349" y="121"/>
                    </a:lnTo>
                    <a:lnTo>
                      <a:pt x="344" y="130"/>
                    </a:lnTo>
                    <a:lnTo>
                      <a:pt x="341" y="138"/>
                    </a:lnTo>
                    <a:lnTo>
                      <a:pt x="339" y="146"/>
                    </a:lnTo>
                    <a:lnTo>
                      <a:pt x="339" y="154"/>
                    </a:lnTo>
                    <a:lnTo>
                      <a:pt x="343" y="153"/>
                    </a:lnTo>
                    <a:lnTo>
                      <a:pt x="348" y="150"/>
                    </a:lnTo>
                    <a:lnTo>
                      <a:pt x="352" y="147"/>
                    </a:lnTo>
                    <a:lnTo>
                      <a:pt x="356" y="144"/>
                    </a:lnTo>
                    <a:lnTo>
                      <a:pt x="364" y="137"/>
                    </a:lnTo>
                    <a:lnTo>
                      <a:pt x="371" y="129"/>
                    </a:lnTo>
                    <a:lnTo>
                      <a:pt x="376" y="120"/>
                    </a:lnTo>
                    <a:lnTo>
                      <a:pt x="381" y="110"/>
                    </a:lnTo>
                    <a:lnTo>
                      <a:pt x="385" y="99"/>
                    </a:lnTo>
                    <a:lnTo>
                      <a:pt x="388" y="87"/>
                    </a:lnTo>
                    <a:lnTo>
                      <a:pt x="394" y="66"/>
                    </a:lnTo>
                    <a:lnTo>
                      <a:pt x="396" y="48"/>
                    </a:lnTo>
                    <a:lnTo>
                      <a:pt x="398" y="35"/>
                    </a:lnTo>
                    <a:lnTo>
                      <a:pt x="398" y="30"/>
                    </a:lnTo>
                    <a:lnTo>
                      <a:pt x="1827" y="30"/>
                    </a:lnTo>
                    <a:lnTo>
                      <a:pt x="1825" y="21"/>
                    </a:lnTo>
                    <a:lnTo>
                      <a:pt x="1823" y="13"/>
                    </a:lnTo>
                    <a:lnTo>
                      <a:pt x="1821" y="5"/>
                    </a:lnTo>
                    <a:lnTo>
                      <a:pt x="1820" y="0"/>
                    </a:lnTo>
                    <a:lnTo>
                      <a:pt x="1827" y="0"/>
                    </a:lnTo>
                    <a:lnTo>
                      <a:pt x="1853" y="0"/>
                    </a:lnTo>
                    <a:lnTo>
                      <a:pt x="1854" y="11"/>
                    </a:lnTo>
                    <a:lnTo>
                      <a:pt x="1856" y="21"/>
                    </a:lnTo>
                    <a:lnTo>
                      <a:pt x="1861" y="30"/>
                    </a:lnTo>
                    <a:lnTo>
                      <a:pt x="1866" y="38"/>
                    </a:lnTo>
                    <a:lnTo>
                      <a:pt x="1873" y="46"/>
                    </a:lnTo>
                    <a:lnTo>
                      <a:pt x="1881" y="51"/>
                    </a:lnTo>
                    <a:lnTo>
                      <a:pt x="1886" y="53"/>
                    </a:lnTo>
                    <a:lnTo>
                      <a:pt x="1890" y="54"/>
                    </a:lnTo>
                    <a:lnTo>
                      <a:pt x="1895" y="55"/>
                    </a:lnTo>
                    <a:lnTo>
                      <a:pt x="1900" y="55"/>
                    </a:lnTo>
                    <a:lnTo>
                      <a:pt x="1910" y="55"/>
                    </a:lnTo>
                    <a:lnTo>
                      <a:pt x="1926" y="55"/>
                    </a:lnTo>
                    <a:lnTo>
                      <a:pt x="1935" y="56"/>
                    </a:lnTo>
                    <a:lnTo>
                      <a:pt x="1944" y="58"/>
                    </a:lnTo>
                    <a:lnTo>
                      <a:pt x="1952" y="61"/>
                    </a:lnTo>
                    <a:lnTo>
                      <a:pt x="1958" y="64"/>
                    </a:lnTo>
                    <a:lnTo>
                      <a:pt x="1965" y="68"/>
                    </a:lnTo>
                    <a:lnTo>
                      <a:pt x="1972" y="71"/>
                    </a:lnTo>
                    <a:lnTo>
                      <a:pt x="1979" y="73"/>
                    </a:lnTo>
                    <a:lnTo>
                      <a:pt x="1986" y="73"/>
                    </a:lnTo>
                    <a:lnTo>
                      <a:pt x="1992" y="72"/>
                    </a:lnTo>
                    <a:lnTo>
                      <a:pt x="1999" y="67"/>
                    </a:lnTo>
                    <a:lnTo>
                      <a:pt x="2003" y="63"/>
                    </a:lnTo>
                    <a:lnTo>
                      <a:pt x="2006" y="61"/>
                    </a:lnTo>
                    <a:lnTo>
                      <a:pt x="2015" y="69"/>
                    </a:lnTo>
                    <a:lnTo>
                      <a:pt x="2024" y="75"/>
                    </a:lnTo>
                    <a:lnTo>
                      <a:pt x="2035" y="81"/>
                    </a:lnTo>
                    <a:lnTo>
                      <a:pt x="2046" y="86"/>
                    </a:lnTo>
                    <a:lnTo>
                      <a:pt x="2038" y="93"/>
                    </a:lnTo>
                    <a:lnTo>
                      <a:pt x="2031" y="100"/>
                    </a:lnTo>
                    <a:lnTo>
                      <a:pt x="2021" y="104"/>
                    </a:lnTo>
                    <a:lnTo>
                      <a:pt x="2011" y="108"/>
                    </a:lnTo>
                    <a:lnTo>
                      <a:pt x="1989" y="114"/>
                    </a:lnTo>
                    <a:lnTo>
                      <a:pt x="1967" y="118"/>
                    </a:lnTo>
                    <a:lnTo>
                      <a:pt x="1956" y="120"/>
                    </a:lnTo>
                    <a:lnTo>
                      <a:pt x="1946" y="122"/>
                    </a:lnTo>
                    <a:lnTo>
                      <a:pt x="1937" y="125"/>
                    </a:lnTo>
                    <a:lnTo>
                      <a:pt x="1929" y="128"/>
                    </a:lnTo>
                    <a:lnTo>
                      <a:pt x="1922" y="133"/>
                    </a:lnTo>
                    <a:lnTo>
                      <a:pt x="1918" y="138"/>
                    </a:lnTo>
                    <a:lnTo>
                      <a:pt x="1916" y="141"/>
                    </a:lnTo>
                    <a:lnTo>
                      <a:pt x="1914" y="145"/>
                    </a:lnTo>
                    <a:lnTo>
                      <a:pt x="1913" y="149"/>
                    </a:lnTo>
                    <a:lnTo>
                      <a:pt x="1913" y="154"/>
                    </a:lnTo>
                    <a:lnTo>
                      <a:pt x="1926" y="155"/>
                    </a:lnTo>
                    <a:lnTo>
                      <a:pt x="1937" y="156"/>
                    </a:lnTo>
                    <a:lnTo>
                      <a:pt x="1946" y="158"/>
                    </a:lnTo>
                    <a:lnTo>
                      <a:pt x="1954" y="160"/>
                    </a:lnTo>
                    <a:lnTo>
                      <a:pt x="1962" y="162"/>
                    </a:lnTo>
                    <a:lnTo>
                      <a:pt x="1969" y="164"/>
                    </a:lnTo>
                    <a:lnTo>
                      <a:pt x="1977" y="166"/>
                    </a:lnTo>
                    <a:lnTo>
                      <a:pt x="1986" y="166"/>
                    </a:lnTo>
                    <a:lnTo>
                      <a:pt x="1996" y="165"/>
                    </a:lnTo>
                    <a:lnTo>
                      <a:pt x="2011" y="161"/>
                    </a:lnTo>
                    <a:lnTo>
                      <a:pt x="2028" y="155"/>
                    </a:lnTo>
                    <a:lnTo>
                      <a:pt x="2047" y="147"/>
                    </a:lnTo>
                    <a:lnTo>
                      <a:pt x="2067" y="140"/>
                    </a:lnTo>
                    <a:lnTo>
                      <a:pt x="2087" y="135"/>
                    </a:lnTo>
                    <a:lnTo>
                      <a:pt x="2104" y="130"/>
                    </a:lnTo>
                    <a:lnTo>
                      <a:pt x="2119" y="129"/>
                    </a:lnTo>
                    <a:lnTo>
                      <a:pt x="2109" y="140"/>
                    </a:lnTo>
                    <a:lnTo>
                      <a:pt x="2101" y="147"/>
                    </a:lnTo>
                    <a:lnTo>
                      <a:pt x="2097" y="151"/>
                    </a:lnTo>
                    <a:lnTo>
                      <a:pt x="2094" y="155"/>
                    </a:lnTo>
                    <a:lnTo>
                      <a:pt x="2093" y="160"/>
                    </a:lnTo>
                    <a:lnTo>
                      <a:pt x="2092" y="166"/>
                    </a:lnTo>
                    <a:lnTo>
                      <a:pt x="2102" y="166"/>
                    </a:lnTo>
                    <a:lnTo>
                      <a:pt x="2112" y="166"/>
                    </a:lnTo>
                    <a:lnTo>
                      <a:pt x="2121" y="167"/>
                    </a:lnTo>
                    <a:lnTo>
                      <a:pt x="2138" y="169"/>
                    </a:lnTo>
                    <a:lnTo>
                      <a:pt x="2163" y="172"/>
                    </a:lnTo>
                    <a:lnTo>
                      <a:pt x="2191" y="175"/>
                    </a:lnTo>
                    <a:lnTo>
                      <a:pt x="2221" y="179"/>
                    </a:lnTo>
                    <a:lnTo>
                      <a:pt x="2248" y="182"/>
                    </a:lnTo>
                    <a:lnTo>
                      <a:pt x="2270" y="184"/>
                    </a:lnTo>
                    <a:lnTo>
                      <a:pt x="2286" y="184"/>
                    </a:lnTo>
                    <a:lnTo>
                      <a:pt x="2284" y="193"/>
                    </a:lnTo>
                    <a:lnTo>
                      <a:pt x="2282" y="199"/>
                    </a:lnTo>
                    <a:lnTo>
                      <a:pt x="2279" y="205"/>
                    </a:lnTo>
                    <a:lnTo>
                      <a:pt x="2275" y="210"/>
                    </a:lnTo>
                    <a:lnTo>
                      <a:pt x="2269" y="212"/>
                    </a:lnTo>
                    <a:lnTo>
                      <a:pt x="2262" y="214"/>
                    </a:lnTo>
                    <a:lnTo>
                      <a:pt x="2255" y="215"/>
                    </a:lnTo>
                    <a:lnTo>
                      <a:pt x="2245" y="216"/>
                    </a:lnTo>
                    <a:lnTo>
                      <a:pt x="2238" y="215"/>
                    </a:lnTo>
                    <a:lnTo>
                      <a:pt x="2233" y="214"/>
                    </a:lnTo>
                    <a:lnTo>
                      <a:pt x="2228" y="212"/>
                    </a:lnTo>
                    <a:lnTo>
                      <a:pt x="2225" y="210"/>
                    </a:lnTo>
                    <a:lnTo>
                      <a:pt x="2222" y="206"/>
                    </a:lnTo>
                    <a:lnTo>
                      <a:pt x="2217" y="204"/>
                    </a:lnTo>
                    <a:lnTo>
                      <a:pt x="2212" y="203"/>
                    </a:lnTo>
                    <a:lnTo>
                      <a:pt x="2205" y="203"/>
                    </a:lnTo>
                    <a:lnTo>
                      <a:pt x="2194" y="203"/>
                    </a:lnTo>
                    <a:lnTo>
                      <a:pt x="2185" y="205"/>
                    </a:lnTo>
                    <a:lnTo>
                      <a:pt x="2175" y="209"/>
                    </a:lnTo>
                    <a:lnTo>
                      <a:pt x="2166" y="213"/>
                    </a:lnTo>
                    <a:lnTo>
                      <a:pt x="2149" y="223"/>
                    </a:lnTo>
                    <a:lnTo>
                      <a:pt x="2135" y="234"/>
                    </a:lnTo>
                    <a:lnTo>
                      <a:pt x="2121" y="245"/>
                    </a:lnTo>
                    <a:lnTo>
                      <a:pt x="2108" y="255"/>
                    </a:lnTo>
                    <a:lnTo>
                      <a:pt x="2100" y="258"/>
                    </a:lnTo>
                    <a:lnTo>
                      <a:pt x="2093" y="261"/>
                    </a:lnTo>
                    <a:lnTo>
                      <a:pt x="2087" y="264"/>
                    </a:lnTo>
                    <a:lnTo>
                      <a:pt x="2079" y="265"/>
                    </a:lnTo>
                    <a:lnTo>
                      <a:pt x="2073" y="266"/>
                    </a:lnTo>
                    <a:lnTo>
                      <a:pt x="2068" y="268"/>
                    </a:lnTo>
                    <a:lnTo>
                      <a:pt x="2066" y="271"/>
                    </a:lnTo>
                    <a:lnTo>
                      <a:pt x="2064" y="276"/>
                    </a:lnTo>
                    <a:lnTo>
                      <a:pt x="2063" y="285"/>
                    </a:lnTo>
                    <a:lnTo>
                      <a:pt x="2059" y="295"/>
                    </a:lnTo>
                    <a:lnTo>
                      <a:pt x="2056" y="304"/>
                    </a:lnTo>
                    <a:lnTo>
                      <a:pt x="2053" y="312"/>
                    </a:lnTo>
                    <a:lnTo>
                      <a:pt x="2048" y="321"/>
                    </a:lnTo>
                    <a:lnTo>
                      <a:pt x="2043" y="328"/>
                    </a:lnTo>
                    <a:lnTo>
                      <a:pt x="2032" y="342"/>
                    </a:lnTo>
                    <a:lnTo>
                      <a:pt x="2021" y="355"/>
                    </a:lnTo>
                    <a:lnTo>
                      <a:pt x="2015" y="362"/>
                    </a:lnTo>
                    <a:lnTo>
                      <a:pt x="2010" y="369"/>
                    </a:lnTo>
                    <a:lnTo>
                      <a:pt x="2006" y="378"/>
                    </a:lnTo>
                    <a:lnTo>
                      <a:pt x="2001" y="386"/>
                    </a:lnTo>
                    <a:lnTo>
                      <a:pt x="1998" y="394"/>
                    </a:lnTo>
                    <a:lnTo>
                      <a:pt x="1995" y="404"/>
                    </a:lnTo>
                    <a:lnTo>
                      <a:pt x="1993" y="414"/>
                    </a:lnTo>
                    <a:lnTo>
                      <a:pt x="1992" y="424"/>
                    </a:lnTo>
                    <a:lnTo>
                      <a:pt x="1993" y="432"/>
                    </a:lnTo>
                    <a:lnTo>
                      <a:pt x="1997" y="438"/>
                    </a:lnTo>
                    <a:lnTo>
                      <a:pt x="2001" y="443"/>
                    </a:lnTo>
                    <a:lnTo>
                      <a:pt x="2007" y="447"/>
                    </a:lnTo>
                    <a:lnTo>
                      <a:pt x="2012" y="451"/>
                    </a:lnTo>
                    <a:lnTo>
                      <a:pt x="2018" y="453"/>
                    </a:lnTo>
                    <a:lnTo>
                      <a:pt x="2022" y="455"/>
                    </a:lnTo>
                    <a:lnTo>
                      <a:pt x="2026" y="456"/>
                    </a:lnTo>
                    <a:lnTo>
                      <a:pt x="2032" y="455"/>
                    </a:lnTo>
                    <a:lnTo>
                      <a:pt x="2037" y="454"/>
                    </a:lnTo>
                    <a:lnTo>
                      <a:pt x="2043" y="453"/>
                    </a:lnTo>
                    <a:lnTo>
                      <a:pt x="2047" y="451"/>
                    </a:lnTo>
                    <a:lnTo>
                      <a:pt x="2052" y="448"/>
                    </a:lnTo>
                    <a:lnTo>
                      <a:pt x="2056" y="445"/>
                    </a:lnTo>
                    <a:lnTo>
                      <a:pt x="2060" y="441"/>
                    </a:lnTo>
                    <a:lnTo>
                      <a:pt x="2064" y="437"/>
                    </a:lnTo>
                    <a:lnTo>
                      <a:pt x="2070" y="427"/>
                    </a:lnTo>
                    <a:lnTo>
                      <a:pt x="2076" y="417"/>
                    </a:lnTo>
                    <a:lnTo>
                      <a:pt x="2080" y="405"/>
                    </a:lnTo>
                    <a:lnTo>
                      <a:pt x="2085" y="393"/>
                    </a:lnTo>
                    <a:lnTo>
                      <a:pt x="2092" y="368"/>
                    </a:lnTo>
                    <a:lnTo>
                      <a:pt x="2100" y="344"/>
                    </a:lnTo>
                    <a:lnTo>
                      <a:pt x="2103" y="333"/>
                    </a:lnTo>
                    <a:lnTo>
                      <a:pt x="2108" y="323"/>
                    </a:lnTo>
                    <a:lnTo>
                      <a:pt x="2113" y="314"/>
                    </a:lnTo>
                    <a:lnTo>
                      <a:pt x="2119" y="307"/>
                    </a:lnTo>
                    <a:lnTo>
                      <a:pt x="2135" y="295"/>
                    </a:lnTo>
                    <a:lnTo>
                      <a:pt x="2152" y="283"/>
                    </a:lnTo>
                    <a:lnTo>
                      <a:pt x="2169" y="273"/>
                    </a:lnTo>
                    <a:lnTo>
                      <a:pt x="2188" y="262"/>
                    </a:lnTo>
                    <a:lnTo>
                      <a:pt x="2205" y="252"/>
                    </a:lnTo>
                    <a:lnTo>
                      <a:pt x="2223" y="243"/>
                    </a:lnTo>
                    <a:lnTo>
                      <a:pt x="2238" y="233"/>
                    </a:lnTo>
                    <a:lnTo>
                      <a:pt x="2251" y="222"/>
                    </a:lnTo>
                    <a:lnTo>
                      <a:pt x="2266" y="237"/>
                    </a:lnTo>
                    <a:lnTo>
                      <a:pt x="2278" y="249"/>
                    </a:lnTo>
                    <a:lnTo>
                      <a:pt x="2283" y="255"/>
                    </a:lnTo>
                    <a:lnTo>
                      <a:pt x="2288" y="261"/>
                    </a:lnTo>
                    <a:lnTo>
                      <a:pt x="2293" y="269"/>
                    </a:lnTo>
                    <a:lnTo>
                      <a:pt x="2299" y="277"/>
                    </a:lnTo>
                    <a:lnTo>
                      <a:pt x="2289" y="284"/>
                    </a:lnTo>
                    <a:lnTo>
                      <a:pt x="2281" y="290"/>
                    </a:lnTo>
                    <a:lnTo>
                      <a:pt x="2273" y="296"/>
                    </a:lnTo>
                    <a:lnTo>
                      <a:pt x="2267" y="303"/>
                    </a:lnTo>
                    <a:lnTo>
                      <a:pt x="2260" y="310"/>
                    </a:lnTo>
                    <a:lnTo>
                      <a:pt x="2255" y="318"/>
                    </a:lnTo>
                    <a:lnTo>
                      <a:pt x="2250" y="328"/>
                    </a:lnTo>
                    <a:lnTo>
                      <a:pt x="2245" y="339"/>
                    </a:lnTo>
                    <a:lnTo>
                      <a:pt x="2259" y="338"/>
                    </a:lnTo>
                    <a:lnTo>
                      <a:pt x="2271" y="336"/>
                    </a:lnTo>
                    <a:lnTo>
                      <a:pt x="2284" y="334"/>
                    </a:lnTo>
                    <a:lnTo>
                      <a:pt x="2299" y="333"/>
                    </a:lnTo>
                    <a:lnTo>
                      <a:pt x="2299" y="347"/>
                    </a:lnTo>
                    <a:lnTo>
                      <a:pt x="2299" y="363"/>
                    </a:lnTo>
                    <a:lnTo>
                      <a:pt x="2299" y="380"/>
                    </a:lnTo>
                    <a:lnTo>
                      <a:pt x="2299" y="394"/>
                    </a:lnTo>
                    <a:lnTo>
                      <a:pt x="2293" y="399"/>
                    </a:lnTo>
                    <a:lnTo>
                      <a:pt x="2288" y="404"/>
                    </a:lnTo>
                    <a:lnTo>
                      <a:pt x="2281" y="411"/>
                    </a:lnTo>
                    <a:lnTo>
                      <a:pt x="2276" y="418"/>
                    </a:lnTo>
                    <a:lnTo>
                      <a:pt x="2250" y="426"/>
                    </a:lnTo>
                    <a:lnTo>
                      <a:pt x="2228" y="435"/>
                    </a:lnTo>
                    <a:lnTo>
                      <a:pt x="2219" y="439"/>
                    </a:lnTo>
                    <a:lnTo>
                      <a:pt x="2212" y="443"/>
                    </a:lnTo>
                    <a:lnTo>
                      <a:pt x="2206" y="446"/>
                    </a:lnTo>
                    <a:lnTo>
                      <a:pt x="2205" y="450"/>
                    </a:lnTo>
                    <a:lnTo>
                      <a:pt x="2205" y="452"/>
                    </a:lnTo>
                    <a:lnTo>
                      <a:pt x="2206" y="454"/>
                    </a:lnTo>
                    <a:lnTo>
                      <a:pt x="2209" y="456"/>
                    </a:lnTo>
                    <a:lnTo>
                      <a:pt x="2212" y="458"/>
                    </a:lnTo>
                    <a:lnTo>
                      <a:pt x="2219" y="463"/>
                    </a:lnTo>
                    <a:lnTo>
                      <a:pt x="2227" y="466"/>
                    </a:lnTo>
                    <a:lnTo>
                      <a:pt x="2236" y="469"/>
                    </a:lnTo>
                    <a:lnTo>
                      <a:pt x="2245" y="472"/>
                    </a:lnTo>
                    <a:lnTo>
                      <a:pt x="2253" y="473"/>
                    </a:lnTo>
                    <a:lnTo>
                      <a:pt x="2258" y="474"/>
                    </a:lnTo>
                    <a:lnTo>
                      <a:pt x="2265" y="473"/>
                    </a:lnTo>
                    <a:lnTo>
                      <a:pt x="2273" y="472"/>
                    </a:lnTo>
                    <a:lnTo>
                      <a:pt x="2283" y="469"/>
                    </a:lnTo>
                    <a:lnTo>
                      <a:pt x="2293" y="466"/>
                    </a:lnTo>
                    <a:lnTo>
                      <a:pt x="2317" y="457"/>
                    </a:lnTo>
                    <a:lnTo>
                      <a:pt x="2343" y="447"/>
                    </a:lnTo>
                    <a:lnTo>
                      <a:pt x="2369" y="436"/>
                    </a:lnTo>
                    <a:lnTo>
                      <a:pt x="2393" y="425"/>
                    </a:lnTo>
                    <a:lnTo>
                      <a:pt x="2415" y="415"/>
                    </a:lnTo>
                    <a:lnTo>
                      <a:pt x="2433" y="408"/>
                    </a:lnTo>
                    <a:lnTo>
                      <a:pt x="2439" y="407"/>
                    </a:lnTo>
                    <a:lnTo>
                      <a:pt x="2446" y="405"/>
                    </a:lnTo>
                    <a:lnTo>
                      <a:pt x="2452" y="403"/>
                    </a:lnTo>
                    <a:lnTo>
                      <a:pt x="2458" y="400"/>
                    </a:lnTo>
                    <a:lnTo>
                      <a:pt x="2530" y="382"/>
                    </a:lnTo>
                    <a:lnTo>
                      <a:pt x="2544" y="380"/>
                    </a:lnTo>
                    <a:lnTo>
                      <a:pt x="2557" y="378"/>
                    </a:lnTo>
                    <a:lnTo>
                      <a:pt x="2570" y="373"/>
                    </a:lnTo>
                    <a:lnTo>
                      <a:pt x="2583" y="369"/>
                    </a:lnTo>
                    <a:lnTo>
                      <a:pt x="2597" y="364"/>
                    </a:lnTo>
                    <a:lnTo>
                      <a:pt x="2611" y="357"/>
                    </a:lnTo>
                    <a:lnTo>
                      <a:pt x="2625" y="350"/>
                    </a:lnTo>
                    <a:lnTo>
                      <a:pt x="2638" y="342"/>
                    </a:lnTo>
                    <a:lnTo>
                      <a:pt x="2651" y="334"/>
                    </a:lnTo>
                    <a:lnTo>
                      <a:pt x="2664" y="324"/>
                    </a:lnTo>
                    <a:lnTo>
                      <a:pt x="2676" y="313"/>
                    </a:lnTo>
                    <a:lnTo>
                      <a:pt x="2689" y="303"/>
                    </a:lnTo>
                    <a:lnTo>
                      <a:pt x="2701" y="291"/>
                    </a:lnTo>
                    <a:lnTo>
                      <a:pt x="2710" y="279"/>
                    </a:lnTo>
                    <a:lnTo>
                      <a:pt x="2721" y="266"/>
                    </a:lnTo>
                    <a:lnTo>
                      <a:pt x="2730" y="252"/>
                    </a:lnTo>
                    <a:lnTo>
                      <a:pt x="2817" y="252"/>
                    </a:lnTo>
                    <a:lnTo>
                      <a:pt x="2850" y="248"/>
                    </a:lnTo>
                    <a:lnTo>
                      <a:pt x="2880" y="246"/>
                    </a:lnTo>
                    <a:lnTo>
                      <a:pt x="2906" y="244"/>
                    </a:lnTo>
                    <a:lnTo>
                      <a:pt x="2931" y="241"/>
                    </a:lnTo>
                    <a:lnTo>
                      <a:pt x="2942" y="239"/>
                    </a:lnTo>
                    <a:lnTo>
                      <a:pt x="2954" y="237"/>
                    </a:lnTo>
                    <a:lnTo>
                      <a:pt x="2965" y="234"/>
                    </a:lnTo>
                    <a:lnTo>
                      <a:pt x="2975" y="230"/>
                    </a:lnTo>
                    <a:lnTo>
                      <a:pt x="2986" y="225"/>
                    </a:lnTo>
                    <a:lnTo>
                      <a:pt x="2996" y="219"/>
                    </a:lnTo>
                    <a:lnTo>
                      <a:pt x="3006" y="212"/>
                    </a:lnTo>
                    <a:lnTo>
                      <a:pt x="3016" y="203"/>
                    </a:lnTo>
                    <a:lnTo>
                      <a:pt x="3028" y="190"/>
                    </a:lnTo>
                    <a:lnTo>
                      <a:pt x="3038" y="177"/>
                    </a:lnTo>
                    <a:lnTo>
                      <a:pt x="3048" y="162"/>
                    </a:lnTo>
                    <a:lnTo>
                      <a:pt x="3059" y="148"/>
                    </a:lnTo>
                    <a:lnTo>
                      <a:pt x="3064" y="142"/>
                    </a:lnTo>
                    <a:lnTo>
                      <a:pt x="3070" y="136"/>
                    </a:lnTo>
                    <a:lnTo>
                      <a:pt x="3075" y="130"/>
                    </a:lnTo>
                    <a:lnTo>
                      <a:pt x="3082" y="126"/>
                    </a:lnTo>
                    <a:lnTo>
                      <a:pt x="3089" y="122"/>
                    </a:lnTo>
                    <a:lnTo>
                      <a:pt x="3097" y="119"/>
                    </a:lnTo>
                    <a:lnTo>
                      <a:pt x="3106" y="117"/>
                    </a:lnTo>
                    <a:lnTo>
                      <a:pt x="3116" y="117"/>
                    </a:lnTo>
                    <a:lnTo>
                      <a:pt x="3136" y="118"/>
                    </a:lnTo>
                    <a:lnTo>
                      <a:pt x="3153" y="119"/>
                    </a:lnTo>
                    <a:lnTo>
                      <a:pt x="3160" y="120"/>
                    </a:lnTo>
                    <a:lnTo>
                      <a:pt x="3165" y="119"/>
                    </a:lnTo>
                    <a:lnTo>
                      <a:pt x="3171" y="119"/>
                    </a:lnTo>
                    <a:lnTo>
                      <a:pt x="3175" y="117"/>
                    </a:lnTo>
                    <a:lnTo>
                      <a:pt x="3175" y="125"/>
                    </a:lnTo>
                    <a:lnTo>
                      <a:pt x="3172" y="134"/>
                    </a:lnTo>
                    <a:lnTo>
                      <a:pt x="3168" y="144"/>
                    </a:lnTo>
                    <a:lnTo>
                      <a:pt x="3164" y="156"/>
                    </a:lnTo>
                    <a:lnTo>
                      <a:pt x="3160" y="165"/>
                    </a:lnTo>
                    <a:lnTo>
                      <a:pt x="3155" y="174"/>
                    </a:lnTo>
                    <a:lnTo>
                      <a:pt x="3152" y="181"/>
                    </a:lnTo>
                    <a:lnTo>
                      <a:pt x="3149" y="184"/>
                    </a:lnTo>
                    <a:lnTo>
                      <a:pt x="3149" y="252"/>
                    </a:lnTo>
                    <a:lnTo>
                      <a:pt x="3155" y="258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3" name="Freeform 7"/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7493232" y="3908426"/>
                <a:ext cx="426624" cy="666793"/>
              </a:xfrm>
              <a:custGeom>
                <a:avLst/>
                <a:gdLst>
                  <a:gd name="T0" fmla="*/ 2147483647 w 784"/>
                  <a:gd name="T1" fmla="*/ 2147483647 h 1128"/>
                  <a:gd name="T2" fmla="*/ 2147483647 w 784"/>
                  <a:gd name="T3" fmla="*/ 2147483647 h 1128"/>
                  <a:gd name="T4" fmla="*/ 2147483647 w 784"/>
                  <a:gd name="T5" fmla="*/ 2147483647 h 1128"/>
                  <a:gd name="T6" fmla="*/ 2147483647 w 784"/>
                  <a:gd name="T7" fmla="*/ 2147483647 h 1128"/>
                  <a:gd name="T8" fmla="*/ 2147483647 w 784"/>
                  <a:gd name="T9" fmla="*/ 2147483647 h 1128"/>
                  <a:gd name="T10" fmla="*/ 2147483647 w 784"/>
                  <a:gd name="T11" fmla="*/ 2147483647 h 1128"/>
                  <a:gd name="T12" fmla="*/ 2147483647 w 784"/>
                  <a:gd name="T13" fmla="*/ 2147483647 h 1128"/>
                  <a:gd name="T14" fmla="*/ 2147483647 w 784"/>
                  <a:gd name="T15" fmla="*/ 2147483647 h 1128"/>
                  <a:gd name="T16" fmla="*/ 2147483647 w 784"/>
                  <a:gd name="T17" fmla="*/ 2147483647 h 1128"/>
                  <a:gd name="T18" fmla="*/ 2147483647 w 784"/>
                  <a:gd name="T19" fmla="*/ 2147483647 h 1128"/>
                  <a:gd name="T20" fmla="*/ 2147483647 w 784"/>
                  <a:gd name="T21" fmla="*/ 2147483647 h 1128"/>
                  <a:gd name="T22" fmla="*/ 2147483647 w 784"/>
                  <a:gd name="T23" fmla="*/ 2147483647 h 1128"/>
                  <a:gd name="T24" fmla="*/ 2147483647 w 784"/>
                  <a:gd name="T25" fmla="*/ 2147483647 h 1128"/>
                  <a:gd name="T26" fmla="*/ 2147483647 w 784"/>
                  <a:gd name="T27" fmla="*/ 2147483647 h 1128"/>
                  <a:gd name="T28" fmla="*/ 2147483647 w 784"/>
                  <a:gd name="T29" fmla="*/ 2147483647 h 1128"/>
                  <a:gd name="T30" fmla="*/ 2147483647 w 784"/>
                  <a:gd name="T31" fmla="*/ 2147483647 h 1128"/>
                  <a:gd name="T32" fmla="*/ 2147483647 w 784"/>
                  <a:gd name="T33" fmla="*/ 2147483647 h 1128"/>
                  <a:gd name="T34" fmla="*/ 2147483647 w 784"/>
                  <a:gd name="T35" fmla="*/ 2147483647 h 1128"/>
                  <a:gd name="T36" fmla="*/ 2147483647 w 784"/>
                  <a:gd name="T37" fmla="*/ 2147483647 h 1128"/>
                  <a:gd name="T38" fmla="*/ 2147483647 w 784"/>
                  <a:gd name="T39" fmla="*/ 2147483647 h 1128"/>
                  <a:gd name="T40" fmla="*/ 2147483647 w 784"/>
                  <a:gd name="T41" fmla="*/ 2147483647 h 1128"/>
                  <a:gd name="T42" fmla="*/ 2147483647 w 784"/>
                  <a:gd name="T43" fmla="*/ 2147483647 h 1128"/>
                  <a:gd name="T44" fmla="*/ 2147483647 w 784"/>
                  <a:gd name="T45" fmla="*/ 2147483647 h 1128"/>
                  <a:gd name="T46" fmla="*/ 2147483647 w 784"/>
                  <a:gd name="T47" fmla="*/ 2147483647 h 1128"/>
                  <a:gd name="T48" fmla="*/ 2147483647 w 784"/>
                  <a:gd name="T49" fmla="*/ 2147483647 h 1128"/>
                  <a:gd name="T50" fmla="*/ 2147483647 w 784"/>
                  <a:gd name="T51" fmla="*/ 2147483647 h 1128"/>
                  <a:gd name="T52" fmla="*/ 2147483647 w 784"/>
                  <a:gd name="T53" fmla="*/ 2147483647 h 1128"/>
                  <a:gd name="T54" fmla="*/ 2147483647 w 784"/>
                  <a:gd name="T55" fmla="*/ 2147483647 h 1128"/>
                  <a:gd name="T56" fmla="*/ 2147483647 w 784"/>
                  <a:gd name="T57" fmla="*/ 2147483647 h 1128"/>
                  <a:gd name="T58" fmla="*/ 2147483647 w 784"/>
                  <a:gd name="T59" fmla="*/ 2147483647 h 1128"/>
                  <a:gd name="T60" fmla="*/ 2147483647 w 784"/>
                  <a:gd name="T61" fmla="*/ 2147483647 h 1128"/>
                  <a:gd name="T62" fmla="*/ 2147483647 w 784"/>
                  <a:gd name="T63" fmla="*/ 2147483647 h 1128"/>
                  <a:gd name="T64" fmla="*/ 2147483647 w 784"/>
                  <a:gd name="T65" fmla="*/ 2147483647 h 1128"/>
                  <a:gd name="T66" fmla="*/ 2147483647 w 784"/>
                  <a:gd name="T67" fmla="*/ 2147483647 h 1128"/>
                  <a:gd name="T68" fmla="*/ 0 w 784"/>
                  <a:gd name="T69" fmla="*/ 2147483647 h 1128"/>
                  <a:gd name="T70" fmla="*/ 2094708059 w 784"/>
                  <a:gd name="T71" fmla="*/ 2147483647 h 1128"/>
                  <a:gd name="T72" fmla="*/ 2147483647 w 784"/>
                  <a:gd name="T73" fmla="*/ 2147483647 h 1128"/>
                  <a:gd name="T74" fmla="*/ 2147483647 w 784"/>
                  <a:gd name="T75" fmla="*/ 2147483647 h 1128"/>
                  <a:gd name="T76" fmla="*/ 2147483647 w 784"/>
                  <a:gd name="T77" fmla="*/ 2147483647 h 1128"/>
                  <a:gd name="T78" fmla="*/ 2147483647 w 784"/>
                  <a:gd name="T79" fmla="*/ 2147483647 h 1128"/>
                  <a:gd name="T80" fmla="*/ 2147483647 w 784"/>
                  <a:gd name="T81" fmla="*/ 2147483647 h 1128"/>
                  <a:gd name="T82" fmla="*/ 2147483647 w 784"/>
                  <a:gd name="T83" fmla="*/ 2147483647 h 1128"/>
                  <a:gd name="T84" fmla="*/ 2147483647 w 784"/>
                  <a:gd name="T85" fmla="*/ 2147483647 h 1128"/>
                  <a:gd name="T86" fmla="*/ 2147483647 w 784"/>
                  <a:gd name="T87" fmla="*/ 2147483647 h 1128"/>
                  <a:gd name="T88" fmla="*/ 2147483647 w 784"/>
                  <a:gd name="T89" fmla="*/ 2147483647 h 1128"/>
                  <a:gd name="T90" fmla="*/ 2147483647 w 784"/>
                  <a:gd name="T91" fmla="*/ 1032923834 h 1128"/>
                  <a:gd name="T92" fmla="*/ 2147483647 w 784"/>
                  <a:gd name="T93" fmla="*/ 2147483647 h 1128"/>
                  <a:gd name="T94" fmla="*/ 2147483647 w 784"/>
                  <a:gd name="T95" fmla="*/ 2147483647 h 1128"/>
                  <a:gd name="T96" fmla="*/ 2147483647 w 784"/>
                  <a:gd name="T97" fmla="*/ 2147483647 h 1128"/>
                  <a:gd name="T98" fmla="*/ 2147483647 w 784"/>
                  <a:gd name="T99" fmla="*/ 2147483647 h 1128"/>
                  <a:gd name="T100" fmla="*/ 2147483647 w 784"/>
                  <a:gd name="T101" fmla="*/ 2147483647 h 1128"/>
                  <a:gd name="T102" fmla="*/ 2147483647 w 784"/>
                  <a:gd name="T103" fmla="*/ 2147483647 h 1128"/>
                  <a:gd name="T104" fmla="*/ 2147483647 w 784"/>
                  <a:gd name="T105" fmla="*/ 2147483647 h 1128"/>
                  <a:gd name="T106" fmla="*/ 2147483647 w 784"/>
                  <a:gd name="T107" fmla="*/ 2147483647 h 1128"/>
                  <a:gd name="T108" fmla="*/ 2147483647 w 784"/>
                  <a:gd name="T109" fmla="*/ 2147483647 h 11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84" h="1128">
                    <a:moveTo>
                      <a:pt x="644" y="259"/>
                    </a:moveTo>
                    <a:lnTo>
                      <a:pt x="632" y="265"/>
                    </a:lnTo>
                    <a:lnTo>
                      <a:pt x="621" y="270"/>
                    </a:lnTo>
                    <a:lnTo>
                      <a:pt x="611" y="273"/>
                    </a:lnTo>
                    <a:lnTo>
                      <a:pt x="602" y="275"/>
                    </a:lnTo>
                    <a:lnTo>
                      <a:pt x="583" y="277"/>
                    </a:lnTo>
                    <a:lnTo>
                      <a:pt x="564" y="278"/>
                    </a:lnTo>
                    <a:lnTo>
                      <a:pt x="560" y="278"/>
                    </a:lnTo>
                    <a:lnTo>
                      <a:pt x="557" y="280"/>
                    </a:lnTo>
                    <a:lnTo>
                      <a:pt x="554" y="284"/>
                    </a:lnTo>
                    <a:lnTo>
                      <a:pt x="552" y="287"/>
                    </a:lnTo>
                    <a:lnTo>
                      <a:pt x="549" y="295"/>
                    </a:lnTo>
                    <a:lnTo>
                      <a:pt x="545" y="302"/>
                    </a:lnTo>
                    <a:lnTo>
                      <a:pt x="529" y="318"/>
                    </a:lnTo>
                    <a:lnTo>
                      <a:pt x="515" y="335"/>
                    </a:lnTo>
                    <a:lnTo>
                      <a:pt x="502" y="354"/>
                    </a:lnTo>
                    <a:lnTo>
                      <a:pt x="490" y="376"/>
                    </a:lnTo>
                    <a:lnTo>
                      <a:pt x="484" y="387"/>
                    </a:lnTo>
                    <a:lnTo>
                      <a:pt x="480" y="398"/>
                    </a:lnTo>
                    <a:lnTo>
                      <a:pt x="475" y="410"/>
                    </a:lnTo>
                    <a:lnTo>
                      <a:pt x="471" y="422"/>
                    </a:lnTo>
                    <a:lnTo>
                      <a:pt x="469" y="434"/>
                    </a:lnTo>
                    <a:lnTo>
                      <a:pt x="467" y="445"/>
                    </a:lnTo>
                    <a:lnTo>
                      <a:pt x="465" y="457"/>
                    </a:lnTo>
                    <a:lnTo>
                      <a:pt x="464" y="468"/>
                    </a:lnTo>
                    <a:lnTo>
                      <a:pt x="465" y="478"/>
                    </a:lnTo>
                    <a:lnTo>
                      <a:pt x="468" y="488"/>
                    </a:lnTo>
                    <a:lnTo>
                      <a:pt x="471" y="498"/>
                    </a:lnTo>
                    <a:lnTo>
                      <a:pt x="475" y="510"/>
                    </a:lnTo>
                    <a:lnTo>
                      <a:pt x="481" y="522"/>
                    </a:lnTo>
                    <a:lnTo>
                      <a:pt x="486" y="535"/>
                    </a:lnTo>
                    <a:lnTo>
                      <a:pt x="494" y="547"/>
                    </a:lnTo>
                    <a:lnTo>
                      <a:pt x="502" y="559"/>
                    </a:lnTo>
                    <a:lnTo>
                      <a:pt x="510" y="570"/>
                    </a:lnTo>
                    <a:lnTo>
                      <a:pt x="520" y="581"/>
                    </a:lnTo>
                    <a:lnTo>
                      <a:pt x="530" y="591"/>
                    </a:lnTo>
                    <a:lnTo>
                      <a:pt x="540" y="600"/>
                    </a:lnTo>
                    <a:lnTo>
                      <a:pt x="551" y="607"/>
                    </a:lnTo>
                    <a:lnTo>
                      <a:pt x="562" y="612"/>
                    </a:lnTo>
                    <a:lnTo>
                      <a:pt x="568" y="614"/>
                    </a:lnTo>
                    <a:lnTo>
                      <a:pt x="573" y="615"/>
                    </a:lnTo>
                    <a:lnTo>
                      <a:pt x="579" y="616"/>
                    </a:lnTo>
                    <a:lnTo>
                      <a:pt x="584" y="616"/>
                    </a:lnTo>
                    <a:lnTo>
                      <a:pt x="594" y="615"/>
                    </a:lnTo>
                    <a:lnTo>
                      <a:pt x="602" y="613"/>
                    </a:lnTo>
                    <a:lnTo>
                      <a:pt x="610" y="609"/>
                    </a:lnTo>
                    <a:lnTo>
                      <a:pt x="617" y="604"/>
                    </a:lnTo>
                    <a:lnTo>
                      <a:pt x="625" y="600"/>
                    </a:lnTo>
                    <a:lnTo>
                      <a:pt x="632" y="596"/>
                    </a:lnTo>
                    <a:lnTo>
                      <a:pt x="641" y="593"/>
                    </a:lnTo>
                    <a:lnTo>
                      <a:pt x="651" y="592"/>
                    </a:lnTo>
                    <a:lnTo>
                      <a:pt x="653" y="614"/>
                    </a:lnTo>
                    <a:lnTo>
                      <a:pt x="654" y="645"/>
                    </a:lnTo>
                    <a:lnTo>
                      <a:pt x="654" y="653"/>
                    </a:lnTo>
                    <a:lnTo>
                      <a:pt x="655" y="660"/>
                    </a:lnTo>
                    <a:lnTo>
                      <a:pt x="658" y="667"/>
                    </a:lnTo>
                    <a:lnTo>
                      <a:pt x="660" y="672"/>
                    </a:lnTo>
                    <a:lnTo>
                      <a:pt x="663" y="677"/>
                    </a:lnTo>
                    <a:lnTo>
                      <a:pt x="666" y="681"/>
                    </a:lnTo>
                    <a:lnTo>
                      <a:pt x="672" y="683"/>
                    </a:lnTo>
                    <a:lnTo>
                      <a:pt x="677" y="684"/>
                    </a:lnTo>
                    <a:lnTo>
                      <a:pt x="687" y="684"/>
                    </a:lnTo>
                    <a:lnTo>
                      <a:pt x="697" y="684"/>
                    </a:lnTo>
                    <a:lnTo>
                      <a:pt x="703" y="684"/>
                    </a:lnTo>
                    <a:lnTo>
                      <a:pt x="708" y="685"/>
                    </a:lnTo>
                    <a:lnTo>
                      <a:pt x="714" y="687"/>
                    </a:lnTo>
                    <a:lnTo>
                      <a:pt x="720" y="689"/>
                    </a:lnTo>
                    <a:lnTo>
                      <a:pt x="726" y="692"/>
                    </a:lnTo>
                    <a:lnTo>
                      <a:pt x="732" y="696"/>
                    </a:lnTo>
                    <a:lnTo>
                      <a:pt x="738" y="701"/>
                    </a:lnTo>
                    <a:lnTo>
                      <a:pt x="743" y="706"/>
                    </a:lnTo>
                    <a:lnTo>
                      <a:pt x="749" y="712"/>
                    </a:lnTo>
                    <a:lnTo>
                      <a:pt x="754" y="717"/>
                    </a:lnTo>
                    <a:lnTo>
                      <a:pt x="759" y="724"/>
                    </a:lnTo>
                    <a:lnTo>
                      <a:pt x="763" y="731"/>
                    </a:lnTo>
                    <a:lnTo>
                      <a:pt x="765" y="738"/>
                    </a:lnTo>
                    <a:lnTo>
                      <a:pt x="769" y="746"/>
                    </a:lnTo>
                    <a:lnTo>
                      <a:pt x="770" y="756"/>
                    </a:lnTo>
                    <a:lnTo>
                      <a:pt x="771" y="765"/>
                    </a:lnTo>
                    <a:lnTo>
                      <a:pt x="770" y="773"/>
                    </a:lnTo>
                    <a:lnTo>
                      <a:pt x="769" y="779"/>
                    </a:lnTo>
                    <a:lnTo>
                      <a:pt x="766" y="784"/>
                    </a:lnTo>
                    <a:lnTo>
                      <a:pt x="764" y="787"/>
                    </a:lnTo>
                    <a:lnTo>
                      <a:pt x="761" y="790"/>
                    </a:lnTo>
                    <a:lnTo>
                      <a:pt x="759" y="794"/>
                    </a:lnTo>
                    <a:lnTo>
                      <a:pt x="758" y="797"/>
                    </a:lnTo>
                    <a:lnTo>
                      <a:pt x="758" y="801"/>
                    </a:lnTo>
                    <a:lnTo>
                      <a:pt x="758" y="809"/>
                    </a:lnTo>
                    <a:lnTo>
                      <a:pt x="759" y="818"/>
                    </a:lnTo>
                    <a:lnTo>
                      <a:pt x="760" y="825"/>
                    </a:lnTo>
                    <a:lnTo>
                      <a:pt x="761" y="831"/>
                    </a:lnTo>
                    <a:lnTo>
                      <a:pt x="765" y="844"/>
                    </a:lnTo>
                    <a:lnTo>
                      <a:pt x="771" y="856"/>
                    </a:lnTo>
                    <a:lnTo>
                      <a:pt x="774" y="866"/>
                    </a:lnTo>
                    <a:lnTo>
                      <a:pt x="777" y="875"/>
                    </a:lnTo>
                    <a:lnTo>
                      <a:pt x="772" y="882"/>
                    </a:lnTo>
                    <a:lnTo>
                      <a:pt x="769" y="889"/>
                    </a:lnTo>
                    <a:lnTo>
                      <a:pt x="765" y="897"/>
                    </a:lnTo>
                    <a:lnTo>
                      <a:pt x="762" y="904"/>
                    </a:lnTo>
                    <a:lnTo>
                      <a:pt x="760" y="912"/>
                    </a:lnTo>
                    <a:lnTo>
                      <a:pt x="759" y="922"/>
                    </a:lnTo>
                    <a:lnTo>
                      <a:pt x="758" y="932"/>
                    </a:lnTo>
                    <a:lnTo>
                      <a:pt x="758" y="943"/>
                    </a:lnTo>
                    <a:lnTo>
                      <a:pt x="758" y="956"/>
                    </a:lnTo>
                    <a:lnTo>
                      <a:pt x="760" y="967"/>
                    </a:lnTo>
                    <a:lnTo>
                      <a:pt x="762" y="978"/>
                    </a:lnTo>
                    <a:lnTo>
                      <a:pt x="765" y="986"/>
                    </a:lnTo>
                    <a:lnTo>
                      <a:pt x="770" y="994"/>
                    </a:lnTo>
                    <a:lnTo>
                      <a:pt x="774" y="1000"/>
                    </a:lnTo>
                    <a:lnTo>
                      <a:pt x="778" y="1006"/>
                    </a:lnTo>
                    <a:lnTo>
                      <a:pt x="784" y="1011"/>
                    </a:lnTo>
                    <a:lnTo>
                      <a:pt x="775" y="1026"/>
                    </a:lnTo>
                    <a:lnTo>
                      <a:pt x="769" y="1041"/>
                    </a:lnTo>
                    <a:lnTo>
                      <a:pt x="763" y="1054"/>
                    </a:lnTo>
                    <a:lnTo>
                      <a:pt x="759" y="1067"/>
                    </a:lnTo>
                    <a:lnTo>
                      <a:pt x="753" y="1080"/>
                    </a:lnTo>
                    <a:lnTo>
                      <a:pt x="747" y="1095"/>
                    </a:lnTo>
                    <a:lnTo>
                      <a:pt x="737" y="1110"/>
                    </a:lnTo>
                    <a:lnTo>
                      <a:pt x="723" y="1128"/>
                    </a:lnTo>
                    <a:lnTo>
                      <a:pt x="691" y="1122"/>
                    </a:lnTo>
                    <a:lnTo>
                      <a:pt x="681" y="1121"/>
                    </a:lnTo>
                    <a:lnTo>
                      <a:pt x="673" y="1119"/>
                    </a:lnTo>
                    <a:lnTo>
                      <a:pt x="665" y="1116"/>
                    </a:lnTo>
                    <a:lnTo>
                      <a:pt x="659" y="1113"/>
                    </a:lnTo>
                    <a:lnTo>
                      <a:pt x="653" y="1108"/>
                    </a:lnTo>
                    <a:lnTo>
                      <a:pt x="648" y="1103"/>
                    </a:lnTo>
                    <a:lnTo>
                      <a:pt x="642" y="1098"/>
                    </a:lnTo>
                    <a:lnTo>
                      <a:pt x="638" y="1092"/>
                    </a:lnTo>
                    <a:lnTo>
                      <a:pt x="627" y="1079"/>
                    </a:lnTo>
                    <a:lnTo>
                      <a:pt x="616" y="1067"/>
                    </a:lnTo>
                    <a:lnTo>
                      <a:pt x="609" y="1061"/>
                    </a:lnTo>
                    <a:lnTo>
                      <a:pt x="602" y="1056"/>
                    </a:lnTo>
                    <a:lnTo>
                      <a:pt x="594" y="1052"/>
                    </a:lnTo>
                    <a:lnTo>
                      <a:pt x="584" y="1048"/>
                    </a:lnTo>
                    <a:lnTo>
                      <a:pt x="554" y="1038"/>
                    </a:lnTo>
                    <a:lnTo>
                      <a:pt x="507" y="1018"/>
                    </a:lnTo>
                    <a:lnTo>
                      <a:pt x="483" y="1008"/>
                    </a:lnTo>
                    <a:lnTo>
                      <a:pt x="463" y="998"/>
                    </a:lnTo>
                    <a:lnTo>
                      <a:pt x="456" y="993"/>
                    </a:lnTo>
                    <a:lnTo>
                      <a:pt x="450" y="988"/>
                    </a:lnTo>
                    <a:lnTo>
                      <a:pt x="446" y="984"/>
                    </a:lnTo>
                    <a:lnTo>
                      <a:pt x="445" y="980"/>
                    </a:lnTo>
                    <a:lnTo>
                      <a:pt x="436" y="975"/>
                    </a:lnTo>
                    <a:lnTo>
                      <a:pt x="425" y="967"/>
                    </a:lnTo>
                    <a:lnTo>
                      <a:pt x="413" y="956"/>
                    </a:lnTo>
                    <a:lnTo>
                      <a:pt x="398" y="944"/>
                    </a:lnTo>
                    <a:lnTo>
                      <a:pt x="383" y="931"/>
                    </a:lnTo>
                    <a:lnTo>
                      <a:pt x="367" y="916"/>
                    </a:lnTo>
                    <a:lnTo>
                      <a:pt x="349" y="904"/>
                    </a:lnTo>
                    <a:lnTo>
                      <a:pt x="331" y="894"/>
                    </a:lnTo>
                    <a:lnTo>
                      <a:pt x="326" y="890"/>
                    </a:lnTo>
                    <a:lnTo>
                      <a:pt x="323" y="886"/>
                    </a:lnTo>
                    <a:lnTo>
                      <a:pt x="319" y="882"/>
                    </a:lnTo>
                    <a:lnTo>
                      <a:pt x="318" y="877"/>
                    </a:lnTo>
                    <a:lnTo>
                      <a:pt x="318" y="872"/>
                    </a:lnTo>
                    <a:lnTo>
                      <a:pt x="318" y="867"/>
                    </a:lnTo>
                    <a:lnTo>
                      <a:pt x="319" y="860"/>
                    </a:lnTo>
                    <a:lnTo>
                      <a:pt x="321" y="854"/>
                    </a:lnTo>
                    <a:lnTo>
                      <a:pt x="324" y="842"/>
                    </a:lnTo>
                    <a:lnTo>
                      <a:pt x="327" y="829"/>
                    </a:lnTo>
                    <a:lnTo>
                      <a:pt x="328" y="822"/>
                    </a:lnTo>
                    <a:lnTo>
                      <a:pt x="328" y="815"/>
                    </a:lnTo>
                    <a:lnTo>
                      <a:pt x="327" y="808"/>
                    </a:lnTo>
                    <a:lnTo>
                      <a:pt x="325" y="801"/>
                    </a:lnTo>
                    <a:lnTo>
                      <a:pt x="318" y="795"/>
                    </a:lnTo>
                    <a:lnTo>
                      <a:pt x="310" y="789"/>
                    </a:lnTo>
                    <a:lnTo>
                      <a:pt x="300" y="784"/>
                    </a:lnTo>
                    <a:lnTo>
                      <a:pt x="290" y="778"/>
                    </a:lnTo>
                    <a:lnTo>
                      <a:pt x="279" y="772"/>
                    </a:lnTo>
                    <a:lnTo>
                      <a:pt x="270" y="765"/>
                    </a:lnTo>
                    <a:lnTo>
                      <a:pt x="266" y="761"/>
                    </a:lnTo>
                    <a:lnTo>
                      <a:pt x="263" y="757"/>
                    </a:lnTo>
                    <a:lnTo>
                      <a:pt x="260" y="751"/>
                    </a:lnTo>
                    <a:lnTo>
                      <a:pt x="259" y="745"/>
                    </a:lnTo>
                    <a:lnTo>
                      <a:pt x="255" y="735"/>
                    </a:lnTo>
                    <a:lnTo>
                      <a:pt x="251" y="725"/>
                    </a:lnTo>
                    <a:lnTo>
                      <a:pt x="249" y="716"/>
                    </a:lnTo>
                    <a:lnTo>
                      <a:pt x="248" y="707"/>
                    </a:lnTo>
                    <a:lnTo>
                      <a:pt x="246" y="697"/>
                    </a:lnTo>
                    <a:lnTo>
                      <a:pt x="243" y="689"/>
                    </a:lnTo>
                    <a:lnTo>
                      <a:pt x="238" y="681"/>
                    </a:lnTo>
                    <a:lnTo>
                      <a:pt x="232" y="672"/>
                    </a:lnTo>
                    <a:lnTo>
                      <a:pt x="211" y="635"/>
                    </a:lnTo>
                    <a:lnTo>
                      <a:pt x="192" y="603"/>
                    </a:lnTo>
                    <a:lnTo>
                      <a:pt x="174" y="570"/>
                    </a:lnTo>
                    <a:lnTo>
                      <a:pt x="153" y="530"/>
                    </a:lnTo>
                    <a:lnTo>
                      <a:pt x="146" y="521"/>
                    </a:lnTo>
                    <a:lnTo>
                      <a:pt x="138" y="513"/>
                    </a:lnTo>
                    <a:lnTo>
                      <a:pt x="134" y="508"/>
                    </a:lnTo>
                    <a:lnTo>
                      <a:pt x="129" y="502"/>
                    </a:lnTo>
                    <a:lnTo>
                      <a:pt x="124" y="496"/>
                    </a:lnTo>
                    <a:lnTo>
                      <a:pt x="120" y="487"/>
                    </a:lnTo>
                    <a:lnTo>
                      <a:pt x="116" y="478"/>
                    </a:lnTo>
                    <a:lnTo>
                      <a:pt x="113" y="467"/>
                    </a:lnTo>
                    <a:lnTo>
                      <a:pt x="109" y="458"/>
                    </a:lnTo>
                    <a:lnTo>
                      <a:pt x="103" y="448"/>
                    </a:lnTo>
                    <a:lnTo>
                      <a:pt x="98" y="440"/>
                    </a:lnTo>
                    <a:lnTo>
                      <a:pt x="90" y="432"/>
                    </a:lnTo>
                    <a:lnTo>
                      <a:pt x="82" y="425"/>
                    </a:lnTo>
                    <a:lnTo>
                      <a:pt x="72" y="419"/>
                    </a:lnTo>
                    <a:lnTo>
                      <a:pt x="52" y="411"/>
                    </a:lnTo>
                    <a:lnTo>
                      <a:pt x="31" y="403"/>
                    </a:lnTo>
                    <a:lnTo>
                      <a:pt x="26" y="400"/>
                    </a:lnTo>
                    <a:lnTo>
                      <a:pt x="22" y="397"/>
                    </a:lnTo>
                    <a:lnTo>
                      <a:pt x="17" y="393"/>
                    </a:lnTo>
                    <a:lnTo>
                      <a:pt x="13" y="389"/>
                    </a:lnTo>
                    <a:lnTo>
                      <a:pt x="9" y="384"/>
                    </a:lnTo>
                    <a:lnTo>
                      <a:pt x="5" y="378"/>
                    </a:lnTo>
                    <a:lnTo>
                      <a:pt x="2" y="372"/>
                    </a:lnTo>
                    <a:lnTo>
                      <a:pt x="0" y="363"/>
                    </a:lnTo>
                    <a:lnTo>
                      <a:pt x="20" y="345"/>
                    </a:lnTo>
                    <a:lnTo>
                      <a:pt x="15" y="331"/>
                    </a:lnTo>
                    <a:lnTo>
                      <a:pt x="14" y="317"/>
                    </a:lnTo>
                    <a:lnTo>
                      <a:pt x="13" y="301"/>
                    </a:lnTo>
                    <a:lnTo>
                      <a:pt x="13" y="284"/>
                    </a:lnTo>
                    <a:lnTo>
                      <a:pt x="13" y="276"/>
                    </a:lnTo>
                    <a:lnTo>
                      <a:pt x="14" y="270"/>
                    </a:lnTo>
                    <a:lnTo>
                      <a:pt x="16" y="264"/>
                    </a:lnTo>
                    <a:lnTo>
                      <a:pt x="19" y="259"/>
                    </a:lnTo>
                    <a:lnTo>
                      <a:pt x="21" y="254"/>
                    </a:lnTo>
                    <a:lnTo>
                      <a:pt x="24" y="249"/>
                    </a:lnTo>
                    <a:lnTo>
                      <a:pt x="28" y="246"/>
                    </a:lnTo>
                    <a:lnTo>
                      <a:pt x="32" y="243"/>
                    </a:lnTo>
                    <a:lnTo>
                      <a:pt x="41" y="237"/>
                    </a:lnTo>
                    <a:lnTo>
                      <a:pt x="49" y="231"/>
                    </a:lnTo>
                    <a:lnTo>
                      <a:pt x="58" y="224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9" y="228"/>
                    </a:lnTo>
                    <a:lnTo>
                      <a:pt x="83" y="235"/>
                    </a:lnTo>
                    <a:lnTo>
                      <a:pt x="86" y="240"/>
                    </a:lnTo>
                    <a:lnTo>
                      <a:pt x="86" y="252"/>
                    </a:lnTo>
                    <a:lnTo>
                      <a:pt x="86" y="265"/>
                    </a:lnTo>
                    <a:lnTo>
                      <a:pt x="95" y="272"/>
                    </a:lnTo>
                    <a:lnTo>
                      <a:pt x="116" y="287"/>
                    </a:lnTo>
                    <a:lnTo>
                      <a:pt x="128" y="294"/>
                    </a:lnTo>
                    <a:lnTo>
                      <a:pt x="139" y="301"/>
                    </a:lnTo>
                    <a:lnTo>
                      <a:pt x="148" y="306"/>
                    </a:lnTo>
                    <a:lnTo>
                      <a:pt x="153" y="308"/>
                    </a:lnTo>
                    <a:lnTo>
                      <a:pt x="158" y="307"/>
                    </a:lnTo>
                    <a:lnTo>
                      <a:pt x="164" y="303"/>
                    </a:lnTo>
                    <a:lnTo>
                      <a:pt x="169" y="298"/>
                    </a:lnTo>
                    <a:lnTo>
                      <a:pt x="174" y="291"/>
                    </a:lnTo>
                    <a:lnTo>
                      <a:pt x="179" y="284"/>
                    </a:lnTo>
                    <a:lnTo>
                      <a:pt x="182" y="277"/>
                    </a:lnTo>
                    <a:lnTo>
                      <a:pt x="184" y="271"/>
                    </a:lnTo>
                    <a:lnTo>
                      <a:pt x="185" y="265"/>
                    </a:lnTo>
                    <a:lnTo>
                      <a:pt x="187" y="259"/>
                    </a:lnTo>
                    <a:lnTo>
                      <a:pt x="188" y="251"/>
                    </a:lnTo>
                    <a:lnTo>
                      <a:pt x="190" y="244"/>
                    </a:lnTo>
                    <a:lnTo>
                      <a:pt x="193" y="238"/>
                    </a:lnTo>
                    <a:lnTo>
                      <a:pt x="201" y="225"/>
                    </a:lnTo>
                    <a:lnTo>
                      <a:pt x="212" y="213"/>
                    </a:lnTo>
                    <a:lnTo>
                      <a:pt x="222" y="202"/>
                    </a:lnTo>
                    <a:lnTo>
                      <a:pt x="234" y="192"/>
                    </a:lnTo>
                    <a:lnTo>
                      <a:pt x="244" y="184"/>
                    </a:lnTo>
                    <a:lnTo>
                      <a:pt x="252" y="179"/>
                    </a:lnTo>
                    <a:lnTo>
                      <a:pt x="270" y="170"/>
                    </a:lnTo>
                    <a:lnTo>
                      <a:pt x="289" y="160"/>
                    </a:lnTo>
                    <a:lnTo>
                      <a:pt x="306" y="150"/>
                    </a:lnTo>
                    <a:lnTo>
                      <a:pt x="323" y="138"/>
                    </a:lnTo>
                    <a:lnTo>
                      <a:pt x="330" y="133"/>
                    </a:lnTo>
                    <a:lnTo>
                      <a:pt x="337" y="126"/>
                    </a:lnTo>
                    <a:lnTo>
                      <a:pt x="344" y="120"/>
                    </a:lnTo>
                    <a:lnTo>
                      <a:pt x="348" y="113"/>
                    </a:lnTo>
                    <a:lnTo>
                      <a:pt x="352" y="106"/>
                    </a:lnTo>
                    <a:lnTo>
                      <a:pt x="356" y="98"/>
                    </a:lnTo>
                    <a:lnTo>
                      <a:pt x="358" y="90"/>
                    </a:lnTo>
                    <a:lnTo>
                      <a:pt x="358" y="80"/>
                    </a:lnTo>
                    <a:lnTo>
                      <a:pt x="357" y="70"/>
                    </a:lnTo>
                    <a:lnTo>
                      <a:pt x="355" y="58"/>
                    </a:lnTo>
                    <a:lnTo>
                      <a:pt x="350" y="46"/>
                    </a:lnTo>
                    <a:lnTo>
                      <a:pt x="345" y="34"/>
                    </a:lnTo>
                    <a:lnTo>
                      <a:pt x="336" y="12"/>
                    </a:lnTo>
                    <a:lnTo>
                      <a:pt x="331" y="0"/>
                    </a:lnTo>
                    <a:lnTo>
                      <a:pt x="347" y="5"/>
                    </a:lnTo>
                    <a:lnTo>
                      <a:pt x="360" y="11"/>
                    </a:lnTo>
                    <a:lnTo>
                      <a:pt x="374" y="18"/>
                    </a:lnTo>
                    <a:lnTo>
                      <a:pt x="386" y="26"/>
                    </a:lnTo>
                    <a:lnTo>
                      <a:pt x="398" y="35"/>
                    </a:lnTo>
                    <a:lnTo>
                      <a:pt x="411" y="44"/>
                    </a:lnTo>
                    <a:lnTo>
                      <a:pt x="422" y="53"/>
                    </a:lnTo>
                    <a:lnTo>
                      <a:pt x="431" y="62"/>
                    </a:lnTo>
                    <a:lnTo>
                      <a:pt x="438" y="68"/>
                    </a:lnTo>
                    <a:lnTo>
                      <a:pt x="445" y="75"/>
                    </a:lnTo>
                    <a:lnTo>
                      <a:pt x="451" y="82"/>
                    </a:lnTo>
                    <a:lnTo>
                      <a:pt x="457" y="91"/>
                    </a:lnTo>
                    <a:lnTo>
                      <a:pt x="467" y="107"/>
                    </a:lnTo>
                    <a:lnTo>
                      <a:pt x="476" y="123"/>
                    </a:lnTo>
                    <a:lnTo>
                      <a:pt x="481" y="130"/>
                    </a:lnTo>
                    <a:lnTo>
                      <a:pt x="486" y="137"/>
                    </a:lnTo>
                    <a:lnTo>
                      <a:pt x="493" y="144"/>
                    </a:lnTo>
                    <a:lnTo>
                      <a:pt x="498" y="150"/>
                    </a:lnTo>
                    <a:lnTo>
                      <a:pt x="506" y="154"/>
                    </a:lnTo>
                    <a:lnTo>
                      <a:pt x="513" y="158"/>
                    </a:lnTo>
                    <a:lnTo>
                      <a:pt x="521" y="160"/>
                    </a:lnTo>
                    <a:lnTo>
                      <a:pt x="531" y="161"/>
                    </a:lnTo>
                    <a:lnTo>
                      <a:pt x="541" y="160"/>
                    </a:lnTo>
                    <a:lnTo>
                      <a:pt x="551" y="159"/>
                    </a:lnTo>
                    <a:lnTo>
                      <a:pt x="561" y="157"/>
                    </a:lnTo>
                    <a:lnTo>
                      <a:pt x="571" y="155"/>
                    </a:lnTo>
                    <a:lnTo>
                      <a:pt x="581" y="152"/>
                    </a:lnTo>
                    <a:lnTo>
                      <a:pt x="591" y="150"/>
                    </a:lnTo>
                    <a:lnTo>
                      <a:pt x="601" y="149"/>
                    </a:lnTo>
                    <a:lnTo>
                      <a:pt x="610" y="148"/>
                    </a:lnTo>
                    <a:lnTo>
                      <a:pt x="617" y="149"/>
                    </a:lnTo>
                    <a:lnTo>
                      <a:pt x="624" y="151"/>
                    </a:lnTo>
                    <a:lnTo>
                      <a:pt x="628" y="151"/>
                    </a:lnTo>
                    <a:lnTo>
                      <a:pt x="631" y="151"/>
                    </a:lnTo>
                    <a:lnTo>
                      <a:pt x="635" y="150"/>
                    </a:lnTo>
                    <a:lnTo>
                      <a:pt x="638" y="148"/>
                    </a:lnTo>
                    <a:lnTo>
                      <a:pt x="640" y="156"/>
                    </a:lnTo>
                    <a:lnTo>
                      <a:pt x="648" y="167"/>
                    </a:lnTo>
                    <a:lnTo>
                      <a:pt x="654" y="177"/>
                    </a:lnTo>
                    <a:lnTo>
                      <a:pt x="658" y="185"/>
                    </a:lnTo>
                    <a:lnTo>
                      <a:pt x="657" y="188"/>
                    </a:lnTo>
                    <a:lnTo>
                      <a:pt x="655" y="191"/>
                    </a:lnTo>
                    <a:lnTo>
                      <a:pt x="654" y="193"/>
                    </a:lnTo>
                    <a:lnTo>
                      <a:pt x="652" y="195"/>
                    </a:lnTo>
                    <a:lnTo>
                      <a:pt x="647" y="200"/>
                    </a:lnTo>
                    <a:lnTo>
                      <a:pt x="641" y="203"/>
                    </a:lnTo>
                    <a:lnTo>
                      <a:pt x="635" y="206"/>
                    </a:lnTo>
                    <a:lnTo>
                      <a:pt x="629" y="209"/>
                    </a:lnTo>
                    <a:lnTo>
                      <a:pt x="627" y="210"/>
                    </a:lnTo>
                    <a:lnTo>
                      <a:pt x="626" y="212"/>
                    </a:lnTo>
                    <a:lnTo>
                      <a:pt x="625" y="214"/>
                    </a:lnTo>
                    <a:lnTo>
                      <a:pt x="624" y="216"/>
                    </a:lnTo>
                    <a:lnTo>
                      <a:pt x="625" y="226"/>
                    </a:lnTo>
                    <a:lnTo>
                      <a:pt x="626" y="234"/>
                    </a:lnTo>
                    <a:lnTo>
                      <a:pt x="627" y="240"/>
                    </a:lnTo>
                    <a:lnTo>
                      <a:pt x="629" y="244"/>
                    </a:lnTo>
                    <a:lnTo>
                      <a:pt x="636" y="251"/>
                    </a:lnTo>
                    <a:lnTo>
                      <a:pt x="644" y="259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4" name="Freeform 8"/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7870017" y="4544747"/>
                <a:ext cx="328939" cy="1276228"/>
              </a:xfrm>
              <a:custGeom>
                <a:avLst/>
                <a:gdLst>
                  <a:gd name="T0" fmla="*/ 2147483647 w 598"/>
                  <a:gd name="T1" fmla="*/ 2147483647 h 2158"/>
                  <a:gd name="T2" fmla="*/ 2147483647 w 598"/>
                  <a:gd name="T3" fmla="*/ 2147483647 h 2158"/>
                  <a:gd name="T4" fmla="*/ 2147483647 w 598"/>
                  <a:gd name="T5" fmla="*/ 2147483647 h 2158"/>
                  <a:gd name="T6" fmla="*/ 2147483647 w 598"/>
                  <a:gd name="T7" fmla="*/ 2147483647 h 2158"/>
                  <a:gd name="T8" fmla="*/ 2147483647 w 598"/>
                  <a:gd name="T9" fmla="*/ 2147483647 h 2158"/>
                  <a:gd name="T10" fmla="*/ 2147483647 w 598"/>
                  <a:gd name="T11" fmla="*/ 2147483647 h 2158"/>
                  <a:gd name="T12" fmla="*/ 2147483647 w 598"/>
                  <a:gd name="T13" fmla="*/ 2147483647 h 2158"/>
                  <a:gd name="T14" fmla="*/ 2147483647 w 598"/>
                  <a:gd name="T15" fmla="*/ 2147483647 h 2158"/>
                  <a:gd name="T16" fmla="*/ 2147483647 w 598"/>
                  <a:gd name="T17" fmla="*/ 2147483647 h 2158"/>
                  <a:gd name="T18" fmla="*/ 2147483647 w 598"/>
                  <a:gd name="T19" fmla="*/ 2147483647 h 2158"/>
                  <a:gd name="T20" fmla="*/ 2147483647 w 598"/>
                  <a:gd name="T21" fmla="*/ 2147483647 h 2158"/>
                  <a:gd name="T22" fmla="*/ 2147483647 w 598"/>
                  <a:gd name="T23" fmla="*/ 2147483647 h 2158"/>
                  <a:gd name="T24" fmla="*/ 2147483647 w 598"/>
                  <a:gd name="T25" fmla="*/ 2147483647 h 2158"/>
                  <a:gd name="T26" fmla="*/ 2147483647 w 598"/>
                  <a:gd name="T27" fmla="*/ 2147483647 h 2158"/>
                  <a:gd name="T28" fmla="*/ 2147483647 w 598"/>
                  <a:gd name="T29" fmla="*/ 2147483647 h 2158"/>
                  <a:gd name="T30" fmla="*/ 2147483647 w 598"/>
                  <a:gd name="T31" fmla="*/ 2147483647 h 2158"/>
                  <a:gd name="T32" fmla="*/ 2147483647 w 598"/>
                  <a:gd name="T33" fmla="*/ 2147483647 h 2158"/>
                  <a:gd name="T34" fmla="*/ 2147483647 w 598"/>
                  <a:gd name="T35" fmla="*/ 2147483647 h 2158"/>
                  <a:gd name="T36" fmla="*/ 2147483647 w 598"/>
                  <a:gd name="T37" fmla="*/ 2147483647 h 2158"/>
                  <a:gd name="T38" fmla="*/ 2147483647 w 598"/>
                  <a:gd name="T39" fmla="*/ 2147483647 h 2158"/>
                  <a:gd name="T40" fmla="*/ 2147483647 w 598"/>
                  <a:gd name="T41" fmla="*/ 2147483647 h 2158"/>
                  <a:gd name="T42" fmla="*/ 2147483647 w 598"/>
                  <a:gd name="T43" fmla="*/ 2147483647 h 2158"/>
                  <a:gd name="T44" fmla="*/ 2147483647 w 598"/>
                  <a:gd name="T45" fmla="*/ 2147483647 h 2158"/>
                  <a:gd name="T46" fmla="*/ 2147483647 w 598"/>
                  <a:gd name="T47" fmla="*/ 2147483647 h 2158"/>
                  <a:gd name="T48" fmla="*/ 2147483647 w 598"/>
                  <a:gd name="T49" fmla="*/ 2147483647 h 2158"/>
                  <a:gd name="T50" fmla="*/ 2147483647 w 598"/>
                  <a:gd name="T51" fmla="*/ 2147483647 h 2158"/>
                  <a:gd name="T52" fmla="*/ 2147483647 w 598"/>
                  <a:gd name="T53" fmla="*/ 2147483647 h 2158"/>
                  <a:gd name="T54" fmla="*/ 2147483647 w 598"/>
                  <a:gd name="T55" fmla="*/ 2147483647 h 2158"/>
                  <a:gd name="T56" fmla="*/ 2147483647 w 598"/>
                  <a:gd name="T57" fmla="*/ 2147483647 h 2158"/>
                  <a:gd name="T58" fmla="*/ 0 w 598"/>
                  <a:gd name="T59" fmla="*/ 2147483647 h 2158"/>
                  <a:gd name="T60" fmla="*/ 2147483647 w 598"/>
                  <a:gd name="T61" fmla="*/ 2147483647 h 2158"/>
                  <a:gd name="T62" fmla="*/ 2147483647 w 598"/>
                  <a:gd name="T63" fmla="*/ 2147483647 h 2158"/>
                  <a:gd name="T64" fmla="*/ 2147483647 w 598"/>
                  <a:gd name="T65" fmla="*/ 2147483647 h 2158"/>
                  <a:gd name="T66" fmla="*/ 2147483647 w 598"/>
                  <a:gd name="T67" fmla="*/ 2147483647 h 2158"/>
                  <a:gd name="T68" fmla="*/ 2147483647 w 598"/>
                  <a:gd name="T69" fmla="*/ 2147483647 h 2158"/>
                  <a:gd name="T70" fmla="*/ 2147483647 w 598"/>
                  <a:gd name="T71" fmla="*/ 2147483647 h 2158"/>
                  <a:gd name="T72" fmla="*/ 2147483647 w 598"/>
                  <a:gd name="T73" fmla="*/ 2147483647 h 2158"/>
                  <a:gd name="T74" fmla="*/ 2147483647 w 598"/>
                  <a:gd name="T75" fmla="*/ 2147483647 h 2158"/>
                  <a:gd name="T76" fmla="*/ 2147483647 w 598"/>
                  <a:gd name="T77" fmla="*/ 2147483647 h 2158"/>
                  <a:gd name="T78" fmla="*/ 2147483647 w 598"/>
                  <a:gd name="T79" fmla="*/ 2147483647 h 2158"/>
                  <a:gd name="T80" fmla="*/ 2147483647 w 598"/>
                  <a:gd name="T81" fmla="*/ 2147483647 h 2158"/>
                  <a:gd name="T82" fmla="*/ 2147483647 w 598"/>
                  <a:gd name="T83" fmla="*/ 2147483647 h 2158"/>
                  <a:gd name="T84" fmla="*/ 2147483647 w 598"/>
                  <a:gd name="T85" fmla="*/ 2147483647 h 2158"/>
                  <a:gd name="T86" fmla="*/ 2147483647 w 598"/>
                  <a:gd name="T87" fmla="*/ 2147483647 h 2158"/>
                  <a:gd name="T88" fmla="*/ 2147483647 w 598"/>
                  <a:gd name="T89" fmla="*/ 2147483647 h 2158"/>
                  <a:gd name="T90" fmla="*/ 2147483647 w 598"/>
                  <a:gd name="T91" fmla="*/ 2147483647 h 2158"/>
                  <a:gd name="T92" fmla="*/ 2147483647 w 598"/>
                  <a:gd name="T93" fmla="*/ 2147483647 h 2158"/>
                  <a:gd name="T94" fmla="*/ 2147483647 w 598"/>
                  <a:gd name="T95" fmla="*/ 2147483647 h 2158"/>
                  <a:gd name="T96" fmla="*/ 2147483647 w 598"/>
                  <a:gd name="T97" fmla="*/ 2147483647 h 2158"/>
                  <a:gd name="T98" fmla="*/ 2147483647 w 598"/>
                  <a:gd name="T99" fmla="*/ 2147483647 h 2158"/>
                  <a:gd name="T100" fmla="*/ 2147483647 w 598"/>
                  <a:gd name="T101" fmla="*/ 2147483647 h 2158"/>
                  <a:gd name="T102" fmla="*/ 2147483647 w 598"/>
                  <a:gd name="T103" fmla="*/ 2147483647 h 2158"/>
                  <a:gd name="T104" fmla="*/ 2147483647 w 598"/>
                  <a:gd name="T105" fmla="*/ 2147483647 h 2158"/>
                  <a:gd name="T106" fmla="*/ 2147483647 w 598"/>
                  <a:gd name="T107" fmla="*/ 2147483647 h 2158"/>
                  <a:gd name="T108" fmla="*/ 2147483647 w 598"/>
                  <a:gd name="T109" fmla="*/ 2147483647 h 2158"/>
                  <a:gd name="T110" fmla="*/ 2147483647 w 598"/>
                  <a:gd name="T111" fmla="*/ 2147483647 h 2158"/>
                  <a:gd name="T112" fmla="*/ 2147483647 w 598"/>
                  <a:gd name="T113" fmla="*/ 2147483647 h 2158"/>
                  <a:gd name="T114" fmla="*/ 2147483647 w 598"/>
                  <a:gd name="T115" fmla="*/ 2147483647 h 2158"/>
                  <a:gd name="T116" fmla="*/ 2147483647 w 598"/>
                  <a:gd name="T117" fmla="*/ 2147483647 h 2158"/>
                  <a:gd name="T118" fmla="*/ 2147483647 w 598"/>
                  <a:gd name="T119" fmla="*/ 2147483647 h 2158"/>
                  <a:gd name="T120" fmla="*/ 2147483647 w 598"/>
                  <a:gd name="T121" fmla="*/ 2147483647 h 2158"/>
                  <a:gd name="T122" fmla="*/ 2147483647 w 598"/>
                  <a:gd name="T123" fmla="*/ 2147483647 h 21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98" h="2158">
                    <a:moveTo>
                      <a:pt x="491" y="2046"/>
                    </a:moveTo>
                    <a:lnTo>
                      <a:pt x="480" y="2045"/>
                    </a:lnTo>
                    <a:lnTo>
                      <a:pt x="469" y="2043"/>
                    </a:lnTo>
                    <a:lnTo>
                      <a:pt x="456" y="2039"/>
                    </a:lnTo>
                    <a:lnTo>
                      <a:pt x="444" y="2034"/>
                    </a:lnTo>
                    <a:lnTo>
                      <a:pt x="431" y="2028"/>
                    </a:lnTo>
                    <a:lnTo>
                      <a:pt x="418" y="2021"/>
                    </a:lnTo>
                    <a:lnTo>
                      <a:pt x="405" y="2013"/>
                    </a:lnTo>
                    <a:lnTo>
                      <a:pt x="392" y="2003"/>
                    </a:lnTo>
                    <a:lnTo>
                      <a:pt x="379" y="1994"/>
                    </a:lnTo>
                    <a:lnTo>
                      <a:pt x="368" y="1985"/>
                    </a:lnTo>
                    <a:lnTo>
                      <a:pt x="357" y="1976"/>
                    </a:lnTo>
                    <a:lnTo>
                      <a:pt x="349" y="1966"/>
                    </a:lnTo>
                    <a:lnTo>
                      <a:pt x="342" y="1955"/>
                    </a:lnTo>
                    <a:lnTo>
                      <a:pt x="337" y="1946"/>
                    </a:lnTo>
                    <a:lnTo>
                      <a:pt x="333" y="1937"/>
                    </a:lnTo>
                    <a:lnTo>
                      <a:pt x="332" y="1929"/>
                    </a:lnTo>
                    <a:lnTo>
                      <a:pt x="332" y="1919"/>
                    </a:lnTo>
                    <a:lnTo>
                      <a:pt x="333" y="1909"/>
                    </a:lnTo>
                    <a:lnTo>
                      <a:pt x="336" y="1900"/>
                    </a:lnTo>
                    <a:lnTo>
                      <a:pt x="339" y="1893"/>
                    </a:lnTo>
                    <a:lnTo>
                      <a:pt x="341" y="1887"/>
                    </a:lnTo>
                    <a:lnTo>
                      <a:pt x="343" y="1880"/>
                    </a:lnTo>
                    <a:lnTo>
                      <a:pt x="344" y="1874"/>
                    </a:lnTo>
                    <a:lnTo>
                      <a:pt x="345" y="1868"/>
                    </a:lnTo>
                    <a:lnTo>
                      <a:pt x="345" y="1863"/>
                    </a:lnTo>
                    <a:lnTo>
                      <a:pt x="345" y="1855"/>
                    </a:lnTo>
                    <a:lnTo>
                      <a:pt x="345" y="1843"/>
                    </a:lnTo>
                    <a:lnTo>
                      <a:pt x="345" y="1824"/>
                    </a:lnTo>
                    <a:lnTo>
                      <a:pt x="345" y="1818"/>
                    </a:lnTo>
                    <a:lnTo>
                      <a:pt x="348" y="1812"/>
                    </a:lnTo>
                    <a:lnTo>
                      <a:pt x="351" y="1807"/>
                    </a:lnTo>
                    <a:lnTo>
                      <a:pt x="355" y="1802"/>
                    </a:lnTo>
                    <a:lnTo>
                      <a:pt x="359" y="1797"/>
                    </a:lnTo>
                    <a:lnTo>
                      <a:pt x="362" y="1791"/>
                    </a:lnTo>
                    <a:lnTo>
                      <a:pt x="364" y="1783"/>
                    </a:lnTo>
                    <a:lnTo>
                      <a:pt x="365" y="1775"/>
                    </a:lnTo>
                    <a:lnTo>
                      <a:pt x="364" y="1768"/>
                    </a:lnTo>
                    <a:lnTo>
                      <a:pt x="363" y="1762"/>
                    </a:lnTo>
                    <a:lnTo>
                      <a:pt x="362" y="1756"/>
                    </a:lnTo>
                    <a:lnTo>
                      <a:pt x="360" y="1750"/>
                    </a:lnTo>
                    <a:lnTo>
                      <a:pt x="354" y="1740"/>
                    </a:lnTo>
                    <a:lnTo>
                      <a:pt x="349" y="1728"/>
                    </a:lnTo>
                    <a:lnTo>
                      <a:pt x="342" y="1718"/>
                    </a:lnTo>
                    <a:lnTo>
                      <a:pt x="337" y="1707"/>
                    </a:lnTo>
                    <a:lnTo>
                      <a:pt x="334" y="1702"/>
                    </a:lnTo>
                    <a:lnTo>
                      <a:pt x="333" y="1696"/>
                    </a:lnTo>
                    <a:lnTo>
                      <a:pt x="332" y="1690"/>
                    </a:lnTo>
                    <a:lnTo>
                      <a:pt x="332" y="1683"/>
                    </a:lnTo>
                    <a:lnTo>
                      <a:pt x="331" y="1670"/>
                    </a:lnTo>
                    <a:lnTo>
                      <a:pt x="330" y="1659"/>
                    </a:lnTo>
                    <a:lnTo>
                      <a:pt x="329" y="1648"/>
                    </a:lnTo>
                    <a:lnTo>
                      <a:pt x="327" y="1638"/>
                    </a:lnTo>
                    <a:lnTo>
                      <a:pt x="320" y="1617"/>
                    </a:lnTo>
                    <a:lnTo>
                      <a:pt x="312" y="1599"/>
                    </a:lnTo>
                    <a:lnTo>
                      <a:pt x="303" y="1581"/>
                    </a:lnTo>
                    <a:lnTo>
                      <a:pt x="292" y="1563"/>
                    </a:lnTo>
                    <a:lnTo>
                      <a:pt x="281" y="1547"/>
                    </a:lnTo>
                    <a:lnTo>
                      <a:pt x="269" y="1530"/>
                    </a:lnTo>
                    <a:lnTo>
                      <a:pt x="256" y="1514"/>
                    </a:lnTo>
                    <a:lnTo>
                      <a:pt x="245" y="1496"/>
                    </a:lnTo>
                    <a:lnTo>
                      <a:pt x="235" y="1478"/>
                    </a:lnTo>
                    <a:lnTo>
                      <a:pt x="226" y="1460"/>
                    </a:lnTo>
                    <a:lnTo>
                      <a:pt x="221" y="1449"/>
                    </a:lnTo>
                    <a:lnTo>
                      <a:pt x="217" y="1439"/>
                    </a:lnTo>
                    <a:lnTo>
                      <a:pt x="214" y="1428"/>
                    </a:lnTo>
                    <a:lnTo>
                      <a:pt x="210" y="1417"/>
                    </a:lnTo>
                    <a:lnTo>
                      <a:pt x="208" y="1406"/>
                    </a:lnTo>
                    <a:lnTo>
                      <a:pt x="207" y="1393"/>
                    </a:lnTo>
                    <a:lnTo>
                      <a:pt x="206" y="1381"/>
                    </a:lnTo>
                    <a:lnTo>
                      <a:pt x="206" y="1368"/>
                    </a:lnTo>
                    <a:lnTo>
                      <a:pt x="206" y="1355"/>
                    </a:lnTo>
                    <a:lnTo>
                      <a:pt x="207" y="1342"/>
                    </a:lnTo>
                    <a:lnTo>
                      <a:pt x="209" y="1331"/>
                    </a:lnTo>
                    <a:lnTo>
                      <a:pt x="213" y="1320"/>
                    </a:lnTo>
                    <a:lnTo>
                      <a:pt x="215" y="1309"/>
                    </a:lnTo>
                    <a:lnTo>
                      <a:pt x="217" y="1299"/>
                    </a:lnTo>
                    <a:lnTo>
                      <a:pt x="218" y="1287"/>
                    </a:lnTo>
                    <a:lnTo>
                      <a:pt x="219" y="1276"/>
                    </a:lnTo>
                    <a:lnTo>
                      <a:pt x="218" y="1268"/>
                    </a:lnTo>
                    <a:lnTo>
                      <a:pt x="217" y="1261"/>
                    </a:lnTo>
                    <a:lnTo>
                      <a:pt x="216" y="1254"/>
                    </a:lnTo>
                    <a:lnTo>
                      <a:pt x="214" y="1248"/>
                    </a:lnTo>
                    <a:lnTo>
                      <a:pt x="208" y="1235"/>
                    </a:lnTo>
                    <a:lnTo>
                      <a:pt x="203" y="1223"/>
                    </a:lnTo>
                    <a:lnTo>
                      <a:pt x="196" y="1210"/>
                    </a:lnTo>
                    <a:lnTo>
                      <a:pt x="191" y="1197"/>
                    </a:lnTo>
                    <a:lnTo>
                      <a:pt x="188" y="1190"/>
                    </a:lnTo>
                    <a:lnTo>
                      <a:pt x="187" y="1183"/>
                    </a:lnTo>
                    <a:lnTo>
                      <a:pt x="186" y="1174"/>
                    </a:lnTo>
                    <a:lnTo>
                      <a:pt x="185" y="1165"/>
                    </a:lnTo>
                    <a:lnTo>
                      <a:pt x="186" y="1158"/>
                    </a:lnTo>
                    <a:lnTo>
                      <a:pt x="189" y="1152"/>
                    </a:lnTo>
                    <a:lnTo>
                      <a:pt x="194" y="1146"/>
                    </a:lnTo>
                    <a:lnTo>
                      <a:pt x="199" y="1141"/>
                    </a:lnTo>
                    <a:lnTo>
                      <a:pt x="204" y="1135"/>
                    </a:lnTo>
                    <a:lnTo>
                      <a:pt x="208" y="1129"/>
                    </a:lnTo>
                    <a:lnTo>
                      <a:pt x="211" y="1123"/>
                    </a:lnTo>
                    <a:lnTo>
                      <a:pt x="213" y="1115"/>
                    </a:lnTo>
                    <a:lnTo>
                      <a:pt x="211" y="1109"/>
                    </a:lnTo>
                    <a:lnTo>
                      <a:pt x="209" y="1103"/>
                    </a:lnTo>
                    <a:lnTo>
                      <a:pt x="206" y="1097"/>
                    </a:lnTo>
                    <a:lnTo>
                      <a:pt x="203" y="1092"/>
                    </a:lnTo>
                    <a:lnTo>
                      <a:pt x="198" y="1087"/>
                    </a:lnTo>
                    <a:lnTo>
                      <a:pt x="195" y="1082"/>
                    </a:lnTo>
                    <a:lnTo>
                      <a:pt x="193" y="1078"/>
                    </a:lnTo>
                    <a:lnTo>
                      <a:pt x="192" y="1073"/>
                    </a:lnTo>
                    <a:lnTo>
                      <a:pt x="195" y="1064"/>
                    </a:lnTo>
                    <a:lnTo>
                      <a:pt x="203" y="1049"/>
                    </a:lnTo>
                    <a:lnTo>
                      <a:pt x="206" y="1041"/>
                    </a:lnTo>
                    <a:lnTo>
                      <a:pt x="209" y="1033"/>
                    </a:lnTo>
                    <a:lnTo>
                      <a:pt x="211" y="1025"/>
                    </a:lnTo>
                    <a:lnTo>
                      <a:pt x="213" y="1018"/>
                    </a:lnTo>
                    <a:lnTo>
                      <a:pt x="203" y="1018"/>
                    </a:lnTo>
                    <a:lnTo>
                      <a:pt x="192" y="1018"/>
                    </a:lnTo>
                    <a:lnTo>
                      <a:pt x="198" y="1012"/>
                    </a:lnTo>
                    <a:lnTo>
                      <a:pt x="205" y="1003"/>
                    </a:lnTo>
                    <a:lnTo>
                      <a:pt x="207" y="998"/>
                    </a:lnTo>
                    <a:lnTo>
                      <a:pt x="210" y="993"/>
                    </a:lnTo>
                    <a:lnTo>
                      <a:pt x="211" y="987"/>
                    </a:lnTo>
                    <a:lnTo>
                      <a:pt x="213" y="980"/>
                    </a:lnTo>
                    <a:lnTo>
                      <a:pt x="211" y="970"/>
                    </a:lnTo>
                    <a:lnTo>
                      <a:pt x="208" y="961"/>
                    </a:lnTo>
                    <a:lnTo>
                      <a:pt x="205" y="951"/>
                    </a:lnTo>
                    <a:lnTo>
                      <a:pt x="199" y="943"/>
                    </a:lnTo>
                    <a:lnTo>
                      <a:pt x="187" y="927"/>
                    </a:lnTo>
                    <a:lnTo>
                      <a:pt x="172" y="910"/>
                    </a:lnTo>
                    <a:lnTo>
                      <a:pt x="165" y="902"/>
                    </a:lnTo>
                    <a:lnTo>
                      <a:pt x="158" y="892"/>
                    </a:lnTo>
                    <a:lnTo>
                      <a:pt x="151" y="883"/>
                    </a:lnTo>
                    <a:lnTo>
                      <a:pt x="144" y="874"/>
                    </a:lnTo>
                    <a:lnTo>
                      <a:pt x="140" y="863"/>
                    </a:lnTo>
                    <a:lnTo>
                      <a:pt x="136" y="852"/>
                    </a:lnTo>
                    <a:lnTo>
                      <a:pt x="134" y="839"/>
                    </a:lnTo>
                    <a:lnTo>
                      <a:pt x="132" y="826"/>
                    </a:lnTo>
                    <a:lnTo>
                      <a:pt x="132" y="794"/>
                    </a:lnTo>
                    <a:lnTo>
                      <a:pt x="132" y="766"/>
                    </a:lnTo>
                    <a:lnTo>
                      <a:pt x="132" y="736"/>
                    </a:lnTo>
                    <a:lnTo>
                      <a:pt x="132" y="697"/>
                    </a:lnTo>
                    <a:lnTo>
                      <a:pt x="134" y="686"/>
                    </a:lnTo>
                    <a:lnTo>
                      <a:pt x="135" y="675"/>
                    </a:lnTo>
                    <a:lnTo>
                      <a:pt x="138" y="665"/>
                    </a:lnTo>
                    <a:lnTo>
                      <a:pt x="141" y="655"/>
                    </a:lnTo>
                    <a:lnTo>
                      <a:pt x="151" y="637"/>
                    </a:lnTo>
                    <a:lnTo>
                      <a:pt x="162" y="619"/>
                    </a:lnTo>
                    <a:lnTo>
                      <a:pt x="173" y="602"/>
                    </a:lnTo>
                    <a:lnTo>
                      <a:pt x="183" y="584"/>
                    </a:lnTo>
                    <a:lnTo>
                      <a:pt x="186" y="575"/>
                    </a:lnTo>
                    <a:lnTo>
                      <a:pt x="189" y="564"/>
                    </a:lnTo>
                    <a:lnTo>
                      <a:pt x="192" y="554"/>
                    </a:lnTo>
                    <a:lnTo>
                      <a:pt x="192" y="543"/>
                    </a:lnTo>
                    <a:lnTo>
                      <a:pt x="192" y="535"/>
                    </a:lnTo>
                    <a:lnTo>
                      <a:pt x="191" y="528"/>
                    </a:lnTo>
                    <a:lnTo>
                      <a:pt x="189" y="522"/>
                    </a:lnTo>
                    <a:lnTo>
                      <a:pt x="187" y="516"/>
                    </a:lnTo>
                    <a:lnTo>
                      <a:pt x="182" y="504"/>
                    </a:lnTo>
                    <a:lnTo>
                      <a:pt x="175" y="493"/>
                    </a:lnTo>
                    <a:lnTo>
                      <a:pt x="170" y="483"/>
                    </a:lnTo>
                    <a:lnTo>
                      <a:pt x="164" y="472"/>
                    </a:lnTo>
                    <a:lnTo>
                      <a:pt x="162" y="466"/>
                    </a:lnTo>
                    <a:lnTo>
                      <a:pt x="160" y="459"/>
                    </a:lnTo>
                    <a:lnTo>
                      <a:pt x="160" y="451"/>
                    </a:lnTo>
                    <a:lnTo>
                      <a:pt x="159" y="444"/>
                    </a:lnTo>
                    <a:lnTo>
                      <a:pt x="160" y="436"/>
                    </a:lnTo>
                    <a:lnTo>
                      <a:pt x="162" y="429"/>
                    </a:lnTo>
                    <a:lnTo>
                      <a:pt x="165" y="423"/>
                    </a:lnTo>
                    <a:lnTo>
                      <a:pt x="171" y="417"/>
                    </a:lnTo>
                    <a:lnTo>
                      <a:pt x="182" y="406"/>
                    </a:lnTo>
                    <a:lnTo>
                      <a:pt x="195" y="394"/>
                    </a:lnTo>
                    <a:lnTo>
                      <a:pt x="203" y="388"/>
                    </a:lnTo>
                    <a:lnTo>
                      <a:pt x="209" y="381"/>
                    </a:lnTo>
                    <a:lnTo>
                      <a:pt x="215" y="374"/>
                    </a:lnTo>
                    <a:lnTo>
                      <a:pt x="220" y="365"/>
                    </a:lnTo>
                    <a:lnTo>
                      <a:pt x="226" y="356"/>
                    </a:lnTo>
                    <a:lnTo>
                      <a:pt x="229" y="346"/>
                    </a:lnTo>
                    <a:lnTo>
                      <a:pt x="231" y="334"/>
                    </a:lnTo>
                    <a:lnTo>
                      <a:pt x="232" y="321"/>
                    </a:lnTo>
                    <a:lnTo>
                      <a:pt x="227" y="320"/>
                    </a:lnTo>
                    <a:lnTo>
                      <a:pt x="221" y="319"/>
                    </a:lnTo>
                    <a:lnTo>
                      <a:pt x="216" y="318"/>
                    </a:lnTo>
                    <a:lnTo>
                      <a:pt x="210" y="315"/>
                    </a:lnTo>
                    <a:lnTo>
                      <a:pt x="200" y="308"/>
                    </a:lnTo>
                    <a:lnTo>
                      <a:pt x="192" y="300"/>
                    </a:lnTo>
                    <a:lnTo>
                      <a:pt x="183" y="289"/>
                    </a:lnTo>
                    <a:lnTo>
                      <a:pt x="174" y="276"/>
                    </a:lnTo>
                    <a:lnTo>
                      <a:pt x="166" y="264"/>
                    </a:lnTo>
                    <a:lnTo>
                      <a:pt x="160" y="250"/>
                    </a:lnTo>
                    <a:lnTo>
                      <a:pt x="153" y="237"/>
                    </a:lnTo>
                    <a:lnTo>
                      <a:pt x="148" y="222"/>
                    </a:lnTo>
                    <a:lnTo>
                      <a:pt x="143" y="209"/>
                    </a:lnTo>
                    <a:lnTo>
                      <a:pt x="140" y="196"/>
                    </a:lnTo>
                    <a:lnTo>
                      <a:pt x="135" y="174"/>
                    </a:lnTo>
                    <a:lnTo>
                      <a:pt x="132" y="160"/>
                    </a:lnTo>
                    <a:lnTo>
                      <a:pt x="132" y="148"/>
                    </a:lnTo>
                    <a:lnTo>
                      <a:pt x="131" y="137"/>
                    </a:lnTo>
                    <a:lnTo>
                      <a:pt x="129" y="125"/>
                    </a:lnTo>
                    <a:lnTo>
                      <a:pt x="128" y="114"/>
                    </a:lnTo>
                    <a:lnTo>
                      <a:pt x="125" y="103"/>
                    </a:lnTo>
                    <a:lnTo>
                      <a:pt x="121" y="93"/>
                    </a:lnTo>
                    <a:lnTo>
                      <a:pt x="118" y="84"/>
                    </a:lnTo>
                    <a:lnTo>
                      <a:pt x="114" y="74"/>
                    </a:lnTo>
                    <a:lnTo>
                      <a:pt x="103" y="55"/>
                    </a:lnTo>
                    <a:lnTo>
                      <a:pt x="91" y="37"/>
                    </a:lnTo>
                    <a:lnTo>
                      <a:pt x="75" y="19"/>
                    </a:lnTo>
                    <a:lnTo>
                      <a:pt x="59" y="0"/>
                    </a:lnTo>
                    <a:lnTo>
                      <a:pt x="54" y="14"/>
                    </a:lnTo>
                    <a:lnTo>
                      <a:pt x="49" y="25"/>
                    </a:lnTo>
                    <a:lnTo>
                      <a:pt x="41" y="37"/>
                    </a:lnTo>
                    <a:lnTo>
                      <a:pt x="32" y="50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2" y="81"/>
                    </a:lnTo>
                    <a:lnTo>
                      <a:pt x="4" y="98"/>
                    </a:lnTo>
                    <a:lnTo>
                      <a:pt x="7" y="114"/>
                    </a:lnTo>
                    <a:lnTo>
                      <a:pt x="14" y="145"/>
                    </a:lnTo>
                    <a:lnTo>
                      <a:pt x="23" y="173"/>
                    </a:lnTo>
                    <a:lnTo>
                      <a:pt x="31" y="200"/>
                    </a:lnTo>
                    <a:lnTo>
                      <a:pt x="39" y="227"/>
                    </a:lnTo>
                    <a:lnTo>
                      <a:pt x="41" y="241"/>
                    </a:lnTo>
                    <a:lnTo>
                      <a:pt x="45" y="255"/>
                    </a:lnTo>
                    <a:lnTo>
                      <a:pt x="46" y="269"/>
                    </a:lnTo>
                    <a:lnTo>
                      <a:pt x="46" y="283"/>
                    </a:lnTo>
                    <a:lnTo>
                      <a:pt x="46" y="295"/>
                    </a:lnTo>
                    <a:lnTo>
                      <a:pt x="42" y="304"/>
                    </a:lnTo>
                    <a:lnTo>
                      <a:pt x="40" y="313"/>
                    </a:lnTo>
                    <a:lnTo>
                      <a:pt x="36" y="320"/>
                    </a:lnTo>
                    <a:lnTo>
                      <a:pt x="32" y="327"/>
                    </a:lnTo>
                    <a:lnTo>
                      <a:pt x="29" y="335"/>
                    </a:lnTo>
                    <a:lnTo>
                      <a:pt x="27" y="342"/>
                    </a:lnTo>
                    <a:lnTo>
                      <a:pt x="26" y="352"/>
                    </a:lnTo>
                    <a:lnTo>
                      <a:pt x="27" y="374"/>
                    </a:lnTo>
                    <a:lnTo>
                      <a:pt x="30" y="395"/>
                    </a:lnTo>
                    <a:lnTo>
                      <a:pt x="35" y="416"/>
                    </a:lnTo>
                    <a:lnTo>
                      <a:pt x="39" y="435"/>
                    </a:lnTo>
                    <a:lnTo>
                      <a:pt x="45" y="457"/>
                    </a:lnTo>
                    <a:lnTo>
                      <a:pt x="49" y="477"/>
                    </a:lnTo>
                    <a:lnTo>
                      <a:pt x="51" y="500"/>
                    </a:lnTo>
                    <a:lnTo>
                      <a:pt x="52" y="524"/>
                    </a:lnTo>
                    <a:lnTo>
                      <a:pt x="51" y="553"/>
                    </a:lnTo>
                    <a:lnTo>
                      <a:pt x="49" y="572"/>
                    </a:lnTo>
                    <a:lnTo>
                      <a:pt x="47" y="588"/>
                    </a:lnTo>
                    <a:lnTo>
                      <a:pt x="46" y="610"/>
                    </a:lnTo>
                    <a:lnTo>
                      <a:pt x="46" y="622"/>
                    </a:lnTo>
                    <a:lnTo>
                      <a:pt x="46" y="635"/>
                    </a:lnTo>
                    <a:lnTo>
                      <a:pt x="46" y="649"/>
                    </a:lnTo>
                    <a:lnTo>
                      <a:pt x="46" y="660"/>
                    </a:lnTo>
                    <a:lnTo>
                      <a:pt x="41" y="666"/>
                    </a:lnTo>
                    <a:lnTo>
                      <a:pt x="37" y="675"/>
                    </a:lnTo>
                    <a:lnTo>
                      <a:pt x="34" y="687"/>
                    </a:lnTo>
                    <a:lnTo>
                      <a:pt x="32" y="697"/>
                    </a:lnTo>
                    <a:lnTo>
                      <a:pt x="34" y="709"/>
                    </a:lnTo>
                    <a:lnTo>
                      <a:pt x="36" y="718"/>
                    </a:lnTo>
                    <a:lnTo>
                      <a:pt x="39" y="725"/>
                    </a:lnTo>
                    <a:lnTo>
                      <a:pt x="42" y="731"/>
                    </a:lnTo>
                    <a:lnTo>
                      <a:pt x="47" y="737"/>
                    </a:lnTo>
                    <a:lnTo>
                      <a:pt x="50" y="741"/>
                    </a:lnTo>
                    <a:lnTo>
                      <a:pt x="52" y="746"/>
                    </a:lnTo>
                    <a:lnTo>
                      <a:pt x="52" y="752"/>
                    </a:lnTo>
                    <a:lnTo>
                      <a:pt x="52" y="767"/>
                    </a:lnTo>
                    <a:lnTo>
                      <a:pt x="52" y="782"/>
                    </a:lnTo>
                    <a:lnTo>
                      <a:pt x="52" y="797"/>
                    </a:lnTo>
                    <a:lnTo>
                      <a:pt x="52" y="808"/>
                    </a:lnTo>
                    <a:lnTo>
                      <a:pt x="53" y="822"/>
                    </a:lnTo>
                    <a:lnTo>
                      <a:pt x="58" y="847"/>
                    </a:lnTo>
                    <a:lnTo>
                      <a:pt x="60" y="860"/>
                    </a:lnTo>
                    <a:lnTo>
                      <a:pt x="64" y="871"/>
                    </a:lnTo>
                    <a:lnTo>
                      <a:pt x="65" y="875"/>
                    </a:lnTo>
                    <a:lnTo>
                      <a:pt x="68" y="879"/>
                    </a:lnTo>
                    <a:lnTo>
                      <a:pt x="70" y="881"/>
                    </a:lnTo>
                    <a:lnTo>
                      <a:pt x="73" y="881"/>
                    </a:lnTo>
                    <a:lnTo>
                      <a:pt x="76" y="894"/>
                    </a:lnTo>
                    <a:lnTo>
                      <a:pt x="80" y="905"/>
                    </a:lnTo>
                    <a:lnTo>
                      <a:pt x="81" y="913"/>
                    </a:lnTo>
                    <a:lnTo>
                      <a:pt x="81" y="921"/>
                    </a:lnTo>
                    <a:lnTo>
                      <a:pt x="80" y="936"/>
                    </a:lnTo>
                    <a:lnTo>
                      <a:pt x="80" y="956"/>
                    </a:lnTo>
                    <a:lnTo>
                      <a:pt x="79" y="980"/>
                    </a:lnTo>
                    <a:lnTo>
                      <a:pt x="78" y="1002"/>
                    </a:lnTo>
                    <a:lnTo>
                      <a:pt x="75" y="1024"/>
                    </a:lnTo>
                    <a:lnTo>
                      <a:pt x="73" y="1045"/>
                    </a:lnTo>
                    <a:lnTo>
                      <a:pt x="70" y="1065"/>
                    </a:lnTo>
                    <a:lnTo>
                      <a:pt x="68" y="1087"/>
                    </a:lnTo>
                    <a:lnTo>
                      <a:pt x="67" y="1110"/>
                    </a:lnTo>
                    <a:lnTo>
                      <a:pt x="67" y="1135"/>
                    </a:lnTo>
                    <a:lnTo>
                      <a:pt x="65" y="1141"/>
                    </a:lnTo>
                    <a:lnTo>
                      <a:pt x="64" y="1147"/>
                    </a:lnTo>
                    <a:lnTo>
                      <a:pt x="63" y="1152"/>
                    </a:lnTo>
                    <a:lnTo>
                      <a:pt x="62" y="1156"/>
                    </a:lnTo>
                    <a:lnTo>
                      <a:pt x="58" y="1163"/>
                    </a:lnTo>
                    <a:lnTo>
                      <a:pt x="52" y="1169"/>
                    </a:lnTo>
                    <a:lnTo>
                      <a:pt x="48" y="1175"/>
                    </a:lnTo>
                    <a:lnTo>
                      <a:pt x="43" y="1181"/>
                    </a:lnTo>
                    <a:lnTo>
                      <a:pt x="41" y="1185"/>
                    </a:lnTo>
                    <a:lnTo>
                      <a:pt x="40" y="1188"/>
                    </a:lnTo>
                    <a:lnTo>
                      <a:pt x="40" y="1192"/>
                    </a:lnTo>
                    <a:lnTo>
                      <a:pt x="39" y="1196"/>
                    </a:lnTo>
                    <a:lnTo>
                      <a:pt x="40" y="1205"/>
                    </a:lnTo>
                    <a:lnTo>
                      <a:pt x="42" y="1215"/>
                    </a:lnTo>
                    <a:lnTo>
                      <a:pt x="46" y="1225"/>
                    </a:lnTo>
                    <a:lnTo>
                      <a:pt x="50" y="1237"/>
                    </a:lnTo>
                    <a:lnTo>
                      <a:pt x="60" y="1258"/>
                    </a:lnTo>
                    <a:lnTo>
                      <a:pt x="73" y="1279"/>
                    </a:lnTo>
                    <a:lnTo>
                      <a:pt x="85" y="1299"/>
                    </a:lnTo>
                    <a:lnTo>
                      <a:pt x="95" y="1317"/>
                    </a:lnTo>
                    <a:lnTo>
                      <a:pt x="99" y="1325"/>
                    </a:lnTo>
                    <a:lnTo>
                      <a:pt x="103" y="1332"/>
                    </a:lnTo>
                    <a:lnTo>
                      <a:pt x="105" y="1338"/>
                    </a:lnTo>
                    <a:lnTo>
                      <a:pt x="106" y="1343"/>
                    </a:lnTo>
                    <a:lnTo>
                      <a:pt x="105" y="1351"/>
                    </a:lnTo>
                    <a:lnTo>
                      <a:pt x="104" y="1358"/>
                    </a:lnTo>
                    <a:lnTo>
                      <a:pt x="102" y="1365"/>
                    </a:lnTo>
                    <a:lnTo>
                      <a:pt x="99" y="1372"/>
                    </a:lnTo>
                    <a:lnTo>
                      <a:pt x="97" y="1380"/>
                    </a:lnTo>
                    <a:lnTo>
                      <a:pt x="95" y="1388"/>
                    </a:lnTo>
                    <a:lnTo>
                      <a:pt x="93" y="1396"/>
                    </a:lnTo>
                    <a:lnTo>
                      <a:pt x="93" y="1406"/>
                    </a:lnTo>
                    <a:lnTo>
                      <a:pt x="93" y="1415"/>
                    </a:lnTo>
                    <a:lnTo>
                      <a:pt x="94" y="1424"/>
                    </a:lnTo>
                    <a:lnTo>
                      <a:pt x="96" y="1432"/>
                    </a:lnTo>
                    <a:lnTo>
                      <a:pt x="98" y="1438"/>
                    </a:lnTo>
                    <a:lnTo>
                      <a:pt x="102" y="1444"/>
                    </a:lnTo>
                    <a:lnTo>
                      <a:pt x="106" y="1449"/>
                    </a:lnTo>
                    <a:lnTo>
                      <a:pt x="112" y="1453"/>
                    </a:lnTo>
                    <a:lnTo>
                      <a:pt x="117" y="1457"/>
                    </a:lnTo>
                    <a:lnTo>
                      <a:pt x="123" y="1460"/>
                    </a:lnTo>
                    <a:lnTo>
                      <a:pt x="130" y="1463"/>
                    </a:lnTo>
                    <a:lnTo>
                      <a:pt x="138" y="1464"/>
                    </a:lnTo>
                    <a:lnTo>
                      <a:pt x="146" y="1465"/>
                    </a:lnTo>
                    <a:lnTo>
                      <a:pt x="164" y="1467"/>
                    </a:lnTo>
                    <a:lnTo>
                      <a:pt x="185" y="1467"/>
                    </a:lnTo>
                    <a:lnTo>
                      <a:pt x="191" y="1501"/>
                    </a:lnTo>
                    <a:lnTo>
                      <a:pt x="195" y="1531"/>
                    </a:lnTo>
                    <a:lnTo>
                      <a:pt x="197" y="1559"/>
                    </a:lnTo>
                    <a:lnTo>
                      <a:pt x="199" y="1590"/>
                    </a:lnTo>
                    <a:lnTo>
                      <a:pt x="202" y="1602"/>
                    </a:lnTo>
                    <a:lnTo>
                      <a:pt x="209" y="1621"/>
                    </a:lnTo>
                    <a:lnTo>
                      <a:pt x="216" y="1643"/>
                    </a:lnTo>
                    <a:lnTo>
                      <a:pt x="219" y="1658"/>
                    </a:lnTo>
                    <a:lnTo>
                      <a:pt x="219" y="1668"/>
                    </a:lnTo>
                    <a:lnTo>
                      <a:pt x="220" y="1679"/>
                    </a:lnTo>
                    <a:lnTo>
                      <a:pt x="221" y="1687"/>
                    </a:lnTo>
                    <a:lnTo>
                      <a:pt x="222" y="1694"/>
                    </a:lnTo>
                    <a:lnTo>
                      <a:pt x="227" y="1709"/>
                    </a:lnTo>
                    <a:lnTo>
                      <a:pt x="232" y="1725"/>
                    </a:lnTo>
                    <a:lnTo>
                      <a:pt x="202" y="1732"/>
                    </a:lnTo>
                    <a:lnTo>
                      <a:pt x="173" y="1739"/>
                    </a:lnTo>
                    <a:lnTo>
                      <a:pt x="166" y="1740"/>
                    </a:lnTo>
                    <a:lnTo>
                      <a:pt x="161" y="1743"/>
                    </a:lnTo>
                    <a:lnTo>
                      <a:pt x="155" y="1745"/>
                    </a:lnTo>
                    <a:lnTo>
                      <a:pt x="151" y="1749"/>
                    </a:lnTo>
                    <a:lnTo>
                      <a:pt x="147" y="1752"/>
                    </a:lnTo>
                    <a:lnTo>
                      <a:pt x="143" y="1757"/>
                    </a:lnTo>
                    <a:lnTo>
                      <a:pt x="141" y="1762"/>
                    </a:lnTo>
                    <a:lnTo>
                      <a:pt x="139" y="1769"/>
                    </a:lnTo>
                    <a:lnTo>
                      <a:pt x="164" y="1770"/>
                    </a:lnTo>
                    <a:lnTo>
                      <a:pt x="193" y="1773"/>
                    </a:lnTo>
                    <a:lnTo>
                      <a:pt x="207" y="1776"/>
                    </a:lnTo>
                    <a:lnTo>
                      <a:pt x="218" y="1779"/>
                    </a:lnTo>
                    <a:lnTo>
                      <a:pt x="224" y="1781"/>
                    </a:lnTo>
                    <a:lnTo>
                      <a:pt x="227" y="1783"/>
                    </a:lnTo>
                    <a:lnTo>
                      <a:pt x="230" y="1785"/>
                    </a:lnTo>
                    <a:lnTo>
                      <a:pt x="232" y="1787"/>
                    </a:lnTo>
                    <a:lnTo>
                      <a:pt x="243" y="1807"/>
                    </a:lnTo>
                    <a:lnTo>
                      <a:pt x="250" y="1820"/>
                    </a:lnTo>
                    <a:lnTo>
                      <a:pt x="253" y="1825"/>
                    </a:lnTo>
                    <a:lnTo>
                      <a:pt x="258" y="1828"/>
                    </a:lnTo>
                    <a:lnTo>
                      <a:pt x="263" y="1830"/>
                    </a:lnTo>
                    <a:lnTo>
                      <a:pt x="272" y="1830"/>
                    </a:lnTo>
                    <a:lnTo>
                      <a:pt x="272" y="1843"/>
                    </a:lnTo>
                    <a:lnTo>
                      <a:pt x="273" y="1857"/>
                    </a:lnTo>
                    <a:lnTo>
                      <a:pt x="275" y="1871"/>
                    </a:lnTo>
                    <a:lnTo>
                      <a:pt x="278" y="1884"/>
                    </a:lnTo>
                    <a:lnTo>
                      <a:pt x="282" y="1898"/>
                    </a:lnTo>
                    <a:lnTo>
                      <a:pt x="285" y="1912"/>
                    </a:lnTo>
                    <a:lnTo>
                      <a:pt x="289" y="1925"/>
                    </a:lnTo>
                    <a:lnTo>
                      <a:pt x="295" y="1937"/>
                    </a:lnTo>
                    <a:lnTo>
                      <a:pt x="301" y="1949"/>
                    </a:lnTo>
                    <a:lnTo>
                      <a:pt x="308" y="1961"/>
                    </a:lnTo>
                    <a:lnTo>
                      <a:pt x="315" y="1971"/>
                    </a:lnTo>
                    <a:lnTo>
                      <a:pt x="322" y="1980"/>
                    </a:lnTo>
                    <a:lnTo>
                      <a:pt x="330" y="1988"/>
                    </a:lnTo>
                    <a:lnTo>
                      <a:pt x="339" y="1995"/>
                    </a:lnTo>
                    <a:lnTo>
                      <a:pt x="349" y="2000"/>
                    </a:lnTo>
                    <a:lnTo>
                      <a:pt x="359" y="2003"/>
                    </a:lnTo>
                    <a:lnTo>
                      <a:pt x="359" y="2013"/>
                    </a:lnTo>
                    <a:lnTo>
                      <a:pt x="361" y="2021"/>
                    </a:lnTo>
                    <a:lnTo>
                      <a:pt x="364" y="2028"/>
                    </a:lnTo>
                    <a:lnTo>
                      <a:pt x="368" y="2034"/>
                    </a:lnTo>
                    <a:lnTo>
                      <a:pt x="374" y="2038"/>
                    </a:lnTo>
                    <a:lnTo>
                      <a:pt x="379" y="2042"/>
                    </a:lnTo>
                    <a:lnTo>
                      <a:pt x="386" y="2046"/>
                    </a:lnTo>
                    <a:lnTo>
                      <a:pt x="393" y="2048"/>
                    </a:lnTo>
                    <a:lnTo>
                      <a:pt x="407" y="2053"/>
                    </a:lnTo>
                    <a:lnTo>
                      <a:pt x="420" y="2057"/>
                    </a:lnTo>
                    <a:lnTo>
                      <a:pt x="426" y="2060"/>
                    </a:lnTo>
                    <a:lnTo>
                      <a:pt x="431" y="2063"/>
                    </a:lnTo>
                    <a:lnTo>
                      <a:pt x="435" y="2066"/>
                    </a:lnTo>
                    <a:lnTo>
                      <a:pt x="438" y="2071"/>
                    </a:lnTo>
                    <a:lnTo>
                      <a:pt x="424" y="2074"/>
                    </a:lnTo>
                    <a:lnTo>
                      <a:pt x="411" y="2077"/>
                    </a:lnTo>
                    <a:lnTo>
                      <a:pt x="415" y="2084"/>
                    </a:lnTo>
                    <a:lnTo>
                      <a:pt x="421" y="2091"/>
                    </a:lnTo>
                    <a:lnTo>
                      <a:pt x="429" y="2097"/>
                    </a:lnTo>
                    <a:lnTo>
                      <a:pt x="440" y="2102"/>
                    </a:lnTo>
                    <a:lnTo>
                      <a:pt x="452" y="2107"/>
                    </a:lnTo>
                    <a:lnTo>
                      <a:pt x="465" y="2110"/>
                    </a:lnTo>
                    <a:lnTo>
                      <a:pt x="480" y="2113"/>
                    </a:lnTo>
                    <a:lnTo>
                      <a:pt x="498" y="2114"/>
                    </a:lnTo>
                    <a:lnTo>
                      <a:pt x="502" y="2117"/>
                    </a:lnTo>
                    <a:lnTo>
                      <a:pt x="507" y="2121"/>
                    </a:lnTo>
                    <a:lnTo>
                      <a:pt x="510" y="2127"/>
                    </a:lnTo>
                    <a:lnTo>
                      <a:pt x="513" y="2131"/>
                    </a:lnTo>
                    <a:lnTo>
                      <a:pt x="519" y="2140"/>
                    </a:lnTo>
                    <a:lnTo>
                      <a:pt x="522" y="2149"/>
                    </a:lnTo>
                    <a:lnTo>
                      <a:pt x="527" y="2155"/>
                    </a:lnTo>
                    <a:lnTo>
                      <a:pt x="530" y="2158"/>
                    </a:lnTo>
                    <a:lnTo>
                      <a:pt x="531" y="2158"/>
                    </a:lnTo>
                    <a:lnTo>
                      <a:pt x="533" y="2157"/>
                    </a:lnTo>
                    <a:lnTo>
                      <a:pt x="535" y="2155"/>
                    </a:lnTo>
                    <a:lnTo>
                      <a:pt x="538" y="2151"/>
                    </a:lnTo>
                    <a:lnTo>
                      <a:pt x="543" y="2137"/>
                    </a:lnTo>
                    <a:lnTo>
                      <a:pt x="547" y="2125"/>
                    </a:lnTo>
                    <a:lnTo>
                      <a:pt x="554" y="2116"/>
                    </a:lnTo>
                    <a:lnTo>
                      <a:pt x="561" y="2109"/>
                    </a:lnTo>
                    <a:lnTo>
                      <a:pt x="567" y="2104"/>
                    </a:lnTo>
                    <a:lnTo>
                      <a:pt x="576" y="2101"/>
                    </a:lnTo>
                    <a:lnTo>
                      <a:pt x="586" y="2098"/>
                    </a:lnTo>
                    <a:lnTo>
                      <a:pt x="598" y="2095"/>
                    </a:lnTo>
                    <a:lnTo>
                      <a:pt x="592" y="2087"/>
                    </a:lnTo>
                    <a:lnTo>
                      <a:pt x="589" y="2081"/>
                    </a:lnTo>
                    <a:lnTo>
                      <a:pt x="588" y="2078"/>
                    </a:lnTo>
                    <a:lnTo>
                      <a:pt x="588" y="2076"/>
                    </a:lnTo>
                    <a:lnTo>
                      <a:pt x="589" y="2074"/>
                    </a:lnTo>
                    <a:lnTo>
                      <a:pt x="591" y="2071"/>
                    </a:lnTo>
                    <a:lnTo>
                      <a:pt x="491" y="2046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5" name="Freeform 9"/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7750403" y="3734558"/>
                <a:ext cx="1214085" cy="1358681"/>
              </a:xfrm>
              <a:custGeom>
                <a:avLst/>
                <a:gdLst>
                  <a:gd name="T0" fmla="*/ 2147483647 w 2226"/>
                  <a:gd name="T1" fmla="*/ 2147483647 h 2292"/>
                  <a:gd name="T2" fmla="*/ 2147483647 w 2226"/>
                  <a:gd name="T3" fmla="*/ 2147483647 h 2292"/>
                  <a:gd name="T4" fmla="*/ 2147483647 w 2226"/>
                  <a:gd name="T5" fmla="*/ 2147483647 h 2292"/>
                  <a:gd name="T6" fmla="*/ 2147483647 w 2226"/>
                  <a:gd name="T7" fmla="*/ 2147483647 h 2292"/>
                  <a:gd name="T8" fmla="*/ 2147483647 w 2226"/>
                  <a:gd name="T9" fmla="*/ 2147483647 h 2292"/>
                  <a:gd name="T10" fmla="*/ 2147483647 w 2226"/>
                  <a:gd name="T11" fmla="*/ 2147483647 h 2292"/>
                  <a:gd name="T12" fmla="*/ 2147483647 w 2226"/>
                  <a:gd name="T13" fmla="*/ 2147483647 h 2292"/>
                  <a:gd name="T14" fmla="*/ 2147483647 w 2226"/>
                  <a:gd name="T15" fmla="*/ 2147483647 h 2292"/>
                  <a:gd name="T16" fmla="*/ 2147483647 w 2226"/>
                  <a:gd name="T17" fmla="*/ 2147483647 h 2292"/>
                  <a:gd name="T18" fmla="*/ 2147483647 w 2226"/>
                  <a:gd name="T19" fmla="*/ 2147483647 h 2292"/>
                  <a:gd name="T20" fmla="*/ 2147483647 w 2226"/>
                  <a:gd name="T21" fmla="*/ 2147483647 h 2292"/>
                  <a:gd name="T22" fmla="*/ 2147483647 w 2226"/>
                  <a:gd name="T23" fmla="*/ 2147483647 h 2292"/>
                  <a:gd name="T24" fmla="*/ 2147483647 w 2226"/>
                  <a:gd name="T25" fmla="*/ 2147483647 h 2292"/>
                  <a:gd name="T26" fmla="*/ 2147483647 w 2226"/>
                  <a:gd name="T27" fmla="*/ 2147483647 h 2292"/>
                  <a:gd name="T28" fmla="*/ 2147483647 w 2226"/>
                  <a:gd name="T29" fmla="*/ 2147483647 h 2292"/>
                  <a:gd name="T30" fmla="*/ 2147483647 w 2226"/>
                  <a:gd name="T31" fmla="*/ 2147483647 h 2292"/>
                  <a:gd name="T32" fmla="*/ 2147483647 w 2226"/>
                  <a:gd name="T33" fmla="*/ 2147483647 h 2292"/>
                  <a:gd name="T34" fmla="*/ 2147483647 w 2226"/>
                  <a:gd name="T35" fmla="*/ 2147483647 h 2292"/>
                  <a:gd name="T36" fmla="*/ 2147483647 w 2226"/>
                  <a:gd name="T37" fmla="*/ 2147483647 h 2292"/>
                  <a:gd name="T38" fmla="*/ 2147483647 w 2226"/>
                  <a:gd name="T39" fmla="*/ 2147483647 h 2292"/>
                  <a:gd name="T40" fmla="*/ 2147483647 w 2226"/>
                  <a:gd name="T41" fmla="*/ 2147483647 h 2292"/>
                  <a:gd name="T42" fmla="*/ 2147483647 w 2226"/>
                  <a:gd name="T43" fmla="*/ 2147483647 h 2292"/>
                  <a:gd name="T44" fmla="*/ 2147483647 w 2226"/>
                  <a:gd name="T45" fmla="*/ 2147483647 h 2292"/>
                  <a:gd name="T46" fmla="*/ 2147483647 w 2226"/>
                  <a:gd name="T47" fmla="*/ 2147483647 h 2292"/>
                  <a:gd name="T48" fmla="*/ 2147483647 w 2226"/>
                  <a:gd name="T49" fmla="*/ 2147483647 h 2292"/>
                  <a:gd name="T50" fmla="*/ 2147483647 w 2226"/>
                  <a:gd name="T51" fmla="*/ 2147483647 h 2292"/>
                  <a:gd name="T52" fmla="*/ 2147483647 w 2226"/>
                  <a:gd name="T53" fmla="*/ 2147483647 h 2292"/>
                  <a:gd name="T54" fmla="*/ 2147483647 w 2226"/>
                  <a:gd name="T55" fmla="*/ 2147483647 h 2292"/>
                  <a:gd name="T56" fmla="*/ 2147483647 w 2226"/>
                  <a:gd name="T57" fmla="*/ 2147483647 h 2292"/>
                  <a:gd name="T58" fmla="*/ 2147483647 w 2226"/>
                  <a:gd name="T59" fmla="*/ 2147483647 h 2292"/>
                  <a:gd name="T60" fmla="*/ 2147483647 w 2226"/>
                  <a:gd name="T61" fmla="*/ 2147483647 h 2292"/>
                  <a:gd name="T62" fmla="*/ 2147483647 w 2226"/>
                  <a:gd name="T63" fmla="*/ 2147483647 h 2292"/>
                  <a:gd name="T64" fmla="*/ 2147483647 w 2226"/>
                  <a:gd name="T65" fmla="*/ 2147483647 h 2292"/>
                  <a:gd name="T66" fmla="*/ 2147483647 w 2226"/>
                  <a:gd name="T67" fmla="*/ 2147483647 h 2292"/>
                  <a:gd name="T68" fmla="*/ 2147483647 w 2226"/>
                  <a:gd name="T69" fmla="*/ 2147483647 h 2292"/>
                  <a:gd name="T70" fmla="*/ 2147483647 w 2226"/>
                  <a:gd name="T71" fmla="*/ 2147483647 h 2292"/>
                  <a:gd name="T72" fmla="*/ 2147483647 w 2226"/>
                  <a:gd name="T73" fmla="*/ 2147483647 h 2292"/>
                  <a:gd name="T74" fmla="*/ 2147483647 w 2226"/>
                  <a:gd name="T75" fmla="*/ 2147483647 h 2292"/>
                  <a:gd name="T76" fmla="*/ 2147483647 w 2226"/>
                  <a:gd name="T77" fmla="*/ 2147483647 h 2292"/>
                  <a:gd name="T78" fmla="*/ 2147483647 w 2226"/>
                  <a:gd name="T79" fmla="*/ 2147483647 h 2292"/>
                  <a:gd name="T80" fmla="*/ 2147483647 w 2226"/>
                  <a:gd name="T81" fmla="*/ 2147483647 h 2292"/>
                  <a:gd name="T82" fmla="*/ 2147483647 w 2226"/>
                  <a:gd name="T83" fmla="*/ 2147483647 h 2292"/>
                  <a:gd name="T84" fmla="*/ 2147483647 w 2226"/>
                  <a:gd name="T85" fmla="*/ 2147483647 h 2292"/>
                  <a:gd name="T86" fmla="*/ 2147483647 w 2226"/>
                  <a:gd name="T87" fmla="*/ 2147483647 h 2292"/>
                  <a:gd name="T88" fmla="*/ 2147483647 w 2226"/>
                  <a:gd name="T89" fmla="*/ 2147483647 h 2292"/>
                  <a:gd name="T90" fmla="*/ 2147483647 w 2226"/>
                  <a:gd name="T91" fmla="*/ 2147483647 h 2292"/>
                  <a:gd name="T92" fmla="*/ 2147483647 w 2226"/>
                  <a:gd name="T93" fmla="*/ 2147483647 h 2292"/>
                  <a:gd name="T94" fmla="*/ 2147483647 w 2226"/>
                  <a:gd name="T95" fmla="*/ 2147483647 h 2292"/>
                  <a:gd name="T96" fmla="*/ 2147483647 w 2226"/>
                  <a:gd name="T97" fmla="*/ 0 h 2292"/>
                  <a:gd name="T98" fmla="*/ 2147483647 w 2226"/>
                  <a:gd name="T99" fmla="*/ 2147483647 h 2292"/>
                  <a:gd name="T100" fmla="*/ 2147483647 w 2226"/>
                  <a:gd name="T101" fmla="*/ 2147483647 h 2292"/>
                  <a:gd name="T102" fmla="*/ 2147483647 w 2226"/>
                  <a:gd name="T103" fmla="*/ 2147483647 h 2292"/>
                  <a:gd name="T104" fmla="*/ 2147483647 w 2226"/>
                  <a:gd name="T105" fmla="*/ 2147483647 h 2292"/>
                  <a:gd name="T106" fmla="*/ 2147483647 w 2226"/>
                  <a:gd name="T107" fmla="*/ 2147483647 h 2292"/>
                  <a:gd name="T108" fmla="*/ 2147483647 w 2226"/>
                  <a:gd name="T109" fmla="*/ 2147483647 h 2292"/>
                  <a:gd name="T110" fmla="*/ 2147483647 w 2226"/>
                  <a:gd name="T111" fmla="*/ 2147483647 h 2292"/>
                  <a:gd name="T112" fmla="*/ 2147483647 w 2226"/>
                  <a:gd name="T113" fmla="*/ 2147483647 h 2292"/>
                  <a:gd name="T114" fmla="*/ 2147483647 w 2226"/>
                  <a:gd name="T115" fmla="*/ 2147483647 h 2292"/>
                  <a:gd name="T116" fmla="*/ 2147483647 w 2226"/>
                  <a:gd name="T117" fmla="*/ 2147483647 h 2292"/>
                  <a:gd name="T118" fmla="*/ 2147483647 w 2226"/>
                  <a:gd name="T119" fmla="*/ 2147483647 h 2292"/>
                  <a:gd name="T120" fmla="*/ 2147483647 w 2226"/>
                  <a:gd name="T121" fmla="*/ 2147483647 h 2292"/>
                  <a:gd name="T122" fmla="*/ 2147483647 w 2226"/>
                  <a:gd name="T123" fmla="*/ 2147483647 h 2292"/>
                  <a:gd name="T124" fmla="*/ 2147483647 w 2226"/>
                  <a:gd name="T125" fmla="*/ 2147483647 h 229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2226" h="2292">
                    <a:moveTo>
                      <a:pt x="233" y="973"/>
                    </a:moveTo>
                    <a:lnTo>
                      <a:pt x="313" y="967"/>
                    </a:lnTo>
                    <a:lnTo>
                      <a:pt x="323" y="963"/>
                    </a:lnTo>
                    <a:lnTo>
                      <a:pt x="332" y="959"/>
                    </a:lnTo>
                    <a:lnTo>
                      <a:pt x="342" y="953"/>
                    </a:lnTo>
                    <a:lnTo>
                      <a:pt x="351" y="948"/>
                    </a:lnTo>
                    <a:lnTo>
                      <a:pt x="368" y="936"/>
                    </a:lnTo>
                    <a:lnTo>
                      <a:pt x="386" y="923"/>
                    </a:lnTo>
                    <a:lnTo>
                      <a:pt x="403" y="911"/>
                    </a:lnTo>
                    <a:lnTo>
                      <a:pt x="421" y="902"/>
                    </a:lnTo>
                    <a:lnTo>
                      <a:pt x="431" y="898"/>
                    </a:lnTo>
                    <a:lnTo>
                      <a:pt x="440" y="896"/>
                    </a:lnTo>
                    <a:lnTo>
                      <a:pt x="449" y="894"/>
                    </a:lnTo>
                    <a:lnTo>
                      <a:pt x="459" y="893"/>
                    </a:lnTo>
                    <a:lnTo>
                      <a:pt x="467" y="894"/>
                    </a:lnTo>
                    <a:lnTo>
                      <a:pt x="474" y="896"/>
                    </a:lnTo>
                    <a:lnTo>
                      <a:pt x="480" y="899"/>
                    </a:lnTo>
                    <a:lnTo>
                      <a:pt x="485" y="902"/>
                    </a:lnTo>
                    <a:lnTo>
                      <a:pt x="489" y="907"/>
                    </a:lnTo>
                    <a:lnTo>
                      <a:pt x="492" y="912"/>
                    </a:lnTo>
                    <a:lnTo>
                      <a:pt x="496" y="918"/>
                    </a:lnTo>
                    <a:lnTo>
                      <a:pt x="498" y="925"/>
                    </a:lnTo>
                    <a:lnTo>
                      <a:pt x="502" y="956"/>
                    </a:lnTo>
                    <a:lnTo>
                      <a:pt x="505" y="985"/>
                    </a:lnTo>
                    <a:lnTo>
                      <a:pt x="509" y="994"/>
                    </a:lnTo>
                    <a:lnTo>
                      <a:pt x="512" y="1001"/>
                    </a:lnTo>
                    <a:lnTo>
                      <a:pt x="515" y="1008"/>
                    </a:lnTo>
                    <a:lnTo>
                      <a:pt x="520" y="1015"/>
                    </a:lnTo>
                    <a:lnTo>
                      <a:pt x="525" y="1022"/>
                    </a:lnTo>
                    <a:lnTo>
                      <a:pt x="531" y="1028"/>
                    </a:lnTo>
                    <a:lnTo>
                      <a:pt x="536" y="1033"/>
                    </a:lnTo>
                    <a:lnTo>
                      <a:pt x="543" y="1038"/>
                    </a:lnTo>
                    <a:lnTo>
                      <a:pt x="549" y="1044"/>
                    </a:lnTo>
                    <a:lnTo>
                      <a:pt x="557" y="1048"/>
                    </a:lnTo>
                    <a:lnTo>
                      <a:pt x="564" y="1051"/>
                    </a:lnTo>
                    <a:lnTo>
                      <a:pt x="572" y="1054"/>
                    </a:lnTo>
                    <a:lnTo>
                      <a:pt x="580" y="1057"/>
                    </a:lnTo>
                    <a:lnTo>
                      <a:pt x="588" y="1058"/>
                    </a:lnTo>
                    <a:lnTo>
                      <a:pt x="597" y="1059"/>
                    </a:lnTo>
                    <a:lnTo>
                      <a:pt x="605" y="1060"/>
                    </a:lnTo>
                    <a:lnTo>
                      <a:pt x="614" y="1060"/>
                    </a:lnTo>
                    <a:lnTo>
                      <a:pt x="625" y="1063"/>
                    </a:lnTo>
                    <a:lnTo>
                      <a:pt x="638" y="1066"/>
                    </a:lnTo>
                    <a:lnTo>
                      <a:pt x="653" y="1071"/>
                    </a:lnTo>
                    <a:lnTo>
                      <a:pt x="668" y="1076"/>
                    </a:lnTo>
                    <a:lnTo>
                      <a:pt x="683" y="1083"/>
                    </a:lnTo>
                    <a:lnTo>
                      <a:pt x="700" y="1090"/>
                    </a:lnTo>
                    <a:lnTo>
                      <a:pt x="716" y="1098"/>
                    </a:lnTo>
                    <a:lnTo>
                      <a:pt x="733" y="1108"/>
                    </a:lnTo>
                    <a:lnTo>
                      <a:pt x="747" y="1116"/>
                    </a:lnTo>
                    <a:lnTo>
                      <a:pt x="761" y="1126"/>
                    </a:lnTo>
                    <a:lnTo>
                      <a:pt x="773" y="1135"/>
                    </a:lnTo>
                    <a:lnTo>
                      <a:pt x="783" y="1144"/>
                    </a:lnTo>
                    <a:lnTo>
                      <a:pt x="791" y="1153"/>
                    </a:lnTo>
                    <a:lnTo>
                      <a:pt x="794" y="1158"/>
                    </a:lnTo>
                    <a:lnTo>
                      <a:pt x="796" y="1162"/>
                    </a:lnTo>
                    <a:lnTo>
                      <a:pt x="798" y="1167"/>
                    </a:lnTo>
                    <a:lnTo>
                      <a:pt x="798" y="1171"/>
                    </a:lnTo>
                    <a:lnTo>
                      <a:pt x="798" y="1190"/>
                    </a:lnTo>
                    <a:lnTo>
                      <a:pt x="798" y="1204"/>
                    </a:lnTo>
                    <a:lnTo>
                      <a:pt x="798" y="1214"/>
                    </a:lnTo>
                    <a:lnTo>
                      <a:pt x="798" y="1220"/>
                    </a:lnTo>
                    <a:lnTo>
                      <a:pt x="799" y="1229"/>
                    </a:lnTo>
                    <a:lnTo>
                      <a:pt x="803" y="1242"/>
                    </a:lnTo>
                    <a:lnTo>
                      <a:pt x="806" y="1249"/>
                    </a:lnTo>
                    <a:lnTo>
                      <a:pt x="810" y="1256"/>
                    </a:lnTo>
                    <a:lnTo>
                      <a:pt x="814" y="1263"/>
                    </a:lnTo>
                    <a:lnTo>
                      <a:pt x="818" y="1271"/>
                    </a:lnTo>
                    <a:lnTo>
                      <a:pt x="824" y="1277"/>
                    </a:lnTo>
                    <a:lnTo>
                      <a:pt x="830" y="1283"/>
                    </a:lnTo>
                    <a:lnTo>
                      <a:pt x="838" y="1288"/>
                    </a:lnTo>
                    <a:lnTo>
                      <a:pt x="846" y="1292"/>
                    </a:lnTo>
                    <a:lnTo>
                      <a:pt x="854" y="1295"/>
                    </a:lnTo>
                    <a:lnTo>
                      <a:pt x="863" y="1296"/>
                    </a:lnTo>
                    <a:lnTo>
                      <a:pt x="873" y="1296"/>
                    </a:lnTo>
                    <a:lnTo>
                      <a:pt x="884" y="1294"/>
                    </a:lnTo>
                    <a:lnTo>
                      <a:pt x="917" y="1294"/>
                    </a:lnTo>
                    <a:lnTo>
                      <a:pt x="918" y="1306"/>
                    </a:lnTo>
                    <a:lnTo>
                      <a:pt x="919" y="1317"/>
                    </a:lnTo>
                    <a:lnTo>
                      <a:pt x="923" y="1328"/>
                    </a:lnTo>
                    <a:lnTo>
                      <a:pt x="926" y="1336"/>
                    </a:lnTo>
                    <a:lnTo>
                      <a:pt x="929" y="1343"/>
                    </a:lnTo>
                    <a:lnTo>
                      <a:pt x="935" y="1349"/>
                    </a:lnTo>
                    <a:lnTo>
                      <a:pt x="939" y="1355"/>
                    </a:lnTo>
                    <a:lnTo>
                      <a:pt x="944" y="1360"/>
                    </a:lnTo>
                    <a:lnTo>
                      <a:pt x="953" y="1371"/>
                    </a:lnTo>
                    <a:lnTo>
                      <a:pt x="962" y="1385"/>
                    </a:lnTo>
                    <a:lnTo>
                      <a:pt x="965" y="1392"/>
                    </a:lnTo>
                    <a:lnTo>
                      <a:pt x="969" y="1401"/>
                    </a:lnTo>
                    <a:lnTo>
                      <a:pt x="970" y="1411"/>
                    </a:lnTo>
                    <a:lnTo>
                      <a:pt x="971" y="1423"/>
                    </a:lnTo>
                    <a:lnTo>
                      <a:pt x="970" y="1434"/>
                    </a:lnTo>
                    <a:lnTo>
                      <a:pt x="968" y="1443"/>
                    </a:lnTo>
                    <a:lnTo>
                      <a:pt x="964" y="1452"/>
                    </a:lnTo>
                    <a:lnTo>
                      <a:pt x="961" y="1459"/>
                    </a:lnTo>
                    <a:lnTo>
                      <a:pt x="957" y="1466"/>
                    </a:lnTo>
                    <a:lnTo>
                      <a:pt x="953" y="1474"/>
                    </a:lnTo>
                    <a:lnTo>
                      <a:pt x="951" y="1482"/>
                    </a:lnTo>
                    <a:lnTo>
                      <a:pt x="951" y="1491"/>
                    </a:lnTo>
                    <a:lnTo>
                      <a:pt x="951" y="1498"/>
                    </a:lnTo>
                    <a:lnTo>
                      <a:pt x="952" y="1503"/>
                    </a:lnTo>
                    <a:lnTo>
                      <a:pt x="953" y="1509"/>
                    </a:lnTo>
                    <a:lnTo>
                      <a:pt x="955" y="1513"/>
                    </a:lnTo>
                    <a:lnTo>
                      <a:pt x="959" y="1521"/>
                    </a:lnTo>
                    <a:lnTo>
                      <a:pt x="964" y="1527"/>
                    </a:lnTo>
                    <a:lnTo>
                      <a:pt x="969" y="1533"/>
                    </a:lnTo>
                    <a:lnTo>
                      <a:pt x="973" y="1537"/>
                    </a:lnTo>
                    <a:lnTo>
                      <a:pt x="976" y="1541"/>
                    </a:lnTo>
                    <a:lnTo>
                      <a:pt x="978" y="1547"/>
                    </a:lnTo>
                    <a:lnTo>
                      <a:pt x="979" y="1555"/>
                    </a:lnTo>
                    <a:lnTo>
                      <a:pt x="979" y="1564"/>
                    </a:lnTo>
                    <a:lnTo>
                      <a:pt x="979" y="1572"/>
                    </a:lnTo>
                    <a:lnTo>
                      <a:pt x="978" y="1580"/>
                    </a:lnTo>
                    <a:lnTo>
                      <a:pt x="976" y="1588"/>
                    </a:lnTo>
                    <a:lnTo>
                      <a:pt x="975" y="1596"/>
                    </a:lnTo>
                    <a:lnTo>
                      <a:pt x="975" y="1605"/>
                    </a:lnTo>
                    <a:lnTo>
                      <a:pt x="978" y="1614"/>
                    </a:lnTo>
                    <a:lnTo>
                      <a:pt x="981" y="1621"/>
                    </a:lnTo>
                    <a:lnTo>
                      <a:pt x="985" y="1627"/>
                    </a:lnTo>
                    <a:lnTo>
                      <a:pt x="992" y="1632"/>
                    </a:lnTo>
                    <a:lnTo>
                      <a:pt x="998" y="1637"/>
                    </a:lnTo>
                    <a:lnTo>
                      <a:pt x="1016" y="1645"/>
                    </a:lnTo>
                    <a:lnTo>
                      <a:pt x="1036" y="1653"/>
                    </a:lnTo>
                    <a:lnTo>
                      <a:pt x="1057" y="1661"/>
                    </a:lnTo>
                    <a:lnTo>
                      <a:pt x="1077" y="1669"/>
                    </a:lnTo>
                    <a:lnTo>
                      <a:pt x="1086" y="1673"/>
                    </a:lnTo>
                    <a:lnTo>
                      <a:pt x="1095" y="1678"/>
                    </a:lnTo>
                    <a:lnTo>
                      <a:pt x="1104" y="1682"/>
                    </a:lnTo>
                    <a:lnTo>
                      <a:pt x="1110" y="1688"/>
                    </a:lnTo>
                    <a:lnTo>
                      <a:pt x="1116" y="1692"/>
                    </a:lnTo>
                    <a:lnTo>
                      <a:pt x="1124" y="1695"/>
                    </a:lnTo>
                    <a:lnTo>
                      <a:pt x="1131" y="1698"/>
                    </a:lnTo>
                    <a:lnTo>
                      <a:pt x="1140" y="1700"/>
                    </a:lnTo>
                    <a:lnTo>
                      <a:pt x="1149" y="1702"/>
                    </a:lnTo>
                    <a:lnTo>
                      <a:pt x="1157" y="1705"/>
                    </a:lnTo>
                    <a:lnTo>
                      <a:pt x="1164" y="1708"/>
                    </a:lnTo>
                    <a:lnTo>
                      <a:pt x="1170" y="1713"/>
                    </a:lnTo>
                    <a:lnTo>
                      <a:pt x="1176" y="1721"/>
                    </a:lnTo>
                    <a:lnTo>
                      <a:pt x="1181" y="1729"/>
                    </a:lnTo>
                    <a:lnTo>
                      <a:pt x="1185" y="1739"/>
                    </a:lnTo>
                    <a:lnTo>
                      <a:pt x="1187" y="1749"/>
                    </a:lnTo>
                    <a:lnTo>
                      <a:pt x="1189" y="1772"/>
                    </a:lnTo>
                    <a:lnTo>
                      <a:pt x="1192" y="1794"/>
                    </a:lnTo>
                    <a:lnTo>
                      <a:pt x="1193" y="1805"/>
                    </a:lnTo>
                    <a:lnTo>
                      <a:pt x="1195" y="1815"/>
                    </a:lnTo>
                    <a:lnTo>
                      <a:pt x="1198" y="1825"/>
                    </a:lnTo>
                    <a:lnTo>
                      <a:pt x="1204" y="1832"/>
                    </a:lnTo>
                    <a:lnTo>
                      <a:pt x="1207" y="1836"/>
                    </a:lnTo>
                    <a:lnTo>
                      <a:pt x="1210" y="1839"/>
                    </a:lnTo>
                    <a:lnTo>
                      <a:pt x="1214" y="1842"/>
                    </a:lnTo>
                    <a:lnTo>
                      <a:pt x="1219" y="1844"/>
                    </a:lnTo>
                    <a:lnTo>
                      <a:pt x="1224" y="1846"/>
                    </a:lnTo>
                    <a:lnTo>
                      <a:pt x="1229" y="1847"/>
                    </a:lnTo>
                    <a:lnTo>
                      <a:pt x="1236" y="1848"/>
                    </a:lnTo>
                    <a:lnTo>
                      <a:pt x="1243" y="1848"/>
                    </a:lnTo>
                    <a:lnTo>
                      <a:pt x="1243" y="1864"/>
                    </a:lnTo>
                    <a:lnTo>
                      <a:pt x="1243" y="1879"/>
                    </a:lnTo>
                    <a:lnTo>
                      <a:pt x="1243" y="1891"/>
                    </a:lnTo>
                    <a:lnTo>
                      <a:pt x="1243" y="1904"/>
                    </a:lnTo>
                    <a:lnTo>
                      <a:pt x="1243" y="1921"/>
                    </a:lnTo>
                    <a:lnTo>
                      <a:pt x="1243" y="1942"/>
                    </a:lnTo>
                    <a:lnTo>
                      <a:pt x="1243" y="1961"/>
                    </a:lnTo>
                    <a:lnTo>
                      <a:pt x="1243" y="1971"/>
                    </a:lnTo>
                    <a:lnTo>
                      <a:pt x="1232" y="1974"/>
                    </a:lnTo>
                    <a:lnTo>
                      <a:pt x="1221" y="1979"/>
                    </a:lnTo>
                    <a:lnTo>
                      <a:pt x="1208" y="1985"/>
                    </a:lnTo>
                    <a:lnTo>
                      <a:pt x="1196" y="1994"/>
                    </a:lnTo>
                    <a:lnTo>
                      <a:pt x="1183" y="2003"/>
                    </a:lnTo>
                    <a:lnTo>
                      <a:pt x="1170" y="2013"/>
                    </a:lnTo>
                    <a:lnTo>
                      <a:pt x="1157" y="2023"/>
                    </a:lnTo>
                    <a:lnTo>
                      <a:pt x="1143" y="2034"/>
                    </a:lnTo>
                    <a:lnTo>
                      <a:pt x="1131" y="2047"/>
                    </a:lnTo>
                    <a:lnTo>
                      <a:pt x="1120" y="2059"/>
                    </a:lnTo>
                    <a:lnTo>
                      <a:pt x="1109" y="2070"/>
                    </a:lnTo>
                    <a:lnTo>
                      <a:pt x="1101" y="2082"/>
                    </a:lnTo>
                    <a:lnTo>
                      <a:pt x="1094" y="2094"/>
                    </a:lnTo>
                    <a:lnTo>
                      <a:pt x="1088" y="2106"/>
                    </a:lnTo>
                    <a:lnTo>
                      <a:pt x="1085" y="2116"/>
                    </a:lnTo>
                    <a:lnTo>
                      <a:pt x="1084" y="2125"/>
                    </a:lnTo>
                    <a:lnTo>
                      <a:pt x="1084" y="2128"/>
                    </a:lnTo>
                    <a:lnTo>
                      <a:pt x="1086" y="2130"/>
                    </a:lnTo>
                    <a:lnTo>
                      <a:pt x="1088" y="2132"/>
                    </a:lnTo>
                    <a:lnTo>
                      <a:pt x="1092" y="2133"/>
                    </a:lnTo>
                    <a:lnTo>
                      <a:pt x="1101" y="2137"/>
                    </a:lnTo>
                    <a:lnTo>
                      <a:pt x="1110" y="2139"/>
                    </a:lnTo>
                    <a:lnTo>
                      <a:pt x="1131" y="2142"/>
                    </a:lnTo>
                    <a:lnTo>
                      <a:pt x="1143" y="2144"/>
                    </a:lnTo>
                    <a:lnTo>
                      <a:pt x="1151" y="2145"/>
                    </a:lnTo>
                    <a:lnTo>
                      <a:pt x="1158" y="2147"/>
                    </a:lnTo>
                    <a:lnTo>
                      <a:pt x="1163" y="2150"/>
                    </a:lnTo>
                    <a:lnTo>
                      <a:pt x="1169" y="2153"/>
                    </a:lnTo>
                    <a:lnTo>
                      <a:pt x="1180" y="2161"/>
                    </a:lnTo>
                    <a:lnTo>
                      <a:pt x="1189" y="2170"/>
                    </a:lnTo>
                    <a:lnTo>
                      <a:pt x="1200" y="2178"/>
                    </a:lnTo>
                    <a:lnTo>
                      <a:pt x="1210" y="2186"/>
                    </a:lnTo>
                    <a:lnTo>
                      <a:pt x="1216" y="2190"/>
                    </a:lnTo>
                    <a:lnTo>
                      <a:pt x="1222" y="2193"/>
                    </a:lnTo>
                    <a:lnTo>
                      <a:pt x="1229" y="2197"/>
                    </a:lnTo>
                    <a:lnTo>
                      <a:pt x="1237" y="2199"/>
                    </a:lnTo>
                    <a:lnTo>
                      <a:pt x="1248" y="2203"/>
                    </a:lnTo>
                    <a:lnTo>
                      <a:pt x="1258" y="2208"/>
                    </a:lnTo>
                    <a:lnTo>
                      <a:pt x="1267" y="2214"/>
                    </a:lnTo>
                    <a:lnTo>
                      <a:pt x="1277" y="2220"/>
                    </a:lnTo>
                    <a:lnTo>
                      <a:pt x="1296" y="2234"/>
                    </a:lnTo>
                    <a:lnTo>
                      <a:pt x="1312" y="2248"/>
                    </a:lnTo>
                    <a:lnTo>
                      <a:pt x="1327" y="2262"/>
                    </a:lnTo>
                    <a:lnTo>
                      <a:pt x="1340" y="2275"/>
                    </a:lnTo>
                    <a:lnTo>
                      <a:pt x="1352" y="2285"/>
                    </a:lnTo>
                    <a:lnTo>
                      <a:pt x="1363" y="2292"/>
                    </a:lnTo>
                    <a:lnTo>
                      <a:pt x="1370" y="2276"/>
                    </a:lnTo>
                    <a:lnTo>
                      <a:pt x="1377" y="2261"/>
                    </a:lnTo>
                    <a:lnTo>
                      <a:pt x="1385" y="2248"/>
                    </a:lnTo>
                    <a:lnTo>
                      <a:pt x="1394" y="2235"/>
                    </a:lnTo>
                    <a:lnTo>
                      <a:pt x="1401" y="2223"/>
                    </a:lnTo>
                    <a:lnTo>
                      <a:pt x="1410" y="2210"/>
                    </a:lnTo>
                    <a:lnTo>
                      <a:pt x="1419" y="2198"/>
                    </a:lnTo>
                    <a:lnTo>
                      <a:pt x="1429" y="2187"/>
                    </a:lnTo>
                    <a:lnTo>
                      <a:pt x="1439" y="2160"/>
                    </a:lnTo>
                    <a:lnTo>
                      <a:pt x="1449" y="2138"/>
                    </a:lnTo>
                    <a:lnTo>
                      <a:pt x="1459" y="2116"/>
                    </a:lnTo>
                    <a:lnTo>
                      <a:pt x="1468" y="2088"/>
                    </a:lnTo>
                    <a:lnTo>
                      <a:pt x="1472" y="2082"/>
                    </a:lnTo>
                    <a:lnTo>
                      <a:pt x="1476" y="2076"/>
                    </a:lnTo>
                    <a:lnTo>
                      <a:pt x="1480" y="2070"/>
                    </a:lnTo>
                    <a:lnTo>
                      <a:pt x="1485" y="2065"/>
                    </a:lnTo>
                    <a:lnTo>
                      <a:pt x="1496" y="2055"/>
                    </a:lnTo>
                    <a:lnTo>
                      <a:pt x="1507" y="2046"/>
                    </a:lnTo>
                    <a:lnTo>
                      <a:pt x="1518" y="2036"/>
                    </a:lnTo>
                    <a:lnTo>
                      <a:pt x="1527" y="2026"/>
                    </a:lnTo>
                    <a:lnTo>
                      <a:pt x="1530" y="2021"/>
                    </a:lnTo>
                    <a:lnTo>
                      <a:pt x="1533" y="2015"/>
                    </a:lnTo>
                    <a:lnTo>
                      <a:pt x="1534" y="2009"/>
                    </a:lnTo>
                    <a:lnTo>
                      <a:pt x="1535" y="2002"/>
                    </a:lnTo>
                    <a:lnTo>
                      <a:pt x="1535" y="1993"/>
                    </a:lnTo>
                    <a:lnTo>
                      <a:pt x="1534" y="1984"/>
                    </a:lnTo>
                    <a:lnTo>
                      <a:pt x="1532" y="1975"/>
                    </a:lnTo>
                    <a:lnTo>
                      <a:pt x="1530" y="1966"/>
                    </a:lnTo>
                    <a:lnTo>
                      <a:pt x="1524" y="1950"/>
                    </a:lnTo>
                    <a:lnTo>
                      <a:pt x="1519" y="1934"/>
                    </a:lnTo>
                    <a:lnTo>
                      <a:pt x="1512" y="1918"/>
                    </a:lnTo>
                    <a:lnTo>
                      <a:pt x="1507" y="1904"/>
                    </a:lnTo>
                    <a:lnTo>
                      <a:pt x="1504" y="1891"/>
                    </a:lnTo>
                    <a:lnTo>
                      <a:pt x="1502" y="1879"/>
                    </a:lnTo>
                    <a:lnTo>
                      <a:pt x="1502" y="1873"/>
                    </a:lnTo>
                    <a:lnTo>
                      <a:pt x="1504" y="1867"/>
                    </a:lnTo>
                    <a:lnTo>
                      <a:pt x="1506" y="1861"/>
                    </a:lnTo>
                    <a:lnTo>
                      <a:pt x="1508" y="1855"/>
                    </a:lnTo>
                    <a:lnTo>
                      <a:pt x="1514" y="1843"/>
                    </a:lnTo>
                    <a:lnTo>
                      <a:pt x="1523" y="1830"/>
                    </a:lnTo>
                    <a:lnTo>
                      <a:pt x="1534" y="1817"/>
                    </a:lnTo>
                    <a:lnTo>
                      <a:pt x="1547" y="1805"/>
                    </a:lnTo>
                    <a:lnTo>
                      <a:pt x="1561" y="1793"/>
                    </a:lnTo>
                    <a:lnTo>
                      <a:pt x="1576" y="1782"/>
                    </a:lnTo>
                    <a:lnTo>
                      <a:pt x="1591" y="1772"/>
                    </a:lnTo>
                    <a:lnTo>
                      <a:pt x="1608" y="1761"/>
                    </a:lnTo>
                    <a:lnTo>
                      <a:pt x="1623" y="1753"/>
                    </a:lnTo>
                    <a:lnTo>
                      <a:pt x="1640" y="1745"/>
                    </a:lnTo>
                    <a:lnTo>
                      <a:pt x="1655" y="1739"/>
                    </a:lnTo>
                    <a:lnTo>
                      <a:pt x="1669" y="1735"/>
                    </a:lnTo>
                    <a:lnTo>
                      <a:pt x="1682" y="1732"/>
                    </a:lnTo>
                    <a:lnTo>
                      <a:pt x="1695" y="1731"/>
                    </a:lnTo>
                    <a:lnTo>
                      <a:pt x="1699" y="1731"/>
                    </a:lnTo>
                    <a:lnTo>
                      <a:pt x="1702" y="1729"/>
                    </a:lnTo>
                    <a:lnTo>
                      <a:pt x="1706" y="1727"/>
                    </a:lnTo>
                    <a:lnTo>
                      <a:pt x="1709" y="1725"/>
                    </a:lnTo>
                    <a:lnTo>
                      <a:pt x="1717" y="1718"/>
                    </a:lnTo>
                    <a:lnTo>
                      <a:pt x="1724" y="1709"/>
                    </a:lnTo>
                    <a:lnTo>
                      <a:pt x="1733" y="1701"/>
                    </a:lnTo>
                    <a:lnTo>
                      <a:pt x="1743" y="1694"/>
                    </a:lnTo>
                    <a:lnTo>
                      <a:pt x="1748" y="1692"/>
                    </a:lnTo>
                    <a:lnTo>
                      <a:pt x="1754" y="1690"/>
                    </a:lnTo>
                    <a:lnTo>
                      <a:pt x="1760" y="1688"/>
                    </a:lnTo>
                    <a:lnTo>
                      <a:pt x="1768" y="1688"/>
                    </a:lnTo>
                    <a:lnTo>
                      <a:pt x="1779" y="1684"/>
                    </a:lnTo>
                    <a:lnTo>
                      <a:pt x="1789" y="1682"/>
                    </a:lnTo>
                    <a:lnTo>
                      <a:pt x="1798" y="1681"/>
                    </a:lnTo>
                    <a:lnTo>
                      <a:pt x="1807" y="1680"/>
                    </a:lnTo>
                    <a:lnTo>
                      <a:pt x="1820" y="1681"/>
                    </a:lnTo>
                    <a:lnTo>
                      <a:pt x="1834" y="1682"/>
                    </a:lnTo>
                    <a:lnTo>
                      <a:pt x="1854" y="1681"/>
                    </a:lnTo>
                    <a:lnTo>
                      <a:pt x="1868" y="1679"/>
                    </a:lnTo>
                    <a:lnTo>
                      <a:pt x="1874" y="1678"/>
                    </a:lnTo>
                    <a:lnTo>
                      <a:pt x="1878" y="1676"/>
                    </a:lnTo>
                    <a:lnTo>
                      <a:pt x="1882" y="1673"/>
                    </a:lnTo>
                    <a:lnTo>
                      <a:pt x="1885" y="1670"/>
                    </a:lnTo>
                    <a:lnTo>
                      <a:pt x="1890" y="1663"/>
                    </a:lnTo>
                    <a:lnTo>
                      <a:pt x="1893" y="1653"/>
                    </a:lnTo>
                    <a:lnTo>
                      <a:pt x="1897" y="1641"/>
                    </a:lnTo>
                    <a:lnTo>
                      <a:pt x="1901" y="1626"/>
                    </a:lnTo>
                    <a:lnTo>
                      <a:pt x="1927" y="1571"/>
                    </a:lnTo>
                    <a:lnTo>
                      <a:pt x="1939" y="1553"/>
                    </a:lnTo>
                    <a:lnTo>
                      <a:pt x="1949" y="1535"/>
                    </a:lnTo>
                    <a:lnTo>
                      <a:pt x="1959" y="1518"/>
                    </a:lnTo>
                    <a:lnTo>
                      <a:pt x="1967" y="1500"/>
                    </a:lnTo>
                    <a:lnTo>
                      <a:pt x="1972" y="1480"/>
                    </a:lnTo>
                    <a:lnTo>
                      <a:pt x="1977" y="1460"/>
                    </a:lnTo>
                    <a:lnTo>
                      <a:pt x="1980" y="1437"/>
                    </a:lnTo>
                    <a:lnTo>
                      <a:pt x="1980" y="1411"/>
                    </a:lnTo>
                    <a:lnTo>
                      <a:pt x="1981" y="1405"/>
                    </a:lnTo>
                    <a:lnTo>
                      <a:pt x="1982" y="1400"/>
                    </a:lnTo>
                    <a:lnTo>
                      <a:pt x="1983" y="1395"/>
                    </a:lnTo>
                    <a:lnTo>
                      <a:pt x="1986" y="1391"/>
                    </a:lnTo>
                    <a:lnTo>
                      <a:pt x="1991" y="1382"/>
                    </a:lnTo>
                    <a:lnTo>
                      <a:pt x="1997" y="1372"/>
                    </a:lnTo>
                    <a:lnTo>
                      <a:pt x="2003" y="1364"/>
                    </a:lnTo>
                    <a:lnTo>
                      <a:pt x="2009" y="1354"/>
                    </a:lnTo>
                    <a:lnTo>
                      <a:pt x="2011" y="1349"/>
                    </a:lnTo>
                    <a:lnTo>
                      <a:pt x="2012" y="1343"/>
                    </a:lnTo>
                    <a:lnTo>
                      <a:pt x="2013" y="1337"/>
                    </a:lnTo>
                    <a:lnTo>
                      <a:pt x="2014" y="1331"/>
                    </a:lnTo>
                    <a:lnTo>
                      <a:pt x="2014" y="1307"/>
                    </a:lnTo>
                    <a:lnTo>
                      <a:pt x="2014" y="1288"/>
                    </a:lnTo>
                    <a:lnTo>
                      <a:pt x="2014" y="1271"/>
                    </a:lnTo>
                    <a:lnTo>
                      <a:pt x="2014" y="1250"/>
                    </a:lnTo>
                    <a:lnTo>
                      <a:pt x="2011" y="1223"/>
                    </a:lnTo>
                    <a:lnTo>
                      <a:pt x="2004" y="1185"/>
                    </a:lnTo>
                    <a:lnTo>
                      <a:pt x="2000" y="1165"/>
                    </a:lnTo>
                    <a:lnTo>
                      <a:pt x="1997" y="1145"/>
                    </a:lnTo>
                    <a:lnTo>
                      <a:pt x="1994" y="1129"/>
                    </a:lnTo>
                    <a:lnTo>
                      <a:pt x="1993" y="1115"/>
                    </a:lnTo>
                    <a:lnTo>
                      <a:pt x="1994" y="1108"/>
                    </a:lnTo>
                    <a:lnTo>
                      <a:pt x="1997" y="1102"/>
                    </a:lnTo>
                    <a:lnTo>
                      <a:pt x="1999" y="1096"/>
                    </a:lnTo>
                    <a:lnTo>
                      <a:pt x="2002" y="1090"/>
                    </a:lnTo>
                    <a:lnTo>
                      <a:pt x="2006" y="1085"/>
                    </a:lnTo>
                    <a:lnTo>
                      <a:pt x="2012" y="1081"/>
                    </a:lnTo>
                    <a:lnTo>
                      <a:pt x="2017" y="1077"/>
                    </a:lnTo>
                    <a:lnTo>
                      <a:pt x="2023" y="1073"/>
                    </a:lnTo>
                    <a:lnTo>
                      <a:pt x="2035" y="1067"/>
                    </a:lnTo>
                    <a:lnTo>
                      <a:pt x="2047" y="1063"/>
                    </a:lnTo>
                    <a:lnTo>
                      <a:pt x="2058" y="1060"/>
                    </a:lnTo>
                    <a:lnTo>
                      <a:pt x="2067" y="1060"/>
                    </a:lnTo>
                    <a:lnTo>
                      <a:pt x="2067" y="1046"/>
                    </a:lnTo>
                    <a:lnTo>
                      <a:pt x="2069" y="1032"/>
                    </a:lnTo>
                    <a:lnTo>
                      <a:pt x="2071" y="1020"/>
                    </a:lnTo>
                    <a:lnTo>
                      <a:pt x="2073" y="1009"/>
                    </a:lnTo>
                    <a:lnTo>
                      <a:pt x="2078" y="999"/>
                    </a:lnTo>
                    <a:lnTo>
                      <a:pt x="2081" y="990"/>
                    </a:lnTo>
                    <a:lnTo>
                      <a:pt x="2087" y="980"/>
                    </a:lnTo>
                    <a:lnTo>
                      <a:pt x="2092" y="972"/>
                    </a:lnTo>
                    <a:lnTo>
                      <a:pt x="2104" y="956"/>
                    </a:lnTo>
                    <a:lnTo>
                      <a:pt x="2117" y="943"/>
                    </a:lnTo>
                    <a:lnTo>
                      <a:pt x="2132" y="929"/>
                    </a:lnTo>
                    <a:lnTo>
                      <a:pt x="2147" y="917"/>
                    </a:lnTo>
                    <a:lnTo>
                      <a:pt x="2161" y="904"/>
                    </a:lnTo>
                    <a:lnTo>
                      <a:pt x="2175" y="891"/>
                    </a:lnTo>
                    <a:lnTo>
                      <a:pt x="2183" y="885"/>
                    </a:lnTo>
                    <a:lnTo>
                      <a:pt x="2190" y="877"/>
                    </a:lnTo>
                    <a:lnTo>
                      <a:pt x="2195" y="869"/>
                    </a:lnTo>
                    <a:lnTo>
                      <a:pt x="2202" y="861"/>
                    </a:lnTo>
                    <a:lnTo>
                      <a:pt x="2206" y="852"/>
                    </a:lnTo>
                    <a:lnTo>
                      <a:pt x="2212" y="843"/>
                    </a:lnTo>
                    <a:lnTo>
                      <a:pt x="2216" y="833"/>
                    </a:lnTo>
                    <a:lnTo>
                      <a:pt x="2219" y="822"/>
                    </a:lnTo>
                    <a:lnTo>
                      <a:pt x="2223" y="810"/>
                    </a:lnTo>
                    <a:lnTo>
                      <a:pt x="2225" y="798"/>
                    </a:lnTo>
                    <a:lnTo>
                      <a:pt x="2226" y="784"/>
                    </a:lnTo>
                    <a:lnTo>
                      <a:pt x="2226" y="770"/>
                    </a:lnTo>
                    <a:lnTo>
                      <a:pt x="2225" y="752"/>
                    </a:lnTo>
                    <a:lnTo>
                      <a:pt x="2222" y="732"/>
                    </a:lnTo>
                    <a:lnTo>
                      <a:pt x="2217" y="711"/>
                    </a:lnTo>
                    <a:lnTo>
                      <a:pt x="2212" y="689"/>
                    </a:lnTo>
                    <a:lnTo>
                      <a:pt x="2205" y="668"/>
                    </a:lnTo>
                    <a:lnTo>
                      <a:pt x="2199" y="649"/>
                    </a:lnTo>
                    <a:lnTo>
                      <a:pt x="2192" y="633"/>
                    </a:lnTo>
                    <a:lnTo>
                      <a:pt x="2186" y="622"/>
                    </a:lnTo>
                    <a:lnTo>
                      <a:pt x="2182" y="614"/>
                    </a:lnTo>
                    <a:lnTo>
                      <a:pt x="2178" y="608"/>
                    </a:lnTo>
                    <a:lnTo>
                      <a:pt x="2173" y="604"/>
                    </a:lnTo>
                    <a:lnTo>
                      <a:pt x="2168" y="601"/>
                    </a:lnTo>
                    <a:lnTo>
                      <a:pt x="2163" y="600"/>
                    </a:lnTo>
                    <a:lnTo>
                      <a:pt x="2157" y="599"/>
                    </a:lnTo>
                    <a:lnTo>
                      <a:pt x="2151" y="600"/>
                    </a:lnTo>
                    <a:lnTo>
                      <a:pt x="2146" y="601"/>
                    </a:lnTo>
                    <a:lnTo>
                      <a:pt x="2134" y="603"/>
                    </a:lnTo>
                    <a:lnTo>
                      <a:pt x="2122" y="605"/>
                    </a:lnTo>
                    <a:lnTo>
                      <a:pt x="2116" y="605"/>
                    </a:lnTo>
                    <a:lnTo>
                      <a:pt x="2111" y="604"/>
                    </a:lnTo>
                    <a:lnTo>
                      <a:pt x="2105" y="602"/>
                    </a:lnTo>
                    <a:lnTo>
                      <a:pt x="2100" y="597"/>
                    </a:lnTo>
                    <a:lnTo>
                      <a:pt x="2089" y="590"/>
                    </a:lnTo>
                    <a:lnTo>
                      <a:pt x="2079" y="582"/>
                    </a:lnTo>
                    <a:lnTo>
                      <a:pt x="2069" y="573"/>
                    </a:lnTo>
                    <a:lnTo>
                      <a:pt x="2059" y="563"/>
                    </a:lnTo>
                    <a:lnTo>
                      <a:pt x="2039" y="540"/>
                    </a:lnTo>
                    <a:lnTo>
                      <a:pt x="2021" y="518"/>
                    </a:lnTo>
                    <a:lnTo>
                      <a:pt x="2010" y="507"/>
                    </a:lnTo>
                    <a:lnTo>
                      <a:pt x="2000" y="497"/>
                    </a:lnTo>
                    <a:lnTo>
                      <a:pt x="1989" y="488"/>
                    </a:lnTo>
                    <a:lnTo>
                      <a:pt x="1977" y="478"/>
                    </a:lnTo>
                    <a:lnTo>
                      <a:pt x="1965" y="471"/>
                    </a:lnTo>
                    <a:lnTo>
                      <a:pt x="1950" y="466"/>
                    </a:lnTo>
                    <a:lnTo>
                      <a:pt x="1944" y="464"/>
                    </a:lnTo>
                    <a:lnTo>
                      <a:pt x="1936" y="463"/>
                    </a:lnTo>
                    <a:lnTo>
                      <a:pt x="1928" y="462"/>
                    </a:lnTo>
                    <a:lnTo>
                      <a:pt x="1921" y="462"/>
                    </a:lnTo>
                    <a:lnTo>
                      <a:pt x="1898" y="462"/>
                    </a:lnTo>
                    <a:lnTo>
                      <a:pt x="1878" y="462"/>
                    </a:lnTo>
                    <a:lnTo>
                      <a:pt x="1860" y="462"/>
                    </a:lnTo>
                    <a:lnTo>
                      <a:pt x="1841" y="462"/>
                    </a:lnTo>
                    <a:lnTo>
                      <a:pt x="1826" y="461"/>
                    </a:lnTo>
                    <a:lnTo>
                      <a:pt x="1814" y="460"/>
                    </a:lnTo>
                    <a:lnTo>
                      <a:pt x="1802" y="458"/>
                    </a:lnTo>
                    <a:lnTo>
                      <a:pt x="1791" y="456"/>
                    </a:lnTo>
                    <a:lnTo>
                      <a:pt x="1780" y="453"/>
                    </a:lnTo>
                    <a:lnTo>
                      <a:pt x="1768" y="451"/>
                    </a:lnTo>
                    <a:lnTo>
                      <a:pt x="1755" y="450"/>
                    </a:lnTo>
                    <a:lnTo>
                      <a:pt x="1742" y="450"/>
                    </a:lnTo>
                    <a:lnTo>
                      <a:pt x="1725" y="450"/>
                    </a:lnTo>
                    <a:lnTo>
                      <a:pt x="1713" y="452"/>
                    </a:lnTo>
                    <a:lnTo>
                      <a:pt x="1703" y="454"/>
                    </a:lnTo>
                    <a:lnTo>
                      <a:pt x="1696" y="458"/>
                    </a:lnTo>
                    <a:lnTo>
                      <a:pt x="1689" y="462"/>
                    </a:lnTo>
                    <a:lnTo>
                      <a:pt x="1685" y="467"/>
                    </a:lnTo>
                    <a:lnTo>
                      <a:pt x="1679" y="473"/>
                    </a:lnTo>
                    <a:lnTo>
                      <a:pt x="1675" y="480"/>
                    </a:lnTo>
                    <a:lnTo>
                      <a:pt x="1672" y="471"/>
                    </a:lnTo>
                    <a:lnTo>
                      <a:pt x="1669" y="462"/>
                    </a:lnTo>
                    <a:lnTo>
                      <a:pt x="1669" y="454"/>
                    </a:lnTo>
                    <a:lnTo>
                      <a:pt x="1670" y="447"/>
                    </a:lnTo>
                    <a:lnTo>
                      <a:pt x="1673" y="436"/>
                    </a:lnTo>
                    <a:lnTo>
                      <a:pt x="1675" y="430"/>
                    </a:lnTo>
                    <a:lnTo>
                      <a:pt x="1675" y="426"/>
                    </a:lnTo>
                    <a:lnTo>
                      <a:pt x="1673" y="421"/>
                    </a:lnTo>
                    <a:lnTo>
                      <a:pt x="1670" y="417"/>
                    </a:lnTo>
                    <a:lnTo>
                      <a:pt x="1668" y="413"/>
                    </a:lnTo>
                    <a:lnTo>
                      <a:pt x="1664" y="406"/>
                    </a:lnTo>
                    <a:lnTo>
                      <a:pt x="1662" y="400"/>
                    </a:lnTo>
                    <a:lnTo>
                      <a:pt x="1655" y="400"/>
                    </a:lnTo>
                    <a:lnTo>
                      <a:pt x="1648" y="398"/>
                    </a:lnTo>
                    <a:lnTo>
                      <a:pt x="1643" y="396"/>
                    </a:lnTo>
                    <a:lnTo>
                      <a:pt x="1636" y="394"/>
                    </a:lnTo>
                    <a:lnTo>
                      <a:pt x="1624" y="387"/>
                    </a:lnTo>
                    <a:lnTo>
                      <a:pt x="1612" y="379"/>
                    </a:lnTo>
                    <a:lnTo>
                      <a:pt x="1596" y="363"/>
                    </a:lnTo>
                    <a:lnTo>
                      <a:pt x="1588" y="357"/>
                    </a:lnTo>
                    <a:lnTo>
                      <a:pt x="1581" y="359"/>
                    </a:lnTo>
                    <a:lnTo>
                      <a:pt x="1574" y="360"/>
                    </a:lnTo>
                    <a:lnTo>
                      <a:pt x="1567" y="361"/>
                    </a:lnTo>
                    <a:lnTo>
                      <a:pt x="1560" y="362"/>
                    </a:lnTo>
                    <a:lnTo>
                      <a:pt x="1546" y="361"/>
                    </a:lnTo>
                    <a:lnTo>
                      <a:pt x="1534" y="358"/>
                    </a:lnTo>
                    <a:lnTo>
                      <a:pt x="1523" y="354"/>
                    </a:lnTo>
                    <a:lnTo>
                      <a:pt x="1512" y="348"/>
                    </a:lnTo>
                    <a:lnTo>
                      <a:pt x="1504" y="341"/>
                    </a:lnTo>
                    <a:lnTo>
                      <a:pt x="1496" y="333"/>
                    </a:lnTo>
                    <a:lnTo>
                      <a:pt x="1468" y="333"/>
                    </a:lnTo>
                    <a:lnTo>
                      <a:pt x="1468" y="337"/>
                    </a:lnTo>
                    <a:lnTo>
                      <a:pt x="1466" y="342"/>
                    </a:lnTo>
                    <a:lnTo>
                      <a:pt x="1463" y="349"/>
                    </a:lnTo>
                    <a:lnTo>
                      <a:pt x="1459" y="357"/>
                    </a:lnTo>
                    <a:lnTo>
                      <a:pt x="1446" y="373"/>
                    </a:lnTo>
                    <a:lnTo>
                      <a:pt x="1433" y="390"/>
                    </a:lnTo>
                    <a:lnTo>
                      <a:pt x="1426" y="398"/>
                    </a:lnTo>
                    <a:lnTo>
                      <a:pt x="1419" y="404"/>
                    </a:lnTo>
                    <a:lnTo>
                      <a:pt x="1411" y="409"/>
                    </a:lnTo>
                    <a:lnTo>
                      <a:pt x="1405" y="413"/>
                    </a:lnTo>
                    <a:lnTo>
                      <a:pt x="1401" y="414"/>
                    </a:lnTo>
                    <a:lnTo>
                      <a:pt x="1398" y="415"/>
                    </a:lnTo>
                    <a:lnTo>
                      <a:pt x="1395" y="415"/>
                    </a:lnTo>
                    <a:lnTo>
                      <a:pt x="1392" y="414"/>
                    </a:lnTo>
                    <a:lnTo>
                      <a:pt x="1389" y="413"/>
                    </a:lnTo>
                    <a:lnTo>
                      <a:pt x="1387" y="412"/>
                    </a:lnTo>
                    <a:lnTo>
                      <a:pt x="1385" y="409"/>
                    </a:lnTo>
                    <a:lnTo>
                      <a:pt x="1383" y="406"/>
                    </a:lnTo>
                    <a:lnTo>
                      <a:pt x="1367" y="406"/>
                    </a:lnTo>
                    <a:lnTo>
                      <a:pt x="1352" y="406"/>
                    </a:lnTo>
                    <a:lnTo>
                      <a:pt x="1338" y="405"/>
                    </a:lnTo>
                    <a:lnTo>
                      <a:pt x="1325" y="402"/>
                    </a:lnTo>
                    <a:lnTo>
                      <a:pt x="1318" y="401"/>
                    </a:lnTo>
                    <a:lnTo>
                      <a:pt x="1312" y="399"/>
                    </a:lnTo>
                    <a:lnTo>
                      <a:pt x="1308" y="396"/>
                    </a:lnTo>
                    <a:lnTo>
                      <a:pt x="1304" y="393"/>
                    </a:lnTo>
                    <a:lnTo>
                      <a:pt x="1300" y="390"/>
                    </a:lnTo>
                    <a:lnTo>
                      <a:pt x="1298" y="386"/>
                    </a:lnTo>
                    <a:lnTo>
                      <a:pt x="1297" y="381"/>
                    </a:lnTo>
                    <a:lnTo>
                      <a:pt x="1296" y="375"/>
                    </a:lnTo>
                    <a:lnTo>
                      <a:pt x="1270" y="375"/>
                    </a:lnTo>
                    <a:lnTo>
                      <a:pt x="1259" y="380"/>
                    </a:lnTo>
                    <a:lnTo>
                      <a:pt x="1247" y="384"/>
                    </a:lnTo>
                    <a:lnTo>
                      <a:pt x="1240" y="384"/>
                    </a:lnTo>
                    <a:lnTo>
                      <a:pt x="1235" y="384"/>
                    </a:lnTo>
                    <a:lnTo>
                      <a:pt x="1228" y="384"/>
                    </a:lnTo>
                    <a:lnTo>
                      <a:pt x="1224" y="382"/>
                    </a:lnTo>
                    <a:lnTo>
                      <a:pt x="1283" y="333"/>
                    </a:lnTo>
                    <a:lnTo>
                      <a:pt x="1286" y="321"/>
                    </a:lnTo>
                    <a:lnTo>
                      <a:pt x="1289" y="309"/>
                    </a:lnTo>
                    <a:lnTo>
                      <a:pt x="1294" y="299"/>
                    </a:lnTo>
                    <a:lnTo>
                      <a:pt x="1299" y="290"/>
                    </a:lnTo>
                    <a:lnTo>
                      <a:pt x="1305" y="282"/>
                    </a:lnTo>
                    <a:lnTo>
                      <a:pt x="1310" y="274"/>
                    </a:lnTo>
                    <a:lnTo>
                      <a:pt x="1317" y="268"/>
                    </a:lnTo>
                    <a:lnTo>
                      <a:pt x="1323" y="260"/>
                    </a:lnTo>
                    <a:lnTo>
                      <a:pt x="1349" y="240"/>
                    </a:lnTo>
                    <a:lnTo>
                      <a:pt x="1370" y="222"/>
                    </a:lnTo>
                    <a:lnTo>
                      <a:pt x="1362" y="217"/>
                    </a:lnTo>
                    <a:lnTo>
                      <a:pt x="1356" y="213"/>
                    </a:lnTo>
                    <a:lnTo>
                      <a:pt x="1352" y="210"/>
                    </a:lnTo>
                    <a:lnTo>
                      <a:pt x="1349" y="205"/>
                    </a:lnTo>
                    <a:lnTo>
                      <a:pt x="1345" y="201"/>
                    </a:lnTo>
                    <a:lnTo>
                      <a:pt x="1344" y="196"/>
                    </a:lnTo>
                    <a:lnTo>
                      <a:pt x="1343" y="191"/>
                    </a:lnTo>
                    <a:lnTo>
                      <a:pt x="1343" y="184"/>
                    </a:lnTo>
                    <a:lnTo>
                      <a:pt x="1338" y="184"/>
                    </a:lnTo>
                    <a:lnTo>
                      <a:pt x="1333" y="183"/>
                    </a:lnTo>
                    <a:lnTo>
                      <a:pt x="1330" y="182"/>
                    </a:lnTo>
                    <a:lnTo>
                      <a:pt x="1326" y="179"/>
                    </a:lnTo>
                    <a:lnTo>
                      <a:pt x="1320" y="174"/>
                    </a:lnTo>
                    <a:lnTo>
                      <a:pt x="1315" y="166"/>
                    </a:lnTo>
                    <a:lnTo>
                      <a:pt x="1310" y="157"/>
                    </a:lnTo>
                    <a:lnTo>
                      <a:pt x="1307" y="146"/>
                    </a:lnTo>
                    <a:lnTo>
                      <a:pt x="1305" y="135"/>
                    </a:lnTo>
                    <a:lnTo>
                      <a:pt x="1301" y="124"/>
                    </a:lnTo>
                    <a:lnTo>
                      <a:pt x="1298" y="100"/>
                    </a:lnTo>
                    <a:lnTo>
                      <a:pt x="1293" y="78"/>
                    </a:lnTo>
                    <a:lnTo>
                      <a:pt x="1291" y="68"/>
                    </a:lnTo>
                    <a:lnTo>
                      <a:pt x="1286" y="60"/>
                    </a:lnTo>
                    <a:lnTo>
                      <a:pt x="1282" y="54"/>
                    </a:lnTo>
                    <a:lnTo>
                      <a:pt x="1276" y="49"/>
                    </a:lnTo>
                    <a:lnTo>
                      <a:pt x="1264" y="71"/>
                    </a:lnTo>
                    <a:lnTo>
                      <a:pt x="1240" y="109"/>
                    </a:lnTo>
                    <a:lnTo>
                      <a:pt x="1227" y="128"/>
                    </a:lnTo>
                    <a:lnTo>
                      <a:pt x="1214" y="144"/>
                    </a:lnTo>
                    <a:lnTo>
                      <a:pt x="1207" y="150"/>
                    </a:lnTo>
                    <a:lnTo>
                      <a:pt x="1200" y="156"/>
                    </a:lnTo>
                    <a:lnTo>
                      <a:pt x="1195" y="159"/>
                    </a:lnTo>
                    <a:lnTo>
                      <a:pt x="1189" y="160"/>
                    </a:lnTo>
                    <a:lnTo>
                      <a:pt x="1124" y="135"/>
                    </a:lnTo>
                    <a:lnTo>
                      <a:pt x="1113" y="139"/>
                    </a:lnTo>
                    <a:lnTo>
                      <a:pt x="1102" y="142"/>
                    </a:lnTo>
                    <a:lnTo>
                      <a:pt x="1088" y="144"/>
                    </a:lnTo>
                    <a:lnTo>
                      <a:pt x="1075" y="146"/>
                    </a:lnTo>
                    <a:lnTo>
                      <a:pt x="1047" y="147"/>
                    </a:lnTo>
                    <a:lnTo>
                      <a:pt x="1017" y="147"/>
                    </a:lnTo>
                    <a:lnTo>
                      <a:pt x="1016" y="152"/>
                    </a:lnTo>
                    <a:lnTo>
                      <a:pt x="1015" y="157"/>
                    </a:lnTo>
                    <a:lnTo>
                      <a:pt x="1013" y="161"/>
                    </a:lnTo>
                    <a:lnTo>
                      <a:pt x="1009" y="165"/>
                    </a:lnTo>
                    <a:lnTo>
                      <a:pt x="1006" y="168"/>
                    </a:lnTo>
                    <a:lnTo>
                      <a:pt x="1003" y="170"/>
                    </a:lnTo>
                    <a:lnTo>
                      <a:pt x="1000" y="172"/>
                    </a:lnTo>
                    <a:lnTo>
                      <a:pt x="997" y="172"/>
                    </a:lnTo>
                    <a:lnTo>
                      <a:pt x="992" y="173"/>
                    </a:lnTo>
                    <a:lnTo>
                      <a:pt x="987" y="175"/>
                    </a:lnTo>
                    <a:lnTo>
                      <a:pt x="985" y="175"/>
                    </a:lnTo>
                    <a:lnTo>
                      <a:pt x="982" y="175"/>
                    </a:lnTo>
                    <a:lnTo>
                      <a:pt x="980" y="174"/>
                    </a:lnTo>
                    <a:lnTo>
                      <a:pt x="978" y="172"/>
                    </a:lnTo>
                    <a:lnTo>
                      <a:pt x="976" y="176"/>
                    </a:lnTo>
                    <a:lnTo>
                      <a:pt x="972" y="179"/>
                    </a:lnTo>
                    <a:lnTo>
                      <a:pt x="967" y="183"/>
                    </a:lnTo>
                    <a:lnTo>
                      <a:pt x="960" y="187"/>
                    </a:lnTo>
                    <a:lnTo>
                      <a:pt x="941" y="194"/>
                    </a:lnTo>
                    <a:lnTo>
                      <a:pt x="920" y="200"/>
                    </a:lnTo>
                    <a:lnTo>
                      <a:pt x="879" y="212"/>
                    </a:lnTo>
                    <a:lnTo>
                      <a:pt x="858" y="216"/>
                    </a:lnTo>
                    <a:lnTo>
                      <a:pt x="851" y="215"/>
                    </a:lnTo>
                    <a:lnTo>
                      <a:pt x="846" y="213"/>
                    </a:lnTo>
                    <a:lnTo>
                      <a:pt x="839" y="208"/>
                    </a:lnTo>
                    <a:lnTo>
                      <a:pt x="834" y="203"/>
                    </a:lnTo>
                    <a:lnTo>
                      <a:pt x="827" y="197"/>
                    </a:lnTo>
                    <a:lnTo>
                      <a:pt x="822" y="191"/>
                    </a:lnTo>
                    <a:lnTo>
                      <a:pt x="817" y="184"/>
                    </a:lnTo>
                    <a:lnTo>
                      <a:pt x="812" y="176"/>
                    </a:lnTo>
                    <a:lnTo>
                      <a:pt x="803" y="161"/>
                    </a:lnTo>
                    <a:lnTo>
                      <a:pt x="796" y="145"/>
                    </a:lnTo>
                    <a:lnTo>
                      <a:pt x="793" y="132"/>
                    </a:lnTo>
                    <a:lnTo>
                      <a:pt x="791" y="123"/>
                    </a:lnTo>
                    <a:lnTo>
                      <a:pt x="792" y="116"/>
                    </a:lnTo>
                    <a:lnTo>
                      <a:pt x="794" y="109"/>
                    </a:lnTo>
                    <a:lnTo>
                      <a:pt x="798" y="103"/>
                    </a:lnTo>
                    <a:lnTo>
                      <a:pt x="801" y="95"/>
                    </a:lnTo>
                    <a:lnTo>
                      <a:pt x="805" y="88"/>
                    </a:lnTo>
                    <a:lnTo>
                      <a:pt x="808" y="81"/>
                    </a:lnTo>
                    <a:lnTo>
                      <a:pt x="811" y="74"/>
                    </a:lnTo>
                    <a:lnTo>
                      <a:pt x="811" y="67"/>
                    </a:lnTo>
                    <a:lnTo>
                      <a:pt x="811" y="53"/>
                    </a:lnTo>
                    <a:lnTo>
                      <a:pt x="808" y="39"/>
                    </a:lnTo>
                    <a:lnTo>
                      <a:pt x="806" y="33"/>
                    </a:lnTo>
                    <a:lnTo>
                      <a:pt x="804" y="28"/>
                    </a:lnTo>
                    <a:lnTo>
                      <a:pt x="801" y="24"/>
                    </a:lnTo>
                    <a:lnTo>
                      <a:pt x="798" y="20"/>
                    </a:lnTo>
                    <a:lnTo>
                      <a:pt x="794" y="16"/>
                    </a:lnTo>
                    <a:lnTo>
                      <a:pt x="789" y="12"/>
                    </a:lnTo>
                    <a:lnTo>
                      <a:pt x="783" y="9"/>
                    </a:lnTo>
                    <a:lnTo>
                      <a:pt x="778" y="7"/>
                    </a:lnTo>
                    <a:lnTo>
                      <a:pt x="762" y="3"/>
                    </a:lnTo>
                    <a:lnTo>
                      <a:pt x="745" y="0"/>
                    </a:lnTo>
                    <a:lnTo>
                      <a:pt x="739" y="10"/>
                    </a:lnTo>
                    <a:lnTo>
                      <a:pt x="733" y="21"/>
                    </a:lnTo>
                    <a:lnTo>
                      <a:pt x="729" y="23"/>
                    </a:lnTo>
                    <a:lnTo>
                      <a:pt x="727" y="25"/>
                    </a:lnTo>
                    <a:lnTo>
                      <a:pt x="725" y="26"/>
                    </a:lnTo>
                    <a:lnTo>
                      <a:pt x="722" y="27"/>
                    </a:lnTo>
                    <a:lnTo>
                      <a:pt x="717" y="27"/>
                    </a:lnTo>
                    <a:lnTo>
                      <a:pt x="714" y="27"/>
                    </a:lnTo>
                    <a:lnTo>
                      <a:pt x="710" y="26"/>
                    </a:lnTo>
                    <a:lnTo>
                      <a:pt x="705" y="24"/>
                    </a:lnTo>
                    <a:lnTo>
                      <a:pt x="703" y="28"/>
                    </a:lnTo>
                    <a:lnTo>
                      <a:pt x="700" y="31"/>
                    </a:lnTo>
                    <a:lnTo>
                      <a:pt x="695" y="35"/>
                    </a:lnTo>
                    <a:lnTo>
                      <a:pt x="690" y="39"/>
                    </a:lnTo>
                    <a:lnTo>
                      <a:pt x="677" y="47"/>
                    </a:lnTo>
                    <a:lnTo>
                      <a:pt x="662" y="55"/>
                    </a:lnTo>
                    <a:lnTo>
                      <a:pt x="648" y="63"/>
                    </a:lnTo>
                    <a:lnTo>
                      <a:pt x="637" y="71"/>
                    </a:lnTo>
                    <a:lnTo>
                      <a:pt x="632" y="75"/>
                    </a:lnTo>
                    <a:lnTo>
                      <a:pt x="628" y="79"/>
                    </a:lnTo>
                    <a:lnTo>
                      <a:pt x="626" y="82"/>
                    </a:lnTo>
                    <a:lnTo>
                      <a:pt x="625" y="86"/>
                    </a:lnTo>
                    <a:lnTo>
                      <a:pt x="612" y="79"/>
                    </a:lnTo>
                    <a:lnTo>
                      <a:pt x="589" y="70"/>
                    </a:lnTo>
                    <a:lnTo>
                      <a:pt x="566" y="62"/>
                    </a:lnTo>
                    <a:lnTo>
                      <a:pt x="552" y="55"/>
                    </a:lnTo>
                    <a:lnTo>
                      <a:pt x="525" y="55"/>
                    </a:lnTo>
                    <a:lnTo>
                      <a:pt x="525" y="99"/>
                    </a:lnTo>
                    <a:lnTo>
                      <a:pt x="535" y="114"/>
                    </a:lnTo>
                    <a:lnTo>
                      <a:pt x="552" y="137"/>
                    </a:lnTo>
                    <a:lnTo>
                      <a:pt x="566" y="160"/>
                    </a:lnTo>
                    <a:lnTo>
                      <a:pt x="572" y="172"/>
                    </a:lnTo>
                    <a:lnTo>
                      <a:pt x="571" y="178"/>
                    </a:lnTo>
                    <a:lnTo>
                      <a:pt x="569" y="185"/>
                    </a:lnTo>
                    <a:lnTo>
                      <a:pt x="566" y="191"/>
                    </a:lnTo>
                    <a:lnTo>
                      <a:pt x="560" y="198"/>
                    </a:lnTo>
                    <a:lnTo>
                      <a:pt x="555" y="205"/>
                    </a:lnTo>
                    <a:lnTo>
                      <a:pt x="548" y="213"/>
                    </a:lnTo>
                    <a:lnTo>
                      <a:pt x="541" y="220"/>
                    </a:lnTo>
                    <a:lnTo>
                      <a:pt x="532" y="227"/>
                    </a:lnTo>
                    <a:lnTo>
                      <a:pt x="523" y="233"/>
                    </a:lnTo>
                    <a:lnTo>
                      <a:pt x="513" y="239"/>
                    </a:lnTo>
                    <a:lnTo>
                      <a:pt x="503" y="244"/>
                    </a:lnTo>
                    <a:lnTo>
                      <a:pt x="493" y="249"/>
                    </a:lnTo>
                    <a:lnTo>
                      <a:pt x="483" y="253"/>
                    </a:lnTo>
                    <a:lnTo>
                      <a:pt x="472" y="256"/>
                    </a:lnTo>
                    <a:lnTo>
                      <a:pt x="463" y="257"/>
                    </a:lnTo>
                    <a:lnTo>
                      <a:pt x="453" y="258"/>
                    </a:lnTo>
                    <a:lnTo>
                      <a:pt x="446" y="258"/>
                    </a:lnTo>
                    <a:lnTo>
                      <a:pt x="440" y="256"/>
                    </a:lnTo>
                    <a:lnTo>
                      <a:pt x="433" y="254"/>
                    </a:lnTo>
                    <a:lnTo>
                      <a:pt x="426" y="252"/>
                    </a:lnTo>
                    <a:lnTo>
                      <a:pt x="413" y="245"/>
                    </a:lnTo>
                    <a:lnTo>
                      <a:pt x="401" y="235"/>
                    </a:lnTo>
                    <a:lnTo>
                      <a:pt x="389" y="224"/>
                    </a:lnTo>
                    <a:lnTo>
                      <a:pt x="378" y="212"/>
                    </a:lnTo>
                    <a:lnTo>
                      <a:pt x="368" y="198"/>
                    </a:lnTo>
                    <a:lnTo>
                      <a:pt x="359" y="184"/>
                    </a:lnTo>
                    <a:lnTo>
                      <a:pt x="330" y="190"/>
                    </a:lnTo>
                    <a:lnTo>
                      <a:pt x="286" y="197"/>
                    </a:lnTo>
                    <a:lnTo>
                      <a:pt x="263" y="201"/>
                    </a:lnTo>
                    <a:lnTo>
                      <a:pt x="244" y="206"/>
                    </a:lnTo>
                    <a:lnTo>
                      <a:pt x="238" y="208"/>
                    </a:lnTo>
                    <a:lnTo>
                      <a:pt x="231" y="211"/>
                    </a:lnTo>
                    <a:lnTo>
                      <a:pt x="228" y="213"/>
                    </a:lnTo>
                    <a:lnTo>
                      <a:pt x="227" y="216"/>
                    </a:lnTo>
                    <a:lnTo>
                      <a:pt x="227" y="220"/>
                    </a:lnTo>
                    <a:lnTo>
                      <a:pt x="229" y="224"/>
                    </a:lnTo>
                    <a:lnTo>
                      <a:pt x="231" y="227"/>
                    </a:lnTo>
                    <a:lnTo>
                      <a:pt x="235" y="230"/>
                    </a:lnTo>
                    <a:lnTo>
                      <a:pt x="243" y="235"/>
                    </a:lnTo>
                    <a:lnTo>
                      <a:pt x="253" y="240"/>
                    </a:lnTo>
                    <a:lnTo>
                      <a:pt x="253" y="258"/>
                    </a:lnTo>
                    <a:lnTo>
                      <a:pt x="241" y="262"/>
                    </a:lnTo>
                    <a:lnTo>
                      <a:pt x="221" y="268"/>
                    </a:lnTo>
                    <a:lnTo>
                      <a:pt x="210" y="272"/>
                    </a:lnTo>
                    <a:lnTo>
                      <a:pt x="201" y="278"/>
                    </a:lnTo>
                    <a:lnTo>
                      <a:pt x="198" y="281"/>
                    </a:lnTo>
                    <a:lnTo>
                      <a:pt x="196" y="285"/>
                    </a:lnTo>
                    <a:lnTo>
                      <a:pt x="194" y="290"/>
                    </a:lnTo>
                    <a:lnTo>
                      <a:pt x="194" y="295"/>
                    </a:lnTo>
                    <a:lnTo>
                      <a:pt x="194" y="302"/>
                    </a:lnTo>
                    <a:lnTo>
                      <a:pt x="196" y="307"/>
                    </a:lnTo>
                    <a:lnTo>
                      <a:pt x="198" y="311"/>
                    </a:lnTo>
                    <a:lnTo>
                      <a:pt x="201" y="314"/>
                    </a:lnTo>
                    <a:lnTo>
                      <a:pt x="210" y="321"/>
                    </a:lnTo>
                    <a:lnTo>
                      <a:pt x="220" y="327"/>
                    </a:lnTo>
                    <a:lnTo>
                      <a:pt x="224" y="330"/>
                    </a:lnTo>
                    <a:lnTo>
                      <a:pt x="230" y="333"/>
                    </a:lnTo>
                    <a:lnTo>
                      <a:pt x="234" y="337"/>
                    </a:lnTo>
                    <a:lnTo>
                      <a:pt x="239" y="342"/>
                    </a:lnTo>
                    <a:lnTo>
                      <a:pt x="242" y="348"/>
                    </a:lnTo>
                    <a:lnTo>
                      <a:pt x="244" y="356"/>
                    </a:lnTo>
                    <a:lnTo>
                      <a:pt x="246" y="365"/>
                    </a:lnTo>
                    <a:lnTo>
                      <a:pt x="246" y="375"/>
                    </a:lnTo>
                    <a:lnTo>
                      <a:pt x="246" y="388"/>
                    </a:lnTo>
                    <a:lnTo>
                      <a:pt x="245" y="400"/>
                    </a:lnTo>
                    <a:lnTo>
                      <a:pt x="243" y="412"/>
                    </a:lnTo>
                    <a:lnTo>
                      <a:pt x="241" y="423"/>
                    </a:lnTo>
                    <a:lnTo>
                      <a:pt x="236" y="446"/>
                    </a:lnTo>
                    <a:lnTo>
                      <a:pt x="230" y="468"/>
                    </a:lnTo>
                    <a:lnTo>
                      <a:pt x="223" y="490"/>
                    </a:lnTo>
                    <a:lnTo>
                      <a:pt x="219" y="512"/>
                    </a:lnTo>
                    <a:lnTo>
                      <a:pt x="217" y="524"/>
                    </a:lnTo>
                    <a:lnTo>
                      <a:pt x="214" y="535"/>
                    </a:lnTo>
                    <a:lnTo>
                      <a:pt x="213" y="548"/>
                    </a:lnTo>
                    <a:lnTo>
                      <a:pt x="213" y="560"/>
                    </a:lnTo>
                    <a:lnTo>
                      <a:pt x="194" y="560"/>
                    </a:lnTo>
                    <a:lnTo>
                      <a:pt x="188" y="557"/>
                    </a:lnTo>
                    <a:lnTo>
                      <a:pt x="184" y="554"/>
                    </a:lnTo>
                    <a:lnTo>
                      <a:pt x="183" y="553"/>
                    </a:lnTo>
                    <a:lnTo>
                      <a:pt x="182" y="552"/>
                    </a:lnTo>
                    <a:lnTo>
                      <a:pt x="180" y="550"/>
                    </a:lnTo>
                    <a:lnTo>
                      <a:pt x="180" y="548"/>
                    </a:lnTo>
                    <a:lnTo>
                      <a:pt x="168" y="554"/>
                    </a:lnTo>
                    <a:lnTo>
                      <a:pt x="157" y="559"/>
                    </a:lnTo>
                    <a:lnTo>
                      <a:pt x="147" y="562"/>
                    </a:lnTo>
                    <a:lnTo>
                      <a:pt x="138" y="564"/>
                    </a:lnTo>
                    <a:lnTo>
                      <a:pt x="119" y="566"/>
                    </a:lnTo>
                    <a:lnTo>
                      <a:pt x="100" y="567"/>
                    </a:lnTo>
                    <a:lnTo>
                      <a:pt x="96" y="567"/>
                    </a:lnTo>
                    <a:lnTo>
                      <a:pt x="93" y="569"/>
                    </a:lnTo>
                    <a:lnTo>
                      <a:pt x="90" y="573"/>
                    </a:lnTo>
                    <a:lnTo>
                      <a:pt x="88" y="576"/>
                    </a:lnTo>
                    <a:lnTo>
                      <a:pt x="85" y="584"/>
                    </a:lnTo>
                    <a:lnTo>
                      <a:pt x="81" y="591"/>
                    </a:lnTo>
                    <a:lnTo>
                      <a:pt x="65" y="607"/>
                    </a:lnTo>
                    <a:lnTo>
                      <a:pt x="51" y="624"/>
                    </a:lnTo>
                    <a:lnTo>
                      <a:pt x="38" y="643"/>
                    </a:lnTo>
                    <a:lnTo>
                      <a:pt x="26" y="665"/>
                    </a:lnTo>
                    <a:lnTo>
                      <a:pt x="20" y="676"/>
                    </a:lnTo>
                    <a:lnTo>
                      <a:pt x="16" y="687"/>
                    </a:lnTo>
                    <a:lnTo>
                      <a:pt x="11" y="699"/>
                    </a:lnTo>
                    <a:lnTo>
                      <a:pt x="7" y="711"/>
                    </a:lnTo>
                    <a:lnTo>
                      <a:pt x="5" y="723"/>
                    </a:lnTo>
                    <a:lnTo>
                      <a:pt x="3" y="734"/>
                    </a:lnTo>
                    <a:lnTo>
                      <a:pt x="1" y="746"/>
                    </a:lnTo>
                    <a:lnTo>
                      <a:pt x="0" y="757"/>
                    </a:lnTo>
                    <a:lnTo>
                      <a:pt x="1" y="767"/>
                    </a:lnTo>
                    <a:lnTo>
                      <a:pt x="4" y="777"/>
                    </a:lnTo>
                    <a:lnTo>
                      <a:pt x="7" y="787"/>
                    </a:lnTo>
                    <a:lnTo>
                      <a:pt x="11" y="799"/>
                    </a:lnTo>
                    <a:lnTo>
                      <a:pt x="17" y="811"/>
                    </a:lnTo>
                    <a:lnTo>
                      <a:pt x="22" y="824"/>
                    </a:lnTo>
                    <a:lnTo>
                      <a:pt x="30" y="836"/>
                    </a:lnTo>
                    <a:lnTo>
                      <a:pt x="38" y="848"/>
                    </a:lnTo>
                    <a:lnTo>
                      <a:pt x="46" y="859"/>
                    </a:lnTo>
                    <a:lnTo>
                      <a:pt x="56" y="870"/>
                    </a:lnTo>
                    <a:lnTo>
                      <a:pt x="66" y="880"/>
                    </a:lnTo>
                    <a:lnTo>
                      <a:pt x="76" y="889"/>
                    </a:lnTo>
                    <a:lnTo>
                      <a:pt x="87" y="896"/>
                    </a:lnTo>
                    <a:lnTo>
                      <a:pt x="98" y="901"/>
                    </a:lnTo>
                    <a:lnTo>
                      <a:pt x="104" y="903"/>
                    </a:lnTo>
                    <a:lnTo>
                      <a:pt x="109" y="904"/>
                    </a:lnTo>
                    <a:lnTo>
                      <a:pt x="115" y="905"/>
                    </a:lnTo>
                    <a:lnTo>
                      <a:pt x="120" y="905"/>
                    </a:lnTo>
                    <a:lnTo>
                      <a:pt x="130" y="904"/>
                    </a:lnTo>
                    <a:lnTo>
                      <a:pt x="138" y="902"/>
                    </a:lnTo>
                    <a:lnTo>
                      <a:pt x="146" y="898"/>
                    </a:lnTo>
                    <a:lnTo>
                      <a:pt x="153" y="893"/>
                    </a:lnTo>
                    <a:lnTo>
                      <a:pt x="161" y="889"/>
                    </a:lnTo>
                    <a:lnTo>
                      <a:pt x="168" y="885"/>
                    </a:lnTo>
                    <a:lnTo>
                      <a:pt x="177" y="882"/>
                    </a:lnTo>
                    <a:lnTo>
                      <a:pt x="187" y="881"/>
                    </a:lnTo>
                    <a:lnTo>
                      <a:pt x="189" y="903"/>
                    </a:lnTo>
                    <a:lnTo>
                      <a:pt x="190" y="934"/>
                    </a:lnTo>
                    <a:lnTo>
                      <a:pt x="190" y="942"/>
                    </a:lnTo>
                    <a:lnTo>
                      <a:pt x="191" y="949"/>
                    </a:lnTo>
                    <a:lnTo>
                      <a:pt x="194" y="956"/>
                    </a:lnTo>
                    <a:lnTo>
                      <a:pt x="196" y="961"/>
                    </a:lnTo>
                    <a:lnTo>
                      <a:pt x="199" y="966"/>
                    </a:lnTo>
                    <a:lnTo>
                      <a:pt x="202" y="970"/>
                    </a:lnTo>
                    <a:lnTo>
                      <a:pt x="208" y="972"/>
                    </a:lnTo>
                    <a:lnTo>
                      <a:pt x="213" y="973"/>
                    </a:lnTo>
                    <a:lnTo>
                      <a:pt x="233" y="97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6" name="Freeform 25"/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8202943" y="5871164"/>
                <a:ext cx="29904" cy="64528"/>
              </a:xfrm>
              <a:custGeom>
                <a:avLst/>
                <a:gdLst>
                  <a:gd name="T0" fmla="*/ 0 w 53"/>
                  <a:gd name="T1" fmla="*/ 2147483647 h 19"/>
                  <a:gd name="T2" fmla="*/ 1257488026 w 53"/>
                  <a:gd name="T3" fmla="*/ 2147483647 h 19"/>
                  <a:gd name="T4" fmla="*/ 2147483647 w 53"/>
                  <a:gd name="T5" fmla="*/ 2147483647 h 19"/>
                  <a:gd name="T6" fmla="*/ 2147483647 w 53"/>
                  <a:gd name="T7" fmla="*/ 2147483647 h 19"/>
                  <a:gd name="T8" fmla="*/ 2147483647 w 53"/>
                  <a:gd name="T9" fmla="*/ 2147483647 h 19"/>
                  <a:gd name="T10" fmla="*/ 2147483647 w 53"/>
                  <a:gd name="T11" fmla="*/ 2147483647 h 19"/>
                  <a:gd name="T12" fmla="*/ 2147483647 w 53"/>
                  <a:gd name="T13" fmla="*/ 2147483647 h 19"/>
                  <a:gd name="T14" fmla="*/ 2147483647 w 53"/>
                  <a:gd name="T15" fmla="*/ 2147483647 h 19"/>
                  <a:gd name="T16" fmla="*/ 2147483647 w 53"/>
                  <a:gd name="T17" fmla="*/ 2147483647 h 19"/>
                  <a:gd name="T18" fmla="*/ 2147483647 w 53"/>
                  <a:gd name="T19" fmla="*/ 2147483647 h 19"/>
                  <a:gd name="T20" fmla="*/ 2147483647 w 53"/>
                  <a:gd name="T21" fmla="*/ 2147483647 h 19"/>
                  <a:gd name="T22" fmla="*/ 2147483647 w 53"/>
                  <a:gd name="T23" fmla="*/ 2147483647 h 19"/>
                  <a:gd name="T24" fmla="*/ 2147483647 w 53"/>
                  <a:gd name="T25" fmla="*/ 0 h 19"/>
                  <a:gd name="T26" fmla="*/ 2147483647 w 53"/>
                  <a:gd name="T27" fmla="*/ 0 h 19"/>
                  <a:gd name="T28" fmla="*/ 2147483647 w 53"/>
                  <a:gd name="T29" fmla="*/ 2147483647 h 19"/>
                  <a:gd name="T30" fmla="*/ 1257488026 w 53"/>
                  <a:gd name="T31" fmla="*/ 2147483647 h 19"/>
                  <a:gd name="T32" fmla="*/ 0 w 53"/>
                  <a:gd name="T33" fmla="*/ 2147483647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7" name="Freeform 29"/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7909889" y="2447575"/>
                <a:ext cx="61800" cy="64528"/>
              </a:xfrm>
              <a:custGeom>
                <a:avLst/>
                <a:gdLst>
                  <a:gd name="T0" fmla="*/ 0 w 112"/>
                  <a:gd name="T1" fmla="*/ 2147483647 h 36"/>
                  <a:gd name="T2" fmla="*/ 2147483647 w 112"/>
                  <a:gd name="T3" fmla="*/ 2147483647 h 36"/>
                  <a:gd name="T4" fmla="*/ 2147483647 w 112"/>
                  <a:gd name="T5" fmla="*/ 2147483647 h 36"/>
                  <a:gd name="T6" fmla="*/ 2147483647 w 112"/>
                  <a:gd name="T7" fmla="*/ 2147483647 h 36"/>
                  <a:gd name="T8" fmla="*/ 2147483647 w 112"/>
                  <a:gd name="T9" fmla="*/ 2147483647 h 36"/>
                  <a:gd name="T10" fmla="*/ 2147483647 w 112"/>
                  <a:gd name="T11" fmla="*/ 2147483647 h 36"/>
                  <a:gd name="T12" fmla="*/ 2147483647 w 112"/>
                  <a:gd name="T13" fmla="*/ 2147483647 h 36"/>
                  <a:gd name="T14" fmla="*/ 2147483647 w 112"/>
                  <a:gd name="T15" fmla="*/ 2147483647 h 36"/>
                  <a:gd name="T16" fmla="*/ 2147483647 w 112"/>
                  <a:gd name="T17" fmla="*/ 2147483647 h 36"/>
                  <a:gd name="T18" fmla="*/ 2147483647 w 112"/>
                  <a:gd name="T19" fmla="*/ 2147483647 h 36"/>
                  <a:gd name="T20" fmla="*/ 2147483647 w 112"/>
                  <a:gd name="T21" fmla="*/ 2147483647 h 36"/>
                  <a:gd name="T22" fmla="*/ 2147483647 w 112"/>
                  <a:gd name="T23" fmla="*/ 0 h 36"/>
                  <a:gd name="T24" fmla="*/ 2147483647 w 112"/>
                  <a:gd name="T25" fmla="*/ 0 h 36"/>
                  <a:gd name="T26" fmla="*/ 2147483647 w 112"/>
                  <a:gd name="T27" fmla="*/ 2147483647 h 36"/>
                  <a:gd name="T28" fmla="*/ 2147483647 w 112"/>
                  <a:gd name="T29" fmla="*/ 2147483647 h 36"/>
                  <a:gd name="T30" fmla="*/ 2147483647 w 112"/>
                  <a:gd name="T31" fmla="*/ 2147483647 h 36"/>
                  <a:gd name="T32" fmla="*/ 2147483647 w 112"/>
                  <a:gd name="T33" fmla="*/ 2147483647 h 36"/>
                  <a:gd name="T34" fmla="*/ 2147483647 w 112"/>
                  <a:gd name="T35" fmla="*/ 2147483647 h 36"/>
                  <a:gd name="T36" fmla="*/ 2147483647 w 112"/>
                  <a:gd name="T37" fmla="*/ 2147483647 h 36"/>
                  <a:gd name="T38" fmla="*/ 2147483647 w 112"/>
                  <a:gd name="T39" fmla="*/ 2147483647 h 36"/>
                  <a:gd name="T40" fmla="*/ 1680051761 w 112"/>
                  <a:gd name="T41" fmla="*/ 2147483647 h 36"/>
                  <a:gd name="T42" fmla="*/ 1008092084 w 112"/>
                  <a:gd name="T43" fmla="*/ 2147483647 h 36"/>
                  <a:gd name="T44" fmla="*/ 168066204 w 112"/>
                  <a:gd name="T45" fmla="*/ 2147483647 h 36"/>
                  <a:gd name="T46" fmla="*/ 0 w 112"/>
                  <a:gd name="T47" fmla="*/ 2147483647 h 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12" h="36">
                    <a:moveTo>
                      <a:pt x="0" y="36"/>
                    </a:moveTo>
                    <a:lnTo>
                      <a:pt x="59" y="36"/>
                    </a:lnTo>
                    <a:lnTo>
                      <a:pt x="67" y="30"/>
                    </a:lnTo>
                    <a:lnTo>
                      <a:pt x="75" y="26"/>
                    </a:lnTo>
                    <a:lnTo>
                      <a:pt x="84" y="23"/>
                    </a:lnTo>
                    <a:lnTo>
                      <a:pt x="91" y="20"/>
                    </a:lnTo>
                    <a:lnTo>
                      <a:pt x="98" y="17"/>
                    </a:lnTo>
                    <a:lnTo>
                      <a:pt x="104" y="13"/>
                    </a:lnTo>
                    <a:lnTo>
                      <a:pt x="107" y="11"/>
                    </a:lnTo>
                    <a:lnTo>
                      <a:pt x="109" y="8"/>
                    </a:lnTo>
                    <a:lnTo>
                      <a:pt x="111" y="4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85" y="1"/>
                    </a:lnTo>
                    <a:lnTo>
                      <a:pt x="67" y="3"/>
                    </a:lnTo>
                    <a:lnTo>
                      <a:pt x="48" y="7"/>
                    </a:lnTo>
                    <a:lnTo>
                      <a:pt x="40" y="9"/>
                    </a:lnTo>
                    <a:lnTo>
                      <a:pt x="31" y="11"/>
                    </a:lnTo>
                    <a:lnTo>
                      <a:pt x="23" y="14"/>
                    </a:lnTo>
                    <a:lnTo>
                      <a:pt x="17" y="18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1" y="31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8" name="Freeform 41"/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7973683" y="3263143"/>
                <a:ext cx="39871" cy="66320"/>
              </a:xfrm>
              <a:custGeom>
                <a:avLst/>
                <a:gdLst>
                  <a:gd name="T0" fmla="*/ 0 w 80"/>
                  <a:gd name="T1" fmla="*/ 2147483647 h 34"/>
                  <a:gd name="T2" fmla="*/ 123698282 w 80"/>
                  <a:gd name="T3" fmla="*/ 2147483647 h 34"/>
                  <a:gd name="T4" fmla="*/ 247644762 w 80"/>
                  <a:gd name="T5" fmla="*/ 2147483647 h 34"/>
                  <a:gd name="T6" fmla="*/ 495290022 w 80"/>
                  <a:gd name="T7" fmla="*/ 2147483647 h 34"/>
                  <a:gd name="T8" fmla="*/ 866633066 w 80"/>
                  <a:gd name="T9" fmla="*/ 2147483647 h 34"/>
                  <a:gd name="T10" fmla="*/ 1609319652 w 80"/>
                  <a:gd name="T11" fmla="*/ 2147483647 h 34"/>
                  <a:gd name="T12" fmla="*/ 2147483647 w 80"/>
                  <a:gd name="T13" fmla="*/ 2147483647 h 34"/>
                  <a:gd name="T14" fmla="*/ 2147483647 w 80"/>
                  <a:gd name="T15" fmla="*/ 2147483647 h 34"/>
                  <a:gd name="T16" fmla="*/ 2147483647 w 80"/>
                  <a:gd name="T17" fmla="*/ 2147483647 h 34"/>
                  <a:gd name="T18" fmla="*/ 2147483647 w 80"/>
                  <a:gd name="T19" fmla="*/ 2147483647 h 34"/>
                  <a:gd name="T20" fmla="*/ 2147483647 w 80"/>
                  <a:gd name="T21" fmla="*/ 2147483647 h 34"/>
                  <a:gd name="T22" fmla="*/ 2147483647 w 80"/>
                  <a:gd name="T23" fmla="*/ 2147483647 h 34"/>
                  <a:gd name="T24" fmla="*/ 2147483647 w 80"/>
                  <a:gd name="T25" fmla="*/ 2147483647 h 34"/>
                  <a:gd name="T26" fmla="*/ 2147483647 w 80"/>
                  <a:gd name="T27" fmla="*/ 2147483647 h 34"/>
                  <a:gd name="T28" fmla="*/ 2147483647 w 80"/>
                  <a:gd name="T29" fmla="*/ 2147483647 h 34"/>
                  <a:gd name="T30" fmla="*/ 2147483647 w 80"/>
                  <a:gd name="T31" fmla="*/ 2147483647 h 34"/>
                  <a:gd name="T32" fmla="*/ 2147483647 w 80"/>
                  <a:gd name="T33" fmla="*/ 2147483647 h 34"/>
                  <a:gd name="T34" fmla="*/ 2147483647 w 80"/>
                  <a:gd name="T35" fmla="*/ 2147483647 h 34"/>
                  <a:gd name="T36" fmla="*/ 2147483647 w 80"/>
                  <a:gd name="T37" fmla="*/ 2147483647 h 34"/>
                  <a:gd name="T38" fmla="*/ 2147483647 w 80"/>
                  <a:gd name="T39" fmla="*/ 0 h 34"/>
                  <a:gd name="T40" fmla="*/ 2147483647 w 80"/>
                  <a:gd name="T41" fmla="*/ 0 h 34"/>
                  <a:gd name="T42" fmla="*/ 2147483647 w 80"/>
                  <a:gd name="T43" fmla="*/ 2147483647 h 34"/>
                  <a:gd name="T44" fmla="*/ 2147483647 w 80"/>
                  <a:gd name="T45" fmla="*/ 2147483647 h 34"/>
                  <a:gd name="T46" fmla="*/ 2147483647 w 80"/>
                  <a:gd name="T47" fmla="*/ 2147483647 h 34"/>
                  <a:gd name="T48" fmla="*/ 2147483647 w 80"/>
                  <a:gd name="T49" fmla="*/ 2147483647 h 34"/>
                  <a:gd name="T50" fmla="*/ 1609319652 w 80"/>
                  <a:gd name="T51" fmla="*/ 2147483647 h 34"/>
                  <a:gd name="T52" fmla="*/ 866633066 w 80"/>
                  <a:gd name="T53" fmla="*/ 2147483647 h 34"/>
                  <a:gd name="T54" fmla="*/ 495290022 w 80"/>
                  <a:gd name="T55" fmla="*/ 2147483647 h 34"/>
                  <a:gd name="T56" fmla="*/ 247644762 w 80"/>
                  <a:gd name="T57" fmla="*/ 2147483647 h 34"/>
                  <a:gd name="T58" fmla="*/ 123698282 w 80"/>
                  <a:gd name="T59" fmla="*/ 2147483647 h 34"/>
                  <a:gd name="T60" fmla="*/ 0 w 80"/>
                  <a:gd name="T61" fmla="*/ 2147483647 h 3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80" h="34">
                    <a:moveTo>
                      <a:pt x="0" y="15"/>
                    </a:moveTo>
                    <a:lnTo>
                      <a:pt x="1" y="19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7" y="26"/>
                    </a:lnTo>
                    <a:lnTo>
                      <a:pt x="13" y="29"/>
                    </a:lnTo>
                    <a:lnTo>
                      <a:pt x="22" y="31"/>
                    </a:lnTo>
                    <a:lnTo>
                      <a:pt x="40" y="33"/>
                    </a:lnTo>
                    <a:lnTo>
                      <a:pt x="54" y="34"/>
                    </a:lnTo>
                    <a:lnTo>
                      <a:pt x="58" y="33"/>
                    </a:lnTo>
                    <a:lnTo>
                      <a:pt x="62" y="32"/>
                    </a:lnTo>
                    <a:lnTo>
                      <a:pt x="65" y="29"/>
                    </a:lnTo>
                    <a:lnTo>
                      <a:pt x="67" y="27"/>
                    </a:lnTo>
                    <a:lnTo>
                      <a:pt x="73" y="21"/>
                    </a:lnTo>
                    <a:lnTo>
                      <a:pt x="80" y="15"/>
                    </a:lnTo>
                    <a:lnTo>
                      <a:pt x="75" y="10"/>
                    </a:lnTo>
                    <a:lnTo>
                      <a:pt x="70" y="7"/>
                    </a:lnTo>
                    <a:lnTo>
                      <a:pt x="65" y="4"/>
                    </a:lnTo>
                    <a:lnTo>
                      <a:pt x="60" y="2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1" y="2"/>
                    </a:lnTo>
                    <a:lnTo>
                      <a:pt x="13" y="3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0" y="1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9" name="Freeform 55"/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8111897" y="3539969"/>
                <a:ext cx="29263" cy="65013"/>
              </a:xfrm>
              <a:custGeom>
                <a:avLst/>
                <a:gdLst>
                  <a:gd name="T0" fmla="*/ 0 w 47"/>
                  <a:gd name="T1" fmla="*/ 36 h 49"/>
                  <a:gd name="T2" fmla="*/ 1 w 47"/>
                  <a:gd name="T3" fmla="*/ 39 h 49"/>
                  <a:gd name="T4" fmla="*/ 2 w 47"/>
                  <a:gd name="T5" fmla="*/ 41 h 49"/>
                  <a:gd name="T6" fmla="*/ 4 w 47"/>
                  <a:gd name="T7" fmla="*/ 43 h 49"/>
                  <a:gd name="T8" fmla="*/ 6 w 47"/>
                  <a:gd name="T9" fmla="*/ 45 h 49"/>
                  <a:gd name="T10" fmla="*/ 12 w 47"/>
                  <a:gd name="T11" fmla="*/ 48 h 49"/>
                  <a:gd name="T12" fmla="*/ 14 w 47"/>
                  <a:gd name="T13" fmla="*/ 49 h 49"/>
                  <a:gd name="T14" fmla="*/ 18 w 47"/>
                  <a:gd name="T15" fmla="*/ 49 h 49"/>
                  <a:gd name="T16" fmla="*/ 24 w 47"/>
                  <a:gd name="T17" fmla="*/ 46 h 49"/>
                  <a:gd name="T18" fmla="*/ 29 w 47"/>
                  <a:gd name="T19" fmla="*/ 42 h 49"/>
                  <a:gd name="T20" fmla="*/ 35 w 47"/>
                  <a:gd name="T21" fmla="*/ 39 h 49"/>
                  <a:gd name="T22" fmla="*/ 39 w 47"/>
                  <a:gd name="T23" fmla="*/ 35 h 49"/>
                  <a:gd name="T24" fmla="*/ 44 w 47"/>
                  <a:gd name="T25" fmla="*/ 31 h 49"/>
                  <a:gd name="T26" fmla="*/ 46 w 47"/>
                  <a:gd name="T27" fmla="*/ 27 h 49"/>
                  <a:gd name="T28" fmla="*/ 47 w 47"/>
                  <a:gd name="T29" fmla="*/ 24 h 49"/>
                  <a:gd name="T30" fmla="*/ 47 w 47"/>
                  <a:gd name="T31" fmla="*/ 12 h 49"/>
                  <a:gd name="T32" fmla="*/ 47 w 47"/>
                  <a:gd name="T33" fmla="*/ 0 h 49"/>
                  <a:gd name="T34" fmla="*/ 27 w 47"/>
                  <a:gd name="T35" fmla="*/ 0 h 49"/>
                  <a:gd name="T36" fmla="*/ 17 w 47"/>
                  <a:gd name="T37" fmla="*/ 8 h 49"/>
                  <a:gd name="T38" fmla="*/ 9 w 47"/>
                  <a:gd name="T39" fmla="*/ 16 h 49"/>
                  <a:gd name="T40" fmla="*/ 5 w 47"/>
                  <a:gd name="T41" fmla="*/ 20 h 49"/>
                  <a:gd name="T42" fmla="*/ 2 w 47"/>
                  <a:gd name="T43" fmla="*/ 25 h 49"/>
                  <a:gd name="T44" fmla="*/ 1 w 47"/>
                  <a:gd name="T45" fmla="*/ 30 h 49"/>
                  <a:gd name="T46" fmla="*/ 0 w 47"/>
                  <a:gd name="T47" fmla="*/ 3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49">
                    <a:moveTo>
                      <a:pt x="0" y="36"/>
                    </a:moveTo>
                    <a:lnTo>
                      <a:pt x="1" y="39"/>
                    </a:lnTo>
                    <a:lnTo>
                      <a:pt x="2" y="41"/>
                    </a:lnTo>
                    <a:lnTo>
                      <a:pt x="4" y="43"/>
                    </a:lnTo>
                    <a:lnTo>
                      <a:pt x="6" y="45"/>
                    </a:lnTo>
                    <a:lnTo>
                      <a:pt x="12" y="48"/>
                    </a:lnTo>
                    <a:lnTo>
                      <a:pt x="14" y="49"/>
                    </a:lnTo>
                    <a:lnTo>
                      <a:pt x="18" y="49"/>
                    </a:lnTo>
                    <a:lnTo>
                      <a:pt x="24" y="46"/>
                    </a:lnTo>
                    <a:lnTo>
                      <a:pt x="29" y="42"/>
                    </a:lnTo>
                    <a:lnTo>
                      <a:pt x="35" y="39"/>
                    </a:lnTo>
                    <a:lnTo>
                      <a:pt x="39" y="35"/>
                    </a:lnTo>
                    <a:lnTo>
                      <a:pt x="44" y="31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7" y="12"/>
                    </a:lnTo>
                    <a:lnTo>
                      <a:pt x="47" y="0"/>
                    </a:lnTo>
                    <a:lnTo>
                      <a:pt x="27" y="0"/>
                    </a:lnTo>
                    <a:lnTo>
                      <a:pt x="17" y="8"/>
                    </a:lnTo>
                    <a:lnTo>
                      <a:pt x="9" y="16"/>
                    </a:lnTo>
                    <a:lnTo>
                      <a:pt x="5" y="20"/>
                    </a:lnTo>
                    <a:lnTo>
                      <a:pt x="2" y="25"/>
                    </a:lnTo>
                    <a:lnTo>
                      <a:pt x="1" y="30"/>
                    </a:lnTo>
                    <a:lnTo>
                      <a:pt x="0" y="36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0" name="Freeform 56"/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8137908" y="3513964"/>
                <a:ext cx="16258" cy="65013"/>
              </a:xfrm>
              <a:custGeom>
                <a:avLst/>
                <a:gdLst>
                  <a:gd name="T0" fmla="*/ 0 w 26"/>
                  <a:gd name="T1" fmla="*/ 0 h 9"/>
                  <a:gd name="T2" fmla="*/ 0 w 26"/>
                  <a:gd name="T3" fmla="*/ 4 h 9"/>
                  <a:gd name="T4" fmla="*/ 3 w 26"/>
                  <a:gd name="T5" fmla="*/ 7 h 9"/>
                  <a:gd name="T6" fmla="*/ 6 w 26"/>
                  <a:gd name="T7" fmla="*/ 8 h 9"/>
                  <a:gd name="T8" fmla="*/ 11 w 26"/>
                  <a:gd name="T9" fmla="*/ 9 h 9"/>
                  <a:gd name="T10" fmla="*/ 15 w 26"/>
                  <a:gd name="T11" fmla="*/ 8 h 9"/>
                  <a:gd name="T12" fmla="*/ 20 w 26"/>
                  <a:gd name="T13" fmla="*/ 7 h 9"/>
                  <a:gd name="T14" fmla="*/ 23 w 26"/>
                  <a:gd name="T15" fmla="*/ 4 h 9"/>
                  <a:gd name="T16" fmla="*/ 26 w 26"/>
                  <a:gd name="T17" fmla="*/ 0 h 9"/>
                  <a:gd name="T18" fmla="*/ 0 w 26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9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6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0" y="7"/>
                    </a:lnTo>
                    <a:lnTo>
                      <a:pt x="23" y="4"/>
                    </a:lnTo>
                    <a:lnTo>
                      <a:pt x="26" y="0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1" name="Freeform 57"/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7487639" y="3143391"/>
                <a:ext cx="19508" cy="65013"/>
              </a:xfrm>
              <a:custGeom>
                <a:avLst/>
                <a:gdLst>
                  <a:gd name="T0" fmla="*/ 0 w 39"/>
                  <a:gd name="T1" fmla="*/ 0 h 18"/>
                  <a:gd name="T2" fmla="*/ 0 w 39"/>
                  <a:gd name="T3" fmla="*/ 18 h 18"/>
                  <a:gd name="T4" fmla="*/ 6 w 39"/>
                  <a:gd name="T5" fmla="*/ 18 h 18"/>
                  <a:gd name="T6" fmla="*/ 13 w 39"/>
                  <a:gd name="T7" fmla="*/ 18 h 18"/>
                  <a:gd name="T8" fmla="*/ 23 w 39"/>
                  <a:gd name="T9" fmla="*/ 17 h 18"/>
                  <a:gd name="T10" fmla="*/ 30 w 39"/>
                  <a:gd name="T11" fmla="*/ 14 h 18"/>
                  <a:gd name="T12" fmla="*/ 34 w 39"/>
                  <a:gd name="T13" fmla="*/ 12 h 18"/>
                  <a:gd name="T14" fmla="*/ 37 w 39"/>
                  <a:gd name="T15" fmla="*/ 10 h 18"/>
                  <a:gd name="T16" fmla="*/ 38 w 39"/>
                  <a:gd name="T17" fmla="*/ 8 h 18"/>
                  <a:gd name="T18" fmla="*/ 39 w 39"/>
                  <a:gd name="T19" fmla="*/ 6 h 18"/>
                  <a:gd name="T20" fmla="*/ 29 w 39"/>
                  <a:gd name="T21" fmla="*/ 5 h 18"/>
                  <a:gd name="T22" fmla="*/ 19 w 39"/>
                  <a:gd name="T23" fmla="*/ 3 h 18"/>
                  <a:gd name="T24" fmla="*/ 10 w 39"/>
                  <a:gd name="T25" fmla="*/ 0 h 18"/>
                  <a:gd name="T26" fmla="*/ 0 w 39"/>
                  <a:gd name="T2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8">
                    <a:moveTo>
                      <a:pt x="0" y="0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23" y="17"/>
                    </a:lnTo>
                    <a:lnTo>
                      <a:pt x="30" y="14"/>
                    </a:lnTo>
                    <a:lnTo>
                      <a:pt x="34" y="12"/>
                    </a:lnTo>
                    <a:lnTo>
                      <a:pt x="37" y="10"/>
                    </a:lnTo>
                    <a:lnTo>
                      <a:pt x="38" y="8"/>
                    </a:lnTo>
                    <a:lnTo>
                      <a:pt x="39" y="6"/>
                    </a:lnTo>
                    <a:lnTo>
                      <a:pt x="29" y="5"/>
                    </a:lnTo>
                    <a:lnTo>
                      <a:pt x="19" y="3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2" name="Freeform 162"/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7862043" y="4268709"/>
                <a:ext cx="412669" cy="469623"/>
              </a:xfrm>
              <a:custGeom>
                <a:avLst/>
                <a:gdLst>
                  <a:gd name="T0" fmla="*/ 2147483647 w 758"/>
                  <a:gd name="T1" fmla="*/ 2147483647 h 795"/>
                  <a:gd name="T2" fmla="*/ 2147483647 w 758"/>
                  <a:gd name="T3" fmla="*/ 2147483647 h 795"/>
                  <a:gd name="T4" fmla="*/ 2147483647 w 758"/>
                  <a:gd name="T5" fmla="*/ 2147483647 h 795"/>
                  <a:gd name="T6" fmla="*/ 2147483647 w 758"/>
                  <a:gd name="T7" fmla="*/ 2147483647 h 795"/>
                  <a:gd name="T8" fmla="*/ 2147483647 w 758"/>
                  <a:gd name="T9" fmla="*/ 2147483647 h 795"/>
                  <a:gd name="T10" fmla="*/ 2147483647 w 758"/>
                  <a:gd name="T11" fmla="*/ 2147483647 h 795"/>
                  <a:gd name="T12" fmla="*/ 2147483647 w 758"/>
                  <a:gd name="T13" fmla="*/ 2147483647 h 795"/>
                  <a:gd name="T14" fmla="*/ 2147483647 w 758"/>
                  <a:gd name="T15" fmla="*/ 2147483647 h 795"/>
                  <a:gd name="T16" fmla="*/ 2147483647 w 758"/>
                  <a:gd name="T17" fmla="*/ 2147483647 h 795"/>
                  <a:gd name="T18" fmla="*/ 2147483647 w 758"/>
                  <a:gd name="T19" fmla="*/ 2147483647 h 795"/>
                  <a:gd name="T20" fmla="*/ 2147483647 w 758"/>
                  <a:gd name="T21" fmla="*/ 2147483647 h 795"/>
                  <a:gd name="T22" fmla="*/ 2147483647 w 758"/>
                  <a:gd name="T23" fmla="*/ 2147483647 h 795"/>
                  <a:gd name="T24" fmla="*/ 2147483647 w 758"/>
                  <a:gd name="T25" fmla="*/ 2147483647 h 795"/>
                  <a:gd name="T26" fmla="*/ 2147483647 w 758"/>
                  <a:gd name="T27" fmla="*/ 2147483647 h 795"/>
                  <a:gd name="T28" fmla="*/ 2147483647 w 758"/>
                  <a:gd name="T29" fmla="*/ 2147483647 h 795"/>
                  <a:gd name="T30" fmla="*/ 2147483647 w 758"/>
                  <a:gd name="T31" fmla="*/ 2147483647 h 795"/>
                  <a:gd name="T32" fmla="*/ 2147483647 w 758"/>
                  <a:gd name="T33" fmla="*/ 2147483647 h 795"/>
                  <a:gd name="T34" fmla="*/ 2147483647 w 758"/>
                  <a:gd name="T35" fmla="*/ 2147483647 h 795"/>
                  <a:gd name="T36" fmla="*/ 2147483647 w 758"/>
                  <a:gd name="T37" fmla="*/ 2147483647 h 795"/>
                  <a:gd name="T38" fmla="*/ 2147483647 w 758"/>
                  <a:gd name="T39" fmla="*/ 2147483647 h 795"/>
                  <a:gd name="T40" fmla="*/ 2147483647 w 758"/>
                  <a:gd name="T41" fmla="*/ 2147483647 h 795"/>
                  <a:gd name="T42" fmla="*/ 2147483647 w 758"/>
                  <a:gd name="T43" fmla="*/ 2147483647 h 795"/>
                  <a:gd name="T44" fmla="*/ 2147483647 w 758"/>
                  <a:gd name="T45" fmla="*/ 2147483647 h 795"/>
                  <a:gd name="T46" fmla="*/ 2147483647 w 758"/>
                  <a:gd name="T47" fmla="*/ 2147483647 h 795"/>
                  <a:gd name="T48" fmla="*/ 2147483647 w 758"/>
                  <a:gd name="T49" fmla="*/ 2147483647 h 795"/>
                  <a:gd name="T50" fmla="*/ 2147483647 w 758"/>
                  <a:gd name="T51" fmla="*/ 2147483647 h 795"/>
                  <a:gd name="T52" fmla="*/ 2147483647 w 758"/>
                  <a:gd name="T53" fmla="*/ 2147483647 h 795"/>
                  <a:gd name="T54" fmla="*/ 2147483647 w 758"/>
                  <a:gd name="T55" fmla="*/ 2147483647 h 795"/>
                  <a:gd name="T56" fmla="*/ 2147483647 w 758"/>
                  <a:gd name="T57" fmla="*/ 2147483647 h 795"/>
                  <a:gd name="T58" fmla="*/ 2147483647 w 758"/>
                  <a:gd name="T59" fmla="*/ 2147483647 h 795"/>
                  <a:gd name="T60" fmla="*/ 2147483647 w 758"/>
                  <a:gd name="T61" fmla="*/ 2147483647 h 795"/>
                  <a:gd name="T62" fmla="*/ 2147483647 w 758"/>
                  <a:gd name="T63" fmla="*/ 2147483647 h 795"/>
                  <a:gd name="T64" fmla="*/ 2147483647 w 758"/>
                  <a:gd name="T65" fmla="*/ 2147483647 h 795"/>
                  <a:gd name="T66" fmla="*/ 2147483647 w 758"/>
                  <a:gd name="T67" fmla="*/ 2147483647 h 795"/>
                  <a:gd name="T68" fmla="*/ 2147483647 w 758"/>
                  <a:gd name="T69" fmla="*/ 2147483647 h 795"/>
                  <a:gd name="T70" fmla="*/ 2147483647 w 758"/>
                  <a:gd name="T71" fmla="*/ 2147483647 h 795"/>
                  <a:gd name="T72" fmla="*/ 2147483647 w 758"/>
                  <a:gd name="T73" fmla="*/ 2147483647 h 795"/>
                  <a:gd name="T74" fmla="*/ 2147483647 w 758"/>
                  <a:gd name="T75" fmla="*/ 2147483647 h 795"/>
                  <a:gd name="T76" fmla="*/ 2147483647 w 758"/>
                  <a:gd name="T77" fmla="*/ 2147483647 h 795"/>
                  <a:gd name="T78" fmla="*/ 2147483647 w 758"/>
                  <a:gd name="T79" fmla="*/ 2147483647 h 795"/>
                  <a:gd name="T80" fmla="*/ 2147483647 w 758"/>
                  <a:gd name="T81" fmla="*/ 2147483647 h 795"/>
                  <a:gd name="T82" fmla="*/ 2147483647 w 758"/>
                  <a:gd name="T83" fmla="*/ 2147483647 h 795"/>
                  <a:gd name="T84" fmla="*/ 2147483647 w 758"/>
                  <a:gd name="T85" fmla="*/ 2147483647 h 795"/>
                  <a:gd name="T86" fmla="*/ 2147483647 w 758"/>
                  <a:gd name="T87" fmla="*/ 2147483647 h 795"/>
                  <a:gd name="T88" fmla="*/ 2147483647 w 758"/>
                  <a:gd name="T89" fmla="*/ 2147483647 h 795"/>
                  <a:gd name="T90" fmla="*/ 2147483647 w 758"/>
                  <a:gd name="T91" fmla="*/ 2147483647 h 795"/>
                  <a:gd name="T92" fmla="*/ 2147483647 w 758"/>
                  <a:gd name="T93" fmla="*/ 2147483647 h 795"/>
                  <a:gd name="T94" fmla="*/ 2147483647 w 758"/>
                  <a:gd name="T95" fmla="*/ 2147483647 h 795"/>
                  <a:gd name="T96" fmla="*/ 2147483647 w 758"/>
                  <a:gd name="T97" fmla="*/ 2147483647 h 795"/>
                  <a:gd name="T98" fmla="*/ 2147483647 w 758"/>
                  <a:gd name="T99" fmla="*/ 2147483647 h 795"/>
                  <a:gd name="T100" fmla="*/ 2147483647 w 758"/>
                  <a:gd name="T101" fmla="*/ 2147483647 h 795"/>
                  <a:gd name="T102" fmla="*/ 2147483647 w 758"/>
                  <a:gd name="T103" fmla="*/ 2147483647 h 795"/>
                  <a:gd name="T104" fmla="*/ 2147483647 w 758"/>
                  <a:gd name="T105" fmla="*/ 2147483647 h 795"/>
                  <a:gd name="T106" fmla="*/ 2147483647 w 758"/>
                  <a:gd name="T107" fmla="*/ 2147483647 h 795"/>
                  <a:gd name="T108" fmla="*/ 2147483647 w 758"/>
                  <a:gd name="T109" fmla="*/ 2147483647 h 795"/>
                  <a:gd name="T110" fmla="*/ 2147483647 w 758"/>
                  <a:gd name="T111" fmla="*/ 618341085 h 795"/>
                  <a:gd name="T112" fmla="*/ 2147483647 w 758"/>
                  <a:gd name="T113" fmla="*/ 618341085 h 795"/>
                  <a:gd name="T114" fmla="*/ 2147483647 w 758"/>
                  <a:gd name="T115" fmla="*/ 2147483647 h 795"/>
                  <a:gd name="T116" fmla="*/ 2147483647 w 758"/>
                  <a:gd name="T117" fmla="*/ 2147483647 h 795"/>
                  <a:gd name="T118" fmla="*/ 0 w 758"/>
                  <a:gd name="T119" fmla="*/ 2147483647 h 79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58" h="795">
                    <a:moveTo>
                      <a:pt x="0" y="80"/>
                    </a:moveTo>
                    <a:lnTo>
                      <a:pt x="10" y="80"/>
                    </a:lnTo>
                    <a:lnTo>
                      <a:pt x="20" y="80"/>
                    </a:lnTo>
                    <a:lnTo>
                      <a:pt x="26" y="80"/>
                    </a:lnTo>
                    <a:lnTo>
                      <a:pt x="31" y="81"/>
                    </a:lnTo>
                    <a:lnTo>
                      <a:pt x="37" y="83"/>
                    </a:lnTo>
                    <a:lnTo>
                      <a:pt x="43" y="85"/>
                    </a:lnTo>
                    <a:lnTo>
                      <a:pt x="49" y="88"/>
                    </a:lnTo>
                    <a:lnTo>
                      <a:pt x="55" y="92"/>
                    </a:lnTo>
                    <a:lnTo>
                      <a:pt x="61" y="97"/>
                    </a:lnTo>
                    <a:lnTo>
                      <a:pt x="66" y="102"/>
                    </a:lnTo>
                    <a:lnTo>
                      <a:pt x="72" y="108"/>
                    </a:lnTo>
                    <a:lnTo>
                      <a:pt x="77" y="113"/>
                    </a:lnTo>
                    <a:lnTo>
                      <a:pt x="82" y="120"/>
                    </a:lnTo>
                    <a:lnTo>
                      <a:pt x="86" y="127"/>
                    </a:lnTo>
                    <a:lnTo>
                      <a:pt x="88" y="134"/>
                    </a:lnTo>
                    <a:lnTo>
                      <a:pt x="92" y="142"/>
                    </a:lnTo>
                    <a:lnTo>
                      <a:pt x="93" y="152"/>
                    </a:lnTo>
                    <a:lnTo>
                      <a:pt x="94" y="161"/>
                    </a:lnTo>
                    <a:lnTo>
                      <a:pt x="93" y="169"/>
                    </a:lnTo>
                    <a:lnTo>
                      <a:pt x="92" y="175"/>
                    </a:lnTo>
                    <a:lnTo>
                      <a:pt x="89" y="180"/>
                    </a:lnTo>
                    <a:lnTo>
                      <a:pt x="87" y="183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1" y="193"/>
                    </a:lnTo>
                    <a:lnTo>
                      <a:pt x="81" y="197"/>
                    </a:lnTo>
                    <a:lnTo>
                      <a:pt x="81" y="205"/>
                    </a:lnTo>
                    <a:lnTo>
                      <a:pt x="82" y="214"/>
                    </a:lnTo>
                    <a:lnTo>
                      <a:pt x="83" y="221"/>
                    </a:lnTo>
                    <a:lnTo>
                      <a:pt x="84" y="227"/>
                    </a:lnTo>
                    <a:lnTo>
                      <a:pt x="88" y="240"/>
                    </a:lnTo>
                    <a:lnTo>
                      <a:pt x="94" y="252"/>
                    </a:lnTo>
                    <a:lnTo>
                      <a:pt x="97" y="262"/>
                    </a:lnTo>
                    <a:lnTo>
                      <a:pt x="100" y="271"/>
                    </a:lnTo>
                    <a:lnTo>
                      <a:pt x="95" y="278"/>
                    </a:lnTo>
                    <a:lnTo>
                      <a:pt x="92" y="285"/>
                    </a:lnTo>
                    <a:lnTo>
                      <a:pt x="88" y="293"/>
                    </a:lnTo>
                    <a:lnTo>
                      <a:pt x="85" y="300"/>
                    </a:lnTo>
                    <a:lnTo>
                      <a:pt x="83" y="308"/>
                    </a:lnTo>
                    <a:lnTo>
                      <a:pt x="82" y="318"/>
                    </a:lnTo>
                    <a:lnTo>
                      <a:pt x="81" y="328"/>
                    </a:lnTo>
                    <a:lnTo>
                      <a:pt x="81" y="339"/>
                    </a:lnTo>
                    <a:lnTo>
                      <a:pt x="81" y="352"/>
                    </a:lnTo>
                    <a:lnTo>
                      <a:pt x="83" y="363"/>
                    </a:lnTo>
                    <a:lnTo>
                      <a:pt x="85" y="374"/>
                    </a:lnTo>
                    <a:lnTo>
                      <a:pt x="88" y="382"/>
                    </a:lnTo>
                    <a:lnTo>
                      <a:pt x="93" y="390"/>
                    </a:lnTo>
                    <a:lnTo>
                      <a:pt x="97" y="396"/>
                    </a:lnTo>
                    <a:lnTo>
                      <a:pt x="101" y="402"/>
                    </a:lnTo>
                    <a:lnTo>
                      <a:pt x="107" y="407"/>
                    </a:lnTo>
                    <a:lnTo>
                      <a:pt x="99" y="415"/>
                    </a:lnTo>
                    <a:lnTo>
                      <a:pt x="94" y="424"/>
                    </a:lnTo>
                    <a:lnTo>
                      <a:pt x="89" y="433"/>
                    </a:lnTo>
                    <a:lnTo>
                      <a:pt x="85" y="441"/>
                    </a:lnTo>
                    <a:lnTo>
                      <a:pt x="78" y="457"/>
                    </a:lnTo>
                    <a:lnTo>
                      <a:pt x="73" y="474"/>
                    </a:lnTo>
                    <a:lnTo>
                      <a:pt x="88" y="493"/>
                    </a:lnTo>
                    <a:lnTo>
                      <a:pt x="101" y="511"/>
                    </a:lnTo>
                    <a:lnTo>
                      <a:pt x="113" y="529"/>
                    </a:lnTo>
                    <a:lnTo>
                      <a:pt x="124" y="548"/>
                    </a:lnTo>
                    <a:lnTo>
                      <a:pt x="130" y="558"/>
                    </a:lnTo>
                    <a:lnTo>
                      <a:pt x="134" y="567"/>
                    </a:lnTo>
                    <a:lnTo>
                      <a:pt x="138" y="577"/>
                    </a:lnTo>
                    <a:lnTo>
                      <a:pt x="141" y="588"/>
                    </a:lnTo>
                    <a:lnTo>
                      <a:pt x="143" y="599"/>
                    </a:lnTo>
                    <a:lnTo>
                      <a:pt x="145" y="611"/>
                    </a:lnTo>
                    <a:lnTo>
                      <a:pt x="146" y="622"/>
                    </a:lnTo>
                    <a:lnTo>
                      <a:pt x="146" y="634"/>
                    </a:lnTo>
                    <a:lnTo>
                      <a:pt x="148" y="640"/>
                    </a:lnTo>
                    <a:lnTo>
                      <a:pt x="149" y="648"/>
                    </a:lnTo>
                    <a:lnTo>
                      <a:pt x="152" y="659"/>
                    </a:lnTo>
                    <a:lnTo>
                      <a:pt x="156" y="670"/>
                    </a:lnTo>
                    <a:lnTo>
                      <a:pt x="166" y="696"/>
                    </a:lnTo>
                    <a:lnTo>
                      <a:pt x="179" y="724"/>
                    </a:lnTo>
                    <a:lnTo>
                      <a:pt x="187" y="738"/>
                    </a:lnTo>
                    <a:lnTo>
                      <a:pt x="194" y="750"/>
                    </a:lnTo>
                    <a:lnTo>
                      <a:pt x="201" y="763"/>
                    </a:lnTo>
                    <a:lnTo>
                      <a:pt x="208" y="774"/>
                    </a:lnTo>
                    <a:lnTo>
                      <a:pt x="214" y="782"/>
                    </a:lnTo>
                    <a:lnTo>
                      <a:pt x="221" y="789"/>
                    </a:lnTo>
                    <a:lnTo>
                      <a:pt x="224" y="792"/>
                    </a:lnTo>
                    <a:lnTo>
                      <a:pt x="228" y="793"/>
                    </a:lnTo>
                    <a:lnTo>
                      <a:pt x="230" y="794"/>
                    </a:lnTo>
                    <a:lnTo>
                      <a:pt x="233" y="795"/>
                    </a:lnTo>
                    <a:lnTo>
                      <a:pt x="239" y="794"/>
                    </a:lnTo>
                    <a:lnTo>
                      <a:pt x="244" y="793"/>
                    </a:lnTo>
                    <a:lnTo>
                      <a:pt x="251" y="790"/>
                    </a:lnTo>
                    <a:lnTo>
                      <a:pt x="256" y="787"/>
                    </a:lnTo>
                    <a:lnTo>
                      <a:pt x="266" y="780"/>
                    </a:lnTo>
                    <a:lnTo>
                      <a:pt x="278" y="771"/>
                    </a:lnTo>
                    <a:lnTo>
                      <a:pt x="289" y="761"/>
                    </a:lnTo>
                    <a:lnTo>
                      <a:pt x="302" y="753"/>
                    </a:lnTo>
                    <a:lnTo>
                      <a:pt x="309" y="750"/>
                    </a:lnTo>
                    <a:lnTo>
                      <a:pt x="317" y="747"/>
                    </a:lnTo>
                    <a:lnTo>
                      <a:pt x="324" y="746"/>
                    </a:lnTo>
                    <a:lnTo>
                      <a:pt x="332" y="745"/>
                    </a:lnTo>
                    <a:lnTo>
                      <a:pt x="341" y="746"/>
                    </a:lnTo>
                    <a:lnTo>
                      <a:pt x="348" y="747"/>
                    </a:lnTo>
                    <a:lnTo>
                      <a:pt x="355" y="748"/>
                    </a:lnTo>
                    <a:lnTo>
                      <a:pt x="361" y="750"/>
                    </a:lnTo>
                    <a:lnTo>
                      <a:pt x="371" y="756"/>
                    </a:lnTo>
                    <a:lnTo>
                      <a:pt x="380" y="763"/>
                    </a:lnTo>
                    <a:lnTo>
                      <a:pt x="388" y="770"/>
                    </a:lnTo>
                    <a:lnTo>
                      <a:pt x="395" y="777"/>
                    </a:lnTo>
                    <a:lnTo>
                      <a:pt x="403" y="783"/>
                    </a:lnTo>
                    <a:lnTo>
                      <a:pt x="412" y="789"/>
                    </a:lnTo>
                    <a:lnTo>
                      <a:pt x="418" y="780"/>
                    </a:lnTo>
                    <a:lnTo>
                      <a:pt x="422" y="773"/>
                    </a:lnTo>
                    <a:lnTo>
                      <a:pt x="427" y="767"/>
                    </a:lnTo>
                    <a:lnTo>
                      <a:pt x="432" y="761"/>
                    </a:lnTo>
                    <a:lnTo>
                      <a:pt x="437" y="758"/>
                    </a:lnTo>
                    <a:lnTo>
                      <a:pt x="443" y="754"/>
                    </a:lnTo>
                    <a:lnTo>
                      <a:pt x="448" y="752"/>
                    </a:lnTo>
                    <a:lnTo>
                      <a:pt x="454" y="750"/>
                    </a:lnTo>
                    <a:lnTo>
                      <a:pt x="478" y="745"/>
                    </a:lnTo>
                    <a:lnTo>
                      <a:pt x="505" y="739"/>
                    </a:lnTo>
                    <a:lnTo>
                      <a:pt x="525" y="647"/>
                    </a:lnTo>
                    <a:lnTo>
                      <a:pt x="525" y="637"/>
                    </a:lnTo>
                    <a:lnTo>
                      <a:pt x="525" y="622"/>
                    </a:lnTo>
                    <a:lnTo>
                      <a:pt x="526" y="616"/>
                    </a:lnTo>
                    <a:lnTo>
                      <a:pt x="529" y="610"/>
                    </a:lnTo>
                    <a:lnTo>
                      <a:pt x="533" y="604"/>
                    </a:lnTo>
                    <a:lnTo>
                      <a:pt x="539" y="600"/>
                    </a:lnTo>
                    <a:lnTo>
                      <a:pt x="547" y="594"/>
                    </a:lnTo>
                    <a:lnTo>
                      <a:pt x="555" y="590"/>
                    </a:lnTo>
                    <a:lnTo>
                      <a:pt x="565" y="587"/>
                    </a:lnTo>
                    <a:lnTo>
                      <a:pt x="575" y="584"/>
                    </a:lnTo>
                    <a:lnTo>
                      <a:pt x="597" y="579"/>
                    </a:lnTo>
                    <a:lnTo>
                      <a:pt x="621" y="575"/>
                    </a:lnTo>
                    <a:lnTo>
                      <a:pt x="644" y="574"/>
                    </a:lnTo>
                    <a:lnTo>
                      <a:pt x="665" y="573"/>
                    </a:lnTo>
                    <a:lnTo>
                      <a:pt x="671" y="573"/>
                    </a:lnTo>
                    <a:lnTo>
                      <a:pt x="678" y="575"/>
                    </a:lnTo>
                    <a:lnTo>
                      <a:pt x="682" y="577"/>
                    </a:lnTo>
                    <a:lnTo>
                      <a:pt x="687" y="579"/>
                    </a:lnTo>
                    <a:lnTo>
                      <a:pt x="691" y="581"/>
                    </a:lnTo>
                    <a:lnTo>
                      <a:pt x="695" y="583"/>
                    </a:lnTo>
                    <a:lnTo>
                      <a:pt x="700" y="585"/>
                    </a:lnTo>
                    <a:lnTo>
                      <a:pt x="704" y="585"/>
                    </a:lnTo>
                    <a:lnTo>
                      <a:pt x="738" y="598"/>
                    </a:lnTo>
                    <a:lnTo>
                      <a:pt x="738" y="589"/>
                    </a:lnTo>
                    <a:lnTo>
                      <a:pt x="740" y="581"/>
                    </a:lnTo>
                    <a:lnTo>
                      <a:pt x="744" y="573"/>
                    </a:lnTo>
                    <a:lnTo>
                      <a:pt x="748" y="566"/>
                    </a:lnTo>
                    <a:lnTo>
                      <a:pt x="751" y="559"/>
                    </a:lnTo>
                    <a:lnTo>
                      <a:pt x="755" y="550"/>
                    </a:lnTo>
                    <a:lnTo>
                      <a:pt x="757" y="541"/>
                    </a:lnTo>
                    <a:lnTo>
                      <a:pt x="758" y="530"/>
                    </a:lnTo>
                    <a:lnTo>
                      <a:pt x="757" y="518"/>
                    </a:lnTo>
                    <a:lnTo>
                      <a:pt x="756" y="508"/>
                    </a:lnTo>
                    <a:lnTo>
                      <a:pt x="752" y="499"/>
                    </a:lnTo>
                    <a:lnTo>
                      <a:pt x="749" y="492"/>
                    </a:lnTo>
                    <a:lnTo>
                      <a:pt x="740" y="478"/>
                    </a:lnTo>
                    <a:lnTo>
                      <a:pt x="731" y="467"/>
                    </a:lnTo>
                    <a:lnTo>
                      <a:pt x="726" y="462"/>
                    </a:lnTo>
                    <a:lnTo>
                      <a:pt x="722" y="456"/>
                    </a:lnTo>
                    <a:lnTo>
                      <a:pt x="716" y="450"/>
                    </a:lnTo>
                    <a:lnTo>
                      <a:pt x="713" y="443"/>
                    </a:lnTo>
                    <a:lnTo>
                      <a:pt x="710" y="435"/>
                    </a:lnTo>
                    <a:lnTo>
                      <a:pt x="706" y="424"/>
                    </a:lnTo>
                    <a:lnTo>
                      <a:pt x="705" y="413"/>
                    </a:lnTo>
                    <a:lnTo>
                      <a:pt x="704" y="401"/>
                    </a:lnTo>
                    <a:lnTo>
                      <a:pt x="671" y="401"/>
                    </a:lnTo>
                    <a:lnTo>
                      <a:pt x="660" y="403"/>
                    </a:lnTo>
                    <a:lnTo>
                      <a:pt x="650" y="403"/>
                    </a:lnTo>
                    <a:lnTo>
                      <a:pt x="641" y="402"/>
                    </a:lnTo>
                    <a:lnTo>
                      <a:pt x="633" y="399"/>
                    </a:lnTo>
                    <a:lnTo>
                      <a:pt x="625" y="395"/>
                    </a:lnTo>
                    <a:lnTo>
                      <a:pt x="617" y="390"/>
                    </a:lnTo>
                    <a:lnTo>
                      <a:pt x="611" y="384"/>
                    </a:lnTo>
                    <a:lnTo>
                      <a:pt x="605" y="378"/>
                    </a:lnTo>
                    <a:lnTo>
                      <a:pt x="601" y="370"/>
                    </a:lnTo>
                    <a:lnTo>
                      <a:pt x="597" y="363"/>
                    </a:lnTo>
                    <a:lnTo>
                      <a:pt x="593" y="356"/>
                    </a:lnTo>
                    <a:lnTo>
                      <a:pt x="590" y="349"/>
                    </a:lnTo>
                    <a:lnTo>
                      <a:pt x="586" y="336"/>
                    </a:lnTo>
                    <a:lnTo>
                      <a:pt x="585" y="327"/>
                    </a:lnTo>
                    <a:lnTo>
                      <a:pt x="585" y="321"/>
                    </a:lnTo>
                    <a:lnTo>
                      <a:pt x="585" y="311"/>
                    </a:lnTo>
                    <a:lnTo>
                      <a:pt x="585" y="297"/>
                    </a:lnTo>
                    <a:lnTo>
                      <a:pt x="585" y="278"/>
                    </a:lnTo>
                    <a:lnTo>
                      <a:pt x="585" y="274"/>
                    </a:lnTo>
                    <a:lnTo>
                      <a:pt x="583" y="269"/>
                    </a:lnTo>
                    <a:lnTo>
                      <a:pt x="581" y="265"/>
                    </a:lnTo>
                    <a:lnTo>
                      <a:pt x="578" y="260"/>
                    </a:lnTo>
                    <a:lnTo>
                      <a:pt x="570" y="251"/>
                    </a:lnTo>
                    <a:lnTo>
                      <a:pt x="560" y="242"/>
                    </a:lnTo>
                    <a:lnTo>
                      <a:pt x="548" y="233"/>
                    </a:lnTo>
                    <a:lnTo>
                      <a:pt x="534" y="223"/>
                    </a:lnTo>
                    <a:lnTo>
                      <a:pt x="520" y="215"/>
                    </a:lnTo>
                    <a:lnTo>
                      <a:pt x="503" y="205"/>
                    </a:lnTo>
                    <a:lnTo>
                      <a:pt x="487" y="197"/>
                    </a:lnTo>
                    <a:lnTo>
                      <a:pt x="470" y="190"/>
                    </a:lnTo>
                    <a:lnTo>
                      <a:pt x="455" y="183"/>
                    </a:lnTo>
                    <a:lnTo>
                      <a:pt x="440" y="178"/>
                    </a:lnTo>
                    <a:lnTo>
                      <a:pt x="425" y="173"/>
                    </a:lnTo>
                    <a:lnTo>
                      <a:pt x="412" y="170"/>
                    </a:lnTo>
                    <a:lnTo>
                      <a:pt x="401" y="167"/>
                    </a:lnTo>
                    <a:lnTo>
                      <a:pt x="392" y="167"/>
                    </a:lnTo>
                    <a:lnTo>
                      <a:pt x="384" y="166"/>
                    </a:lnTo>
                    <a:lnTo>
                      <a:pt x="375" y="165"/>
                    </a:lnTo>
                    <a:lnTo>
                      <a:pt x="367" y="164"/>
                    </a:lnTo>
                    <a:lnTo>
                      <a:pt x="359" y="161"/>
                    </a:lnTo>
                    <a:lnTo>
                      <a:pt x="351" y="158"/>
                    </a:lnTo>
                    <a:lnTo>
                      <a:pt x="344" y="155"/>
                    </a:lnTo>
                    <a:lnTo>
                      <a:pt x="336" y="151"/>
                    </a:lnTo>
                    <a:lnTo>
                      <a:pt x="330" y="145"/>
                    </a:lnTo>
                    <a:lnTo>
                      <a:pt x="323" y="140"/>
                    </a:lnTo>
                    <a:lnTo>
                      <a:pt x="318" y="135"/>
                    </a:lnTo>
                    <a:lnTo>
                      <a:pt x="312" y="129"/>
                    </a:lnTo>
                    <a:lnTo>
                      <a:pt x="307" y="122"/>
                    </a:lnTo>
                    <a:lnTo>
                      <a:pt x="302" y="115"/>
                    </a:lnTo>
                    <a:lnTo>
                      <a:pt x="299" y="108"/>
                    </a:lnTo>
                    <a:lnTo>
                      <a:pt x="296" y="101"/>
                    </a:lnTo>
                    <a:lnTo>
                      <a:pt x="292" y="92"/>
                    </a:lnTo>
                    <a:lnTo>
                      <a:pt x="289" y="63"/>
                    </a:lnTo>
                    <a:lnTo>
                      <a:pt x="285" y="32"/>
                    </a:lnTo>
                    <a:lnTo>
                      <a:pt x="283" y="25"/>
                    </a:lnTo>
                    <a:lnTo>
                      <a:pt x="279" y="19"/>
                    </a:lnTo>
                    <a:lnTo>
                      <a:pt x="276" y="14"/>
                    </a:lnTo>
                    <a:lnTo>
                      <a:pt x="272" y="9"/>
                    </a:lnTo>
                    <a:lnTo>
                      <a:pt x="267" y="6"/>
                    </a:lnTo>
                    <a:lnTo>
                      <a:pt x="261" y="3"/>
                    </a:lnTo>
                    <a:lnTo>
                      <a:pt x="254" y="1"/>
                    </a:lnTo>
                    <a:lnTo>
                      <a:pt x="246" y="0"/>
                    </a:lnTo>
                    <a:lnTo>
                      <a:pt x="236" y="1"/>
                    </a:lnTo>
                    <a:lnTo>
                      <a:pt x="227" y="3"/>
                    </a:lnTo>
                    <a:lnTo>
                      <a:pt x="218" y="5"/>
                    </a:lnTo>
                    <a:lnTo>
                      <a:pt x="208" y="9"/>
                    </a:lnTo>
                    <a:lnTo>
                      <a:pt x="190" y="18"/>
                    </a:lnTo>
                    <a:lnTo>
                      <a:pt x="173" y="30"/>
                    </a:lnTo>
                    <a:lnTo>
                      <a:pt x="155" y="43"/>
                    </a:lnTo>
                    <a:lnTo>
                      <a:pt x="138" y="55"/>
                    </a:lnTo>
                    <a:lnTo>
                      <a:pt x="129" y="60"/>
                    </a:lnTo>
                    <a:lnTo>
                      <a:pt x="119" y="66"/>
                    </a:lnTo>
                    <a:lnTo>
                      <a:pt x="110" y="70"/>
                    </a:lnTo>
                    <a:lnTo>
                      <a:pt x="100" y="74"/>
                    </a:lnTo>
                    <a:lnTo>
                      <a:pt x="20" y="80"/>
                    </a:lnTo>
                    <a:lnTo>
                      <a:pt x="0" y="80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3" name="Freeform 163"/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8131175" y="3625219"/>
                <a:ext cx="149519" cy="243774"/>
              </a:xfrm>
              <a:custGeom>
                <a:avLst/>
                <a:gdLst>
                  <a:gd name="T0" fmla="*/ 2147483647 w 273"/>
                  <a:gd name="T1" fmla="*/ 2147483647 h 414"/>
                  <a:gd name="T2" fmla="*/ 2147483647 w 273"/>
                  <a:gd name="T3" fmla="*/ 2147483647 h 414"/>
                  <a:gd name="T4" fmla="*/ 2147483647 w 273"/>
                  <a:gd name="T5" fmla="*/ 2147483647 h 414"/>
                  <a:gd name="T6" fmla="*/ 2147483647 w 273"/>
                  <a:gd name="T7" fmla="*/ 2147483647 h 414"/>
                  <a:gd name="T8" fmla="*/ 2147483647 w 273"/>
                  <a:gd name="T9" fmla="*/ 2147483647 h 414"/>
                  <a:gd name="T10" fmla="*/ 2147483647 w 273"/>
                  <a:gd name="T11" fmla="*/ 2147483647 h 414"/>
                  <a:gd name="T12" fmla="*/ 2147483647 w 273"/>
                  <a:gd name="T13" fmla="*/ 2147483647 h 414"/>
                  <a:gd name="T14" fmla="*/ 2147483647 w 273"/>
                  <a:gd name="T15" fmla="*/ 2147483647 h 414"/>
                  <a:gd name="T16" fmla="*/ 2147483647 w 273"/>
                  <a:gd name="T17" fmla="*/ 2147483647 h 414"/>
                  <a:gd name="T18" fmla="*/ 2147483647 w 273"/>
                  <a:gd name="T19" fmla="*/ 2147483647 h 414"/>
                  <a:gd name="T20" fmla="*/ 2147483647 w 273"/>
                  <a:gd name="T21" fmla="*/ 2147483647 h 414"/>
                  <a:gd name="T22" fmla="*/ 2147483647 w 273"/>
                  <a:gd name="T23" fmla="*/ 2147483647 h 414"/>
                  <a:gd name="T24" fmla="*/ 2147483647 w 273"/>
                  <a:gd name="T25" fmla="*/ 2147483647 h 414"/>
                  <a:gd name="T26" fmla="*/ 2147483647 w 273"/>
                  <a:gd name="T27" fmla="*/ 1020732377 h 414"/>
                  <a:gd name="T28" fmla="*/ 2147483647 w 273"/>
                  <a:gd name="T29" fmla="*/ 1429163938 h 414"/>
                  <a:gd name="T30" fmla="*/ 2147483647 w 273"/>
                  <a:gd name="T31" fmla="*/ 2147483647 h 414"/>
                  <a:gd name="T32" fmla="*/ 2147483647 w 273"/>
                  <a:gd name="T33" fmla="*/ 2147483647 h 414"/>
                  <a:gd name="T34" fmla="*/ 2147483647 w 273"/>
                  <a:gd name="T35" fmla="*/ 2147483647 h 414"/>
                  <a:gd name="T36" fmla="*/ 2147483647 w 273"/>
                  <a:gd name="T37" fmla="*/ 2147483647 h 414"/>
                  <a:gd name="T38" fmla="*/ 2147483647 w 273"/>
                  <a:gd name="T39" fmla="*/ 2147483647 h 414"/>
                  <a:gd name="T40" fmla="*/ 2147483647 w 273"/>
                  <a:gd name="T41" fmla="*/ 2147483647 h 414"/>
                  <a:gd name="T42" fmla="*/ 2147483647 w 273"/>
                  <a:gd name="T43" fmla="*/ 2147483647 h 414"/>
                  <a:gd name="T44" fmla="*/ 2147483647 w 273"/>
                  <a:gd name="T45" fmla="*/ 2147483647 h 414"/>
                  <a:gd name="T46" fmla="*/ 657218706 w 273"/>
                  <a:gd name="T47" fmla="*/ 2147483647 h 414"/>
                  <a:gd name="T48" fmla="*/ 2147483647 w 273"/>
                  <a:gd name="T49" fmla="*/ 2147483647 h 414"/>
                  <a:gd name="T50" fmla="*/ 2147483647 w 273"/>
                  <a:gd name="T51" fmla="*/ 2147483647 h 414"/>
                  <a:gd name="T52" fmla="*/ 2147483647 w 273"/>
                  <a:gd name="T53" fmla="*/ 2147483647 h 414"/>
                  <a:gd name="T54" fmla="*/ 2147483647 w 273"/>
                  <a:gd name="T55" fmla="*/ 2147483647 h 414"/>
                  <a:gd name="T56" fmla="*/ 2147483647 w 273"/>
                  <a:gd name="T57" fmla="*/ 2147483647 h 414"/>
                  <a:gd name="T58" fmla="*/ 2147483647 w 273"/>
                  <a:gd name="T59" fmla="*/ 2147483647 h 414"/>
                  <a:gd name="T60" fmla="*/ 2147483647 w 273"/>
                  <a:gd name="T61" fmla="*/ 2147483647 h 414"/>
                  <a:gd name="T62" fmla="*/ 2147483647 w 273"/>
                  <a:gd name="T63" fmla="*/ 2147483647 h 414"/>
                  <a:gd name="T64" fmla="*/ 2147483647 w 273"/>
                  <a:gd name="T65" fmla="*/ 2147483647 h 414"/>
                  <a:gd name="T66" fmla="*/ 2147483647 w 273"/>
                  <a:gd name="T67" fmla="*/ 2147483647 h 414"/>
                  <a:gd name="T68" fmla="*/ 2147483647 w 273"/>
                  <a:gd name="T69" fmla="*/ 2147483647 h 414"/>
                  <a:gd name="T70" fmla="*/ 2147483647 w 273"/>
                  <a:gd name="T71" fmla="*/ 2147483647 h 414"/>
                  <a:gd name="T72" fmla="*/ 2147483647 w 273"/>
                  <a:gd name="T73" fmla="*/ 2147483647 h 414"/>
                  <a:gd name="T74" fmla="*/ 2147483647 w 273"/>
                  <a:gd name="T75" fmla="*/ 2147483647 h 414"/>
                  <a:gd name="T76" fmla="*/ 2147483647 w 273"/>
                  <a:gd name="T77" fmla="*/ 2147483647 h 414"/>
                  <a:gd name="T78" fmla="*/ 2147483647 w 273"/>
                  <a:gd name="T79" fmla="*/ 2147483647 h 414"/>
                  <a:gd name="T80" fmla="*/ 2147483647 w 273"/>
                  <a:gd name="T81" fmla="*/ 2147483647 h 414"/>
                  <a:gd name="T82" fmla="*/ 2147483647 w 273"/>
                  <a:gd name="T83" fmla="*/ 2147483647 h 414"/>
                  <a:gd name="T84" fmla="*/ 2147483647 w 273"/>
                  <a:gd name="T85" fmla="*/ 2147483647 h 414"/>
                  <a:gd name="T86" fmla="*/ 2147483647 w 273"/>
                  <a:gd name="T87" fmla="*/ 2147483647 h 414"/>
                  <a:gd name="T88" fmla="*/ 2147483647 w 273"/>
                  <a:gd name="T89" fmla="*/ 2147483647 h 414"/>
                  <a:gd name="T90" fmla="*/ 2147483647 w 273"/>
                  <a:gd name="T91" fmla="*/ 2147483647 h 414"/>
                  <a:gd name="T92" fmla="*/ 2147483647 w 273"/>
                  <a:gd name="T93" fmla="*/ 2147483647 h 414"/>
                  <a:gd name="T94" fmla="*/ 2147483647 w 273"/>
                  <a:gd name="T95" fmla="*/ 2147483647 h 414"/>
                  <a:gd name="T96" fmla="*/ 2147483647 w 273"/>
                  <a:gd name="T97" fmla="*/ 2147483647 h 414"/>
                  <a:gd name="T98" fmla="*/ 2147483647 w 273"/>
                  <a:gd name="T99" fmla="*/ 2147483647 h 414"/>
                  <a:gd name="T100" fmla="*/ 2147483647 w 273"/>
                  <a:gd name="T101" fmla="*/ 2147483647 h 414"/>
                  <a:gd name="T102" fmla="*/ 2147483647 w 273"/>
                  <a:gd name="T103" fmla="*/ 2147483647 h 414"/>
                  <a:gd name="T104" fmla="*/ 2147483647 w 273"/>
                  <a:gd name="T105" fmla="*/ 2147483647 h 414"/>
                  <a:gd name="T106" fmla="*/ 2147483647 w 273"/>
                  <a:gd name="T107" fmla="*/ 2147483647 h 414"/>
                  <a:gd name="T108" fmla="*/ 2147483647 w 273"/>
                  <a:gd name="T109" fmla="*/ 2147483647 h 41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273" h="414">
                    <a:moveTo>
                      <a:pt x="232" y="142"/>
                    </a:moveTo>
                    <a:lnTo>
                      <a:pt x="225" y="140"/>
                    </a:lnTo>
                    <a:lnTo>
                      <a:pt x="219" y="137"/>
                    </a:lnTo>
                    <a:lnTo>
                      <a:pt x="213" y="133"/>
                    </a:lnTo>
                    <a:lnTo>
                      <a:pt x="209" y="130"/>
                    </a:lnTo>
                    <a:lnTo>
                      <a:pt x="201" y="121"/>
                    </a:lnTo>
                    <a:lnTo>
                      <a:pt x="195" y="113"/>
                    </a:lnTo>
                    <a:lnTo>
                      <a:pt x="190" y="105"/>
                    </a:lnTo>
                    <a:lnTo>
                      <a:pt x="185" y="99"/>
                    </a:lnTo>
                    <a:lnTo>
                      <a:pt x="183" y="96"/>
                    </a:lnTo>
                    <a:lnTo>
                      <a:pt x="179" y="95"/>
                    </a:lnTo>
                    <a:lnTo>
                      <a:pt x="176" y="93"/>
                    </a:lnTo>
                    <a:lnTo>
                      <a:pt x="173" y="93"/>
                    </a:lnTo>
                    <a:lnTo>
                      <a:pt x="167" y="94"/>
                    </a:lnTo>
                    <a:lnTo>
                      <a:pt x="164" y="97"/>
                    </a:lnTo>
                    <a:lnTo>
                      <a:pt x="161" y="101"/>
                    </a:lnTo>
                    <a:lnTo>
                      <a:pt x="159" y="105"/>
                    </a:lnTo>
                    <a:lnTo>
                      <a:pt x="153" y="86"/>
                    </a:lnTo>
                    <a:lnTo>
                      <a:pt x="147" y="68"/>
                    </a:lnTo>
                    <a:lnTo>
                      <a:pt x="142" y="54"/>
                    </a:lnTo>
                    <a:lnTo>
                      <a:pt x="135" y="41"/>
                    </a:lnTo>
                    <a:lnTo>
                      <a:pt x="132" y="36"/>
                    </a:lnTo>
                    <a:lnTo>
                      <a:pt x="128" y="30"/>
                    </a:lnTo>
                    <a:lnTo>
                      <a:pt x="123" y="25"/>
                    </a:lnTo>
                    <a:lnTo>
                      <a:pt x="118" y="20"/>
                    </a:lnTo>
                    <a:lnTo>
                      <a:pt x="111" y="14"/>
                    </a:lnTo>
                    <a:lnTo>
                      <a:pt x="103" y="9"/>
                    </a:lnTo>
                    <a:lnTo>
                      <a:pt x="96" y="5"/>
                    </a:lnTo>
                    <a:lnTo>
                      <a:pt x="86" y="0"/>
                    </a:lnTo>
                    <a:lnTo>
                      <a:pt x="80" y="7"/>
                    </a:lnTo>
                    <a:lnTo>
                      <a:pt x="73" y="15"/>
                    </a:lnTo>
                    <a:lnTo>
                      <a:pt x="69" y="19"/>
                    </a:lnTo>
                    <a:lnTo>
                      <a:pt x="66" y="23"/>
                    </a:lnTo>
                    <a:lnTo>
                      <a:pt x="63" y="25"/>
                    </a:lnTo>
                    <a:lnTo>
                      <a:pt x="60" y="25"/>
                    </a:lnTo>
                    <a:lnTo>
                      <a:pt x="57" y="32"/>
                    </a:lnTo>
                    <a:lnTo>
                      <a:pt x="57" y="37"/>
                    </a:lnTo>
                    <a:lnTo>
                      <a:pt x="56" y="42"/>
                    </a:lnTo>
                    <a:lnTo>
                      <a:pt x="57" y="47"/>
                    </a:lnTo>
                    <a:lnTo>
                      <a:pt x="58" y="59"/>
                    </a:lnTo>
                    <a:lnTo>
                      <a:pt x="60" y="75"/>
                    </a:lnTo>
                    <a:lnTo>
                      <a:pt x="52" y="78"/>
                    </a:lnTo>
                    <a:lnTo>
                      <a:pt x="43" y="83"/>
                    </a:lnTo>
                    <a:lnTo>
                      <a:pt x="33" y="90"/>
                    </a:lnTo>
                    <a:lnTo>
                      <a:pt x="24" y="97"/>
                    </a:lnTo>
                    <a:lnTo>
                      <a:pt x="17" y="104"/>
                    </a:lnTo>
                    <a:lnTo>
                      <a:pt x="9" y="111"/>
                    </a:lnTo>
                    <a:lnTo>
                      <a:pt x="4" y="118"/>
                    </a:lnTo>
                    <a:lnTo>
                      <a:pt x="0" y="123"/>
                    </a:lnTo>
                    <a:lnTo>
                      <a:pt x="40" y="198"/>
                    </a:lnTo>
                    <a:lnTo>
                      <a:pt x="57" y="201"/>
                    </a:lnTo>
                    <a:lnTo>
                      <a:pt x="73" y="205"/>
                    </a:lnTo>
                    <a:lnTo>
                      <a:pt x="78" y="207"/>
                    </a:lnTo>
                    <a:lnTo>
                      <a:pt x="84" y="210"/>
                    </a:lnTo>
                    <a:lnTo>
                      <a:pt x="89" y="214"/>
                    </a:lnTo>
                    <a:lnTo>
                      <a:pt x="93" y="218"/>
                    </a:lnTo>
                    <a:lnTo>
                      <a:pt x="96" y="222"/>
                    </a:lnTo>
                    <a:lnTo>
                      <a:pt x="99" y="226"/>
                    </a:lnTo>
                    <a:lnTo>
                      <a:pt x="101" y="231"/>
                    </a:lnTo>
                    <a:lnTo>
                      <a:pt x="103" y="237"/>
                    </a:lnTo>
                    <a:lnTo>
                      <a:pt x="106" y="251"/>
                    </a:lnTo>
                    <a:lnTo>
                      <a:pt x="106" y="265"/>
                    </a:lnTo>
                    <a:lnTo>
                      <a:pt x="106" y="272"/>
                    </a:lnTo>
                    <a:lnTo>
                      <a:pt x="103" y="279"/>
                    </a:lnTo>
                    <a:lnTo>
                      <a:pt x="100" y="286"/>
                    </a:lnTo>
                    <a:lnTo>
                      <a:pt x="96" y="293"/>
                    </a:lnTo>
                    <a:lnTo>
                      <a:pt x="93" y="301"/>
                    </a:lnTo>
                    <a:lnTo>
                      <a:pt x="89" y="307"/>
                    </a:lnTo>
                    <a:lnTo>
                      <a:pt x="87" y="314"/>
                    </a:lnTo>
                    <a:lnTo>
                      <a:pt x="86" y="321"/>
                    </a:lnTo>
                    <a:lnTo>
                      <a:pt x="88" y="330"/>
                    </a:lnTo>
                    <a:lnTo>
                      <a:pt x="91" y="343"/>
                    </a:lnTo>
                    <a:lnTo>
                      <a:pt x="98" y="359"/>
                    </a:lnTo>
                    <a:lnTo>
                      <a:pt x="107" y="374"/>
                    </a:lnTo>
                    <a:lnTo>
                      <a:pt x="112" y="382"/>
                    </a:lnTo>
                    <a:lnTo>
                      <a:pt x="117" y="389"/>
                    </a:lnTo>
                    <a:lnTo>
                      <a:pt x="122" y="395"/>
                    </a:lnTo>
                    <a:lnTo>
                      <a:pt x="129" y="401"/>
                    </a:lnTo>
                    <a:lnTo>
                      <a:pt x="134" y="406"/>
                    </a:lnTo>
                    <a:lnTo>
                      <a:pt x="141" y="411"/>
                    </a:lnTo>
                    <a:lnTo>
                      <a:pt x="146" y="413"/>
                    </a:lnTo>
                    <a:lnTo>
                      <a:pt x="153" y="414"/>
                    </a:lnTo>
                    <a:lnTo>
                      <a:pt x="174" y="410"/>
                    </a:lnTo>
                    <a:lnTo>
                      <a:pt x="215" y="398"/>
                    </a:lnTo>
                    <a:lnTo>
                      <a:pt x="236" y="392"/>
                    </a:lnTo>
                    <a:lnTo>
                      <a:pt x="255" y="385"/>
                    </a:lnTo>
                    <a:lnTo>
                      <a:pt x="262" y="381"/>
                    </a:lnTo>
                    <a:lnTo>
                      <a:pt x="267" y="377"/>
                    </a:lnTo>
                    <a:lnTo>
                      <a:pt x="271" y="374"/>
                    </a:lnTo>
                    <a:lnTo>
                      <a:pt x="273" y="370"/>
                    </a:lnTo>
                    <a:lnTo>
                      <a:pt x="271" y="361"/>
                    </a:lnTo>
                    <a:lnTo>
                      <a:pt x="269" y="352"/>
                    </a:lnTo>
                    <a:lnTo>
                      <a:pt x="267" y="343"/>
                    </a:lnTo>
                    <a:lnTo>
                      <a:pt x="263" y="335"/>
                    </a:lnTo>
                    <a:lnTo>
                      <a:pt x="253" y="321"/>
                    </a:lnTo>
                    <a:lnTo>
                      <a:pt x="242" y="309"/>
                    </a:lnTo>
                    <a:lnTo>
                      <a:pt x="231" y="295"/>
                    </a:lnTo>
                    <a:lnTo>
                      <a:pt x="222" y="282"/>
                    </a:lnTo>
                    <a:lnTo>
                      <a:pt x="218" y="274"/>
                    </a:lnTo>
                    <a:lnTo>
                      <a:pt x="215" y="266"/>
                    </a:lnTo>
                    <a:lnTo>
                      <a:pt x="213" y="257"/>
                    </a:lnTo>
                    <a:lnTo>
                      <a:pt x="212" y="247"/>
                    </a:lnTo>
                    <a:lnTo>
                      <a:pt x="213" y="229"/>
                    </a:lnTo>
                    <a:lnTo>
                      <a:pt x="215" y="215"/>
                    </a:lnTo>
                    <a:lnTo>
                      <a:pt x="219" y="202"/>
                    </a:lnTo>
                    <a:lnTo>
                      <a:pt x="222" y="190"/>
                    </a:lnTo>
                    <a:lnTo>
                      <a:pt x="226" y="178"/>
                    </a:lnTo>
                    <a:lnTo>
                      <a:pt x="230" y="167"/>
                    </a:lnTo>
                    <a:lnTo>
                      <a:pt x="232" y="155"/>
                    </a:lnTo>
                    <a:lnTo>
                      <a:pt x="232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4" name="Freeform 165"/>
              <p:cNvSpPr>
                <a:spLocks/>
              </p:cNvSpPr>
              <p:nvPr/>
            </p:nvSpPr>
            <p:spPr bwMode="auto">
              <a:xfrm>
                <a:off x="8027362" y="3517215"/>
                <a:ext cx="29263" cy="13003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5" name="Freeform 166"/>
              <p:cNvSpPr>
                <a:spLocks/>
              </p:cNvSpPr>
              <p:nvPr/>
            </p:nvSpPr>
            <p:spPr bwMode="auto">
              <a:xfrm>
                <a:off x="7838784" y="3439200"/>
                <a:ext cx="3252" cy="13003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6" name="Freeform 167"/>
              <p:cNvSpPr>
                <a:spLocks/>
              </p:cNvSpPr>
              <p:nvPr/>
            </p:nvSpPr>
            <p:spPr bwMode="auto">
              <a:xfrm>
                <a:off x="7890806" y="3484709"/>
                <a:ext cx="13005" cy="6501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7" name="Freeform 168"/>
              <p:cNvSpPr>
                <a:spLocks/>
              </p:cNvSpPr>
              <p:nvPr/>
            </p:nvSpPr>
            <p:spPr bwMode="auto">
              <a:xfrm>
                <a:off x="7772332" y="3495490"/>
                <a:ext cx="406689" cy="396804"/>
              </a:xfrm>
              <a:custGeom>
                <a:avLst/>
                <a:gdLst>
                  <a:gd name="T0" fmla="*/ 1475848108 w 743"/>
                  <a:gd name="T1" fmla="*/ 2147483647 h 672"/>
                  <a:gd name="T2" fmla="*/ 2147483647 w 743"/>
                  <a:gd name="T3" fmla="*/ 2147483647 h 672"/>
                  <a:gd name="T4" fmla="*/ 2147483647 w 743"/>
                  <a:gd name="T5" fmla="*/ 2147483647 h 672"/>
                  <a:gd name="T6" fmla="*/ 2147483647 w 743"/>
                  <a:gd name="T7" fmla="*/ 2147483647 h 672"/>
                  <a:gd name="T8" fmla="*/ 2147483647 w 743"/>
                  <a:gd name="T9" fmla="*/ 2147483647 h 672"/>
                  <a:gd name="T10" fmla="*/ 2147483647 w 743"/>
                  <a:gd name="T11" fmla="*/ 2147483647 h 672"/>
                  <a:gd name="T12" fmla="*/ 2147483647 w 743"/>
                  <a:gd name="T13" fmla="*/ 2147483647 h 672"/>
                  <a:gd name="T14" fmla="*/ 2147483647 w 743"/>
                  <a:gd name="T15" fmla="*/ 2147483647 h 672"/>
                  <a:gd name="T16" fmla="*/ 2147483647 w 743"/>
                  <a:gd name="T17" fmla="*/ 2147483647 h 672"/>
                  <a:gd name="T18" fmla="*/ 2147483647 w 743"/>
                  <a:gd name="T19" fmla="*/ 2147483647 h 672"/>
                  <a:gd name="T20" fmla="*/ 2147483647 w 743"/>
                  <a:gd name="T21" fmla="*/ 2147483647 h 672"/>
                  <a:gd name="T22" fmla="*/ 2147483647 w 743"/>
                  <a:gd name="T23" fmla="*/ 2147483647 h 672"/>
                  <a:gd name="T24" fmla="*/ 2147483647 w 743"/>
                  <a:gd name="T25" fmla="*/ 2147483647 h 672"/>
                  <a:gd name="T26" fmla="*/ 2147483647 w 743"/>
                  <a:gd name="T27" fmla="*/ 2147483647 h 672"/>
                  <a:gd name="T28" fmla="*/ 2147483647 w 743"/>
                  <a:gd name="T29" fmla="*/ 2147483647 h 672"/>
                  <a:gd name="T30" fmla="*/ 2147483647 w 743"/>
                  <a:gd name="T31" fmla="*/ 2147483647 h 672"/>
                  <a:gd name="T32" fmla="*/ 2147483647 w 743"/>
                  <a:gd name="T33" fmla="*/ 2147483647 h 672"/>
                  <a:gd name="T34" fmla="*/ 2147483647 w 743"/>
                  <a:gd name="T35" fmla="*/ 2147483647 h 672"/>
                  <a:gd name="T36" fmla="*/ 2147483647 w 743"/>
                  <a:gd name="T37" fmla="*/ 2147483647 h 672"/>
                  <a:gd name="T38" fmla="*/ 2147483647 w 743"/>
                  <a:gd name="T39" fmla="*/ 2147483647 h 672"/>
                  <a:gd name="T40" fmla="*/ 2147483647 w 743"/>
                  <a:gd name="T41" fmla="*/ 2147483647 h 672"/>
                  <a:gd name="T42" fmla="*/ 2147483647 w 743"/>
                  <a:gd name="T43" fmla="*/ 2147483647 h 672"/>
                  <a:gd name="T44" fmla="*/ 2147483647 w 743"/>
                  <a:gd name="T45" fmla="*/ 2147483647 h 672"/>
                  <a:gd name="T46" fmla="*/ 2147483647 w 743"/>
                  <a:gd name="T47" fmla="*/ 2147483647 h 672"/>
                  <a:gd name="T48" fmla="*/ 2147483647 w 743"/>
                  <a:gd name="T49" fmla="*/ 2147483647 h 672"/>
                  <a:gd name="T50" fmla="*/ 2147483647 w 743"/>
                  <a:gd name="T51" fmla="*/ 2147483647 h 672"/>
                  <a:gd name="T52" fmla="*/ 2147483647 w 743"/>
                  <a:gd name="T53" fmla="*/ 2147483647 h 672"/>
                  <a:gd name="T54" fmla="*/ 2147483647 w 743"/>
                  <a:gd name="T55" fmla="*/ 2147483647 h 672"/>
                  <a:gd name="T56" fmla="*/ 2147483647 w 743"/>
                  <a:gd name="T57" fmla="*/ 2147483647 h 672"/>
                  <a:gd name="T58" fmla="*/ 2147483647 w 743"/>
                  <a:gd name="T59" fmla="*/ 2147483647 h 672"/>
                  <a:gd name="T60" fmla="*/ 2147483647 w 743"/>
                  <a:gd name="T61" fmla="*/ 2147483647 h 672"/>
                  <a:gd name="T62" fmla="*/ 2147483647 w 743"/>
                  <a:gd name="T63" fmla="*/ 2147483647 h 672"/>
                  <a:gd name="T64" fmla="*/ 2147483647 w 743"/>
                  <a:gd name="T65" fmla="*/ 2147483647 h 672"/>
                  <a:gd name="T66" fmla="*/ 2147483647 w 743"/>
                  <a:gd name="T67" fmla="*/ 2147483647 h 672"/>
                  <a:gd name="T68" fmla="*/ 2147483647 w 743"/>
                  <a:gd name="T69" fmla="*/ 2147483647 h 672"/>
                  <a:gd name="T70" fmla="*/ 2147483647 w 743"/>
                  <a:gd name="T71" fmla="*/ 2147483647 h 672"/>
                  <a:gd name="T72" fmla="*/ 2147483647 w 743"/>
                  <a:gd name="T73" fmla="*/ 2147483647 h 672"/>
                  <a:gd name="T74" fmla="*/ 2147483647 w 743"/>
                  <a:gd name="T75" fmla="*/ 2147483647 h 672"/>
                  <a:gd name="T76" fmla="*/ 2147483647 w 743"/>
                  <a:gd name="T77" fmla="*/ 2147483647 h 672"/>
                  <a:gd name="T78" fmla="*/ 2147483647 w 743"/>
                  <a:gd name="T79" fmla="*/ 2147483647 h 672"/>
                  <a:gd name="T80" fmla="*/ 2147483647 w 743"/>
                  <a:gd name="T81" fmla="*/ 2147483647 h 672"/>
                  <a:gd name="T82" fmla="*/ 2147483647 w 743"/>
                  <a:gd name="T83" fmla="*/ 2147483647 h 672"/>
                  <a:gd name="T84" fmla="*/ 2147483647 w 743"/>
                  <a:gd name="T85" fmla="*/ 2147483647 h 672"/>
                  <a:gd name="T86" fmla="*/ 2147483647 w 743"/>
                  <a:gd name="T87" fmla="*/ 2147483647 h 672"/>
                  <a:gd name="T88" fmla="*/ 2147483647 w 743"/>
                  <a:gd name="T89" fmla="*/ 2147483647 h 672"/>
                  <a:gd name="T90" fmla="*/ 2147483647 w 743"/>
                  <a:gd name="T91" fmla="*/ 2147483647 h 672"/>
                  <a:gd name="T92" fmla="*/ 2147483647 w 743"/>
                  <a:gd name="T93" fmla="*/ 2058891364 h 672"/>
                  <a:gd name="T94" fmla="*/ 2147483647 w 743"/>
                  <a:gd name="T95" fmla="*/ 2147483647 h 672"/>
                  <a:gd name="T96" fmla="*/ 2147483647 w 743"/>
                  <a:gd name="T97" fmla="*/ 2147483647 h 672"/>
                  <a:gd name="T98" fmla="*/ 2147483647 w 743"/>
                  <a:gd name="T99" fmla="*/ 2147483647 h 672"/>
                  <a:gd name="T100" fmla="*/ 2147483647 w 743"/>
                  <a:gd name="T101" fmla="*/ 2147483647 h 672"/>
                  <a:gd name="T102" fmla="*/ 2147483647 w 743"/>
                  <a:gd name="T103" fmla="*/ 2147483647 h 672"/>
                  <a:gd name="T104" fmla="*/ 2147483647 w 743"/>
                  <a:gd name="T105" fmla="*/ 2147483647 h 672"/>
                  <a:gd name="T106" fmla="*/ 2147483647 w 743"/>
                  <a:gd name="T107" fmla="*/ 2147483647 h 672"/>
                  <a:gd name="T108" fmla="*/ 2147483647 w 743"/>
                  <a:gd name="T109" fmla="*/ 2147483647 h 672"/>
                  <a:gd name="T110" fmla="*/ 2147483647 w 743"/>
                  <a:gd name="T111" fmla="*/ 2147483647 h 672"/>
                  <a:gd name="T112" fmla="*/ 2147483647 w 743"/>
                  <a:gd name="T113" fmla="*/ 2147483647 h 672"/>
                  <a:gd name="T114" fmla="*/ 2147483647 w 743"/>
                  <a:gd name="T115" fmla="*/ 2147483647 h 672"/>
                  <a:gd name="T116" fmla="*/ 2147483647 w 743"/>
                  <a:gd name="T117" fmla="*/ 2147483647 h 672"/>
                  <a:gd name="T118" fmla="*/ 163883078 w 743"/>
                  <a:gd name="T119" fmla="*/ 2147483647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8" name="Freeform 193"/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6538311" y="2757671"/>
                <a:ext cx="839293" cy="656038"/>
              </a:xfrm>
              <a:custGeom>
                <a:avLst/>
                <a:gdLst>
                  <a:gd name="T0" fmla="*/ 2147483647 w 1535"/>
                  <a:gd name="T1" fmla="*/ 2147483647 h 1109"/>
                  <a:gd name="T2" fmla="*/ 2147483647 w 1535"/>
                  <a:gd name="T3" fmla="*/ 2147483647 h 1109"/>
                  <a:gd name="T4" fmla="*/ 2147483647 w 1535"/>
                  <a:gd name="T5" fmla="*/ 2147483647 h 1109"/>
                  <a:gd name="T6" fmla="*/ 2147483647 w 1535"/>
                  <a:gd name="T7" fmla="*/ 2147483647 h 1109"/>
                  <a:gd name="T8" fmla="*/ 2147483647 w 1535"/>
                  <a:gd name="T9" fmla="*/ 2147483647 h 1109"/>
                  <a:gd name="T10" fmla="*/ 2147483647 w 1535"/>
                  <a:gd name="T11" fmla="*/ 2147483647 h 1109"/>
                  <a:gd name="T12" fmla="*/ 2147483647 w 1535"/>
                  <a:gd name="T13" fmla="*/ 2147483647 h 1109"/>
                  <a:gd name="T14" fmla="*/ 2147483647 w 1535"/>
                  <a:gd name="T15" fmla="*/ 2147483647 h 1109"/>
                  <a:gd name="T16" fmla="*/ 2147483647 w 1535"/>
                  <a:gd name="T17" fmla="*/ 2147483647 h 1109"/>
                  <a:gd name="T18" fmla="*/ 2147483647 w 1535"/>
                  <a:gd name="T19" fmla="*/ 2147483647 h 1109"/>
                  <a:gd name="T20" fmla="*/ 2147483647 w 1535"/>
                  <a:gd name="T21" fmla="*/ 2147483647 h 1109"/>
                  <a:gd name="T22" fmla="*/ 2147483647 w 1535"/>
                  <a:gd name="T23" fmla="*/ 2147483647 h 1109"/>
                  <a:gd name="T24" fmla="*/ 2147483647 w 1535"/>
                  <a:gd name="T25" fmla="*/ 2147483647 h 1109"/>
                  <a:gd name="T26" fmla="*/ 2147483647 w 1535"/>
                  <a:gd name="T27" fmla="*/ 2147483647 h 1109"/>
                  <a:gd name="T28" fmla="*/ 2147483647 w 1535"/>
                  <a:gd name="T29" fmla="*/ 2147483647 h 1109"/>
                  <a:gd name="T30" fmla="*/ 2147483647 w 1535"/>
                  <a:gd name="T31" fmla="*/ 2147483647 h 1109"/>
                  <a:gd name="T32" fmla="*/ 2147483647 w 1535"/>
                  <a:gd name="T33" fmla="*/ 2147483647 h 1109"/>
                  <a:gd name="T34" fmla="*/ 2147483647 w 1535"/>
                  <a:gd name="T35" fmla="*/ 2147483647 h 1109"/>
                  <a:gd name="T36" fmla="*/ 2147483647 w 1535"/>
                  <a:gd name="T37" fmla="*/ 2147483647 h 1109"/>
                  <a:gd name="T38" fmla="*/ 2147483647 w 1535"/>
                  <a:gd name="T39" fmla="*/ 2147483647 h 1109"/>
                  <a:gd name="T40" fmla="*/ 2147483647 w 1535"/>
                  <a:gd name="T41" fmla="*/ 2147483647 h 1109"/>
                  <a:gd name="T42" fmla="*/ 2147483647 w 1535"/>
                  <a:gd name="T43" fmla="*/ 2147483647 h 1109"/>
                  <a:gd name="T44" fmla="*/ 2147483647 w 1535"/>
                  <a:gd name="T45" fmla="*/ 2147483647 h 1109"/>
                  <a:gd name="T46" fmla="*/ 2147483647 w 1535"/>
                  <a:gd name="T47" fmla="*/ 2147483647 h 1109"/>
                  <a:gd name="T48" fmla="*/ 2147483647 w 1535"/>
                  <a:gd name="T49" fmla="*/ 2147483647 h 1109"/>
                  <a:gd name="T50" fmla="*/ 2147483647 w 1535"/>
                  <a:gd name="T51" fmla="*/ 2147483647 h 1109"/>
                  <a:gd name="T52" fmla="*/ 2147483647 w 1535"/>
                  <a:gd name="T53" fmla="*/ 2147483647 h 1109"/>
                  <a:gd name="T54" fmla="*/ 2147483647 w 1535"/>
                  <a:gd name="T55" fmla="*/ 2147483647 h 1109"/>
                  <a:gd name="T56" fmla="*/ 2147483647 w 1535"/>
                  <a:gd name="T57" fmla="*/ 2147483647 h 1109"/>
                  <a:gd name="T58" fmla="*/ 2147483647 w 1535"/>
                  <a:gd name="T59" fmla="*/ 2147483647 h 1109"/>
                  <a:gd name="T60" fmla="*/ 2147483647 w 1535"/>
                  <a:gd name="T61" fmla="*/ 2147483647 h 1109"/>
                  <a:gd name="T62" fmla="*/ 2147483647 w 1535"/>
                  <a:gd name="T63" fmla="*/ 2147483647 h 1109"/>
                  <a:gd name="T64" fmla="*/ 2147483647 w 1535"/>
                  <a:gd name="T65" fmla="*/ 2147483647 h 1109"/>
                  <a:gd name="T66" fmla="*/ 2147483647 w 1535"/>
                  <a:gd name="T67" fmla="*/ 2147483647 h 1109"/>
                  <a:gd name="T68" fmla="*/ 2147483647 w 1535"/>
                  <a:gd name="T69" fmla="*/ 2147483647 h 1109"/>
                  <a:gd name="T70" fmla="*/ 980882002 w 1535"/>
                  <a:gd name="T71" fmla="*/ 2147483647 h 1109"/>
                  <a:gd name="T72" fmla="*/ 2147483647 w 1535"/>
                  <a:gd name="T73" fmla="*/ 1035125624 h 1109"/>
                  <a:gd name="T74" fmla="*/ 2147483647 w 1535"/>
                  <a:gd name="T75" fmla="*/ 2147483647 h 1109"/>
                  <a:gd name="T76" fmla="*/ 2147483647 w 1535"/>
                  <a:gd name="T77" fmla="*/ 2147483647 h 1109"/>
                  <a:gd name="T78" fmla="*/ 2147483647 w 1535"/>
                  <a:gd name="T79" fmla="*/ 2147483647 h 1109"/>
                  <a:gd name="T80" fmla="*/ 2147483647 w 1535"/>
                  <a:gd name="T81" fmla="*/ 2147483647 h 1109"/>
                  <a:gd name="T82" fmla="*/ 2147483647 w 1535"/>
                  <a:gd name="T83" fmla="*/ 2147483647 h 1109"/>
                  <a:gd name="T84" fmla="*/ 2147483647 w 1535"/>
                  <a:gd name="T85" fmla="*/ 2147483647 h 1109"/>
                  <a:gd name="T86" fmla="*/ 2147483647 w 1535"/>
                  <a:gd name="T87" fmla="*/ 2147483647 h 1109"/>
                  <a:gd name="T88" fmla="*/ 2147483647 w 1535"/>
                  <a:gd name="T89" fmla="*/ 2147483647 h 1109"/>
                  <a:gd name="T90" fmla="*/ 2147483647 w 1535"/>
                  <a:gd name="T91" fmla="*/ 2147483647 h 1109"/>
                  <a:gd name="T92" fmla="*/ 2147483647 w 1535"/>
                  <a:gd name="T93" fmla="*/ 2147483647 h 1109"/>
                  <a:gd name="T94" fmla="*/ 2147483647 w 1535"/>
                  <a:gd name="T95" fmla="*/ 2147483647 h 1109"/>
                  <a:gd name="T96" fmla="*/ 2147483647 w 1535"/>
                  <a:gd name="T97" fmla="*/ 2147483647 h 1109"/>
                  <a:gd name="T98" fmla="*/ 2147483647 w 1535"/>
                  <a:gd name="T99" fmla="*/ 2147483647 h 1109"/>
                  <a:gd name="T100" fmla="*/ 2147483647 w 1535"/>
                  <a:gd name="T101" fmla="*/ 2147483647 h 1109"/>
                  <a:gd name="T102" fmla="*/ 2147483647 w 1535"/>
                  <a:gd name="T103" fmla="*/ 2147483647 h 1109"/>
                  <a:gd name="T104" fmla="*/ 2147483647 w 1535"/>
                  <a:gd name="T105" fmla="*/ 2147483647 h 1109"/>
                  <a:gd name="T106" fmla="*/ 2147483647 w 1535"/>
                  <a:gd name="T107" fmla="*/ 2147483647 h 1109"/>
                  <a:gd name="T108" fmla="*/ 2147483647 w 1535"/>
                  <a:gd name="T109" fmla="*/ 2147483647 h 1109"/>
                  <a:gd name="T110" fmla="*/ 2147483647 w 1535"/>
                  <a:gd name="T111" fmla="*/ 2147483647 h 1109"/>
                  <a:gd name="T112" fmla="*/ 2147483647 w 1535"/>
                  <a:gd name="T113" fmla="*/ 2147483647 h 1109"/>
                  <a:gd name="T114" fmla="*/ 2147483647 w 1535"/>
                  <a:gd name="T115" fmla="*/ 2147483647 h 1109"/>
                  <a:gd name="T116" fmla="*/ 2147483647 w 1535"/>
                  <a:gd name="T117" fmla="*/ 2147483647 h 1109"/>
                  <a:gd name="T118" fmla="*/ 2147483647 w 1535"/>
                  <a:gd name="T119" fmla="*/ 2147483647 h 1109"/>
                  <a:gd name="T120" fmla="*/ 2147483647 w 1535"/>
                  <a:gd name="T121" fmla="*/ 2147483647 h 110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535" h="1109">
                    <a:moveTo>
                      <a:pt x="1336" y="888"/>
                    </a:moveTo>
                    <a:lnTo>
                      <a:pt x="1319" y="891"/>
                    </a:lnTo>
                    <a:lnTo>
                      <a:pt x="1287" y="901"/>
                    </a:lnTo>
                    <a:lnTo>
                      <a:pt x="1270" y="907"/>
                    </a:lnTo>
                    <a:lnTo>
                      <a:pt x="1256" y="913"/>
                    </a:lnTo>
                    <a:lnTo>
                      <a:pt x="1251" y="916"/>
                    </a:lnTo>
                    <a:lnTo>
                      <a:pt x="1246" y="919"/>
                    </a:lnTo>
                    <a:lnTo>
                      <a:pt x="1244" y="922"/>
                    </a:lnTo>
                    <a:lnTo>
                      <a:pt x="1243" y="925"/>
                    </a:lnTo>
                    <a:lnTo>
                      <a:pt x="1243" y="929"/>
                    </a:lnTo>
                    <a:lnTo>
                      <a:pt x="1244" y="933"/>
                    </a:lnTo>
                    <a:lnTo>
                      <a:pt x="1246" y="937"/>
                    </a:lnTo>
                    <a:lnTo>
                      <a:pt x="1248" y="940"/>
                    </a:lnTo>
                    <a:lnTo>
                      <a:pt x="1255" y="946"/>
                    </a:lnTo>
                    <a:lnTo>
                      <a:pt x="1263" y="951"/>
                    </a:lnTo>
                    <a:lnTo>
                      <a:pt x="1282" y="961"/>
                    </a:lnTo>
                    <a:lnTo>
                      <a:pt x="1302" y="973"/>
                    </a:lnTo>
                    <a:lnTo>
                      <a:pt x="1299" y="982"/>
                    </a:lnTo>
                    <a:lnTo>
                      <a:pt x="1294" y="988"/>
                    </a:lnTo>
                    <a:lnTo>
                      <a:pt x="1289" y="993"/>
                    </a:lnTo>
                    <a:lnTo>
                      <a:pt x="1282" y="996"/>
                    </a:lnTo>
                    <a:lnTo>
                      <a:pt x="1275" y="998"/>
                    </a:lnTo>
                    <a:lnTo>
                      <a:pt x="1267" y="999"/>
                    </a:lnTo>
                    <a:lnTo>
                      <a:pt x="1258" y="999"/>
                    </a:lnTo>
                    <a:lnTo>
                      <a:pt x="1251" y="999"/>
                    </a:lnTo>
                    <a:lnTo>
                      <a:pt x="1234" y="999"/>
                    </a:lnTo>
                    <a:lnTo>
                      <a:pt x="1220" y="999"/>
                    </a:lnTo>
                    <a:lnTo>
                      <a:pt x="1213" y="1000"/>
                    </a:lnTo>
                    <a:lnTo>
                      <a:pt x="1209" y="1002"/>
                    </a:lnTo>
                    <a:lnTo>
                      <a:pt x="1204" y="1006"/>
                    </a:lnTo>
                    <a:lnTo>
                      <a:pt x="1203" y="1011"/>
                    </a:lnTo>
                    <a:lnTo>
                      <a:pt x="1193" y="1036"/>
                    </a:lnTo>
                    <a:lnTo>
                      <a:pt x="1185" y="1058"/>
                    </a:lnTo>
                    <a:lnTo>
                      <a:pt x="1181" y="1069"/>
                    </a:lnTo>
                    <a:lnTo>
                      <a:pt x="1178" y="1080"/>
                    </a:lnTo>
                    <a:lnTo>
                      <a:pt x="1177" y="1095"/>
                    </a:lnTo>
                    <a:lnTo>
                      <a:pt x="1176" y="1109"/>
                    </a:lnTo>
                    <a:lnTo>
                      <a:pt x="1165" y="1100"/>
                    </a:lnTo>
                    <a:lnTo>
                      <a:pt x="1153" y="1091"/>
                    </a:lnTo>
                    <a:lnTo>
                      <a:pt x="1141" y="1081"/>
                    </a:lnTo>
                    <a:lnTo>
                      <a:pt x="1130" y="1072"/>
                    </a:lnTo>
                    <a:lnTo>
                      <a:pt x="1112" y="1051"/>
                    </a:lnTo>
                    <a:lnTo>
                      <a:pt x="1090" y="1026"/>
                    </a:lnTo>
                    <a:lnTo>
                      <a:pt x="1078" y="1015"/>
                    </a:lnTo>
                    <a:lnTo>
                      <a:pt x="1065" y="1006"/>
                    </a:lnTo>
                    <a:lnTo>
                      <a:pt x="1058" y="1003"/>
                    </a:lnTo>
                    <a:lnTo>
                      <a:pt x="1052" y="1001"/>
                    </a:lnTo>
                    <a:lnTo>
                      <a:pt x="1044" y="999"/>
                    </a:lnTo>
                    <a:lnTo>
                      <a:pt x="1036" y="998"/>
                    </a:lnTo>
                    <a:lnTo>
                      <a:pt x="1028" y="999"/>
                    </a:lnTo>
                    <a:lnTo>
                      <a:pt x="1019" y="1000"/>
                    </a:lnTo>
                    <a:lnTo>
                      <a:pt x="1011" y="1002"/>
                    </a:lnTo>
                    <a:lnTo>
                      <a:pt x="1006" y="1005"/>
                    </a:lnTo>
                    <a:lnTo>
                      <a:pt x="994" y="1012"/>
                    </a:lnTo>
                    <a:lnTo>
                      <a:pt x="984" y="1020"/>
                    </a:lnTo>
                    <a:lnTo>
                      <a:pt x="974" y="1027"/>
                    </a:lnTo>
                    <a:lnTo>
                      <a:pt x="962" y="1035"/>
                    </a:lnTo>
                    <a:lnTo>
                      <a:pt x="955" y="1038"/>
                    </a:lnTo>
                    <a:lnTo>
                      <a:pt x="949" y="1040"/>
                    </a:lnTo>
                    <a:lnTo>
                      <a:pt x="940" y="1041"/>
                    </a:lnTo>
                    <a:lnTo>
                      <a:pt x="930" y="1042"/>
                    </a:lnTo>
                    <a:lnTo>
                      <a:pt x="922" y="1041"/>
                    </a:lnTo>
                    <a:lnTo>
                      <a:pt x="913" y="1039"/>
                    </a:lnTo>
                    <a:lnTo>
                      <a:pt x="902" y="1037"/>
                    </a:lnTo>
                    <a:lnTo>
                      <a:pt x="891" y="1032"/>
                    </a:lnTo>
                    <a:lnTo>
                      <a:pt x="868" y="1023"/>
                    </a:lnTo>
                    <a:lnTo>
                      <a:pt x="845" y="1011"/>
                    </a:lnTo>
                    <a:lnTo>
                      <a:pt x="823" y="999"/>
                    </a:lnTo>
                    <a:lnTo>
                      <a:pt x="805" y="987"/>
                    </a:lnTo>
                    <a:lnTo>
                      <a:pt x="797" y="982"/>
                    </a:lnTo>
                    <a:lnTo>
                      <a:pt x="790" y="976"/>
                    </a:lnTo>
                    <a:lnTo>
                      <a:pt x="786" y="971"/>
                    </a:lnTo>
                    <a:lnTo>
                      <a:pt x="784" y="967"/>
                    </a:lnTo>
                    <a:lnTo>
                      <a:pt x="731" y="973"/>
                    </a:lnTo>
                    <a:lnTo>
                      <a:pt x="714" y="962"/>
                    </a:lnTo>
                    <a:lnTo>
                      <a:pt x="697" y="953"/>
                    </a:lnTo>
                    <a:lnTo>
                      <a:pt x="680" y="945"/>
                    </a:lnTo>
                    <a:lnTo>
                      <a:pt x="658" y="937"/>
                    </a:lnTo>
                    <a:lnTo>
                      <a:pt x="653" y="932"/>
                    </a:lnTo>
                    <a:lnTo>
                      <a:pt x="650" y="925"/>
                    </a:lnTo>
                    <a:lnTo>
                      <a:pt x="648" y="917"/>
                    </a:lnTo>
                    <a:lnTo>
                      <a:pt x="644" y="910"/>
                    </a:lnTo>
                    <a:lnTo>
                      <a:pt x="642" y="904"/>
                    </a:lnTo>
                    <a:lnTo>
                      <a:pt x="639" y="898"/>
                    </a:lnTo>
                    <a:lnTo>
                      <a:pt x="638" y="896"/>
                    </a:lnTo>
                    <a:lnTo>
                      <a:pt x="636" y="895"/>
                    </a:lnTo>
                    <a:lnTo>
                      <a:pt x="633" y="894"/>
                    </a:lnTo>
                    <a:lnTo>
                      <a:pt x="631" y="894"/>
                    </a:lnTo>
                    <a:lnTo>
                      <a:pt x="607" y="887"/>
                    </a:lnTo>
                    <a:lnTo>
                      <a:pt x="588" y="883"/>
                    </a:lnTo>
                    <a:lnTo>
                      <a:pt x="575" y="882"/>
                    </a:lnTo>
                    <a:lnTo>
                      <a:pt x="565" y="880"/>
                    </a:lnTo>
                    <a:lnTo>
                      <a:pt x="561" y="879"/>
                    </a:lnTo>
                    <a:lnTo>
                      <a:pt x="558" y="877"/>
                    </a:lnTo>
                    <a:lnTo>
                      <a:pt x="554" y="874"/>
                    </a:lnTo>
                    <a:lnTo>
                      <a:pt x="551" y="870"/>
                    </a:lnTo>
                    <a:lnTo>
                      <a:pt x="546" y="857"/>
                    </a:lnTo>
                    <a:lnTo>
                      <a:pt x="538" y="838"/>
                    </a:lnTo>
                    <a:lnTo>
                      <a:pt x="537" y="835"/>
                    </a:lnTo>
                    <a:lnTo>
                      <a:pt x="535" y="833"/>
                    </a:lnTo>
                    <a:lnTo>
                      <a:pt x="532" y="831"/>
                    </a:lnTo>
                    <a:lnTo>
                      <a:pt x="530" y="829"/>
                    </a:lnTo>
                    <a:lnTo>
                      <a:pt x="524" y="828"/>
                    </a:lnTo>
                    <a:lnTo>
                      <a:pt x="517" y="828"/>
                    </a:lnTo>
                    <a:lnTo>
                      <a:pt x="509" y="828"/>
                    </a:lnTo>
                    <a:lnTo>
                      <a:pt x="501" y="828"/>
                    </a:lnTo>
                    <a:lnTo>
                      <a:pt x="493" y="828"/>
                    </a:lnTo>
                    <a:lnTo>
                      <a:pt x="485" y="826"/>
                    </a:lnTo>
                    <a:lnTo>
                      <a:pt x="480" y="822"/>
                    </a:lnTo>
                    <a:lnTo>
                      <a:pt x="472" y="816"/>
                    </a:lnTo>
                    <a:lnTo>
                      <a:pt x="464" y="806"/>
                    </a:lnTo>
                    <a:lnTo>
                      <a:pt x="457" y="796"/>
                    </a:lnTo>
                    <a:lnTo>
                      <a:pt x="450" y="784"/>
                    </a:lnTo>
                    <a:lnTo>
                      <a:pt x="445" y="773"/>
                    </a:lnTo>
                    <a:lnTo>
                      <a:pt x="442" y="768"/>
                    </a:lnTo>
                    <a:lnTo>
                      <a:pt x="440" y="762"/>
                    </a:lnTo>
                    <a:lnTo>
                      <a:pt x="439" y="757"/>
                    </a:lnTo>
                    <a:lnTo>
                      <a:pt x="439" y="751"/>
                    </a:lnTo>
                    <a:lnTo>
                      <a:pt x="439" y="747"/>
                    </a:lnTo>
                    <a:lnTo>
                      <a:pt x="440" y="743"/>
                    </a:lnTo>
                    <a:lnTo>
                      <a:pt x="441" y="739"/>
                    </a:lnTo>
                    <a:lnTo>
                      <a:pt x="443" y="735"/>
                    </a:lnTo>
                    <a:lnTo>
                      <a:pt x="449" y="728"/>
                    </a:lnTo>
                    <a:lnTo>
                      <a:pt x="456" y="720"/>
                    </a:lnTo>
                    <a:lnTo>
                      <a:pt x="461" y="713"/>
                    </a:lnTo>
                    <a:lnTo>
                      <a:pt x="467" y="705"/>
                    </a:lnTo>
                    <a:lnTo>
                      <a:pt x="469" y="700"/>
                    </a:lnTo>
                    <a:lnTo>
                      <a:pt x="471" y="694"/>
                    </a:lnTo>
                    <a:lnTo>
                      <a:pt x="472" y="689"/>
                    </a:lnTo>
                    <a:lnTo>
                      <a:pt x="472" y="684"/>
                    </a:lnTo>
                    <a:lnTo>
                      <a:pt x="471" y="664"/>
                    </a:lnTo>
                    <a:lnTo>
                      <a:pt x="468" y="647"/>
                    </a:lnTo>
                    <a:lnTo>
                      <a:pt x="463" y="630"/>
                    </a:lnTo>
                    <a:lnTo>
                      <a:pt x="457" y="615"/>
                    </a:lnTo>
                    <a:lnTo>
                      <a:pt x="450" y="601"/>
                    </a:lnTo>
                    <a:lnTo>
                      <a:pt x="441" y="589"/>
                    </a:lnTo>
                    <a:lnTo>
                      <a:pt x="431" y="576"/>
                    </a:lnTo>
                    <a:lnTo>
                      <a:pt x="423" y="565"/>
                    </a:lnTo>
                    <a:lnTo>
                      <a:pt x="402" y="543"/>
                    </a:lnTo>
                    <a:lnTo>
                      <a:pt x="382" y="520"/>
                    </a:lnTo>
                    <a:lnTo>
                      <a:pt x="373" y="509"/>
                    </a:lnTo>
                    <a:lnTo>
                      <a:pt x="366" y="496"/>
                    </a:lnTo>
                    <a:lnTo>
                      <a:pt x="358" y="483"/>
                    </a:lnTo>
                    <a:lnTo>
                      <a:pt x="352" y="468"/>
                    </a:lnTo>
                    <a:lnTo>
                      <a:pt x="350" y="464"/>
                    </a:lnTo>
                    <a:lnTo>
                      <a:pt x="348" y="460"/>
                    </a:lnTo>
                    <a:lnTo>
                      <a:pt x="345" y="456"/>
                    </a:lnTo>
                    <a:lnTo>
                      <a:pt x="341" y="453"/>
                    </a:lnTo>
                    <a:lnTo>
                      <a:pt x="333" y="447"/>
                    </a:lnTo>
                    <a:lnTo>
                      <a:pt x="324" y="441"/>
                    </a:lnTo>
                    <a:lnTo>
                      <a:pt x="314" y="435"/>
                    </a:lnTo>
                    <a:lnTo>
                      <a:pt x="306" y="429"/>
                    </a:lnTo>
                    <a:lnTo>
                      <a:pt x="304" y="426"/>
                    </a:lnTo>
                    <a:lnTo>
                      <a:pt x="301" y="422"/>
                    </a:lnTo>
                    <a:lnTo>
                      <a:pt x="300" y="417"/>
                    </a:lnTo>
                    <a:lnTo>
                      <a:pt x="300" y="413"/>
                    </a:lnTo>
                    <a:lnTo>
                      <a:pt x="306" y="404"/>
                    </a:lnTo>
                    <a:lnTo>
                      <a:pt x="313" y="394"/>
                    </a:lnTo>
                    <a:lnTo>
                      <a:pt x="306" y="391"/>
                    </a:lnTo>
                    <a:lnTo>
                      <a:pt x="300" y="388"/>
                    </a:lnTo>
                    <a:lnTo>
                      <a:pt x="297" y="380"/>
                    </a:lnTo>
                    <a:lnTo>
                      <a:pt x="293" y="369"/>
                    </a:lnTo>
                    <a:lnTo>
                      <a:pt x="286" y="356"/>
                    </a:lnTo>
                    <a:lnTo>
                      <a:pt x="279" y="344"/>
                    </a:lnTo>
                    <a:lnTo>
                      <a:pt x="262" y="321"/>
                    </a:lnTo>
                    <a:lnTo>
                      <a:pt x="252" y="308"/>
                    </a:lnTo>
                    <a:lnTo>
                      <a:pt x="245" y="291"/>
                    </a:lnTo>
                    <a:lnTo>
                      <a:pt x="238" y="278"/>
                    </a:lnTo>
                    <a:lnTo>
                      <a:pt x="230" y="267"/>
                    </a:lnTo>
                    <a:lnTo>
                      <a:pt x="224" y="258"/>
                    </a:lnTo>
                    <a:lnTo>
                      <a:pt x="217" y="248"/>
                    </a:lnTo>
                    <a:lnTo>
                      <a:pt x="211" y="239"/>
                    </a:lnTo>
                    <a:lnTo>
                      <a:pt x="205" y="228"/>
                    </a:lnTo>
                    <a:lnTo>
                      <a:pt x="200" y="216"/>
                    </a:lnTo>
                    <a:lnTo>
                      <a:pt x="193" y="195"/>
                    </a:lnTo>
                    <a:lnTo>
                      <a:pt x="187" y="176"/>
                    </a:lnTo>
                    <a:lnTo>
                      <a:pt x="182" y="158"/>
                    </a:lnTo>
                    <a:lnTo>
                      <a:pt x="178" y="140"/>
                    </a:lnTo>
                    <a:lnTo>
                      <a:pt x="171" y="107"/>
                    </a:lnTo>
                    <a:lnTo>
                      <a:pt x="167" y="74"/>
                    </a:lnTo>
                    <a:lnTo>
                      <a:pt x="155" y="74"/>
                    </a:lnTo>
                    <a:lnTo>
                      <a:pt x="146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97" y="74"/>
                    </a:lnTo>
                    <a:lnTo>
                      <a:pt x="89" y="94"/>
                    </a:lnTo>
                    <a:lnTo>
                      <a:pt x="84" y="104"/>
                    </a:lnTo>
                    <a:lnTo>
                      <a:pt x="82" y="114"/>
                    </a:lnTo>
                    <a:lnTo>
                      <a:pt x="80" y="124"/>
                    </a:lnTo>
                    <a:lnTo>
                      <a:pt x="80" y="135"/>
                    </a:lnTo>
                    <a:lnTo>
                      <a:pt x="81" y="148"/>
                    </a:lnTo>
                    <a:lnTo>
                      <a:pt x="83" y="160"/>
                    </a:lnTo>
                    <a:lnTo>
                      <a:pt x="87" y="171"/>
                    </a:lnTo>
                    <a:lnTo>
                      <a:pt x="90" y="182"/>
                    </a:lnTo>
                    <a:lnTo>
                      <a:pt x="101" y="203"/>
                    </a:lnTo>
                    <a:lnTo>
                      <a:pt x="113" y="222"/>
                    </a:lnTo>
                    <a:lnTo>
                      <a:pt x="125" y="241"/>
                    </a:lnTo>
                    <a:lnTo>
                      <a:pt x="136" y="263"/>
                    </a:lnTo>
                    <a:lnTo>
                      <a:pt x="140" y="273"/>
                    </a:lnTo>
                    <a:lnTo>
                      <a:pt x="144" y="284"/>
                    </a:lnTo>
                    <a:lnTo>
                      <a:pt x="146" y="296"/>
                    </a:lnTo>
                    <a:lnTo>
                      <a:pt x="146" y="308"/>
                    </a:lnTo>
                    <a:lnTo>
                      <a:pt x="147" y="314"/>
                    </a:lnTo>
                    <a:lnTo>
                      <a:pt x="148" y="320"/>
                    </a:lnTo>
                    <a:lnTo>
                      <a:pt x="150" y="326"/>
                    </a:lnTo>
                    <a:lnTo>
                      <a:pt x="154" y="332"/>
                    </a:lnTo>
                    <a:lnTo>
                      <a:pt x="161" y="344"/>
                    </a:lnTo>
                    <a:lnTo>
                      <a:pt x="170" y="355"/>
                    </a:lnTo>
                    <a:lnTo>
                      <a:pt x="178" y="366"/>
                    </a:lnTo>
                    <a:lnTo>
                      <a:pt x="185" y="375"/>
                    </a:lnTo>
                    <a:lnTo>
                      <a:pt x="191" y="383"/>
                    </a:lnTo>
                    <a:lnTo>
                      <a:pt x="193" y="388"/>
                    </a:lnTo>
                    <a:lnTo>
                      <a:pt x="195" y="395"/>
                    </a:lnTo>
                    <a:lnTo>
                      <a:pt x="196" y="402"/>
                    </a:lnTo>
                    <a:lnTo>
                      <a:pt x="196" y="409"/>
                    </a:lnTo>
                    <a:lnTo>
                      <a:pt x="198" y="415"/>
                    </a:lnTo>
                    <a:lnTo>
                      <a:pt x="196" y="429"/>
                    </a:lnTo>
                    <a:lnTo>
                      <a:pt x="195" y="441"/>
                    </a:lnTo>
                    <a:lnTo>
                      <a:pt x="195" y="446"/>
                    </a:lnTo>
                    <a:lnTo>
                      <a:pt x="195" y="452"/>
                    </a:lnTo>
                    <a:lnTo>
                      <a:pt x="196" y="456"/>
                    </a:lnTo>
                    <a:lnTo>
                      <a:pt x="198" y="461"/>
                    </a:lnTo>
                    <a:lnTo>
                      <a:pt x="200" y="465"/>
                    </a:lnTo>
                    <a:lnTo>
                      <a:pt x="203" y="469"/>
                    </a:lnTo>
                    <a:lnTo>
                      <a:pt x="207" y="472"/>
                    </a:lnTo>
                    <a:lnTo>
                      <a:pt x="213" y="474"/>
                    </a:lnTo>
                    <a:lnTo>
                      <a:pt x="211" y="483"/>
                    </a:lnTo>
                    <a:lnTo>
                      <a:pt x="210" y="489"/>
                    </a:lnTo>
                    <a:lnTo>
                      <a:pt x="210" y="495"/>
                    </a:lnTo>
                    <a:lnTo>
                      <a:pt x="211" y="499"/>
                    </a:lnTo>
                    <a:lnTo>
                      <a:pt x="212" y="509"/>
                    </a:lnTo>
                    <a:lnTo>
                      <a:pt x="213" y="524"/>
                    </a:lnTo>
                    <a:lnTo>
                      <a:pt x="221" y="525"/>
                    </a:lnTo>
                    <a:lnTo>
                      <a:pt x="228" y="528"/>
                    </a:lnTo>
                    <a:lnTo>
                      <a:pt x="236" y="533"/>
                    </a:lnTo>
                    <a:lnTo>
                      <a:pt x="244" y="539"/>
                    </a:lnTo>
                    <a:lnTo>
                      <a:pt x="250" y="546"/>
                    </a:lnTo>
                    <a:lnTo>
                      <a:pt x="255" y="553"/>
                    </a:lnTo>
                    <a:lnTo>
                      <a:pt x="258" y="560"/>
                    </a:lnTo>
                    <a:lnTo>
                      <a:pt x="259" y="567"/>
                    </a:lnTo>
                    <a:lnTo>
                      <a:pt x="259" y="571"/>
                    </a:lnTo>
                    <a:lnTo>
                      <a:pt x="258" y="575"/>
                    </a:lnTo>
                    <a:lnTo>
                      <a:pt x="257" y="579"/>
                    </a:lnTo>
                    <a:lnTo>
                      <a:pt x="255" y="583"/>
                    </a:lnTo>
                    <a:lnTo>
                      <a:pt x="250" y="590"/>
                    </a:lnTo>
                    <a:lnTo>
                      <a:pt x="245" y="596"/>
                    </a:lnTo>
                    <a:lnTo>
                      <a:pt x="232" y="604"/>
                    </a:lnTo>
                    <a:lnTo>
                      <a:pt x="219" y="610"/>
                    </a:lnTo>
                    <a:lnTo>
                      <a:pt x="216" y="603"/>
                    </a:lnTo>
                    <a:lnTo>
                      <a:pt x="214" y="596"/>
                    </a:lnTo>
                    <a:lnTo>
                      <a:pt x="213" y="587"/>
                    </a:lnTo>
                    <a:lnTo>
                      <a:pt x="213" y="580"/>
                    </a:lnTo>
                    <a:lnTo>
                      <a:pt x="213" y="573"/>
                    </a:lnTo>
                    <a:lnTo>
                      <a:pt x="212" y="566"/>
                    </a:lnTo>
                    <a:lnTo>
                      <a:pt x="210" y="560"/>
                    </a:lnTo>
                    <a:lnTo>
                      <a:pt x="206" y="555"/>
                    </a:lnTo>
                    <a:lnTo>
                      <a:pt x="203" y="550"/>
                    </a:lnTo>
                    <a:lnTo>
                      <a:pt x="199" y="546"/>
                    </a:lnTo>
                    <a:lnTo>
                      <a:pt x="193" y="542"/>
                    </a:lnTo>
                    <a:lnTo>
                      <a:pt x="188" y="537"/>
                    </a:lnTo>
                    <a:lnTo>
                      <a:pt x="173" y="528"/>
                    </a:lnTo>
                    <a:lnTo>
                      <a:pt x="158" y="519"/>
                    </a:lnTo>
                    <a:lnTo>
                      <a:pt x="144" y="510"/>
                    </a:lnTo>
                    <a:lnTo>
                      <a:pt x="132" y="499"/>
                    </a:lnTo>
                    <a:lnTo>
                      <a:pt x="126" y="494"/>
                    </a:lnTo>
                    <a:lnTo>
                      <a:pt x="123" y="488"/>
                    </a:lnTo>
                    <a:lnTo>
                      <a:pt x="121" y="482"/>
                    </a:lnTo>
                    <a:lnTo>
                      <a:pt x="120" y="474"/>
                    </a:lnTo>
                    <a:lnTo>
                      <a:pt x="121" y="468"/>
                    </a:lnTo>
                    <a:lnTo>
                      <a:pt x="124" y="461"/>
                    </a:lnTo>
                    <a:lnTo>
                      <a:pt x="128" y="456"/>
                    </a:lnTo>
                    <a:lnTo>
                      <a:pt x="133" y="450"/>
                    </a:lnTo>
                    <a:lnTo>
                      <a:pt x="138" y="444"/>
                    </a:lnTo>
                    <a:lnTo>
                      <a:pt x="143" y="438"/>
                    </a:lnTo>
                    <a:lnTo>
                      <a:pt x="145" y="432"/>
                    </a:lnTo>
                    <a:lnTo>
                      <a:pt x="146" y="426"/>
                    </a:lnTo>
                    <a:lnTo>
                      <a:pt x="146" y="420"/>
                    </a:lnTo>
                    <a:lnTo>
                      <a:pt x="145" y="415"/>
                    </a:lnTo>
                    <a:lnTo>
                      <a:pt x="144" y="411"/>
                    </a:lnTo>
                    <a:lnTo>
                      <a:pt x="142" y="406"/>
                    </a:lnTo>
                    <a:lnTo>
                      <a:pt x="136" y="399"/>
                    </a:lnTo>
                    <a:lnTo>
                      <a:pt x="128" y="391"/>
                    </a:lnTo>
                    <a:lnTo>
                      <a:pt x="120" y="385"/>
                    </a:lnTo>
                    <a:lnTo>
                      <a:pt x="111" y="378"/>
                    </a:lnTo>
                    <a:lnTo>
                      <a:pt x="100" y="372"/>
                    </a:lnTo>
                    <a:lnTo>
                      <a:pt x="89" y="366"/>
                    </a:lnTo>
                    <a:lnTo>
                      <a:pt x="78" y="359"/>
                    </a:lnTo>
                    <a:lnTo>
                      <a:pt x="68" y="353"/>
                    </a:lnTo>
                    <a:lnTo>
                      <a:pt x="57" y="347"/>
                    </a:lnTo>
                    <a:lnTo>
                      <a:pt x="48" y="339"/>
                    </a:lnTo>
                    <a:lnTo>
                      <a:pt x="41" y="332"/>
                    </a:lnTo>
                    <a:lnTo>
                      <a:pt x="34" y="323"/>
                    </a:lnTo>
                    <a:lnTo>
                      <a:pt x="32" y="318"/>
                    </a:lnTo>
                    <a:lnTo>
                      <a:pt x="30" y="313"/>
                    </a:lnTo>
                    <a:lnTo>
                      <a:pt x="27" y="307"/>
                    </a:lnTo>
                    <a:lnTo>
                      <a:pt x="27" y="302"/>
                    </a:lnTo>
                    <a:lnTo>
                      <a:pt x="34" y="302"/>
                    </a:lnTo>
                    <a:lnTo>
                      <a:pt x="41" y="301"/>
                    </a:lnTo>
                    <a:lnTo>
                      <a:pt x="46" y="300"/>
                    </a:lnTo>
                    <a:lnTo>
                      <a:pt x="50" y="298"/>
                    </a:lnTo>
                    <a:lnTo>
                      <a:pt x="55" y="297"/>
                    </a:lnTo>
                    <a:lnTo>
                      <a:pt x="59" y="294"/>
                    </a:lnTo>
                    <a:lnTo>
                      <a:pt x="62" y="292"/>
                    </a:lnTo>
                    <a:lnTo>
                      <a:pt x="65" y="289"/>
                    </a:lnTo>
                    <a:lnTo>
                      <a:pt x="69" y="282"/>
                    </a:lnTo>
                    <a:lnTo>
                      <a:pt x="71" y="274"/>
                    </a:lnTo>
                    <a:lnTo>
                      <a:pt x="73" y="264"/>
                    </a:lnTo>
                    <a:lnTo>
                      <a:pt x="73" y="252"/>
                    </a:lnTo>
                    <a:lnTo>
                      <a:pt x="73" y="247"/>
                    </a:lnTo>
                    <a:lnTo>
                      <a:pt x="72" y="242"/>
                    </a:lnTo>
                    <a:lnTo>
                      <a:pt x="71" y="237"/>
                    </a:lnTo>
                    <a:lnTo>
                      <a:pt x="69" y="233"/>
                    </a:lnTo>
                    <a:lnTo>
                      <a:pt x="64" y="225"/>
                    </a:lnTo>
                    <a:lnTo>
                      <a:pt x="58" y="217"/>
                    </a:lnTo>
                    <a:lnTo>
                      <a:pt x="43" y="205"/>
                    </a:lnTo>
                    <a:lnTo>
                      <a:pt x="27" y="191"/>
                    </a:lnTo>
                    <a:lnTo>
                      <a:pt x="19" y="176"/>
                    </a:lnTo>
                    <a:lnTo>
                      <a:pt x="13" y="163"/>
                    </a:lnTo>
                    <a:lnTo>
                      <a:pt x="10" y="151"/>
                    </a:lnTo>
                    <a:lnTo>
                      <a:pt x="9" y="139"/>
                    </a:lnTo>
                    <a:lnTo>
                      <a:pt x="8" y="128"/>
                    </a:lnTo>
                    <a:lnTo>
                      <a:pt x="6" y="117"/>
                    </a:lnTo>
                    <a:lnTo>
                      <a:pt x="4" y="106"/>
                    </a:lnTo>
                    <a:lnTo>
                      <a:pt x="0" y="93"/>
                    </a:lnTo>
                    <a:lnTo>
                      <a:pt x="0" y="50"/>
                    </a:lnTo>
                    <a:lnTo>
                      <a:pt x="1" y="36"/>
                    </a:lnTo>
                    <a:lnTo>
                      <a:pt x="3" y="22"/>
                    </a:lnTo>
                    <a:lnTo>
                      <a:pt x="5" y="10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8" y="5"/>
                    </a:lnTo>
                    <a:lnTo>
                      <a:pt x="53" y="6"/>
                    </a:lnTo>
                    <a:lnTo>
                      <a:pt x="66" y="5"/>
                    </a:lnTo>
                    <a:lnTo>
                      <a:pt x="92" y="2"/>
                    </a:lnTo>
                    <a:lnTo>
                      <a:pt x="120" y="0"/>
                    </a:lnTo>
                    <a:lnTo>
                      <a:pt x="140" y="1"/>
                    </a:lnTo>
                    <a:lnTo>
                      <a:pt x="159" y="4"/>
                    </a:lnTo>
                    <a:lnTo>
                      <a:pt x="178" y="7"/>
                    </a:lnTo>
                    <a:lnTo>
                      <a:pt x="194" y="13"/>
                    </a:lnTo>
                    <a:lnTo>
                      <a:pt x="211" y="18"/>
                    </a:lnTo>
                    <a:lnTo>
                      <a:pt x="226" y="25"/>
                    </a:lnTo>
                    <a:lnTo>
                      <a:pt x="243" y="33"/>
                    </a:lnTo>
                    <a:lnTo>
                      <a:pt x="258" y="41"/>
                    </a:lnTo>
                    <a:lnTo>
                      <a:pt x="273" y="48"/>
                    </a:lnTo>
                    <a:lnTo>
                      <a:pt x="290" y="55"/>
                    </a:lnTo>
                    <a:lnTo>
                      <a:pt x="306" y="62"/>
                    </a:lnTo>
                    <a:lnTo>
                      <a:pt x="324" y="68"/>
                    </a:lnTo>
                    <a:lnTo>
                      <a:pt x="342" y="73"/>
                    </a:lnTo>
                    <a:lnTo>
                      <a:pt x="361" y="76"/>
                    </a:lnTo>
                    <a:lnTo>
                      <a:pt x="383" y="79"/>
                    </a:lnTo>
                    <a:lnTo>
                      <a:pt x="405" y="80"/>
                    </a:lnTo>
                    <a:lnTo>
                      <a:pt x="419" y="79"/>
                    </a:lnTo>
                    <a:lnTo>
                      <a:pt x="432" y="78"/>
                    </a:lnTo>
                    <a:lnTo>
                      <a:pt x="443" y="77"/>
                    </a:lnTo>
                    <a:lnTo>
                      <a:pt x="452" y="74"/>
                    </a:lnTo>
                    <a:lnTo>
                      <a:pt x="470" y="68"/>
                    </a:lnTo>
                    <a:lnTo>
                      <a:pt x="484" y="62"/>
                    </a:lnTo>
                    <a:lnTo>
                      <a:pt x="498" y="55"/>
                    </a:lnTo>
                    <a:lnTo>
                      <a:pt x="515" y="49"/>
                    </a:lnTo>
                    <a:lnTo>
                      <a:pt x="524" y="47"/>
                    </a:lnTo>
                    <a:lnTo>
                      <a:pt x="534" y="45"/>
                    </a:lnTo>
                    <a:lnTo>
                      <a:pt x="546" y="44"/>
                    </a:lnTo>
                    <a:lnTo>
                      <a:pt x="559" y="44"/>
                    </a:lnTo>
                    <a:lnTo>
                      <a:pt x="569" y="44"/>
                    </a:lnTo>
                    <a:lnTo>
                      <a:pt x="577" y="46"/>
                    </a:lnTo>
                    <a:lnTo>
                      <a:pt x="585" y="50"/>
                    </a:lnTo>
                    <a:lnTo>
                      <a:pt x="593" y="54"/>
                    </a:lnTo>
                    <a:lnTo>
                      <a:pt x="598" y="59"/>
                    </a:lnTo>
                    <a:lnTo>
                      <a:pt x="603" y="65"/>
                    </a:lnTo>
                    <a:lnTo>
                      <a:pt x="607" y="71"/>
                    </a:lnTo>
                    <a:lnTo>
                      <a:pt x="610" y="77"/>
                    </a:lnTo>
                    <a:lnTo>
                      <a:pt x="617" y="90"/>
                    </a:lnTo>
                    <a:lnTo>
                      <a:pt x="622" y="101"/>
                    </a:lnTo>
                    <a:lnTo>
                      <a:pt x="626" y="105"/>
                    </a:lnTo>
                    <a:lnTo>
                      <a:pt x="629" y="108"/>
                    </a:lnTo>
                    <a:lnTo>
                      <a:pt x="633" y="110"/>
                    </a:lnTo>
                    <a:lnTo>
                      <a:pt x="638" y="111"/>
                    </a:lnTo>
                    <a:lnTo>
                      <a:pt x="642" y="121"/>
                    </a:lnTo>
                    <a:lnTo>
                      <a:pt x="649" y="134"/>
                    </a:lnTo>
                    <a:lnTo>
                      <a:pt x="658" y="151"/>
                    </a:lnTo>
                    <a:lnTo>
                      <a:pt x="667" y="169"/>
                    </a:lnTo>
                    <a:lnTo>
                      <a:pt x="678" y="186"/>
                    </a:lnTo>
                    <a:lnTo>
                      <a:pt x="689" y="202"/>
                    </a:lnTo>
                    <a:lnTo>
                      <a:pt x="695" y="209"/>
                    </a:lnTo>
                    <a:lnTo>
                      <a:pt x="700" y="215"/>
                    </a:lnTo>
                    <a:lnTo>
                      <a:pt x="706" y="219"/>
                    </a:lnTo>
                    <a:lnTo>
                      <a:pt x="711" y="222"/>
                    </a:lnTo>
                    <a:lnTo>
                      <a:pt x="738" y="222"/>
                    </a:lnTo>
                    <a:lnTo>
                      <a:pt x="738" y="217"/>
                    </a:lnTo>
                    <a:lnTo>
                      <a:pt x="739" y="211"/>
                    </a:lnTo>
                    <a:lnTo>
                      <a:pt x="741" y="206"/>
                    </a:lnTo>
                    <a:lnTo>
                      <a:pt x="743" y="202"/>
                    </a:lnTo>
                    <a:lnTo>
                      <a:pt x="747" y="196"/>
                    </a:lnTo>
                    <a:lnTo>
                      <a:pt x="750" y="192"/>
                    </a:lnTo>
                    <a:lnTo>
                      <a:pt x="754" y="189"/>
                    </a:lnTo>
                    <a:lnTo>
                      <a:pt x="759" y="185"/>
                    </a:lnTo>
                    <a:lnTo>
                      <a:pt x="768" y="180"/>
                    </a:lnTo>
                    <a:lnTo>
                      <a:pt x="779" y="176"/>
                    </a:lnTo>
                    <a:lnTo>
                      <a:pt x="792" y="173"/>
                    </a:lnTo>
                    <a:lnTo>
                      <a:pt x="805" y="173"/>
                    </a:lnTo>
                    <a:lnTo>
                      <a:pt x="810" y="173"/>
                    </a:lnTo>
                    <a:lnTo>
                      <a:pt x="816" y="174"/>
                    </a:lnTo>
                    <a:lnTo>
                      <a:pt x="822" y="176"/>
                    </a:lnTo>
                    <a:lnTo>
                      <a:pt x="828" y="178"/>
                    </a:lnTo>
                    <a:lnTo>
                      <a:pt x="833" y="181"/>
                    </a:lnTo>
                    <a:lnTo>
                      <a:pt x="838" y="185"/>
                    </a:lnTo>
                    <a:lnTo>
                      <a:pt x="843" y="189"/>
                    </a:lnTo>
                    <a:lnTo>
                      <a:pt x="848" y="193"/>
                    </a:lnTo>
                    <a:lnTo>
                      <a:pt x="856" y="205"/>
                    </a:lnTo>
                    <a:lnTo>
                      <a:pt x="865" y="217"/>
                    </a:lnTo>
                    <a:lnTo>
                      <a:pt x="872" y="230"/>
                    </a:lnTo>
                    <a:lnTo>
                      <a:pt x="879" y="244"/>
                    </a:lnTo>
                    <a:lnTo>
                      <a:pt x="885" y="260"/>
                    </a:lnTo>
                    <a:lnTo>
                      <a:pt x="889" y="275"/>
                    </a:lnTo>
                    <a:lnTo>
                      <a:pt x="894" y="290"/>
                    </a:lnTo>
                    <a:lnTo>
                      <a:pt x="898" y="305"/>
                    </a:lnTo>
                    <a:lnTo>
                      <a:pt x="900" y="320"/>
                    </a:lnTo>
                    <a:lnTo>
                      <a:pt x="902" y="334"/>
                    </a:lnTo>
                    <a:lnTo>
                      <a:pt x="904" y="346"/>
                    </a:lnTo>
                    <a:lnTo>
                      <a:pt x="904" y="357"/>
                    </a:lnTo>
                    <a:lnTo>
                      <a:pt x="905" y="362"/>
                    </a:lnTo>
                    <a:lnTo>
                      <a:pt x="906" y="367"/>
                    </a:lnTo>
                    <a:lnTo>
                      <a:pt x="908" y="372"/>
                    </a:lnTo>
                    <a:lnTo>
                      <a:pt x="910" y="376"/>
                    </a:lnTo>
                    <a:lnTo>
                      <a:pt x="918" y="384"/>
                    </a:lnTo>
                    <a:lnTo>
                      <a:pt x="928" y="391"/>
                    </a:lnTo>
                    <a:lnTo>
                      <a:pt x="939" y="398"/>
                    </a:lnTo>
                    <a:lnTo>
                      <a:pt x="952" y="402"/>
                    </a:lnTo>
                    <a:lnTo>
                      <a:pt x="957" y="404"/>
                    </a:lnTo>
                    <a:lnTo>
                      <a:pt x="964" y="405"/>
                    </a:lnTo>
                    <a:lnTo>
                      <a:pt x="971" y="406"/>
                    </a:lnTo>
                    <a:lnTo>
                      <a:pt x="977" y="407"/>
                    </a:lnTo>
                    <a:lnTo>
                      <a:pt x="977" y="394"/>
                    </a:lnTo>
                    <a:lnTo>
                      <a:pt x="976" y="414"/>
                    </a:lnTo>
                    <a:lnTo>
                      <a:pt x="975" y="430"/>
                    </a:lnTo>
                    <a:lnTo>
                      <a:pt x="974" y="437"/>
                    </a:lnTo>
                    <a:lnTo>
                      <a:pt x="974" y="443"/>
                    </a:lnTo>
                    <a:lnTo>
                      <a:pt x="975" y="449"/>
                    </a:lnTo>
                    <a:lnTo>
                      <a:pt x="977" y="456"/>
                    </a:lnTo>
                    <a:lnTo>
                      <a:pt x="971" y="457"/>
                    </a:lnTo>
                    <a:lnTo>
                      <a:pt x="964" y="458"/>
                    </a:lnTo>
                    <a:lnTo>
                      <a:pt x="958" y="461"/>
                    </a:lnTo>
                    <a:lnTo>
                      <a:pt x="953" y="464"/>
                    </a:lnTo>
                    <a:lnTo>
                      <a:pt x="949" y="467"/>
                    </a:lnTo>
                    <a:lnTo>
                      <a:pt x="944" y="471"/>
                    </a:lnTo>
                    <a:lnTo>
                      <a:pt x="940" y="475"/>
                    </a:lnTo>
                    <a:lnTo>
                      <a:pt x="936" y="481"/>
                    </a:lnTo>
                    <a:lnTo>
                      <a:pt x="931" y="492"/>
                    </a:lnTo>
                    <a:lnTo>
                      <a:pt x="926" y="504"/>
                    </a:lnTo>
                    <a:lnTo>
                      <a:pt x="922" y="517"/>
                    </a:lnTo>
                    <a:lnTo>
                      <a:pt x="920" y="531"/>
                    </a:lnTo>
                    <a:lnTo>
                      <a:pt x="918" y="546"/>
                    </a:lnTo>
                    <a:lnTo>
                      <a:pt x="917" y="561"/>
                    </a:lnTo>
                    <a:lnTo>
                      <a:pt x="917" y="575"/>
                    </a:lnTo>
                    <a:lnTo>
                      <a:pt x="917" y="590"/>
                    </a:lnTo>
                    <a:lnTo>
                      <a:pt x="917" y="615"/>
                    </a:lnTo>
                    <a:lnTo>
                      <a:pt x="917" y="634"/>
                    </a:lnTo>
                    <a:lnTo>
                      <a:pt x="917" y="654"/>
                    </a:lnTo>
                    <a:lnTo>
                      <a:pt x="918" y="685"/>
                    </a:lnTo>
                    <a:lnTo>
                      <a:pt x="919" y="702"/>
                    </a:lnTo>
                    <a:lnTo>
                      <a:pt x="920" y="717"/>
                    </a:lnTo>
                    <a:lnTo>
                      <a:pt x="921" y="730"/>
                    </a:lnTo>
                    <a:lnTo>
                      <a:pt x="923" y="739"/>
                    </a:lnTo>
                    <a:lnTo>
                      <a:pt x="933" y="758"/>
                    </a:lnTo>
                    <a:lnTo>
                      <a:pt x="947" y="780"/>
                    </a:lnTo>
                    <a:lnTo>
                      <a:pt x="956" y="791"/>
                    </a:lnTo>
                    <a:lnTo>
                      <a:pt x="965" y="803"/>
                    </a:lnTo>
                    <a:lnTo>
                      <a:pt x="975" y="816"/>
                    </a:lnTo>
                    <a:lnTo>
                      <a:pt x="985" y="827"/>
                    </a:lnTo>
                    <a:lnTo>
                      <a:pt x="996" y="838"/>
                    </a:lnTo>
                    <a:lnTo>
                      <a:pt x="1007" y="848"/>
                    </a:lnTo>
                    <a:lnTo>
                      <a:pt x="1019" y="857"/>
                    </a:lnTo>
                    <a:lnTo>
                      <a:pt x="1030" y="865"/>
                    </a:lnTo>
                    <a:lnTo>
                      <a:pt x="1042" y="872"/>
                    </a:lnTo>
                    <a:lnTo>
                      <a:pt x="1054" y="877"/>
                    </a:lnTo>
                    <a:lnTo>
                      <a:pt x="1065" y="880"/>
                    </a:lnTo>
                    <a:lnTo>
                      <a:pt x="1077" y="881"/>
                    </a:lnTo>
                    <a:lnTo>
                      <a:pt x="1090" y="877"/>
                    </a:lnTo>
                    <a:lnTo>
                      <a:pt x="1114" y="865"/>
                    </a:lnTo>
                    <a:lnTo>
                      <a:pt x="1126" y="860"/>
                    </a:lnTo>
                    <a:lnTo>
                      <a:pt x="1140" y="855"/>
                    </a:lnTo>
                    <a:lnTo>
                      <a:pt x="1149" y="852"/>
                    </a:lnTo>
                    <a:lnTo>
                      <a:pt x="1156" y="850"/>
                    </a:lnTo>
                    <a:lnTo>
                      <a:pt x="1166" y="849"/>
                    </a:lnTo>
                    <a:lnTo>
                      <a:pt x="1178" y="849"/>
                    </a:lnTo>
                    <a:lnTo>
                      <a:pt x="1192" y="851"/>
                    </a:lnTo>
                    <a:lnTo>
                      <a:pt x="1208" y="852"/>
                    </a:lnTo>
                    <a:lnTo>
                      <a:pt x="1222" y="854"/>
                    </a:lnTo>
                    <a:lnTo>
                      <a:pt x="1235" y="854"/>
                    </a:lnTo>
                    <a:lnTo>
                      <a:pt x="1240" y="854"/>
                    </a:lnTo>
                    <a:lnTo>
                      <a:pt x="1244" y="853"/>
                    </a:lnTo>
                    <a:lnTo>
                      <a:pt x="1247" y="852"/>
                    </a:lnTo>
                    <a:lnTo>
                      <a:pt x="1249" y="850"/>
                    </a:lnTo>
                    <a:lnTo>
                      <a:pt x="1257" y="842"/>
                    </a:lnTo>
                    <a:lnTo>
                      <a:pt x="1264" y="834"/>
                    </a:lnTo>
                    <a:lnTo>
                      <a:pt x="1269" y="826"/>
                    </a:lnTo>
                    <a:lnTo>
                      <a:pt x="1274" y="818"/>
                    </a:lnTo>
                    <a:lnTo>
                      <a:pt x="1280" y="801"/>
                    </a:lnTo>
                    <a:lnTo>
                      <a:pt x="1285" y="785"/>
                    </a:lnTo>
                    <a:lnTo>
                      <a:pt x="1288" y="768"/>
                    </a:lnTo>
                    <a:lnTo>
                      <a:pt x="1292" y="750"/>
                    </a:lnTo>
                    <a:lnTo>
                      <a:pt x="1296" y="742"/>
                    </a:lnTo>
                    <a:lnTo>
                      <a:pt x="1299" y="733"/>
                    </a:lnTo>
                    <a:lnTo>
                      <a:pt x="1303" y="724"/>
                    </a:lnTo>
                    <a:lnTo>
                      <a:pt x="1309" y="715"/>
                    </a:lnTo>
                    <a:lnTo>
                      <a:pt x="1311" y="712"/>
                    </a:lnTo>
                    <a:lnTo>
                      <a:pt x="1313" y="709"/>
                    </a:lnTo>
                    <a:lnTo>
                      <a:pt x="1315" y="706"/>
                    </a:lnTo>
                    <a:lnTo>
                      <a:pt x="1319" y="703"/>
                    </a:lnTo>
                    <a:lnTo>
                      <a:pt x="1326" y="697"/>
                    </a:lnTo>
                    <a:lnTo>
                      <a:pt x="1336" y="693"/>
                    </a:lnTo>
                    <a:lnTo>
                      <a:pt x="1347" y="690"/>
                    </a:lnTo>
                    <a:lnTo>
                      <a:pt x="1359" y="687"/>
                    </a:lnTo>
                    <a:lnTo>
                      <a:pt x="1373" y="684"/>
                    </a:lnTo>
                    <a:lnTo>
                      <a:pt x="1387" y="682"/>
                    </a:lnTo>
                    <a:lnTo>
                      <a:pt x="1416" y="680"/>
                    </a:lnTo>
                    <a:lnTo>
                      <a:pt x="1446" y="678"/>
                    </a:lnTo>
                    <a:lnTo>
                      <a:pt x="1472" y="678"/>
                    </a:lnTo>
                    <a:lnTo>
                      <a:pt x="1495" y="678"/>
                    </a:lnTo>
                    <a:lnTo>
                      <a:pt x="1506" y="678"/>
                    </a:lnTo>
                    <a:lnTo>
                      <a:pt x="1522" y="678"/>
                    </a:lnTo>
                    <a:lnTo>
                      <a:pt x="1524" y="684"/>
                    </a:lnTo>
                    <a:lnTo>
                      <a:pt x="1528" y="693"/>
                    </a:lnTo>
                    <a:lnTo>
                      <a:pt x="1533" y="703"/>
                    </a:lnTo>
                    <a:lnTo>
                      <a:pt x="1535" y="709"/>
                    </a:lnTo>
                    <a:lnTo>
                      <a:pt x="1526" y="714"/>
                    </a:lnTo>
                    <a:lnTo>
                      <a:pt x="1515" y="720"/>
                    </a:lnTo>
                    <a:lnTo>
                      <a:pt x="1510" y="724"/>
                    </a:lnTo>
                    <a:lnTo>
                      <a:pt x="1503" y="729"/>
                    </a:lnTo>
                    <a:lnTo>
                      <a:pt x="1498" y="735"/>
                    </a:lnTo>
                    <a:lnTo>
                      <a:pt x="1492" y="741"/>
                    </a:lnTo>
                    <a:lnTo>
                      <a:pt x="1487" y="748"/>
                    </a:lnTo>
                    <a:lnTo>
                      <a:pt x="1481" y="758"/>
                    </a:lnTo>
                    <a:lnTo>
                      <a:pt x="1477" y="767"/>
                    </a:lnTo>
                    <a:lnTo>
                      <a:pt x="1473" y="778"/>
                    </a:lnTo>
                    <a:lnTo>
                      <a:pt x="1470" y="791"/>
                    </a:lnTo>
                    <a:lnTo>
                      <a:pt x="1469" y="804"/>
                    </a:lnTo>
                    <a:lnTo>
                      <a:pt x="1468" y="821"/>
                    </a:lnTo>
                    <a:lnTo>
                      <a:pt x="1469" y="838"/>
                    </a:lnTo>
                    <a:lnTo>
                      <a:pt x="1455" y="854"/>
                    </a:lnTo>
                    <a:lnTo>
                      <a:pt x="1444" y="868"/>
                    </a:lnTo>
                    <a:lnTo>
                      <a:pt x="1435" y="878"/>
                    </a:lnTo>
                    <a:lnTo>
                      <a:pt x="1428" y="888"/>
                    </a:lnTo>
                    <a:lnTo>
                      <a:pt x="1414" y="888"/>
                    </a:lnTo>
                    <a:lnTo>
                      <a:pt x="1401" y="888"/>
                    </a:lnTo>
                    <a:lnTo>
                      <a:pt x="1387" y="888"/>
                    </a:lnTo>
                    <a:lnTo>
                      <a:pt x="1369" y="888"/>
                    </a:lnTo>
                    <a:lnTo>
                      <a:pt x="1367" y="888"/>
                    </a:lnTo>
                    <a:lnTo>
                      <a:pt x="1359" y="888"/>
                    </a:lnTo>
                    <a:lnTo>
                      <a:pt x="1349" y="888"/>
                    </a:lnTo>
                    <a:lnTo>
                      <a:pt x="1336" y="888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9" name="Freeform 194"/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8139149" y="4609276"/>
                <a:ext cx="265146" cy="299340"/>
              </a:xfrm>
              <a:custGeom>
                <a:avLst/>
                <a:gdLst>
                  <a:gd name="T0" fmla="*/ 2147483647 w 486"/>
                  <a:gd name="T1" fmla="*/ 2147483647 h 505"/>
                  <a:gd name="T2" fmla="*/ 2147483647 w 486"/>
                  <a:gd name="T3" fmla="*/ 2147483647 h 505"/>
                  <a:gd name="T4" fmla="*/ 2147483647 w 486"/>
                  <a:gd name="T5" fmla="*/ 2147483647 h 505"/>
                  <a:gd name="T6" fmla="*/ 2147483647 w 486"/>
                  <a:gd name="T7" fmla="*/ 2147483647 h 505"/>
                  <a:gd name="T8" fmla="*/ 2147483647 w 486"/>
                  <a:gd name="T9" fmla="*/ 2147483647 h 505"/>
                  <a:gd name="T10" fmla="*/ 2147483647 w 486"/>
                  <a:gd name="T11" fmla="*/ 2147483647 h 505"/>
                  <a:gd name="T12" fmla="*/ 2147483647 w 486"/>
                  <a:gd name="T13" fmla="*/ 2147483647 h 505"/>
                  <a:gd name="T14" fmla="*/ 2147483647 w 486"/>
                  <a:gd name="T15" fmla="*/ 2147483647 h 505"/>
                  <a:gd name="T16" fmla="*/ 2147483647 w 486"/>
                  <a:gd name="T17" fmla="*/ 2147483647 h 505"/>
                  <a:gd name="T18" fmla="*/ 2147483647 w 486"/>
                  <a:gd name="T19" fmla="*/ 2147483647 h 505"/>
                  <a:gd name="T20" fmla="*/ 2147483647 w 486"/>
                  <a:gd name="T21" fmla="*/ 2147483647 h 505"/>
                  <a:gd name="T22" fmla="*/ 2147483647 w 486"/>
                  <a:gd name="T23" fmla="*/ 2147483647 h 505"/>
                  <a:gd name="T24" fmla="*/ 2147483647 w 486"/>
                  <a:gd name="T25" fmla="*/ 2147483647 h 505"/>
                  <a:gd name="T26" fmla="*/ 2147483647 w 486"/>
                  <a:gd name="T27" fmla="*/ 2147483647 h 505"/>
                  <a:gd name="T28" fmla="*/ 2147483647 w 486"/>
                  <a:gd name="T29" fmla="*/ 2147483647 h 505"/>
                  <a:gd name="T30" fmla="*/ 2147483647 w 486"/>
                  <a:gd name="T31" fmla="*/ 2147483647 h 505"/>
                  <a:gd name="T32" fmla="*/ 2147483647 w 486"/>
                  <a:gd name="T33" fmla="*/ 2147483647 h 505"/>
                  <a:gd name="T34" fmla="*/ 2147483647 w 486"/>
                  <a:gd name="T35" fmla="*/ 2147483647 h 505"/>
                  <a:gd name="T36" fmla="*/ 2147483647 w 486"/>
                  <a:gd name="T37" fmla="*/ 2147483647 h 505"/>
                  <a:gd name="T38" fmla="*/ 2147483647 w 486"/>
                  <a:gd name="T39" fmla="*/ 2147483647 h 505"/>
                  <a:gd name="T40" fmla="*/ 2147483647 w 486"/>
                  <a:gd name="T41" fmla="*/ 2147483647 h 505"/>
                  <a:gd name="T42" fmla="*/ 2147483647 w 486"/>
                  <a:gd name="T43" fmla="*/ 2147483647 h 505"/>
                  <a:gd name="T44" fmla="*/ 2147483647 w 486"/>
                  <a:gd name="T45" fmla="*/ 2147483647 h 505"/>
                  <a:gd name="T46" fmla="*/ 2147483647 w 486"/>
                  <a:gd name="T47" fmla="*/ 2147483647 h 505"/>
                  <a:gd name="T48" fmla="*/ 2147483647 w 486"/>
                  <a:gd name="T49" fmla="*/ 2147483647 h 505"/>
                  <a:gd name="T50" fmla="*/ 2147483647 w 486"/>
                  <a:gd name="T51" fmla="*/ 2147483647 h 505"/>
                  <a:gd name="T52" fmla="*/ 2147483647 w 486"/>
                  <a:gd name="T53" fmla="*/ 2147483647 h 505"/>
                  <a:gd name="T54" fmla="*/ 2147483647 w 486"/>
                  <a:gd name="T55" fmla="*/ 2147483647 h 505"/>
                  <a:gd name="T56" fmla="*/ 2147483647 w 486"/>
                  <a:gd name="T57" fmla="*/ 2147483647 h 505"/>
                  <a:gd name="T58" fmla="*/ 2147483647 w 486"/>
                  <a:gd name="T59" fmla="*/ 2147483647 h 505"/>
                  <a:gd name="T60" fmla="*/ 2147483647 w 486"/>
                  <a:gd name="T61" fmla="*/ 2147483647 h 505"/>
                  <a:gd name="T62" fmla="*/ 2147483647 w 486"/>
                  <a:gd name="T63" fmla="*/ 2147483647 h 505"/>
                  <a:gd name="T64" fmla="*/ 2147483647 w 486"/>
                  <a:gd name="T65" fmla="*/ 2147483647 h 505"/>
                  <a:gd name="T66" fmla="*/ 2147483647 w 486"/>
                  <a:gd name="T67" fmla="*/ 2147483647 h 505"/>
                  <a:gd name="T68" fmla="*/ 2147483647 w 486"/>
                  <a:gd name="T69" fmla="*/ 2147483647 h 505"/>
                  <a:gd name="T70" fmla="*/ 2147483647 w 486"/>
                  <a:gd name="T71" fmla="*/ 2147483647 h 505"/>
                  <a:gd name="T72" fmla="*/ 2147483647 w 486"/>
                  <a:gd name="T73" fmla="*/ 2147483647 h 505"/>
                  <a:gd name="T74" fmla="*/ 2147483647 w 486"/>
                  <a:gd name="T75" fmla="*/ 2147483647 h 505"/>
                  <a:gd name="T76" fmla="*/ 2147483647 w 486"/>
                  <a:gd name="T77" fmla="*/ 2147483647 h 505"/>
                  <a:gd name="T78" fmla="*/ 2147483647 w 486"/>
                  <a:gd name="T79" fmla="*/ 1666127626 h 505"/>
                  <a:gd name="T80" fmla="*/ 2147483647 w 486"/>
                  <a:gd name="T81" fmla="*/ 416707361 h 505"/>
                  <a:gd name="T82" fmla="*/ 2147483647 w 486"/>
                  <a:gd name="T83" fmla="*/ 208353681 h 505"/>
                  <a:gd name="T84" fmla="*/ 2147483647 w 486"/>
                  <a:gd name="T85" fmla="*/ 2147483647 h 505"/>
                  <a:gd name="T86" fmla="*/ 2147483647 w 486"/>
                  <a:gd name="T87" fmla="*/ 2147483647 h 505"/>
                  <a:gd name="T88" fmla="*/ 2147483647 w 486"/>
                  <a:gd name="T89" fmla="*/ 2147483647 h 505"/>
                  <a:gd name="T90" fmla="*/ 2147483647 w 486"/>
                  <a:gd name="T91" fmla="*/ 2147483647 h 50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86" h="505">
                    <a:moveTo>
                      <a:pt x="0" y="166"/>
                    </a:moveTo>
                    <a:lnTo>
                      <a:pt x="7" y="171"/>
                    </a:lnTo>
                    <a:lnTo>
                      <a:pt x="14" y="176"/>
                    </a:lnTo>
                    <a:lnTo>
                      <a:pt x="19" y="181"/>
                    </a:lnTo>
                    <a:lnTo>
                      <a:pt x="24" y="186"/>
                    </a:lnTo>
                    <a:lnTo>
                      <a:pt x="31" y="198"/>
                    </a:lnTo>
                    <a:lnTo>
                      <a:pt x="39" y="210"/>
                    </a:lnTo>
                    <a:lnTo>
                      <a:pt x="44" y="221"/>
                    </a:lnTo>
                    <a:lnTo>
                      <a:pt x="51" y="232"/>
                    </a:lnTo>
                    <a:lnTo>
                      <a:pt x="58" y="242"/>
                    </a:lnTo>
                    <a:lnTo>
                      <a:pt x="66" y="253"/>
                    </a:lnTo>
                    <a:lnTo>
                      <a:pt x="82" y="266"/>
                    </a:lnTo>
                    <a:lnTo>
                      <a:pt x="96" y="276"/>
                    </a:lnTo>
                    <a:lnTo>
                      <a:pt x="111" y="285"/>
                    </a:lnTo>
                    <a:lnTo>
                      <a:pt x="126" y="293"/>
                    </a:lnTo>
                    <a:lnTo>
                      <a:pt x="140" y="299"/>
                    </a:lnTo>
                    <a:lnTo>
                      <a:pt x="155" y="305"/>
                    </a:lnTo>
                    <a:lnTo>
                      <a:pt x="170" y="310"/>
                    </a:lnTo>
                    <a:lnTo>
                      <a:pt x="185" y="314"/>
                    </a:lnTo>
                    <a:lnTo>
                      <a:pt x="215" y="321"/>
                    </a:lnTo>
                    <a:lnTo>
                      <a:pt x="246" y="328"/>
                    </a:lnTo>
                    <a:lnTo>
                      <a:pt x="262" y="332"/>
                    </a:lnTo>
                    <a:lnTo>
                      <a:pt x="278" y="338"/>
                    </a:lnTo>
                    <a:lnTo>
                      <a:pt x="295" y="344"/>
                    </a:lnTo>
                    <a:lnTo>
                      <a:pt x="312" y="351"/>
                    </a:lnTo>
                    <a:lnTo>
                      <a:pt x="307" y="367"/>
                    </a:lnTo>
                    <a:lnTo>
                      <a:pt x="299" y="381"/>
                    </a:lnTo>
                    <a:lnTo>
                      <a:pt x="291" y="394"/>
                    </a:lnTo>
                    <a:lnTo>
                      <a:pt x="284" y="406"/>
                    </a:lnTo>
                    <a:lnTo>
                      <a:pt x="277" y="418"/>
                    </a:lnTo>
                    <a:lnTo>
                      <a:pt x="272" y="430"/>
                    </a:lnTo>
                    <a:lnTo>
                      <a:pt x="269" y="436"/>
                    </a:lnTo>
                    <a:lnTo>
                      <a:pt x="267" y="443"/>
                    </a:lnTo>
                    <a:lnTo>
                      <a:pt x="266" y="449"/>
                    </a:lnTo>
                    <a:lnTo>
                      <a:pt x="266" y="456"/>
                    </a:lnTo>
                    <a:lnTo>
                      <a:pt x="266" y="463"/>
                    </a:lnTo>
                    <a:lnTo>
                      <a:pt x="269" y="471"/>
                    </a:lnTo>
                    <a:lnTo>
                      <a:pt x="273" y="477"/>
                    </a:lnTo>
                    <a:lnTo>
                      <a:pt x="278" y="482"/>
                    </a:lnTo>
                    <a:lnTo>
                      <a:pt x="284" y="487"/>
                    </a:lnTo>
                    <a:lnTo>
                      <a:pt x="291" y="491"/>
                    </a:lnTo>
                    <a:lnTo>
                      <a:pt x="299" y="494"/>
                    </a:lnTo>
                    <a:lnTo>
                      <a:pt x="308" y="497"/>
                    </a:lnTo>
                    <a:lnTo>
                      <a:pt x="325" y="501"/>
                    </a:lnTo>
                    <a:lnTo>
                      <a:pt x="344" y="504"/>
                    </a:lnTo>
                    <a:lnTo>
                      <a:pt x="363" y="505"/>
                    </a:lnTo>
                    <a:lnTo>
                      <a:pt x="379" y="505"/>
                    </a:lnTo>
                    <a:lnTo>
                      <a:pt x="387" y="504"/>
                    </a:lnTo>
                    <a:lnTo>
                      <a:pt x="396" y="502"/>
                    </a:lnTo>
                    <a:lnTo>
                      <a:pt x="406" y="499"/>
                    </a:lnTo>
                    <a:lnTo>
                      <a:pt x="415" y="494"/>
                    </a:lnTo>
                    <a:lnTo>
                      <a:pt x="426" y="488"/>
                    </a:lnTo>
                    <a:lnTo>
                      <a:pt x="436" y="482"/>
                    </a:lnTo>
                    <a:lnTo>
                      <a:pt x="446" y="474"/>
                    </a:lnTo>
                    <a:lnTo>
                      <a:pt x="456" y="465"/>
                    </a:lnTo>
                    <a:lnTo>
                      <a:pt x="465" y="456"/>
                    </a:lnTo>
                    <a:lnTo>
                      <a:pt x="473" y="447"/>
                    </a:lnTo>
                    <a:lnTo>
                      <a:pt x="478" y="437"/>
                    </a:lnTo>
                    <a:lnTo>
                      <a:pt x="482" y="428"/>
                    </a:lnTo>
                    <a:lnTo>
                      <a:pt x="485" y="418"/>
                    </a:lnTo>
                    <a:lnTo>
                      <a:pt x="486" y="407"/>
                    </a:lnTo>
                    <a:lnTo>
                      <a:pt x="485" y="402"/>
                    </a:lnTo>
                    <a:lnTo>
                      <a:pt x="484" y="397"/>
                    </a:lnTo>
                    <a:lnTo>
                      <a:pt x="481" y="393"/>
                    </a:lnTo>
                    <a:lnTo>
                      <a:pt x="478" y="388"/>
                    </a:lnTo>
                    <a:lnTo>
                      <a:pt x="478" y="358"/>
                    </a:lnTo>
                    <a:lnTo>
                      <a:pt x="475" y="345"/>
                    </a:lnTo>
                    <a:lnTo>
                      <a:pt x="473" y="331"/>
                    </a:lnTo>
                    <a:lnTo>
                      <a:pt x="471" y="316"/>
                    </a:lnTo>
                    <a:lnTo>
                      <a:pt x="470" y="299"/>
                    </a:lnTo>
                    <a:lnTo>
                      <a:pt x="468" y="284"/>
                    </a:lnTo>
                    <a:lnTo>
                      <a:pt x="465" y="270"/>
                    </a:lnTo>
                    <a:lnTo>
                      <a:pt x="463" y="263"/>
                    </a:lnTo>
                    <a:lnTo>
                      <a:pt x="461" y="257"/>
                    </a:lnTo>
                    <a:lnTo>
                      <a:pt x="456" y="252"/>
                    </a:lnTo>
                    <a:lnTo>
                      <a:pt x="452" y="247"/>
                    </a:lnTo>
                    <a:lnTo>
                      <a:pt x="446" y="242"/>
                    </a:lnTo>
                    <a:lnTo>
                      <a:pt x="439" y="239"/>
                    </a:lnTo>
                    <a:lnTo>
                      <a:pt x="431" y="236"/>
                    </a:lnTo>
                    <a:lnTo>
                      <a:pt x="422" y="234"/>
                    </a:lnTo>
                    <a:lnTo>
                      <a:pt x="413" y="232"/>
                    </a:lnTo>
                    <a:lnTo>
                      <a:pt x="406" y="229"/>
                    </a:lnTo>
                    <a:lnTo>
                      <a:pt x="398" y="226"/>
                    </a:lnTo>
                    <a:lnTo>
                      <a:pt x="392" y="222"/>
                    </a:lnTo>
                    <a:lnTo>
                      <a:pt x="386" y="216"/>
                    </a:lnTo>
                    <a:lnTo>
                      <a:pt x="378" y="212"/>
                    </a:lnTo>
                    <a:lnTo>
                      <a:pt x="370" y="207"/>
                    </a:lnTo>
                    <a:lnTo>
                      <a:pt x="363" y="203"/>
                    </a:lnTo>
                    <a:lnTo>
                      <a:pt x="346" y="196"/>
                    </a:lnTo>
                    <a:lnTo>
                      <a:pt x="330" y="188"/>
                    </a:lnTo>
                    <a:lnTo>
                      <a:pt x="313" y="182"/>
                    </a:lnTo>
                    <a:lnTo>
                      <a:pt x="298" y="176"/>
                    </a:lnTo>
                    <a:lnTo>
                      <a:pt x="290" y="172"/>
                    </a:lnTo>
                    <a:lnTo>
                      <a:pt x="284" y="169"/>
                    </a:lnTo>
                    <a:lnTo>
                      <a:pt x="278" y="165"/>
                    </a:lnTo>
                    <a:lnTo>
                      <a:pt x="273" y="160"/>
                    </a:lnTo>
                    <a:lnTo>
                      <a:pt x="269" y="158"/>
                    </a:lnTo>
                    <a:lnTo>
                      <a:pt x="266" y="154"/>
                    </a:lnTo>
                    <a:lnTo>
                      <a:pt x="264" y="151"/>
                    </a:lnTo>
                    <a:lnTo>
                      <a:pt x="263" y="146"/>
                    </a:lnTo>
                    <a:lnTo>
                      <a:pt x="262" y="136"/>
                    </a:lnTo>
                    <a:lnTo>
                      <a:pt x="261" y="125"/>
                    </a:lnTo>
                    <a:lnTo>
                      <a:pt x="261" y="113"/>
                    </a:lnTo>
                    <a:lnTo>
                      <a:pt x="262" y="101"/>
                    </a:lnTo>
                    <a:lnTo>
                      <a:pt x="261" y="90"/>
                    </a:lnTo>
                    <a:lnTo>
                      <a:pt x="260" y="81"/>
                    </a:lnTo>
                    <a:lnTo>
                      <a:pt x="258" y="75"/>
                    </a:lnTo>
                    <a:lnTo>
                      <a:pt x="255" y="71"/>
                    </a:lnTo>
                    <a:lnTo>
                      <a:pt x="251" y="67"/>
                    </a:lnTo>
                    <a:lnTo>
                      <a:pt x="246" y="61"/>
                    </a:lnTo>
                    <a:lnTo>
                      <a:pt x="241" y="55"/>
                    </a:lnTo>
                    <a:lnTo>
                      <a:pt x="237" y="47"/>
                    </a:lnTo>
                    <a:lnTo>
                      <a:pt x="235" y="43"/>
                    </a:lnTo>
                    <a:lnTo>
                      <a:pt x="234" y="37"/>
                    </a:lnTo>
                    <a:lnTo>
                      <a:pt x="233" y="32"/>
                    </a:lnTo>
                    <a:lnTo>
                      <a:pt x="233" y="25"/>
                    </a:lnTo>
                    <a:lnTo>
                      <a:pt x="199" y="12"/>
                    </a:lnTo>
                    <a:lnTo>
                      <a:pt x="195" y="12"/>
                    </a:lnTo>
                    <a:lnTo>
                      <a:pt x="190" y="10"/>
                    </a:lnTo>
                    <a:lnTo>
                      <a:pt x="186" y="8"/>
                    </a:lnTo>
                    <a:lnTo>
                      <a:pt x="182" y="6"/>
                    </a:lnTo>
                    <a:lnTo>
                      <a:pt x="177" y="4"/>
                    </a:lnTo>
                    <a:lnTo>
                      <a:pt x="173" y="2"/>
                    </a:lnTo>
                    <a:lnTo>
                      <a:pt x="166" y="0"/>
                    </a:lnTo>
                    <a:lnTo>
                      <a:pt x="160" y="0"/>
                    </a:lnTo>
                    <a:lnTo>
                      <a:pt x="139" y="1"/>
                    </a:lnTo>
                    <a:lnTo>
                      <a:pt x="116" y="2"/>
                    </a:lnTo>
                    <a:lnTo>
                      <a:pt x="92" y="6"/>
                    </a:lnTo>
                    <a:lnTo>
                      <a:pt x="70" y="11"/>
                    </a:lnTo>
                    <a:lnTo>
                      <a:pt x="60" y="14"/>
                    </a:lnTo>
                    <a:lnTo>
                      <a:pt x="50" y="17"/>
                    </a:lnTo>
                    <a:lnTo>
                      <a:pt x="42" y="21"/>
                    </a:lnTo>
                    <a:lnTo>
                      <a:pt x="34" y="27"/>
                    </a:lnTo>
                    <a:lnTo>
                      <a:pt x="28" y="31"/>
                    </a:lnTo>
                    <a:lnTo>
                      <a:pt x="24" y="37"/>
                    </a:lnTo>
                    <a:lnTo>
                      <a:pt x="21" y="43"/>
                    </a:lnTo>
                    <a:lnTo>
                      <a:pt x="20" y="49"/>
                    </a:lnTo>
                    <a:lnTo>
                      <a:pt x="20" y="64"/>
                    </a:lnTo>
                    <a:lnTo>
                      <a:pt x="20" y="74"/>
                    </a:lnTo>
                    <a:lnTo>
                      <a:pt x="0" y="166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0" name="Freeform 195"/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8352462" y="3711256"/>
                <a:ext cx="91704" cy="123679"/>
              </a:xfrm>
              <a:custGeom>
                <a:avLst/>
                <a:gdLst>
                  <a:gd name="T0" fmla="*/ 1180142643 w 166"/>
                  <a:gd name="T1" fmla="*/ 2147483647 h 208"/>
                  <a:gd name="T2" fmla="*/ 2147483647 w 166"/>
                  <a:gd name="T3" fmla="*/ 2147483647 h 208"/>
                  <a:gd name="T4" fmla="*/ 2147483647 w 166"/>
                  <a:gd name="T5" fmla="*/ 2147483647 h 208"/>
                  <a:gd name="T6" fmla="*/ 2147483647 w 166"/>
                  <a:gd name="T7" fmla="*/ 2147483647 h 208"/>
                  <a:gd name="T8" fmla="*/ 2147483647 w 166"/>
                  <a:gd name="T9" fmla="*/ 2147483647 h 208"/>
                  <a:gd name="T10" fmla="*/ 2147483647 w 166"/>
                  <a:gd name="T11" fmla="*/ 2147483647 h 208"/>
                  <a:gd name="T12" fmla="*/ 2147483647 w 166"/>
                  <a:gd name="T13" fmla="*/ 2147483647 h 208"/>
                  <a:gd name="T14" fmla="*/ 2147483647 w 166"/>
                  <a:gd name="T15" fmla="*/ 2147483647 h 208"/>
                  <a:gd name="T16" fmla="*/ 2147483647 w 166"/>
                  <a:gd name="T17" fmla="*/ 2147483647 h 208"/>
                  <a:gd name="T18" fmla="*/ 2147483647 w 166"/>
                  <a:gd name="T19" fmla="*/ 2147483647 h 208"/>
                  <a:gd name="T20" fmla="*/ 2147483647 w 166"/>
                  <a:gd name="T21" fmla="*/ 2147483647 h 208"/>
                  <a:gd name="T22" fmla="*/ 2147483647 w 166"/>
                  <a:gd name="T23" fmla="*/ 2147483647 h 208"/>
                  <a:gd name="T24" fmla="*/ 2147483647 w 166"/>
                  <a:gd name="T25" fmla="*/ 2147483647 h 208"/>
                  <a:gd name="T26" fmla="*/ 2147483647 w 166"/>
                  <a:gd name="T27" fmla="*/ 2147483647 h 208"/>
                  <a:gd name="T28" fmla="*/ 2147483647 w 166"/>
                  <a:gd name="T29" fmla="*/ 2147483647 h 208"/>
                  <a:gd name="T30" fmla="*/ 2147483647 w 166"/>
                  <a:gd name="T31" fmla="*/ 2147483647 h 208"/>
                  <a:gd name="T32" fmla="*/ 2147483647 w 166"/>
                  <a:gd name="T33" fmla="*/ 2147483647 h 208"/>
                  <a:gd name="T34" fmla="*/ 2147483647 w 166"/>
                  <a:gd name="T35" fmla="*/ 2147483647 h 208"/>
                  <a:gd name="T36" fmla="*/ 2147483647 w 166"/>
                  <a:gd name="T37" fmla="*/ 2147483647 h 208"/>
                  <a:gd name="T38" fmla="*/ 2147483647 w 166"/>
                  <a:gd name="T39" fmla="*/ 2147483647 h 208"/>
                  <a:gd name="T40" fmla="*/ 2147483647 w 166"/>
                  <a:gd name="T41" fmla="*/ 2147483647 h 208"/>
                  <a:gd name="T42" fmla="*/ 2147483647 w 166"/>
                  <a:gd name="T43" fmla="*/ 2147483647 h 208"/>
                  <a:gd name="T44" fmla="*/ 2147483647 w 166"/>
                  <a:gd name="T45" fmla="*/ 2102277804 h 208"/>
                  <a:gd name="T46" fmla="*/ 2147483647 w 166"/>
                  <a:gd name="T47" fmla="*/ 1681893477 h 208"/>
                  <a:gd name="T48" fmla="*/ 2147483647 w 166"/>
                  <a:gd name="T49" fmla="*/ 1051138902 h 208"/>
                  <a:gd name="T50" fmla="*/ 2147483647 w 166"/>
                  <a:gd name="T51" fmla="*/ 630753981 h 208"/>
                  <a:gd name="T52" fmla="*/ 2147483647 w 166"/>
                  <a:gd name="T53" fmla="*/ 210369060 h 208"/>
                  <a:gd name="T54" fmla="*/ 2147483647 w 166"/>
                  <a:gd name="T55" fmla="*/ 0 h 208"/>
                  <a:gd name="T56" fmla="*/ 2147483647 w 166"/>
                  <a:gd name="T57" fmla="*/ 210369060 h 208"/>
                  <a:gd name="T58" fmla="*/ 2147483647 w 166"/>
                  <a:gd name="T59" fmla="*/ 1051138902 h 208"/>
                  <a:gd name="T60" fmla="*/ 2147483647 w 166"/>
                  <a:gd name="T61" fmla="*/ 2147483647 h 208"/>
                  <a:gd name="T62" fmla="*/ 1854597389 w 166"/>
                  <a:gd name="T63" fmla="*/ 2147483647 h 208"/>
                  <a:gd name="T64" fmla="*/ 1180142643 w 166"/>
                  <a:gd name="T65" fmla="*/ 2147483647 h 208"/>
                  <a:gd name="T66" fmla="*/ 674454746 w 166"/>
                  <a:gd name="T67" fmla="*/ 2147483647 h 208"/>
                  <a:gd name="T68" fmla="*/ 337227097 w 166"/>
                  <a:gd name="T69" fmla="*/ 2147483647 h 208"/>
                  <a:gd name="T70" fmla="*/ 0 w 166"/>
                  <a:gd name="T71" fmla="*/ 2147483647 h 208"/>
                  <a:gd name="T72" fmla="*/ 0 w 166"/>
                  <a:gd name="T73" fmla="*/ 2147483647 h 208"/>
                  <a:gd name="T74" fmla="*/ 337227097 w 166"/>
                  <a:gd name="T75" fmla="*/ 2147483647 h 208"/>
                  <a:gd name="T76" fmla="*/ 505688450 w 166"/>
                  <a:gd name="T77" fmla="*/ 2147483647 h 208"/>
                  <a:gd name="T78" fmla="*/ 842915546 w 166"/>
                  <a:gd name="T79" fmla="*/ 2147483647 h 208"/>
                  <a:gd name="T80" fmla="*/ 1685831093 w 166"/>
                  <a:gd name="T81" fmla="*/ 2147483647 h 208"/>
                  <a:gd name="T82" fmla="*/ 2147483647 w 166"/>
                  <a:gd name="T83" fmla="*/ 2147483647 h 208"/>
                  <a:gd name="T84" fmla="*/ 2147483647 w 166"/>
                  <a:gd name="T85" fmla="*/ 2147483647 h 208"/>
                  <a:gd name="T86" fmla="*/ 2147483647 w 166"/>
                  <a:gd name="T87" fmla="*/ 2147483647 h 208"/>
                  <a:gd name="T88" fmla="*/ 2147483647 w 166"/>
                  <a:gd name="T89" fmla="*/ 2147483647 h 208"/>
                  <a:gd name="T90" fmla="*/ 2147483647 w 166"/>
                  <a:gd name="T91" fmla="*/ 2147483647 h 208"/>
                  <a:gd name="T92" fmla="*/ 2147483647 w 166"/>
                  <a:gd name="T93" fmla="*/ 2147483647 h 208"/>
                  <a:gd name="T94" fmla="*/ 2147483647 w 166"/>
                  <a:gd name="T95" fmla="*/ 2147483647 h 208"/>
                  <a:gd name="T96" fmla="*/ 2147483647 w 166"/>
                  <a:gd name="T97" fmla="*/ 2147483647 h 208"/>
                  <a:gd name="T98" fmla="*/ 2147483647 w 166"/>
                  <a:gd name="T99" fmla="*/ 2147483647 h 208"/>
                  <a:gd name="T100" fmla="*/ 2147483647 w 166"/>
                  <a:gd name="T101" fmla="*/ 2147483647 h 208"/>
                  <a:gd name="T102" fmla="*/ 2147483647 w 166"/>
                  <a:gd name="T103" fmla="*/ 2147483647 h 208"/>
                  <a:gd name="T104" fmla="*/ 2147483647 w 166"/>
                  <a:gd name="T105" fmla="*/ 2147483647 h 208"/>
                  <a:gd name="T106" fmla="*/ 2147483647 w 166"/>
                  <a:gd name="T107" fmla="*/ 2147483647 h 208"/>
                  <a:gd name="T108" fmla="*/ 1854597389 w 166"/>
                  <a:gd name="T109" fmla="*/ 2147483647 h 208"/>
                  <a:gd name="T110" fmla="*/ 1180142643 w 166"/>
                  <a:gd name="T111" fmla="*/ 2147483647 h 2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66" h="208">
                    <a:moveTo>
                      <a:pt x="7" y="183"/>
                    </a:moveTo>
                    <a:lnTo>
                      <a:pt x="79" y="208"/>
                    </a:lnTo>
                    <a:lnTo>
                      <a:pt x="85" y="207"/>
                    </a:lnTo>
                    <a:lnTo>
                      <a:pt x="90" y="204"/>
                    </a:lnTo>
                    <a:lnTo>
                      <a:pt x="97" y="198"/>
                    </a:lnTo>
                    <a:lnTo>
                      <a:pt x="104" y="192"/>
                    </a:lnTo>
                    <a:lnTo>
                      <a:pt x="117" y="176"/>
                    </a:lnTo>
                    <a:lnTo>
                      <a:pt x="130" y="158"/>
                    </a:lnTo>
                    <a:lnTo>
                      <a:pt x="154" y="122"/>
                    </a:lnTo>
                    <a:lnTo>
                      <a:pt x="166" y="103"/>
                    </a:lnTo>
                    <a:lnTo>
                      <a:pt x="144" y="94"/>
                    </a:lnTo>
                    <a:lnTo>
                      <a:pt x="126" y="84"/>
                    </a:lnTo>
                    <a:lnTo>
                      <a:pt x="108" y="74"/>
                    </a:lnTo>
                    <a:lnTo>
                      <a:pt x="93" y="64"/>
                    </a:lnTo>
                    <a:lnTo>
                      <a:pt x="86" y="58"/>
                    </a:lnTo>
                    <a:lnTo>
                      <a:pt x="81" y="53"/>
                    </a:lnTo>
                    <a:lnTo>
                      <a:pt x="75" y="47"/>
                    </a:lnTo>
                    <a:lnTo>
                      <a:pt x="71" y="40"/>
                    </a:lnTo>
                    <a:lnTo>
                      <a:pt x="67" y="33"/>
                    </a:lnTo>
                    <a:lnTo>
                      <a:pt x="64" y="26"/>
                    </a:lnTo>
                    <a:lnTo>
                      <a:pt x="62" y="18"/>
                    </a:lnTo>
                    <a:lnTo>
                      <a:pt x="60" y="11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40" y="5"/>
                    </a:lnTo>
                    <a:lnTo>
                      <a:pt x="39" y="3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2" y="1"/>
                    </a:lnTo>
                    <a:lnTo>
                      <a:pt x="27" y="5"/>
                    </a:lnTo>
                    <a:lnTo>
                      <a:pt x="20" y="11"/>
                    </a:lnTo>
                    <a:lnTo>
                      <a:pt x="11" y="22"/>
                    </a:lnTo>
                    <a:lnTo>
                      <a:pt x="7" y="29"/>
                    </a:lnTo>
                    <a:lnTo>
                      <a:pt x="4" y="37"/>
                    </a:lnTo>
                    <a:lnTo>
                      <a:pt x="2" y="45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6"/>
                    </a:lnTo>
                    <a:lnTo>
                      <a:pt x="10" y="86"/>
                    </a:lnTo>
                    <a:lnTo>
                      <a:pt x="17" y="98"/>
                    </a:lnTo>
                    <a:lnTo>
                      <a:pt x="22" y="109"/>
                    </a:lnTo>
                    <a:lnTo>
                      <a:pt x="28" y="120"/>
                    </a:lnTo>
                    <a:lnTo>
                      <a:pt x="30" y="126"/>
                    </a:lnTo>
                    <a:lnTo>
                      <a:pt x="32" y="133"/>
                    </a:lnTo>
                    <a:lnTo>
                      <a:pt x="33" y="139"/>
                    </a:lnTo>
                    <a:lnTo>
                      <a:pt x="33" y="147"/>
                    </a:lnTo>
                    <a:lnTo>
                      <a:pt x="32" y="153"/>
                    </a:lnTo>
                    <a:lnTo>
                      <a:pt x="31" y="159"/>
                    </a:lnTo>
                    <a:lnTo>
                      <a:pt x="28" y="165"/>
                    </a:lnTo>
                    <a:lnTo>
                      <a:pt x="25" y="169"/>
                    </a:lnTo>
                    <a:lnTo>
                      <a:pt x="21" y="174"/>
                    </a:lnTo>
                    <a:lnTo>
                      <a:pt x="17" y="177"/>
                    </a:lnTo>
                    <a:lnTo>
                      <a:pt x="11" y="180"/>
                    </a:lnTo>
                    <a:lnTo>
                      <a:pt x="7" y="18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1" name="Freeform 196"/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7742429" y="3212954"/>
                <a:ext cx="87717" cy="66320"/>
              </a:xfrm>
              <a:custGeom>
                <a:avLst/>
                <a:gdLst>
                  <a:gd name="T0" fmla="*/ 2147483647 w 164"/>
                  <a:gd name="T1" fmla="*/ 2147483647 h 104"/>
                  <a:gd name="T2" fmla="*/ 2147483647 w 164"/>
                  <a:gd name="T3" fmla="*/ 2147483647 h 104"/>
                  <a:gd name="T4" fmla="*/ 2147483647 w 164"/>
                  <a:gd name="T5" fmla="*/ 2147483647 h 104"/>
                  <a:gd name="T6" fmla="*/ 2147483647 w 164"/>
                  <a:gd name="T7" fmla="*/ 2147483647 h 104"/>
                  <a:gd name="T8" fmla="*/ 2147483647 w 164"/>
                  <a:gd name="T9" fmla="*/ 2147483647 h 104"/>
                  <a:gd name="T10" fmla="*/ 2147483647 w 164"/>
                  <a:gd name="T11" fmla="*/ 2147483647 h 104"/>
                  <a:gd name="T12" fmla="*/ 2147483647 w 164"/>
                  <a:gd name="T13" fmla="*/ 2147483647 h 104"/>
                  <a:gd name="T14" fmla="*/ 2147483647 w 164"/>
                  <a:gd name="T15" fmla="*/ 2147483647 h 104"/>
                  <a:gd name="T16" fmla="*/ 2147483647 w 164"/>
                  <a:gd name="T17" fmla="*/ 2147483647 h 104"/>
                  <a:gd name="T18" fmla="*/ 2147483647 w 164"/>
                  <a:gd name="T19" fmla="*/ 2147483647 h 104"/>
                  <a:gd name="T20" fmla="*/ 2147483647 w 164"/>
                  <a:gd name="T21" fmla="*/ 2147483647 h 104"/>
                  <a:gd name="T22" fmla="*/ 2147483647 w 164"/>
                  <a:gd name="T23" fmla="*/ 2147483647 h 104"/>
                  <a:gd name="T24" fmla="*/ 2147483647 w 164"/>
                  <a:gd name="T25" fmla="*/ 2147483647 h 104"/>
                  <a:gd name="T26" fmla="*/ 1682979011 w 164"/>
                  <a:gd name="T27" fmla="*/ 2147483647 h 104"/>
                  <a:gd name="T28" fmla="*/ 918014565 w 164"/>
                  <a:gd name="T29" fmla="*/ 2147483647 h 104"/>
                  <a:gd name="T30" fmla="*/ 459150358 w 164"/>
                  <a:gd name="T31" fmla="*/ 2147483647 h 104"/>
                  <a:gd name="T32" fmla="*/ 153050119 w 164"/>
                  <a:gd name="T33" fmla="*/ 2147483647 h 104"/>
                  <a:gd name="T34" fmla="*/ 0 w 164"/>
                  <a:gd name="T35" fmla="*/ 2147483647 h 104"/>
                  <a:gd name="T36" fmla="*/ 0 w 164"/>
                  <a:gd name="T37" fmla="*/ 2147483647 h 104"/>
                  <a:gd name="T38" fmla="*/ 0 w 164"/>
                  <a:gd name="T39" fmla="*/ 2147483647 h 104"/>
                  <a:gd name="T40" fmla="*/ 153050119 w 164"/>
                  <a:gd name="T41" fmla="*/ 2147483647 h 104"/>
                  <a:gd name="T42" fmla="*/ 459150358 w 164"/>
                  <a:gd name="T43" fmla="*/ 2147483647 h 104"/>
                  <a:gd name="T44" fmla="*/ 918014565 w 164"/>
                  <a:gd name="T45" fmla="*/ 2147483647 h 104"/>
                  <a:gd name="T46" fmla="*/ 1836029131 w 164"/>
                  <a:gd name="T47" fmla="*/ 2147483647 h 104"/>
                  <a:gd name="T48" fmla="*/ 2147483647 w 164"/>
                  <a:gd name="T49" fmla="*/ 2147483647 h 104"/>
                  <a:gd name="T50" fmla="*/ 2147483647 w 164"/>
                  <a:gd name="T51" fmla="*/ 2147483647 h 104"/>
                  <a:gd name="T52" fmla="*/ 2147483647 w 164"/>
                  <a:gd name="T53" fmla="*/ 2147483647 h 104"/>
                  <a:gd name="T54" fmla="*/ 2147483647 w 164"/>
                  <a:gd name="T55" fmla="*/ 2147483647 h 104"/>
                  <a:gd name="T56" fmla="*/ 2147483647 w 164"/>
                  <a:gd name="T57" fmla="*/ 2147483647 h 104"/>
                  <a:gd name="T58" fmla="*/ 2147483647 w 164"/>
                  <a:gd name="T59" fmla="*/ 2147483647 h 104"/>
                  <a:gd name="T60" fmla="*/ 2147483647 w 164"/>
                  <a:gd name="T61" fmla="*/ 2147483647 h 104"/>
                  <a:gd name="T62" fmla="*/ 2147483647 w 164"/>
                  <a:gd name="T63" fmla="*/ 2147483647 h 104"/>
                  <a:gd name="T64" fmla="*/ 2147483647 w 164"/>
                  <a:gd name="T65" fmla="*/ 2147483647 h 104"/>
                  <a:gd name="T66" fmla="*/ 2147483647 w 164"/>
                  <a:gd name="T67" fmla="*/ 2147483647 h 104"/>
                  <a:gd name="T68" fmla="*/ 2147483647 w 164"/>
                  <a:gd name="T69" fmla="*/ 2147483647 h 104"/>
                  <a:gd name="T70" fmla="*/ 2147483647 w 164"/>
                  <a:gd name="T71" fmla="*/ 2147483647 h 104"/>
                  <a:gd name="T72" fmla="*/ 2147483647 w 164"/>
                  <a:gd name="T73" fmla="*/ 2147483647 h 104"/>
                  <a:gd name="T74" fmla="*/ 2147483647 w 164"/>
                  <a:gd name="T75" fmla="*/ 2147483647 h 104"/>
                  <a:gd name="T76" fmla="*/ 2147483647 w 164"/>
                  <a:gd name="T77" fmla="*/ 2147483647 h 104"/>
                  <a:gd name="T78" fmla="*/ 2147483647 w 164"/>
                  <a:gd name="T79" fmla="*/ 1555848707 h 104"/>
                  <a:gd name="T80" fmla="*/ 2147483647 w 164"/>
                  <a:gd name="T81" fmla="*/ 0 h 104"/>
                  <a:gd name="T82" fmla="*/ 2147483647 w 164"/>
                  <a:gd name="T83" fmla="*/ 0 h 104"/>
                  <a:gd name="T84" fmla="*/ 2147483647 w 164"/>
                  <a:gd name="T85" fmla="*/ 1555848707 h 104"/>
                  <a:gd name="T86" fmla="*/ 2147483647 w 164"/>
                  <a:gd name="T87" fmla="*/ 2147483647 h 104"/>
                  <a:gd name="T88" fmla="*/ 2147483647 w 164"/>
                  <a:gd name="T89" fmla="*/ 2147483647 h 104"/>
                  <a:gd name="T90" fmla="*/ 2147483647 w 164"/>
                  <a:gd name="T91" fmla="*/ 2147483647 h 104"/>
                  <a:gd name="T92" fmla="*/ 2147483647 w 164"/>
                  <a:gd name="T93" fmla="*/ 2147483647 h 104"/>
                  <a:gd name="T94" fmla="*/ 2147483647 w 164"/>
                  <a:gd name="T95" fmla="*/ 2147483647 h 104"/>
                  <a:gd name="T96" fmla="*/ 2147483647 w 164"/>
                  <a:gd name="T97" fmla="*/ 2147483647 h 104"/>
                  <a:gd name="T98" fmla="*/ 2147483647 w 164"/>
                  <a:gd name="T99" fmla="*/ 2147483647 h 104"/>
                  <a:gd name="T100" fmla="*/ 2147483647 w 164"/>
                  <a:gd name="T101" fmla="*/ 2147483647 h 104"/>
                  <a:gd name="T102" fmla="*/ 2147483647 w 164"/>
                  <a:gd name="T103" fmla="*/ 2147483647 h 104"/>
                  <a:gd name="T104" fmla="*/ 2147483647 w 164"/>
                  <a:gd name="T105" fmla="*/ 2147483647 h 104"/>
                  <a:gd name="T106" fmla="*/ 2147483647 w 164"/>
                  <a:gd name="T107" fmla="*/ 2147483647 h 104"/>
                  <a:gd name="T108" fmla="*/ 2147483647 w 164"/>
                  <a:gd name="T109" fmla="*/ 2147483647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64" h="104">
                    <a:moveTo>
                      <a:pt x="153" y="104"/>
                    </a:moveTo>
                    <a:lnTo>
                      <a:pt x="134" y="102"/>
                    </a:lnTo>
                    <a:lnTo>
                      <a:pt x="110" y="97"/>
                    </a:lnTo>
                    <a:lnTo>
                      <a:pt x="96" y="94"/>
                    </a:lnTo>
                    <a:lnTo>
                      <a:pt x="80" y="93"/>
                    </a:lnTo>
                    <a:lnTo>
                      <a:pt x="73" y="93"/>
                    </a:lnTo>
                    <a:lnTo>
                      <a:pt x="64" y="94"/>
                    </a:lnTo>
                    <a:lnTo>
                      <a:pt x="55" y="96"/>
                    </a:lnTo>
                    <a:lnTo>
                      <a:pt x="47" y="98"/>
                    </a:lnTo>
                    <a:lnTo>
                      <a:pt x="41" y="100"/>
                    </a:lnTo>
                    <a:lnTo>
                      <a:pt x="34" y="100"/>
                    </a:lnTo>
                    <a:lnTo>
                      <a:pt x="27" y="99"/>
                    </a:lnTo>
                    <a:lnTo>
                      <a:pt x="19" y="96"/>
                    </a:lnTo>
                    <a:lnTo>
                      <a:pt x="11" y="92"/>
                    </a:lnTo>
                    <a:lnTo>
                      <a:pt x="6" y="88"/>
                    </a:lnTo>
                    <a:lnTo>
                      <a:pt x="3" y="86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1" y="74"/>
                    </a:lnTo>
                    <a:lnTo>
                      <a:pt x="3" y="71"/>
                    </a:lnTo>
                    <a:lnTo>
                      <a:pt x="6" y="70"/>
                    </a:lnTo>
                    <a:lnTo>
                      <a:pt x="12" y="67"/>
                    </a:lnTo>
                    <a:lnTo>
                      <a:pt x="20" y="66"/>
                    </a:lnTo>
                    <a:lnTo>
                      <a:pt x="40" y="66"/>
                    </a:lnTo>
                    <a:lnTo>
                      <a:pt x="61" y="67"/>
                    </a:lnTo>
                    <a:lnTo>
                      <a:pt x="70" y="67"/>
                    </a:lnTo>
                    <a:lnTo>
                      <a:pt x="79" y="67"/>
                    </a:lnTo>
                    <a:lnTo>
                      <a:pt x="87" y="67"/>
                    </a:lnTo>
                    <a:lnTo>
                      <a:pt x="94" y="67"/>
                    </a:lnTo>
                    <a:lnTo>
                      <a:pt x="94" y="56"/>
                    </a:lnTo>
                    <a:lnTo>
                      <a:pt x="94" y="43"/>
                    </a:lnTo>
                    <a:lnTo>
                      <a:pt x="94" y="29"/>
                    </a:lnTo>
                    <a:lnTo>
                      <a:pt x="94" y="18"/>
                    </a:lnTo>
                    <a:lnTo>
                      <a:pt x="79" y="17"/>
                    </a:lnTo>
                    <a:lnTo>
                      <a:pt x="67" y="15"/>
                    </a:lnTo>
                    <a:lnTo>
                      <a:pt x="62" y="13"/>
                    </a:lnTo>
                    <a:lnTo>
                      <a:pt x="57" y="10"/>
                    </a:lnTo>
                    <a:lnTo>
                      <a:pt x="52" y="6"/>
                    </a:lnTo>
                    <a:lnTo>
                      <a:pt x="47" y="0"/>
                    </a:lnTo>
                    <a:lnTo>
                      <a:pt x="146" y="0"/>
                    </a:lnTo>
                    <a:lnTo>
                      <a:pt x="147" y="6"/>
                    </a:lnTo>
                    <a:lnTo>
                      <a:pt x="148" y="13"/>
                    </a:lnTo>
                    <a:lnTo>
                      <a:pt x="150" y="19"/>
                    </a:lnTo>
                    <a:lnTo>
                      <a:pt x="152" y="25"/>
                    </a:lnTo>
                    <a:lnTo>
                      <a:pt x="156" y="35"/>
                    </a:lnTo>
                    <a:lnTo>
                      <a:pt x="159" y="46"/>
                    </a:lnTo>
                    <a:lnTo>
                      <a:pt x="163" y="54"/>
                    </a:lnTo>
                    <a:lnTo>
                      <a:pt x="164" y="62"/>
                    </a:lnTo>
                    <a:lnTo>
                      <a:pt x="163" y="65"/>
                    </a:lnTo>
                    <a:lnTo>
                      <a:pt x="160" y="68"/>
                    </a:lnTo>
                    <a:lnTo>
                      <a:pt x="157" y="71"/>
                    </a:lnTo>
                    <a:lnTo>
                      <a:pt x="153" y="73"/>
                    </a:lnTo>
                    <a:lnTo>
                      <a:pt x="153" y="104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2" name="Freeform 197"/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8202943" y="5871164"/>
                <a:ext cx="29904" cy="64528"/>
              </a:xfrm>
              <a:custGeom>
                <a:avLst/>
                <a:gdLst>
                  <a:gd name="T0" fmla="*/ 0 w 53"/>
                  <a:gd name="T1" fmla="*/ 2147483647 h 19"/>
                  <a:gd name="T2" fmla="*/ 1257488026 w 53"/>
                  <a:gd name="T3" fmla="*/ 2147483647 h 19"/>
                  <a:gd name="T4" fmla="*/ 2147483647 w 53"/>
                  <a:gd name="T5" fmla="*/ 2147483647 h 19"/>
                  <a:gd name="T6" fmla="*/ 2147483647 w 53"/>
                  <a:gd name="T7" fmla="*/ 2147483647 h 19"/>
                  <a:gd name="T8" fmla="*/ 2147483647 w 53"/>
                  <a:gd name="T9" fmla="*/ 2147483647 h 19"/>
                  <a:gd name="T10" fmla="*/ 2147483647 w 53"/>
                  <a:gd name="T11" fmla="*/ 2147483647 h 19"/>
                  <a:gd name="T12" fmla="*/ 2147483647 w 53"/>
                  <a:gd name="T13" fmla="*/ 2147483647 h 19"/>
                  <a:gd name="T14" fmla="*/ 2147483647 w 53"/>
                  <a:gd name="T15" fmla="*/ 2147483647 h 19"/>
                  <a:gd name="T16" fmla="*/ 2147483647 w 53"/>
                  <a:gd name="T17" fmla="*/ 2147483647 h 19"/>
                  <a:gd name="T18" fmla="*/ 2147483647 w 53"/>
                  <a:gd name="T19" fmla="*/ 2147483647 h 19"/>
                  <a:gd name="T20" fmla="*/ 2147483647 w 53"/>
                  <a:gd name="T21" fmla="*/ 2147483647 h 19"/>
                  <a:gd name="T22" fmla="*/ 2147483647 w 53"/>
                  <a:gd name="T23" fmla="*/ 2147483647 h 19"/>
                  <a:gd name="T24" fmla="*/ 2147483647 w 53"/>
                  <a:gd name="T25" fmla="*/ 0 h 19"/>
                  <a:gd name="T26" fmla="*/ 2147483647 w 53"/>
                  <a:gd name="T27" fmla="*/ 0 h 19"/>
                  <a:gd name="T28" fmla="*/ 2147483647 w 53"/>
                  <a:gd name="T29" fmla="*/ 2147483647 h 19"/>
                  <a:gd name="T30" fmla="*/ 1257488026 w 53"/>
                  <a:gd name="T31" fmla="*/ 2147483647 h 19"/>
                  <a:gd name="T32" fmla="*/ 0 w 53"/>
                  <a:gd name="T33" fmla="*/ 2147483647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3" name="Freeform 198"/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8159085" y="5847862"/>
                <a:ext cx="43859" cy="66320"/>
              </a:xfrm>
              <a:custGeom>
                <a:avLst/>
                <a:gdLst>
                  <a:gd name="T0" fmla="*/ 0 w 80"/>
                  <a:gd name="T1" fmla="*/ 0 h 18"/>
                  <a:gd name="T2" fmla="*/ 164709185 w 80"/>
                  <a:gd name="T3" fmla="*/ 2147483647 h 18"/>
                  <a:gd name="T4" fmla="*/ 823846908 w 80"/>
                  <a:gd name="T5" fmla="*/ 2147483647 h 18"/>
                  <a:gd name="T6" fmla="*/ 1318275445 w 80"/>
                  <a:gd name="T7" fmla="*/ 2147483647 h 18"/>
                  <a:gd name="T8" fmla="*/ 1812703435 w 80"/>
                  <a:gd name="T9" fmla="*/ 2147483647 h 18"/>
                  <a:gd name="T10" fmla="*/ 2147483647 w 80"/>
                  <a:gd name="T11" fmla="*/ 2147483647 h 18"/>
                  <a:gd name="T12" fmla="*/ 2147483647 w 80"/>
                  <a:gd name="T13" fmla="*/ 2147483647 h 18"/>
                  <a:gd name="T14" fmla="*/ 2147483647 w 80"/>
                  <a:gd name="T15" fmla="*/ 2147483647 h 18"/>
                  <a:gd name="T16" fmla="*/ 2147483647 w 80"/>
                  <a:gd name="T17" fmla="*/ 2147483647 h 18"/>
                  <a:gd name="T18" fmla="*/ 2147483647 w 80"/>
                  <a:gd name="T19" fmla="*/ 2147483647 h 18"/>
                  <a:gd name="T20" fmla="*/ 2147483647 w 80"/>
                  <a:gd name="T21" fmla="*/ 2147483647 h 18"/>
                  <a:gd name="T22" fmla="*/ 2147483647 w 80"/>
                  <a:gd name="T23" fmla="*/ 2147483647 h 18"/>
                  <a:gd name="T24" fmla="*/ 2147483647 w 80"/>
                  <a:gd name="T25" fmla="*/ 2147483647 h 18"/>
                  <a:gd name="T26" fmla="*/ 2147483647 w 80"/>
                  <a:gd name="T27" fmla="*/ 2147483647 h 18"/>
                  <a:gd name="T28" fmla="*/ 2147483647 w 80"/>
                  <a:gd name="T29" fmla="*/ 2147483647 h 18"/>
                  <a:gd name="T30" fmla="*/ 2147483647 w 80"/>
                  <a:gd name="T31" fmla="*/ 2147483647 h 18"/>
                  <a:gd name="T32" fmla="*/ 2147483647 w 80"/>
                  <a:gd name="T33" fmla="*/ 2147483647 h 18"/>
                  <a:gd name="T34" fmla="*/ 2147483647 w 80"/>
                  <a:gd name="T35" fmla="*/ 2147483647 h 18"/>
                  <a:gd name="T36" fmla="*/ 2147483647 w 80"/>
                  <a:gd name="T37" fmla="*/ 0 h 18"/>
                  <a:gd name="T38" fmla="*/ 0 w 80"/>
                  <a:gd name="T39" fmla="*/ 0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80" h="18">
                    <a:moveTo>
                      <a:pt x="0" y="0"/>
                    </a:moveTo>
                    <a:lnTo>
                      <a:pt x="1" y="6"/>
                    </a:lnTo>
                    <a:lnTo>
                      <a:pt x="5" y="12"/>
                    </a:lnTo>
                    <a:lnTo>
                      <a:pt x="8" y="14"/>
                    </a:lnTo>
                    <a:lnTo>
                      <a:pt x="11" y="16"/>
                    </a:lnTo>
                    <a:lnTo>
                      <a:pt x="15" y="18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6" y="11"/>
                    </a:lnTo>
                    <a:lnTo>
                      <a:pt x="31" y="10"/>
                    </a:lnTo>
                    <a:lnTo>
                      <a:pt x="38" y="8"/>
                    </a:lnTo>
                    <a:lnTo>
                      <a:pt x="47" y="7"/>
                    </a:lnTo>
                    <a:lnTo>
                      <a:pt x="57" y="7"/>
                    </a:lnTo>
                    <a:lnTo>
                      <a:pt x="66" y="6"/>
                    </a:lnTo>
                    <a:lnTo>
                      <a:pt x="70" y="5"/>
                    </a:lnTo>
                    <a:lnTo>
                      <a:pt x="74" y="4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4" name="Freeform 199"/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8159085" y="5824560"/>
                <a:ext cx="27910" cy="68113"/>
              </a:xfrm>
              <a:custGeom>
                <a:avLst/>
                <a:gdLst>
                  <a:gd name="T0" fmla="*/ 2147483647 w 46"/>
                  <a:gd name="T1" fmla="*/ 0 h 27"/>
                  <a:gd name="T2" fmla="*/ 0 w 46"/>
                  <a:gd name="T3" fmla="*/ 2147483647 h 27"/>
                  <a:gd name="T4" fmla="*/ 2010370648 w 46"/>
                  <a:gd name="T5" fmla="*/ 2147483647 h 27"/>
                  <a:gd name="T6" fmla="*/ 2147483647 w 46"/>
                  <a:gd name="T7" fmla="*/ 2147483647 h 27"/>
                  <a:gd name="T8" fmla="*/ 2147483647 w 46"/>
                  <a:gd name="T9" fmla="*/ 2147483647 h 27"/>
                  <a:gd name="T10" fmla="*/ 2147483647 w 46"/>
                  <a:gd name="T11" fmla="*/ 2147483647 h 27"/>
                  <a:gd name="T12" fmla="*/ 2147483647 w 46"/>
                  <a:gd name="T13" fmla="*/ 2147483647 h 27"/>
                  <a:gd name="T14" fmla="*/ 2147483647 w 46"/>
                  <a:gd name="T15" fmla="*/ 2147483647 h 27"/>
                  <a:gd name="T16" fmla="*/ 2147483647 w 46"/>
                  <a:gd name="T17" fmla="*/ 2147483647 h 27"/>
                  <a:gd name="T18" fmla="*/ 2147483647 w 46"/>
                  <a:gd name="T19" fmla="*/ 2147483647 h 27"/>
                  <a:gd name="T20" fmla="*/ 2147483647 w 46"/>
                  <a:gd name="T21" fmla="*/ 2147483647 h 27"/>
                  <a:gd name="T22" fmla="*/ 2147483647 w 46"/>
                  <a:gd name="T23" fmla="*/ 2147483647 h 27"/>
                  <a:gd name="T24" fmla="*/ 2147483647 w 46"/>
                  <a:gd name="T25" fmla="*/ 2147483647 h 27"/>
                  <a:gd name="T26" fmla="*/ 2147483647 w 46"/>
                  <a:gd name="T27" fmla="*/ 0 h 2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6" h="27">
                    <a:moveTo>
                      <a:pt x="20" y="0"/>
                    </a:moveTo>
                    <a:lnTo>
                      <a:pt x="0" y="18"/>
                    </a:lnTo>
                    <a:lnTo>
                      <a:pt x="9" y="22"/>
                    </a:lnTo>
                    <a:lnTo>
                      <a:pt x="16" y="25"/>
                    </a:lnTo>
                    <a:lnTo>
                      <a:pt x="23" y="27"/>
                    </a:lnTo>
                    <a:lnTo>
                      <a:pt x="29" y="27"/>
                    </a:lnTo>
                    <a:lnTo>
                      <a:pt x="33" y="27"/>
                    </a:lnTo>
                    <a:lnTo>
                      <a:pt x="37" y="25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1" y="16"/>
                    </a:lnTo>
                    <a:lnTo>
                      <a:pt x="33" y="11"/>
                    </a:lnTo>
                    <a:lnTo>
                      <a:pt x="26" y="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5" name="Freeform 200"/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8121208" y="5817390"/>
                <a:ext cx="31897" cy="68113"/>
              </a:xfrm>
              <a:custGeom>
                <a:avLst/>
                <a:gdLst>
                  <a:gd name="T0" fmla="*/ 2147483647 w 54"/>
                  <a:gd name="T1" fmla="*/ 0 h 39"/>
                  <a:gd name="T2" fmla="*/ 2147483647 w 54"/>
                  <a:gd name="T3" fmla="*/ 2147483647 h 39"/>
                  <a:gd name="T4" fmla="*/ 2061005162 w 54"/>
                  <a:gd name="T5" fmla="*/ 2147483647 h 39"/>
                  <a:gd name="T6" fmla="*/ 1236533278 w 54"/>
                  <a:gd name="T7" fmla="*/ 2147483647 h 39"/>
                  <a:gd name="T8" fmla="*/ 824471884 w 54"/>
                  <a:gd name="T9" fmla="*/ 2147483647 h 39"/>
                  <a:gd name="T10" fmla="*/ 412061395 w 54"/>
                  <a:gd name="T11" fmla="*/ 2147483647 h 39"/>
                  <a:gd name="T12" fmla="*/ 0 w 54"/>
                  <a:gd name="T13" fmla="*/ 2147483647 h 39"/>
                  <a:gd name="T14" fmla="*/ 412061395 w 54"/>
                  <a:gd name="T15" fmla="*/ 2147483647 h 39"/>
                  <a:gd name="T16" fmla="*/ 618266639 w 54"/>
                  <a:gd name="T17" fmla="*/ 2147483647 h 39"/>
                  <a:gd name="T18" fmla="*/ 1030328034 w 54"/>
                  <a:gd name="T19" fmla="*/ 2147483647 h 39"/>
                  <a:gd name="T20" fmla="*/ 1648595264 w 54"/>
                  <a:gd name="T21" fmla="*/ 2147483647 h 39"/>
                  <a:gd name="T22" fmla="*/ 2147483647 w 54"/>
                  <a:gd name="T23" fmla="*/ 2147483647 h 39"/>
                  <a:gd name="T24" fmla="*/ 2147483647 w 54"/>
                  <a:gd name="T25" fmla="*/ 2147483647 h 39"/>
                  <a:gd name="T26" fmla="*/ 2147483647 w 54"/>
                  <a:gd name="T27" fmla="*/ 2147483647 h 39"/>
                  <a:gd name="T28" fmla="*/ 2147483647 w 54"/>
                  <a:gd name="T29" fmla="*/ 2147483647 h 39"/>
                  <a:gd name="T30" fmla="*/ 2147483647 w 54"/>
                  <a:gd name="T31" fmla="*/ 2147483647 h 39"/>
                  <a:gd name="T32" fmla="*/ 2147483647 w 54"/>
                  <a:gd name="T33" fmla="*/ 2147483647 h 39"/>
                  <a:gd name="T34" fmla="*/ 2147483647 w 54"/>
                  <a:gd name="T35" fmla="*/ 2147483647 h 39"/>
                  <a:gd name="T36" fmla="*/ 2147483647 w 54"/>
                  <a:gd name="T37" fmla="*/ 2147483647 h 39"/>
                  <a:gd name="T38" fmla="*/ 2147483647 w 54"/>
                  <a:gd name="T39" fmla="*/ 2147483647 h 39"/>
                  <a:gd name="T40" fmla="*/ 2147483647 w 54"/>
                  <a:gd name="T41" fmla="*/ 2147483647 h 39"/>
                  <a:gd name="T42" fmla="*/ 2147483647 w 54"/>
                  <a:gd name="T43" fmla="*/ 2147483647 h 39"/>
                  <a:gd name="T44" fmla="*/ 2147483647 w 54"/>
                  <a:gd name="T45" fmla="*/ 2147483647 h 39"/>
                  <a:gd name="T46" fmla="*/ 2147483647 w 54"/>
                  <a:gd name="T47" fmla="*/ 2147483647 h 39"/>
                  <a:gd name="T48" fmla="*/ 2147483647 w 54"/>
                  <a:gd name="T49" fmla="*/ 2147483647 h 39"/>
                  <a:gd name="T50" fmla="*/ 2147483647 w 54"/>
                  <a:gd name="T51" fmla="*/ 2147483647 h 39"/>
                  <a:gd name="T52" fmla="*/ 2147483647 w 54"/>
                  <a:gd name="T53" fmla="*/ 2147483647 h 39"/>
                  <a:gd name="T54" fmla="*/ 2147483647 w 54"/>
                  <a:gd name="T55" fmla="*/ 2147483647 h 39"/>
                  <a:gd name="T56" fmla="*/ 2147483647 w 54"/>
                  <a:gd name="T57" fmla="*/ 2147483647 h 39"/>
                  <a:gd name="T58" fmla="*/ 2147483647 w 54"/>
                  <a:gd name="T59" fmla="*/ 2147483647 h 39"/>
                  <a:gd name="T60" fmla="*/ 2147483647 w 54"/>
                  <a:gd name="T61" fmla="*/ 0 h 3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54" h="39">
                    <a:moveTo>
                      <a:pt x="34" y="0"/>
                    </a:moveTo>
                    <a:lnTo>
                      <a:pt x="20" y="4"/>
                    </a:lnTo>
                    <a:lnTo>
                      <a:pt x="10" y="10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3" y="32"/>
                    </a:lnTo>
                    <a:lnTo>
                      <a:pt x="5" y="35"/>
                    </a:lnTo>
                    <a:lnTo>
                      <a:pt x="8" y="37"/>
                    </a:lnTo>
                    <a:lnTo>
                      <a:pt x="11" y="38"/>
                    </a:lnTo>
                    <a:lnTo>
                      <a:pt x="16" y="39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30" y="38"/>
                    </a:lnTo>
                    <a:lnTo>
                      <a:pt x="34" y="37"/>
                    </a:lnTo>
                    <a:lnTo>
                      <a:pt x="39" y="35"/>
                    </a:lnTo>
                    <a:lnTo>
                      <a:pt x="43" y="33"/>
                    </a:lnTo>
                    <a:lnTo>
                      <a:pt x="47" y="30"/>
                    </a:lnTo>
                    <a:lnTo>
                      <a:pt x="50" y="26"/>
                    </a:lnTo>
                    <a:lnTo>
                      <a:pt x="52" y="22"/>
                    </a:lnTo>
                    <a:lnTo>
                      <a:pt x="54" y="18"/>
                    </a:lnTo>
                    <a:lnTo>
                      <a:pt x="51" y="17"/>
                    </a:lnTo>
                    <a:lnTo>
                      <a:pt x="48" y="16"/>
                    </a:lnTo>
                    <a:lnTo>
                      <a:pt x="44" y="14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7" y="5"/>
                    </a:lnTo>
                    <a:lnTo>
                      <a:pt x="34" y="2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6" name="Freeform 201"/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8089310" y="5806635"/>
                <a:ext cx="35884" cy="66321"/>
              </a:xfrm>
              <a:custGeom>
                <a:avLst/>
                <a:gdLst>
                  <a:gd name="T0" fmla="*/ 0 w 60"/>
                  <a:gd name="T1" fmla="*/ 2147483647 h 15"/>
                  <a:gd name="T2" fmla="*/ 2139306595 w 60"/>
                  <a:gd name="T3" fmla="*/ 2147483647 h 15"/>
                  <a:gd name="T4" fmla="*/ 2147483647 w 60"/>
                  <a:gd name="T5" fmla="*/ 2147483647 h 15"/>
                  <a:gd name="T6" fmla="*/ 2147483647 w 60"/>
                  <a:gd name="T7" fmla="*/ 2147483647 h 15"/>
                  <a:gd name="T8" fmla="*/ 2147483647 w 60"/>
                  <a:gd name="T9" fmla="*/ 2147483647 h 15"/>
                  <a:gd name="T10" fmla="*/ 2147483647 w 60"/>
                  <a:gd name="T11" fmla="*/ 2147483647 h 15"/>
                  <a:gd name="T12" fmla="*/ 2147483647 w 60"/>
                  <a:gd name="T13" fmla="*/ 2147483647 h 15"/>
                  <a:gd name="T14" fmla="*/ 2147483647 w 60"/>
                  <a:gd name="T15" fmla="*/ 2147483647 h 15"/>
                  <a:gd name="T16" fmla="*/ 2147483647 w 60"/>
                  <a:gd name="T17" fmla="*/ 2147483647 h 15"/>
                  <a:gd name="T18" fmla="*/ 2147483647 w 60"/>
                  <a:gd name="T19" fmla="*/ 2147483647 h 15"/>
                  <a:gd name="T20" fmla="*/ 2147483647 w 60"/>
                  <a:gd name="T21" fmla="*/ 0 h 15"/>
                  <a:gd name="T22" fmla="*/ 2147483647 w 60"/>
                  <a:gd name="T23" fmla="*/ 0 h 15"/>
                  <a:gd name="T24" fmla="*/ 2147483647 w 60"/>
                  <a:gd name="T25" fmla="*/ 0 h 15"/>
                  <a:gd name="T26" fmla="*/ 2147483647 w 60"/>
                  <a:gd name="T27" fmla="*/ 0 h 15"/>
                  <a:gd name="T28" fmla="*/ 2147483647 w 60"/>
                  <a:gd name="T29" fmla="*/ 2147483647 h 15"/>
                  <a:gd name="T30" fmla="*/ 2147483647 w 60"/>
                  <a:gd name="T31" fmla="*/ 2147483647 h 15"/>
                  <a:gd name="T32" fmla="*/ 2147483647 w 60"/>
                  <a:gd name="T33" fmla="*/ 2147483647 h 15"/>
                  <a:gd name="T34" fmla="*/ 1497264086 w 60"/>
                  <a:gd name="T35" fmla="*/ 2147483647 h 15"/>
                  <a:gd name="T36" fmla="*/ 0 w 60"/>
                  <a:gd name="T37" fmla="*/ 2147483647 h 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0" h="15">
                    <a:moveTo>
                      <a:pt x="0" y="11"/>
                    </a:moveTo>
                    <a:lnTo>
                      <a:pt x="10" y="13"/>
                    </a:lnTo>
                    <a:lnTo>
                      <a:pt x="18" y="14"/>
                    </a:lnTo>
                    <a:lnTo>
                      <a:pt x="27" y="15"/>
                    </a:lnTo>
                    <a:lnTo>
                      <a:pt x="35" y="15"/>
                    </a:lnTo>
                    <a:lnTo>
                      <a:pt x="41" y="14"/>
                    </a:lnTo>
                    <a:lnTo>
                      <a:pt x="48" y="12"/>
                    </a:lnTo>
                    <a:lnTo>
                      <a:pt x="55" y="9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3" y="3"/>
                    </a:lnTo>
                    <a:lnTo>
                      <a:pt x="24" y="6"/>
                    </a:lnTo>
                    <a:lnTo>
                      <a:pt x="16" y="8"/>
                    </a:lnTo>
                    <a:lnTo>
                      <a:pt x="7" y="10"/>
                    </a:lnTo>
                    <a:lnTo>
                      <a:pt x="0" y="1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7" name="Freeform 202"/>
              <p:cNvSpPr>
                <a:spLocks/>
              </p:cNvSpPr>
              <p:nvPr>
                <p:custDataLst>
                  <p:tags r:id="rId327"/>
                </p:custDataLst>
              </p:nvPr>
            </p:nvSpPr>
            <p:spPr bwMode="auto">
              <a:xfrm>
                <a:off x="8059406" y="5792296"/>
                <a:ext cx="41866" cy="64528"/>
              </a:xfrm>
              <a:custGeom>
                <a:avLst/>
                <a:gdLst>
                  <a:gd name="T0" fmla="*/ 2147483647 w 79"/>
                  <a:gd name="T1" fmla="*/ 0 h 32"/>
                  <a:gd name="T2" fmla="*/ 2147483647 w 79"/>
                  <a:gd name="T3" fmla="*/ 2147483647 h 32"/>
                  <a:gd name="T4" fmla="*/ 2147483647 w 79"/>
                  <a:gd name="T5" fmla="*/ 2147483647 h 32"/>
                  <a:gd name="T6" fmla="*/ 2147483647 w 79"/>
                  <a:gd name="T7" fmla="*/ 2147483647 h 32"/>
                  <a:gd name="T8" fmla="*/ 2147483647 w 79"/>
                  <a:gd name="T9" fmla="*/ 2147483647 h 32"/>
                  <a:gd name="T10" fmla="*/ 2147483647 w 79"/>
                  <a:gd name="T11" fmla="*/ 2147483647 h 32"/>
                  <a:gd name="T12" fmla="*/ 1488204873 w 79"/>
                  <a:gd name="T13" fmla="*/ 2147483647 h 32"/>
                  <a:gd name="T14" fmla="*/ 744242873 w 79"/>
                  <a:gd name="T15" fmla="*/ 2147483647 h 32"/>
                  <a:gd name="T16" fmla="*/ 0 w 79"/>
                  <a:gd name="T17" fmla="*/ 2147483647 h 32"/>
                  <a:gd name="T18" fmla="*/ 744242873 w 79"/>
                  <a:gd name="T19" fmla="*/ 2147483647 h 32"/>
                  <a:gd name="T20" fmla="*/ 1488204873 w 79"/>
                  <a:gd name="T21" fmla="*/ 2147483647 h 32"/>
                  <a:gd name="T22" fmla="*/ 1785901810 w 79"/>
                  <a:gd name="T23" fmla="*/ 2147483647 h 32"/>
                  <a:gd name="T24" fmla="*/ 2147483647 w 79"/>
                  <a:gd name="T25" fmla="*/ 2147483647 h 32"/>
                  <a:gd name="T26" fmla="*/ 2147483647 w 79"/>
                  <a:gd name="T27" fmla="*/ 2147483647 h 32"/>
                  <a:gd name="T28" fmla="*/ 2147483647 w 79"/>
                  <a:gd name="T29" fmla="*/ 2147483647 h 32"/>
                  <a:gd name="T30" fmla="*/ 2147483647 w 79"/>
                  <a:gd name="T31" fmla="*/ 2147483647 h 32"/>
                  <a:gd name="T32" fmla="*/ 2147483647 w 79"/>
                  <a:gd name="T33" fmla="*/ 2147483647 h 32"/>
                  <a:gd name="T34" fmla="*/ 2147483647 w 79"/>
                  <a:gd name="T35" fmla="*/ 2147483647 h 32"/>
                  <a:gd name="T36" fmla="*/ 2147483647 w 79"/>
                  <a:gd name="T37" fmla="*/ 2147483647 h 32"/>
                  <a:gd name="T38" fmla="*/ 2147483647 w 79"/>
                  <a:gd name="T39" fmla="*/ 2147483647 h 32"/>
                  <a:gd name="T40" fmla="*/ 2147483647 w 79"/>
                  <a:gd name="T41" fmla="*/ 2147483647 h 32"/>
                  <a:gd name="T42" fmla="*/ 2147483647 w 79"/>
                  <a:gd name="T43" fmla="*/ 2147483647 h 32"/>
                  <a:gd name="T44" fmla="*/ 2147483647 w 79"/>
                  <a:gd name="T45" fmla="*/ 2147483647 h 32"/>
                  <a:gd name="T46" fmla="*/ 2147483647 w 79"/>
                  <a:gd name="T47" fmla="*/ 2147483647 h 32"/>
                  <a:gd name="T48" fmla="*/ 2147483647 w 79"/>
                  <a:gd name="T49" fmla="*/ 0 h 3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32">
                    <a:moveTo>
                      <a:pt x="40" y="0"/>
                    </a:moveTo>
                    <a:lnTo>
                      <a:pt x="34" y="1"/>
                    </a:lnTo>
                    <a:lnTo>
                      <a:pt x="30" y="2"/>
                    </a:lnTo>
                    <a:lnTo>
                      <a:pt x="25" y="4"/>
                    </a:lnTo>
                    <a:lnTo>
                      <a:pt x="20" y="6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5" y="12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10" y="26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8" y="31"/>
                    </a:lnTo>
                    <a:lnTo>
                      <a:pt x="20" y="32"/>
                    </a:lnTo>
                    <a:lnTo>
                      <a:pt x="27" y="31"/>
                    </a:lnTo>
                    <a:lnTo>
                      <a:pt x="34" y="30"/>
                    </a:lnTo>
                    <a:lnTo>
                      <a:pt x="41" y="27"/>
                    </a:lnTo>
                    <a:lnTo>
                      <a:pt x="48" y="24"/>
                    </a:lnTo>
                    <a:lnTo>
                      <a:pt x="62" y="18"/>
                    </a:lnTo>
                    <a:lnTo>
                      <a:pt x="79" y="13"/>
                    </a:lnTo>
                    <a:lnTo>
                      <a:pt x="67" y="6"/>
                    </a:lnTo>
                    <a:lnTo>
                      <a:pt x="58" y="2"/>
                    </a:lnTo>
                    <a:lnTo>
                      <a:pt x="49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8" name="Freeform 203"/>
              <p:cNvSpPr>
                <a:spLocks/>
              </p:cNvSpPr>
              <p:nvPr>
                <p:custDataLst>
                  <p:tags r:id="rId328"/>
                </p:custDataLst>
              </p:nvPr>
            </p:nvSpPr>
            <p:spPr bwMode="auto">
              <a:xfrm>
                <a:off x="8051432" y="5770786"/>
                <a:ext cx="37878" cy="64528"/>
              </a:xfrm>
              <a:custGeom>
                <a:avLst/>
                <a:gdLst>
                  <a:gd name="T0" fmla="*/ 2147483647 w 66"/>
                  <a:gd name="T1" fmla="*/ 0 h 19"/>
                  <a:gd name="T2" fmla="*/ 2147483647 w 66"/>
                  <a:gd name="T3" fmla="*/ 2147483647 h 19"/>
                  <a:gd name="T4" fmla="*/ 2147483647 w 66"/>
                  <a:gd name="T5" fmla="*/ 2147483647 h 19"/>
                  <a:gd name="T6" fmla="*/ 2147483647 w 66"/>
                  <a:gd name="T7" fmla="*/ 2147483647 h 19"/>
                  <a:gd name="T8" fmla="*/ 1701204284 w 66"/>
                  <a:gd name="T9" fmla="*/ 2147483647 h 19"/>
                  <a:gd name="T10" fmla="*/ 945296568 w 66"/>
                  <a:gd name="T11" fmla="*/ 2147483647 h 19"/>
                  <a:gd name="T12" fmla="*/ 378118857 w 66"/>
                  <a:gd name="T13" fmla="*/ 2147483647 h 19"/>
                  <a:gd name="T14" fmla="*/ 0 w 66"/>
                  <a:gd name="T15" fmla="*/ 2147483647 h 19"/>
                  <a:gd name="T16" fmla="*/ 0 w 66"/>
                  <a:gd name="T17" fmla="*/ 2147483647 h 19"/>
                  <a:gd name="T18" fmla="*/ 2147483647 w 66"/>
                  <a:gd name="T19" fmla="*/ 2147483647 h 19"/>
                  <a:gd name="T20" fmla="*/ 2147483647 w 66"/>
                  <a:gd name="T21" fmla="*/ 2147483647 h 19"/>
                  <a:gd name="T22" fmla="*/ 2147483647 w 66"/>
                  <a:gd name="T23" fmla="*/ 2147483647 h 19"/>
                  <a:gd name="T24" fmla="*/ 2147483647 w 66"/>
                  <a:gd name="T25" fmla="*/ 2147483647 h 19"/>
                  <a:gd name="T26" fmla="*/ 2147483647 w 66"/>
                  <a:gd name="T27" fmla="*/ 2147483647 h 19"/>
                  <a:gd name="T28" fmla="*/ 2147483647 w 66"/>
                  <a:gd name="T29" fmla="*/ 2147483647 h 19"/>
                  <a:gd name="T30" fmla="*/ 2147483647 w 66"/>
                  <a:gd name="T31" fmla="*/ 2147483647 h 19"/>
                  <a:gd name="T32" fmla="*/ 2147483647 w 66"/>
                  <a:gd name="T33" fmla="*/ 2147483647 h 19"/>
                  <a:gd name="T34" fmla="*/ 2147483647 w 66"/>
                  <a:gd name="T35" fmla="*/ 2147483647 h 19"/>
                  <a:gd name="T36" fmla="*/ 2147483647 w 66"/>
                  <a:gd name="T37" fmla="*/ 0 h 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6" h="19">
                    <a:moveTo>
                      <a:pt x="33" y="0"/>
                    </a:moveTo>
                    <a:lnTo>
                      <a:pt x="25" y="1"/>
                    </a:lnTo>
                    <a:lnTo>
                      <a:pt x="19" y="2"/>
                    </a:lnTo>
                    <a:lnTo>
                      <a:pt x="13" y="4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8" y="19"/>
                    </a:lnTo>
                    <a:lnTo>
                      <a:pt x="46" y="18"/>
                    </a:lnTo>
                    <a:lnTo>
                      <a:pt x="54" y="17"/>
                    </a:lnTo>
                    <a:lnTo>
                      <a:pt x="61" y="15"/>
                    </a:lnTo>
                    <a:lnTo>
                      <a:pt x="66" y="13"/>
                    </a:lnTo>
                    <a:lnTo>
                      <a:pt x="57" y="8"/>
                    </a:lnTo>
                    <a:lnTo>
                      <a:pt x="50" y="4"/>
                    </a:lnTo>
                    <a:lnTo>
                      <a:pt x="42" y="1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9" name="Freeform 204"/>
              <p:cNvSpPr>
                <a:spLocks/>
              </p:cNvSpPr>
              <p:nvPr>
                <p:custDataLst>
                  <p:tags r:id="rId329"/>
                </p:custDataLst>
              </p:nvPr>
            </p:nvSpPr>
            <p:spPr bwMode="auto">
              <a:xfrm>
                <a:off x="7925838" y="5421258"/>
                <a:ext cx="31897" cy="68113"/>
              </a:xfrm>
              <a:custGeom>
                <a:avLst/>
                <a:gdLst>
                  <a:gd name="T0" fmla="*/ 2147483647 w 53"/>
                  <a:gd name="T1" fmla="*/ 0 h 80"/>
                  <a:gd name="T2" fmla="*/ 1743990743 w 53"/>
                  <a:gd name="T3" fmla="*/ 2147483647 h 80"/>
                  <a:gd name="T4" fmla="*/ 871814220 w 53"/>
                  <a:gd name="T5" fmla="*/ 2147483647 h 80"/>
                  <a:gd name="T6" fmla="*/ 436088562 w 53"/>
                  <a:gd name="T7" fmla="*/ 2147483647 h 80"/>
                  <a:gd name="T8" fmla="*/ 218044281 w 53"/>
                  <a:gd name="T9" fmla="*/ 2147483647 h 80"/>
                  <a:gd name="T10" fmla="*/ 0 w 53"/>
                  <a:gd name="T11" fmla="*/ 2147483647 h 80"/>
                  <a:gd name="T12" fmla="*/ 0 w 53"/>
                  <a:gd name="T13" fmla="*/ 2147483647 h 80"/>
                  <a:gd name="T14" fmla="*/ 0 w 53"/>
                  <a:gd name="T15" fmla="*/ 2147483647 h 80"/>
                  <a:gd name="T16" fmla="*/ 436088562 w 53"/>
                  <a:gd name="T17" fmla="*/ 2147483647 h 80"/>
                  <a:gd name="T18" fmla="*/ 1307902783 w 53"/>
                  <a:gd name="T19" fmla="*/ 2147483647 h 80"/>
                  <a:gd name="T20" fmla="*/ 1961672722 w 53"/>
                  <a:gd name="T21" fmla="*/ 2147483647 h 80"/>
                  <a:gd name="T22" fmla="*/ 2147483647 w 53"/>
                  <a:gd name="T23" fmla="*/ 2147483647 h 80"/>
                  <a:gd name="T24" fmla="*/ 2147483647 w 53"/>
                  <a:gd name="T25" fmla="*/ 2147483647 h 80"/>
                  <a:gd name="T26" fmla="*/ 2147483647 w 53"/>
                  <a:gd name="T27" fmla="*/ 2147483647 h 80"/>
                  <a:gd name="T28" fmla="*/ 2147483647 w 53"/>
                  <a:gd name="T29" fmla="*/ 2147483647 h 80"/>
                  <a:gd name="T30" fmla="*/ 2147483647 w 53"/>
                  <a:gd name="T31" fmla="*/ 2147483647 h 80"/>
                  <a:gd name="T32" fmla="*/ 2147483647 w 53"/>
                  <a:gd name="T33" fmla="*/ 2147483647 h 80"/>
                  <a:gd name="T34" fmla="*/ 2147483647 w 53"/>
                  <a:gd name="T35" fmla="*/ 2147483647 h 80"/>
                  <a:gd name="T36" fmla="*/ 2147483647 w 53"/>
                  <a:gd name="T37" fmla="*/ 2147483647 h 80"/>
                  <a:gd name="T38" fmla="*/ 2147483647 w 53"/>
                  <a:gd name="T39" fmla="*/ 2147483647 h 80"/>
                  <a:gd name="T40" fmla="*/ 2147483647 w 53"/>
                  <a:gd name="T41" fmla="*/ 2147483647 h 80"/>
                  <a:gd name="T42" fmla="*/ 2147483647 w 53"/>
                  <a:gd name="T43" fmla="*/ 2147483647 h 80"/>
                  <a:gd name="T44" fmla="*/ 2147483647 w 53"/>
                  <a:gd name="T45" fmla="*/ 2147483647 h 80"/>
                  <a:gd name="T46" fmla="*/ 2147483647 w 53"/>
                  <a:gd name="T47" fmla="*/ 2147483647 h 80"/>
                  <a:gd name="T48" fmla="*/ 2147483647 w 53"/>
                  <a:gd name="T49" fmla="*/ 2147483647 h 80"/>
                  <a:gd name="T50" fmla="*/ 2147483647 w 53"/>
                  <a:gd name="T51" fmla="*/ 2147483647 h 80"/>
                  <a:gd name="T52" fmla="*/ 2147483647 w 53"/>
                  <a:gd name="T53" fmla="*/ 2147483647 h 80"/>
                  <a:gd name="T54" fmla="*/ 2147483647 w 53"/>
                  <a:gd name="T55" fmla="*/ 2147483647 h 80"/>
                  <a:gd name="T56" fmla="*/ 2147483647 w 53"/>
                  <a:gd name="T57" fmla="*/ 2147483647 h 80"/>
                  <a:gd name="T58" fmla="*/ 2147483647 w 53"/>
                  <a:gd name="T59" fmla="*/ 2147483647 h 80"/>
                  <a:gd name="T60" fmla="*/ 2147483647 w 53"/>
                  <a:gd name="T61" fmla="*/ 2147483647 h 80"/>
                  <a:gd name="T62" fmla="*/ 2147483647 w 53"/>
                  <a:gd name="T63" fmla="*/ 2147483647 h 80"/>
                  <a:gd name="T64" fmla="*/ 2147483647 w 53"/>
                  <a:gd name="T65" fmla="*/ 2147483647 h 80"/>
                  <a:gd name="T66" fmla="*/ 2147483647 w 53"/>
                  <a:gd name="T67" fmla="*/ 2147483647 h 80"/>
                  <a:gd name="T68" fmla="*/ 2147483647 w 53"/>
                  <a:gd name="T69" fmla="*/ 2147483647 h 80"/>
                  <a:gd name="T70" fmla="*/ 2147483647 w 53"/>
                  <a:gd name="T71" fmla="*/ 2147483647 h 80"/>
                  <a:gd name="T72" fmla="*/ 2147483647 w 53"/>
                  <a:gd name="T73" fmla="*/ 2147483647 h 80"/>
                  <a:gd name="T74" fmla="*/ 2147483647 w 53"/>
                  <a:gd name="T75" fmla="*/ 616892630 h 80"/>
                  <a:gd name="T76" fmla="*/ 2147483647 w 53"/>
                  <a:gd name="T77" fmla="*/ 0 h 8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53" h="80">
                    <a:moveTo>
                      <a:pt x="13" y="0"/>
                    </a:moveTo>
                    <a:lnTo>
                      <a:pt x="8" y="5"/>
                    </a:lnTo>
                    <a:lnTo>
                      <a:pt x="4" y="10"/>
                    </a:lnTo>
                    <a:lnTo>
                      <a:pt x="2" y="13"/>
                    </a:lnTo>
                    <a:lnTo>
                      <a:pt x="1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9"/>
                    </a:lnTo>
                    <a:lnTo>
                      <a:pt x="6" y="48"/>
                    </a:lnTo>
                    <a:lnTo>
                      <a:pt x="9" y="57"/>
                    </a:lnTo>
                    <a:lnTo>
                      <a:pt x="13" y="66"/>
                    </a:lnTo>
                    <a:lnTo>
                      <a:pt x="20" y="73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6" y="79"/>
                    </a:lnTo>
                    <a:lnTo>
                      <a:pt x="38" y="78"/>
                    </a:lnTo>
                    <a:lnTo>
                      <a:pt x="42" y="76"/>
                    </a:lnTo>
                    <a:lnTo>
                      <a:pt x="45" y="73"/>
                    </a:lnTo>
                    <a:lnTo>
                      <a:pt x="48" y="70"/>
                    </a:lnTo>
                    <a:lnTo>
                      <a:pt x="51" y="67"/>
                    </a:lnTo>
                    <a:lnTo>
                      <a:pt x="53" y="64"/>
                    </a:lnTo>
                    <a:lnTo>
                      <a:pt x="53" y="62"/>
                    </a:lnTo>
                    <a:lnTo>
                      <a:pt x="52" y="54"/>
                    </a:lnTo>
                    <a:lnTo>
                      <a:pt x="49" y="47"/>
                    </a:lnTo>
                    <a:lnTo>
                      <a:pt x="46" y="42"/>
                    </a:lnTo>
                    <a:lnTo>
                      <a:pt x="43" y="37"/>
                    </a:lnTo>
                    <a:lnTo>
                      <a:pt x="40" y="32"/>
                    </a:lnTo>
                    <a:lnTo>
                      <a:pt x="36" y="27"/>
                    </a:lnTo>
                    <a:lnTo>
                      <a:pt x="34" y="20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5" y="4"/>
                    </a:lnTo>
                    <a:lnTo>
                      <a:pt x="19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0" name="Freeform 205"/>
              <p:cNvSpPr>
                <a:spLocks/>
              </p:cNvSpPr>
              <p:nvPr>
                <p:custDataLst>
                  <p:tags r:id="rId330"/>
                </p:custDataLst>
              </p:nvPr>
            </p:nvSpPr>
            <p:spPr bwMode="auto">
              <a:xfrm>
                <a:off x="7963715" y="5528805"/>
                <a:ext cx="21930" cy="60943"/>
              </a:xfrm>
              <a:custGeom>
                <a:avLst/>
                <a:gdLst>
                  <a:gd name="T0" fmla="*/ 0 w 41"/>
                  <a:gd name="T1" fmla="*/ 2147483647 h 43"/>
                  <a:gd name="T2" fmla="*/ 2147483647 w 41"/>
                  <a:gd name="T3" fmla="*/ 2147483647 h 43"/>
                  <a:gd name="T4" fmla="*/ 2147483647 w 41"/>
                  <a:gd name="T5" fmla="*/ 2147483647 h 43"/>
                  <a:gd name="T6" fmla="*/ 2147483647 w 41"/>
                  <a:gd name="T7" fmla="*/ 2147483647 h 43"/>
                  <a:gd name="T8" fmla="*/ 2147483647 w 41"/>
                  <a:gd name="T9" fmla="*/ 0 h 43"/>
                  <a:gd name="T10" fmla="*/ 2147483647 w 41"/>
                  <a:gd name="T11" fmla="*/ 2147483647 h 43"/>
                  <a:gd name="T12" fmla="*/ 2147483647 w 41"/>
                  <a:gd name="T13" fmla="*/ 2147483647 h 43"/>
                  <a:gd name="T14" fmla="*/ 2147483647 w 41"/>
                  <a:gd name="T15" fmla="*/ 2147483647 h 43"/>
                  <a:gd name="T16" fmla="*/ 1530319795 w 41"/>
                  <a:gd name="T17" fmla="*/ 2147483647 h 43"/>
                  <a:gd name="T18" fmla="*/ 918077520 w 41"/>
                  <a:gd name="T19" fmla="*/ 2147483647 h 43"/>
                  <a:gd name="T20" fmla="*/ 459181572 w 41"/>
                  <a:gd name="T21" fmla="*/ 2147483647 h 43"/>
                  <a:gd name="T22" fmla="*/ 153060702 w 41"/>
                  <a:gd name="T23" fmla="*/ 2147483647 h 43"/>
                  <a:gd name="T24" fmla="*/ 0 w 41"/>
                  <a:gd name="T25" fmla="*/ 2147483647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1" h="43">
                    <a:moveTo>
                      <a:pt x="0" y="43"/>
                    </a:moveTo>
                    <a:lnTo>
                      <a:pt x="27" y="43"/>
                    </a:lnTo>
                    <a:lnTo>
                      <a:pt x="41" y="24"/>
                    </a:lnTo>
                    <a:lnTo>
                      <a:pt x="38" y="12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20" y="9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6" y="24"/>
                    </a:lnTo>
                    <a:lnTo>
                      <a:pt x="3" y="30"/>
                    </a:lnTo>
                    <a:lnTo>
                      <a:pt x="1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1" name="Freeform 206"/>
              <p:cNvSpPr>
                <a:spLocks/>
              </p:cNvSpPr>
              <p:nvPr>
                <p:custDataLst>
                  <p:tags r:id="rId331"/>
                </p:custDataLst>
              </p:nvPr>
            </p:nvSpPr>
            <p:spPr bwMode="auto">
              <a:xfrm>
                <a:off x="7969696" y="5553900"/>
                <a:ext cx="9967" cy="66320"/>
              </a:xfrm>
              <a:custGeom>
                <a:avLst/>
                <a:gdLst>
                  <a:gd name="T0" fmla="*/ 2147483647 w 20"/>
                  <a:gd name="T1" fmla="*/ 0 h 24"/>
                  <a:gd name="T2" fmla="*/ 0 w 20"/>
                  <a:gd name="T3" fmla="*/ 0 h 24"/>
                  <a:gd name="T4" fmla="*/ 123679506 w 20"/>
                  <a:gd name="T5" fmla="*/ 2147483647 h 24"/>
                  <a:gd name="T6" fmla="*/ 247607689 w 20"/>
                  <a:gd name="T7" fmla="*/ 2147483647 h 24"/>
                  <a:gd name="T8" fmla="*/ 494967200 w 20"/>
                  <a:gd name="T9" fmla="*/ 2147483647 h 24"/>
                  <a:gd name="T10" fmla="*/ 866254396 w 20"/>
                  <a:gd name="T11" fmla="*/ 2147483647 h 24"/>
                  <a:gd name="T12" fmla="*/ 1237789770 w 20"/>
                  <a:gd name="T13" fmla="*/ 2147483647 h 24"/>
                  <a:gd name="T14" fmla="*/ 1732756970 w 20"/>
                  <a:gd name="T15" fmla="*/ 2147483647 h 24"/>
                  <a:gd name="T16" fmla="*/ 2104044165 w 20"/>
                  <a:gd name="T17" fmla="*/ 2147483647 h 24"/>
                  <a:gd name="T18" fmla="*/ 2147483647 w 20"/>
                  <a:gd name="T19" fmla="*/ 2147483647 h 24"/>
                  <a:gd name="T20" fmla="*/ 2147483647 w 20"/>
                  <a:gd name="T21" fmla="*/ 0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20" y="0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2" y="9"/>
                    </a:lnTo>
                    <a:lnTo>
                      <a:pt x="4" y="13"/>
                    </a:lnTo>
                    <a:lnTo>
                      <a:pt x="7" y="17"/>
                    </a:lnTo>
                    <a:lnTo>
                      <a:pt x="10" y="20"/>
                    </a:lnTo>
                    <a:lnTo>
                      <a:pt x="14" y="22"/>
                    </a:lnTo>
                    <a:lnTo>
                      <a:pt x="17" y="24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2" name="Freeform 207"/>
              <p:cNvSpPr>
                <a:spLocks/>
              </p:cNvSpPr>
              <p:nvPr>
                <p:custDataLst>
                  <p:tags r:id="rId332"/>
                </p:custDataLst>
              </p:nvPr>
            </p:nvSpPr>
            <p:spPr bwMode="auto">
              <a:xfrm>
                <a:off x="7987638" y="5623805"/>
                <a:ext cx="21930" cy="68113"/>
              </a:xfrm>
              <a:custGeom>
                <a:avLst/>
                <a:gdLst>
                  <a:gd name="T0" fmla="*/ 0 w 39"/>
                  <a:gd name="T1" fmla="*/ 2147483647 h 43"/>
                  <a:gd name="T2" fmla="*/ 355713597 w 39"/>
                  <a:gd name="T3" fmla="*/ 2147483647 h 43"/>
                  <a:gd name="T4" fmla="*/ 1066824774 w 39"/>
                  <a:gd name="T5" fmla="*/ 2147483647 h 43"/>
                  <a:gd name="T6" fmla="*/ 2133649548 w 39"/>
                  <a:gd name="T7" fmla="*/ 2147483647 h 43"/>
                  <a:gd name="T8" fmla="*/ 2147483647 w 39"/>
                  <a:gd name="T9" fmla="*/ 2147483647 h 43"/>
                  <a:gd name="T10" fmla="*/ 2147483647 w 39"/>
                  <a:gd name="T11" fmla="*/ 2147483647 h 43"/>
                  <a:gd name="T12" fmla="*/ 2147483647 w 39"/>
                  <a:gd name="T13" fmla="*/ 2147483647 h 43"/>
                  <a:gd name="T14" fmla="*/ 2147483647 w 39"/>
                  <a:gd name="T15" fmla="*/ 2147483647 h 43"/>
                  <a:gd name="T16" fmla="*/ 2147483647 w 39"/>
                  <a:gd name="T17" fmla="*/ 2147483647 h 43"/>
                  <a:gd name="T18" fmla="*/ 2147483647 w 39"/>
                  <a:gd name="T19" fmla="*/ 2147483647 h 43"/>
                  <a:gd name="T20" fmla="*/ 2147483647 w 39"/>
                  <a:gd name="T21" fmla="*/ 2147483647 h 43"/>
                  <a:gd name="T22" fmla="*/ 2147483647 w 39"/>
                  <a:gd name="T23" fmla="*/ 2147483647 h 43"/>
                  <a:gd name="T24" fmla="*/ 2147483647 w 39"/>
                  <a:gd name="T25" fmla="*/ 0 h 43"/>
                  <a:gd name="T26" fmla="*/ 2147483647 w 39"/>
                  <a:gd name="T27" fmla="*/ 2147483647 h 43"/>
                  <a:gd name="T28" fmla="*/ 1066824774 w 39"/>
                  <a:gd name="T29" fmla="*/ 2147483647 h 43"/>
                  <a:gd name="T30" fmla="*/ 0 w 39"/>
                  <a:gd name="T31" fmla="*/ 2147483647 h 4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9" h="43">
                    <a:moveTo>
                      <a:pt x="0" y="12"/>
                    </a:moveTo>
                    <a:lnTo>
                      <a:pt x="2" y="17"/>
                    </a:lnTo>
                    <a:lnTo>
                      <a:pt x="6" y="22"/>
                    </a:lnTo>
                    <a:lnTo>
                      <a:pt x="12" y="27"/>
                    </a:lnTo>
                    <a:lnTo>
                      <a:pt x="16" y="32"/>
                    </a:lnTo>
                    <a:lnTo>
                      <a:pt x="23" y="37"/>
                    </a:lnTo>
                    <a:lnTo>
                      <a:pt x="28" y="40"/>
                    </a:lnTo>
                    <a:lnTo>
                      <a:pt x="34" y="43"/>
                    </a:lnTo>
                    <a:lnTo>
                      <a:pt x="39" y="43"/>
                    </a:lnTo>
                    <a:lnTo>
                      <a:pt x="38" y="32"/>
                    </a:lnTo>
                    <a:lnTo>
                      <a:pt x="36" y="19"/>
                    </a:lnTo>
                    <a:lnTo>
                      <a:pt x="34" y="8"/>
                    </a:lnTo>
                    <a:lnTo>
                      <a:pt x="32" y="0"/>
                    </a:lnTo>
                    <a:lnTo>
                      <a:pt x="19" y="3"/>
                    </a:lnTo>
                    <a:lnTo>
                      <a:pt x="6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3" name="Freeform 208"/>
              <p:cNvSpPr>
                <a:spLocks/>
              </p:cNvSpPr>
              <p:nvPr>
                <p:custDataLst>
                  <p:tags r:id="rId333"/>
                </p:custDataLst>
              </p:nvPr>
            </p:nvSpPr>
            <p:spPr bwMode="auto">
              <a:xfrm>
                <a:off x="7971689" y="5638145"/>
                <a:ext cx="33891" cy="66321"/>
              </a:xfrm>
              <a:custGeom>
                <a:avLst/>
                <a:gdLst>
                  <a:gd name="T0" fmla="*/ 2147483647 w 55"/>
                  <a:gd name="T1" fmla="*/ 2147483647 h 62"/>
                  <a:gd name="T2" fmla="*/ 1871933029 w 55"/>
                  <a:gd name="T3" fmla="*/ 0 h 62"/>
                  <a:gd name="T4" fmla="*/ 935966515 w 55"/>
                  <a:gd name="T5" fmla="*/ 2147483647 h 62"/>
                  <a:gd name="T6" fmla="*/ 233896580 w 55"/>
                  <a:gd name="T7" fmla="*/ 2147483647 h 62"/>
                  <a:gd name="T8" fmla="*/ 0 w 55"/>
                  <a:gd name="T9" fmla="*/ 2147483647 h 62"/>
                  <a:gd name="T10" fmla="*/ 0 w 55"/>
                  <a:gd name="T11" fmla="*/ 2147483647 h 62"/>
                  <a:gd name="T12" fmla="*/ 467793160 w 55"/>
                  <a:gd name="T13" fmla="*/ 2147483647 h 62"/>
                  <a:gd name="T14" fmla="*/ 935966515 w 55"/>
                  <a:gd name="T15" fmla="*/ 2147483647 h 62"/>
                  <a:gd name="T16" fmla="*/ 1871933029 w 55"/>
                  <a:gd name="T17" fmla="*/ 2147483647 h 62"/>
                  <a:gd name="T18" fmla="*/ 2147483647 w 55"/>
                  <a:gd name="T19" fmla="*/ 2147483647 h 62"/>
                  <a:gd name="T20" fmla="*/ 2147483647 w 55"/>
                  <a:gd name="T21" fmla="*/ 2147483647 h 62"/>
                  <a:gd name="T22" fmla="*/ 2147483647 w 55"/>
                  <a:gd name="T23" fmla="*/ 2147483647 h 62"/>
                  <a:gd name="T24" fmla="*/ 2147483647 w 55"/>
                  <a:gd name="T25" fmla="*/ 2147483647 h 62"/>
                  <a:gd name="T26" fmla="*/ 2147483647 w 55"/>
                  <a:gd name="T27" fmla="*/ 2147483647 h 62"/>
                  <a:gd name="T28" fmla="*/ 2147483647 w 55"/>
                  <a:gd name="T29" fmla="*/ 2147483647 h 62"/>
                  <a:gd name="T30" fmla="*/ 2147483647 w 55"/>
                  <a:gd name="T31" fmla="*/ 2147483647 h 62"/>
                  <a:gd name="T32" fmla="*/ 2147483647 w 55"/>
                  <a:gd name="T33" fmla="*/ 2147483647 h 62"/>
                  <a:gd name="T34" fmla="*/ 2147483647 w 55"/>
                  <a:gd name="T35" fmla="*/ 2147483647 h 62"/>
                  <a:gd name="T36" fmla="*/ 2147483647 w 55"/>
                  <a:gd name="T37" fmla="*/ 2147483647 h 62"/>
                  <a:gd name="T38" fmla="*/ 2147483647 w 55"/>
                  <a:gd name="T39" fmla="*/ 2147483647 h 62"/>
                  <a:gd name="T40" fmla="*/ 2147483647 w 55"/>
                  <a:gd name="T41" fmla="*/ 2147483647 h 62"/>
                  <a:gd name="T42" fmla="*/ 2147483647 w 55"/>
                  <a:gd name="T43" fmla="*/ 2147483647 h 62"/>
                  <a:gd name="T44" fmla="*/ 2147483647 w 55"/>
                  <a:gd name="T45" fmla="*/ 2147483647 h 62"/>
                  <a:gd name="T46" fmla="*/ 2147483647 w 55"/>
                  <a:gd name="T47" fmla="*/ 2147483647 h 62"/>
                  <a:gd name="T48" fmla="*/ 2147483647 w 55"/>
                  <a:gd name="T49" fmla="*/ 2147483647 h 62"/>
                  <a:gd name="T50" fmla="*/ 2147483647 w 55"/>
                  <a:gd name="T51" fmla="*/ 2147483647 h 6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55" h="62">
                    <a:moveTo>
                      <a:pt x="29" y="26"/>
                    </a:moveTo>
                    <a:lnTo>
                      <a:pt x="8" y="0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8" y="36"/>
                    </a:lnTo>
                    <a:lnTo>
                      <a:pt x="11" y="41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6" y="53"/>
                    </a:lnTo>
                    <a:lnTo>
                      <a:pt x="33" y="56"/>
                    </a:lnTo>
                    <a:lnTo>
                      <a:pt x="38" y="58"/>
                    </a:lnTo>
                    <a:lnTo>
                      <a:pt x="44" y="60"/>
                    </a:lnTo>
                    <a:lnTo>
                      <a:pt x="49" y="61"/>
                    </a:lnTo>
                    <a:lnTo>
                      <a:pt x="55" y="62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49" y="40"/>
                    </a:lnTo>
                    <a:lnTo>
                      <a:pt x="46" y="35"/>
                    </a:lnTo>
                    <a:lnTo>
                      <a:pt x="43" y="31"/>
                    </a:lnTo>
                    <a:lnTo>
                      <a:pt x="38" y="28"/>
                    </a:lnTo>
                    <a:lnTo>
                      <a:pt x="33" y="26"/>
                    </a:lnTo>
                    <a:lnTo>
                      <a:pt x="29" y="2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4" name="Freeform 209"/>
              <p:cNvSpPr>
                <a:spLocks/>
              </p:cNvSpPr>
              <p:nvPr>
                <p:custDataLst>
                  <p:tags r:id="rId334"/>
                </p:custDataLst>
              </p:nvPr>
            </p:nvSpPr>
            <p:spPr bwMode="auto">
              <a:xfrm>
                <a:off x="8009568" y="5675787"/>
                <a:ext cx="13954" cy="66320"/>
              </a:xfrm>
              <a:custGeom>
                <a:avLst/>
                <a:gdLst>
                  <a:gd name="T0" fmla="*/ 2091309104 w 35"/>
                  <a:gd name="T1" fmla="*/ 2147483647 h 43"/>
                  <a:gd name="T2" fmla="*/ 443630352 w 35"/>
                  <a:gd name="T3" fmla="*/ 0 h 43"/>
                  <a:gd name="T4" fmla="*/ 253525840 w 35"/>
                  <a:gd name="T5" fmla="*/ 2147483647 h 43"/>
                  <a:gd name="T6" fmla="*/ 0 w 35"/>
                  <a:gd name="T7" fmla="*/ 2147483647 h 43"/>
                  <a:gd name="T8" fmla="*/ 126683582 w 35"/>
                  <a:gd name="T9" fmla="*/ 2147483647 h 43"/>
                  <a:gd name="T10" fmla="*/ 316788094 w 35"/>
                  <a:gd name="T11" fmla="*/ 2147483647 h 43"/>
                  <a:gd name="T12" fmla="*/ 380209024 w 35"/>
                  <a:gd name="T13" fmla="*/ 2147483647 h 43"/>
                  <a:gd name="T14" fmla="*/ 506892605 w 35"/>
                  <a:gd name="T15" fmla="*/ 2147483647 h 43"/>
                  <a:gd name="T16" fmla="*/ 697156193 w 35"/>
                  <a:gd name="T17" fmla="*/ 2147483647 h 43"/>
                  <a:gd name="T18" fmla="*/ 887260704 w 35"/>
                  <a:gd name="T19" fmla="*/ 2147483647 h 43"/>
                  <a:gd name="T20" fmla="*/ 1140627469 w 35"/>
                  <a:gd name="T21" fmla="*/ 2147483647 h 43"/>
                  <a:gd name="T22" fmla="*/ 1394152911 w 35"/>
                  <a:gd name="T23" fmla="*/ 2147483647 h 43"/>
                  <a:gd name="T24" fmla="*/ 1647678752 w 35"/>
                  <a:gd name="T25" fmla="*/ 2147483647 h 43"/>
                  <a:gd name="T26" fmla="*/ 1774362333 w 35"/>
                  <a:gd name="T27" fmla="*/ 2147483647 h 43"/>
                  <a:gd name="T28" fmla="*/ 1964466845 w 35"/>
                  <a:gd name="T29" fmla="*/ 2147483647 h 43"/>
                  <a:gd name="T30" fmla="*/ 2091309104 w 35"/>
                  <a:gd name="T31" fmla="*/ 2147483647 h 43"/>
                  <a:gd name="T32" fmla="*/ 2147483647 w 35"/>
                  <a:gd name="T33" fmla="*/ 2147483647 h 43"/>
                  <a:gd name="T34" fmla="*/ 2091309104 w 35"/>
                  <a:gd name="T35" fmla="*/ 2147483647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5" h="43">
                    <a:moveTo>
                      <a:pt x="33" y="13"/>
                    </a:moveTo>
                    <a:lnTo>
                      <a:pt x="7" y="0"/>
                    </a:lnTo>
                    <a:lnTo>
                      <a:pt x="4" y="8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5" y="36"/>
                    </a:lnTo>
                    <a:lnTo>
                      <a:pt x="6" y="39"/>
                    </a:lnTo>
                    <a:lnTo>
                      <a:pt x="8" y="41"/>
                    </a:lnTo>
                    <a:lnTo>
                      <a:pt x="11" y="43"/>
                    </a:lnTo>
                    <a:lnTo>
                      <a:pt x="14" y="43"/>
                    </a:lnTo>
                    <a:lnTo>
                      <a:pt x="18" y="43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8" y="39"/>
                    </a:lnTo>
                    <a:lnTo>
                      <a:pt x="31" y="35"/>
                    </a:lnTo>
                    <a:lnTo>
                      <a:pt x="33" y="30"/>
                    </a:lnTo>
                    <a:lnTo>
                      <a:pt x="35" y="20"/>
                    </a:lnTo>
                    <a:lnTo>
                      <a:pt x="33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5" name="Freeform 210"/>
              <p:cNvSpPr>
                <a:spLocks/>
              </p:cNvSpPr>
              <p:nvPr>
                <p:custDataLst>
                  <p:tags r:id="rId335"/>
                </p:custDataLst>
              </p:nvPr>
            </p:nvSpPr>
            <p:spPr bwMode="auto">
              <a:xfrm>
                <a:off x="8005580" y="5713428"/>
                <a:ext cx="25916" cy="62736"/>
              </a:xfrm>
              <a:custGeom>
                <a:avLst/>
                <a:gdLst>
                  <a:gd name="T0" fmla="*/ 2147483647 w 53"/>
                  <a:gd name="T1" fmla="*/ 0 h 21"/>
                  <a:gd name="T2" fmla="*/ 2147483647 w 53"/>
                  <a:gd name="T3" fmla="*/ 2147483647 h 21"/>
                  <a:gd name="T4" fmla="*/ 2147483647 w 53"/>
                  <a:gd name="T5" fmla="*/ 2147483647 h 21"/>
                  <a:gd name="T6" fmla="*/ 2147483647 w 53"/>
                  <a:gd name="T7" fmla="*/ 2147483647 h 21"/>
                  <a:gd name="T8" fmla="*/ 2147483647 w 53"/>
                  <a:gd name="T9" fmla="*/ 2147483647 h 21"/>
                  <a:gd name="T10" fmla="*/ 1987659404 w 53"/>
                  <a:gd name="T11" fmla="*/ 2147483647 h 21"/>
                  <a:gd name="T12" fmla="*/ 1519974867 w 53"/>
                  <a:gd name="T13" fmla="*/ 2147483647 h 21"/>
                  <a:gd name="T14" fmla="*/ 935369074 w 53"/>
                  <a:gd name="T15" fmla="*/ 2147483647 h 21"/>
                  <a:gd name="T16" fmla="*/ 0 w 53"/>
                  <a:gd name="T17" fmla="*/ 2147483647 h 21"/>
                  <a:gd name="T18" fmla="*/ 584605793 w 53"/>
                  <a:gd name="T19" fmla="*/ 2147483647 h 21"/>
                  <a:gd name="T20" fmla="*/ 1286132843 w 53"/>
                  <a:gd name="T21" fmla="*/ 2147483647 h 21"/>
                  <a:gd name="T22" fmla="*/ 1987659404 w 53"/>
                  <a:gd name="T23" fmla="*/ 2147483647 h 21"/>
                  <a:gd name="T24" fmla="*/ 2147483647 w 53"/>
                  <a:gd name="T25" fmla="*/ 2147483647 h 21"/>
                  <a:gd name="T26" fmla="*/ 2147483647 w 53"/>
                  <a:gd name="T27" fmla="*/ 2147483647 h 21"/>
                  <a:gd name="T28" fmla="*/ 2147483647 w 53"/>
                  <a:gd name="T29" fmla="*/ 2147483647 h 21"/>
                  <a:gd name="T30" fmla="*/ 2147483647 w 53"/>
                  <a:gd name="T31" fmla="*/ 0 h 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21">
                    <a:moveTo>
                      <a:pt x="53" y="0"/>
                    </a:moveTo>
                    <a:lnTo>
                      <a:pt x="41" y="1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21" y="7"/>
                    </a:lnTo>
                    <a:lnTo>
                      <a:pt x="17" y="10"/>
                    </a:lnTo>
                    <a:lnTo>
                      <a:pt x="13" y="13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11" y="21"/>
                    </a:lnTo>
                    <a:lnTo>
                      <a:pt x="17" y="21"/>
                    </a:lnTo>
                    <a:lnTo>
                      <a:pt x="24" y="21"/>
                    </a:lnTo>
                    <a:lnTo>
                      <a:pt x="38" y="19"/>
                    </a:lnTo>
                    <a:lnTo>
                      <a:pt x="53" y="18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6" name="Freeform 211"/>
              <p:cNvSpPr>
                <a:spLocks/>
              </p:cNvSpPr>
              <p:nvPr>
                <p:custDataLst>
                  <p:tags r:id="rId336"/>
                </p:custDataLst>
              </p:nvPr>
            </p:nvSpPr>
            <p:spPr bwMode="auto">
              <a:xfrm>
                <a:off x="8035483" y="5729560"/>
                <a:ext cx="21930" cy="64528"/>
              </a:xfrm>
              <a:custGeom>
                <a:avLst/>
                <a:gdLst>
                  <a:gd name="T0" fmla="*/ 2147483647 w 43"/>
                  <a:gd name="T1" fmla="*/ 0 h 38"/>
                  <a:gd name="T2" fmla="*/ 1591812000 w 43"/>
                  <a:gd name="T3" fmla="*/ 0 h 38"/>
                  <a:gd name="T4" fmla="*/ 265302000 w 43"/>
                  <a:gd name="T5" fmla="*/ 0 h 38"/>
                  <a:gd name="T6" fmla="*/ 132651000 w 43"/>
                  <a:gd name="T7" fmla="*/ 0 h 38"/>
                  <a:gd name="T8" fmla="*/ 0 w 43"/>
                  <a:gd name="T9" fmla="*/ 2147483647 h 38"/>
                  <a:gd name="T10" fmla="*/ 0 w 43"/>
                  <a:gd name="T11" fmla="*/ 2147483647 h 38"/>
                  <a:gd name="T12" fmla="*/ 0 w 43"/>
                  <a:gd name="T13" fmla="*/ 2147483647 h 38"/>
                  <a:gd name="T14" fmla="*/ 132651000 w 43"/>
                  <a:gd name="T15" fmla="*/ 2147483647 h 38"/>
                  <a:gd name="T16" fmla="*/ 265302000 w 43"/>
                  <a:gd name="T17" fmla="*/ 2147483647 h 38"/>
                  <a:gd name="T18" fmla="*/ 397953000 w 43"/>
                  <a:gd name="T19" fmla="*/ 2147483647 h 38"/>
                  <a:gd name="T20" fmla="*/ 663255000 w 43"/>
                  <a:gd name="T21" fmla="*/ 2147483647 h 38"/>
                  <a:gd name="T22" fmla="*/ 1326510000 w 43"/>
                  <a:gd name="T23" fmla="*/ 2147483647 h 38"/>
                  <a:gd name="T24" fmla="*/ 1989765000 w 43"/>
                  <a:gd name="T25" fmla="*/ 2147483647 h 38"/>
                  <a:gd name="T26" fmla="*/ 2147483647 w 43"/>
                  <a:gd name="T27" fmla="*/ 2147483647 h 38"/>
                  <a:gd name="T28" fmla="*/ 2147483647 w 43"/>
                  <a:gd name="T29" fmla="*/ 2147483647 h 38"/>
                  <a:gd name="T30" fmla="*/ 2147483647 w 43"/>
                  <a:gd name="T31" fmla="*/ 2147483647 h 38"/>
                  <a:gd name="T32" fmla="*/ 2147483647 w 43"/>
                  <a:gd name="T33" fmla="*/ 2147483647 h 38"/>
                  <a:gd name="T34" fmla="*/ 2147483647 w 43"/>
                  <a:gd name="T35" fmla="*/ 2147483647 h 38"/>
                  <a:gd name="T36" fmla="*/ 2147483647 w 43"/>
                  <a:gd name="T37" fmla="*/ 2147483647 h 38"/>
                  <a:gd name="T38" fmla="*/ 2147483647 w 43"/>
                  <a:gd name="T39" fmla="*/ 2147483647 h 38"/>
                  <a:gd name="T40" fmla="*/ 2147483647 w 43"/>
                  <a:gd name="T41" fmla="*/ 2147483647 h 38"/>
                  <a:gd name="T42" fmla="*/ 2147483647 w 43"/>
                  <a:gd name="T43" fmla="*/ 2147483647 h 38"/>
                  <a:gd name="T44" fmla="*/ 2147483647 w 43"/>
                  <a:gd name="T45" fmla="*/ 2147483647 h 38"/>
                  <a:gd name="T46" fmla="*/ 2147483647 w 43"/>
                  <a:gd name="T47" fmla="*/ 2147483647 h 38"/>
                  <a:gd name="T48" fmla="*/ 2147483647 w 43"/>
                  <a:gd name="T49" fmla="*/ 0 h 3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3" h="38">
                    <a:moveTo>
                      <a:pt x="22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8"/>
                    </a:lnTo>
                    <a:lnTo>
                      <a:pt x="5" y="25"/>
                    </a:lnTo>
                    <a:lnTo>
                      <a:pt x="10" y="30"/>
                    </a:lnTo>
                    <a:lnTo>
                      <a:pt x="15" y="34"/>
                    </a:lnTo>
                    <a:lnTo>
                      <a:pt x="21" y="37"/>
                    </a:lnTo>
                    <a:lnTo>
                      <a:pt x="27" y="38"/>
                    </a:lnTo>
                    <a:lnTo>
                      <a:pt x="35" y="38"/>
                    </a:lnTo>
                    <a:lnTo>
                      <a:pt x="43" y="37"/>
                    </a:lnTo>
                    <a:lnTo>
                      <a:pt x="40" y="29"/>
                    </a:lnTo>
                    <a:lnTo>
                      <a:pt x="36" y="23"/>
                    </a:lnTo>
                    <a:lnTo>
                      <a:pt x="33" y="17"/>
                    </a:lnTo>
                    <a:lnTo>
                      <a:pt x="30" y="13"/>
                    </a:lnTo>
                    <a:lnTo>
                      <a:pt x="27" y="10"/>
                    </a:lnTo>
                    <a:lnTo>
                      <a:pt x="24" y="7"/>
                    </a:lnTo>
                    <a:lnTo>
                      <a:pt x="23" y="4"/>
                    </a:lnTo>
                    <a:lnTo>
                      <a:pt x="2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7" name="Freeform 212"/>
              <p:cNvSpPr>
                <a:spLocks/>
              </p:cNvSpPr>
              <p:nvPr>
                <p:custDataLst>
                  <p:tags r:id="rId337"/>
                </p:custDataLst>
              </p:nvPr>
            </p:nvSpPr>
            <p:spPr bwMode="auto">
              <a:xfrm>
                <a:off x="8037478" y="5761824"/>
                <a:ext cx="7974" cy="64528"/>
              </a:xfrm>
              <a:custGeom>
                <a:avLst/>
                <a:gdLst>
                  <a:gd name="T0" fmla="*/ 0 w 20"/>
                  <a:gd name="T1" fmla="*/ 0 h 5"/>
                  <a:gd name="T2" fmla="*/ 63425595 w 20"/>
                  <a:gd name="T3" fmla="*/ 2147483647 h 5"/>
                  <a:gd name="T4" fmla="*/ 126692507 w 20"/>
                  <a:gd name="T5" fmla="*/ 2147483647 h 5"/>
                  <a:gd name="T6" fmla="*/ 253544095 w 20"/>
                  <a:gd name="T7" fmla="*/ 2147483647 h 5"/>
                  <a:gd name="T8" fmla="*/ 443662196 w 20"/>
                  <a:gd name="T9" fmla="*/ 2147483647 h 5"/>
                  <a:gd name="T10" fmla="*/ 697205893 w 20"/>
                  <a:gd name="T11" fmla="*/ 2147483647 h 5"/>
                  <a:gd name="T12" fmla="*/ 887323994 w 20"/>
                  <a:gd name="T13" fmla="*/ 2147483647 h 5"/>
                  <a:gd name="T14" fmla="*/ 1077442494 w 20"/>
                  <a:gd name="T15" fmla="*/ 2147483647 h 5"/>
                  <a:gd name="T16" fmla="*/ 1267560596 w 20"/>
                  <a:gd name="T17" fmla="*/ 0 h 5"/>
                  <a:gd name="T18" fmla="*/ 0 w 20"/>
                  <a:gd name="T19" fmla="*/ 0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" h="5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8" name="Freeform 213"/>
              <p:cNvSpPr>
                <a:spLocks/>
              </p:cNvSpPr>
              <p:nvPr>
                <p:custDataLst>
                  <p:tags r:id="rId338"/>
                </p:custDataLst>
              </p:nvPr>
            </p:nvSpPr>
            <p:spPr bwMode="auto">
              <a:xfrm>
                <a:off x="8131175" y="5840692"/>
                <a:ext cx="43859" cy="64528"/>
              </a:xfrm>
              <a:custGeom>
                <a:avLst/>
                <a:gdLst>
                  <a:gd name="T0" fmla="*/ 2147483647 w 73"/>
                  <a:gd name="T1" fmla="*/ 0 h 22"/>
                  <a:gd name="T2" fmla="*/ 2147483647 w 73"/>
                  <a:gd name="T3" fmla="*/ 2147483647 h 22"/>
                  <a:gd name="T4" fmla="*/ 2147483647 w 73"/>
                  <a:gd name="T5" fmla="*/ 2147483647 h 22"/>
                  <a:gd name="T6" fmla="*/ 2147483647 w 73"/>
                  <a:gd name="T7" fmla="*/ 2147483647 h 22"/>
                  <a:gd name="T8" fmla="*/ 2147483647 w 73"/>
                  <a:gd name="T9" fmla="*/ 2147483647 h 22"/>
                  <a:gd name="T10" fmla="*/ 1301298933 w 73"/>
                  <a:gd name="T11" fmla="*/ 2147483647 h 22"/>
                  <a:gd name="T12" fmla="*/ 0 w 73"/>
                  <a:gd name="T13" fmla="*/ 2147483647 h 22"/>
                  <a:gd name="T14" fmla="*/ 2147483647 w 73"/>
                  <a:gd name="T15" fmla="*/ 2147483647 h 22"/>
                  <a:gd name="T16" fmla="*/ 2147483647 w 73"/>
                  <a:gd name="T17" fmla="*/ 2147483647 h 22"/>
                  <a:gd name="T18" fmla="*/ 2147483647 w 73"/>
                  <a:gd name="T19" fmla="*/ 2147483647 h 22"/>
                  <a:gd name="T20" fmla="*/ 2147483647 w 73"/>
                  <a:gd name="T21" fmla="*/ 2147483647 h 22"/>
                  <a:gd name="T22" fmla="*/ 2147483647 w 73"/>
                  <a:gd name="T23" fmla="*/ 2147483647 h 22"/>
                  <a:gd name="T24" fmla="*/ 2147483647 w 73"/>
                  <a:gd name="T25" fmla="*/ 2147483647 h 22"/>
                  <a:gd name="T26" fmla="*/ 2147483647 w 73"/>
                  <a:gd name="T27" fmla="*/ 2147483647 h 22"/>
                  <a:gd name="T28" fmla="*/ 2147483647 w 73"/>
                  <a:gd name="T29" fmla="*/ 2147483647 h 22"/>
                  <a:gd name="T30" fmla="*/ 2147483647 w 73"/>
                  <a:gd name="T31" fmla="*/ 2147483647 h 22"/>
                  <a:gd name="T32" fmla="*/ 2147483647 w 73"/>
                  <a:gd name="T33" fmla="*/ 2147483647 h 22"/>
                  <a:gd name="T34" fmla="*/ 2147483647 w 73"/>
                  <a:gd name="T35" fmla="*/ 2147483647 h 22"/>
                  <a:gd name="T36" fmla="*/ 2147483647 w 73"/>
                  <a:gd name="T37" fmla="*/ 0 h 2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3" h="22">
                    <a:moveTo>
                      <a:pt x="40" y="0"/>
                    </a:moveTo>
                    <a:lnTo>
                      <a:pt x="32" y="1"/>
                    </a:lnTo>
                    <a:lnTo>
                      <a:pt x="26" y="2"/>
                    </a:lnTo>
                    <a:lnTo>
                      <a:pt x="20" y="5"/>
                    </a:lnTo>
                    <a:lnTo>
                      <a:pt x="15" y="8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20" y="20"/>
                    </a:lnTo>
                    <a:lnTo>
                      <a:pt x="39" y="22"/>
                    </a:lnTo>
                    <a:lnTo>
                      <a:pt x="49" y="22"/>
                    </a:lnTo>
                    <a:lnTo>
                      <a:pt x="57" y="22"/>
                    </a:lnTo>
                    <a:lnTo>
                      <a:pt x="65" y="21"/>
                    </a:lnTo>
                    <a:lnTo>
                      <a:pt x="73" y="19"/>
                    </a:lnTo>
                    <a:lnTo>
                      <a:pt x="64" y="14"/>
                    </a:lnTo>
                    <a:lnTo>
                      <a:pt x="56" y="8"/>
                    </a:lnTo>
                    <a:lnTo>
                      <a:pt x="53" y="5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9" name="Freeform 214"/>
              <p:cNvSpPr>
                <a:spLocks/>
              </p:cNvSpPr>
              <p:nvPr>
                <p:custDataLst>
                  <p:tags r:id="rId339"/>
                </p:custDataLst>
              </p:nvPr>
            </p:nvSpPr>
            <p:spPr bwMode="auto">
              <a:xfrm>
                <a:off x="8179021" y="5774371"/>
                <a:ext cx="155499" cy="112925"/>
              </a:xfrm>
              <a:custGeom>
                <a:avLst/>
                <a:gdLst>
                  <a:gd name="T0" fmla="*/ 2147483647 w 281"/>
                  <a:gd name="T1" fmla="*/ 2147483647 h 193"/>
                  <a:gd name="T2" fmla="*/ 2147483647 w 281"/>
                  <a:gd name="T3" fmla="*/ 2147483647 h 193"/>
                  <a:gd name="T4" fmla="*/ 2147483647 w 281"/>
                  <a:gd name="T5" fmla="*/ 2147483647 h 193"/>
                  <a:gd name="T6" fmla="*/ 2147483647 w 281"/>
                  <a:gd name="T7" fmla="*/ 2147483647 h 193"/>
                  <a:gd name="T8" fmla="*/ 2147483647 w 281"/>
                  <a:gd name="T9" fmla="*/ 2147483647 h 193"/>
                  <a:gd name="T10" fmla="*/ 2147483647 w 281"/>
                  <a:gd name="T11" fmla="*/ 2147483647 h 193"/>
                  <a:gd name="T12" fmla="*/ 2147483647 w 281"/>
                  <a:gd name="T13" fmla="*/ 2147483647 h 193"/>
                  <a:gd name="T14" fmla="*/ 2147483647 w 281"/>
                  <a:gd name="T15" fmla="*/ 2147483647 h 193"/>
                  <a:gd name="T16" fmla="*/ 2147483647 w 281"/>
                  <a:gd name="T17" fmla="*/ 2147483647 h 193"/>
                  <a:gd name="T18" fmla="*/ 2147483647 w 281"/>
                  <a:gd name="T19" fmla="*/ 0 h 193"/>
                  <a:gd name="T20" fmla="*/ 2147483647 w 281"/>
                  <a:gd name="T21" fmla="*/ 2147483647 h 193"/>
                  <a:gd name="T22" fmla="*/ 2147483647 w 281"/>
                  <a:gd name="T23" fmla="*/ 2147483647 h 193"/>
                  <a:gd name="T24" fmla="*/ 1016671277 w 281"/>
                  <a:gd name="T25" fmla="*/ 2147483647 h 193"/>
                  <a:gd name="T26" fmla="*/ 0 w 281"/>
                  <a:gd name="T27" fmla="*/ 2147483647 h 193"/>
                  <a:gd name="T28" fmla="*/ 169343391 w 281"/>
                  <a:gd name="T29" fmla="*/ 2147483647 h 193"/>
                  <a:gd name="T30" fmla="*/ 1525007469 w 281"/>
                  <a:gd name="T31" fmla="*/ 2147483647 h 193"/>
                  <a:gd name="T32" fmla="*/ 2147483647 w 281"/>
                  <a:gd name="T33" fmla="*/ 2147483647 h 193"/>
                  <a:gd name="T34" fmla="*/ 2147483647 w 281"/>
                  <a:gd name="T35" fmla="*/ 2147483647 h 193"/>
                  <a:gd name="T36" fmla="*/ 2147483647 w 281"/>
                  <a:gd name="T37" fmla="*/ 2147483647 h 193"/>
                  <a:gd name="T38" fmla="*/ 2147483647 w 281"/>
                  <a:gd name="T39" fmla="*/ 2147483647 h 193"/>
                  <a:gd name="T40" fmla="*/ 2147483647 w 281"/>
                  <a:gd name="T41" fmla="*/ 2147483647 h 193"/>
                  <a:gd name="T42" fmla="*/ 2147483647 w 281"/>
                  <a:gd name="T43" fmla="*/ 2147483647 h 193"/>
                  <a:gd name="T44" fmla="*/ 2147483647 w 281"/>
                  <a:gd name="T45" fmla="*/ 2147483647 h 193"/>
                  <a:gd name="T46" fmla="*/ 2147483647 w 281"/>
                  <a:gd name="T47" fmla="*/ 2147483647 h 193"/>
                  <a:gd name="T48" fmla="*/ 2147483647 w 281"/>
                  <a:gd name="T49" fmla="*/ 2147483647 h 193"/>
                  <a:gd name="T50" fmla="*/ 2147483647 w 281"/>
                  <a:gd name="T51" fmla="*/ 2147483647 h 193"/>
                  <a:gd name="T52" fmla="*/ 2147483647 w 281"/>
                  <a:gd name="T53" fmla="*/ 2147483647 h 193"/>
                  <a:gd name="T54" fmla="*/ 2147483647 w 281"/>
                  <a:gd name="T55" fmla="*/ 2147483647 h 193"/>
                  <a:gd name="T56" fmla="*/ 2147483647 w 281"/>
                  <a:gd name="T57" fmla="*/ 2147483647 h 193"/>
                  <a:gd name="T58" fmla="*/ 2147483647 w 281"/>
                  <a:gd name="T59" fmla="*/ 2147483647 h 193"/>
                  <a:gd name="T60" fmla="*/ 2147483647 w 281"/>
                  <a:gd name="T61" fmla="*/ 2147483647 h 193"/>
                  <a:gd name="T62" fmla="*/ 2147483647 w 281"/>
                  <a:gd name="T63" fmla="*/ 2147483647 h 193"/>
                  <a:gd name="T64" fmla="*/ 2147483647 w 281"/>
                  <a:gd name="T65" fmla="*/ 2147483647 h 193"/>
                  <a:gd name="T66" fmla="*/ 2147483647 w 281"/>
                  <a:gd name="T67" fmla="*/ 2147483647 h 193"/>
                  <a:gd name="T68" fmla="*/ 2147483647 w 281"/>
                  <a:gd name="T69" fmla="*/ 2147483647 h 193"/>
                  <a:gd name="T70" fmla="*/ 2147483647 w 281"/>
                  <a:gd name="T71" fmla="*/ 2147483647 h 19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81" h="193">
                    <a:moveTo>
                      <a:pt x="275" y="167"/>
                    </a:moveTo>
                    <a:lnTo>
                      <a:pt x="235" y="168"/>
                    </a:lnTo>
                    <a:lnTo>
                      <a:pt x="202" y="171"/>
                    </a:lnTo>
                    <a:lnTo>
                      <a:pt x="188" y="171"/>
                    </a:lnTo>
                    <a:lnTo>
                      <a:pt x="175" y="169"/>
                    </a:lnTo>
                    <a:lnTo>
                      <a:pt x="168" y="168"/>
                    </a:lnTo>
                    <a:lnTo>
                      <a:pt x="162" y="166"/>
                    </a:lnTo>
                    <a:lnTo>
                      <a:pt x="155" y="164"/>
                    </a:lnTo>
                    <a:lnTo>
                      <a:pt x="149" y="161"/>
                    </a:lnTo>
                    <a:lnTo>
                      <a:pt x="130" y="135"/>
                    </a:lnTo>
                    <a:lnTo>
                      <a:pt x="108" y="103"/>
                    </a:lnTo>
                    <a:lnTo>
                      <a:pt x="104" y="94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90" y="63"/>
                    </a:lnTo>
                    <a:lnTo>
                      <a:pt x="87" y="51"/>
                    </a:lnTo>
                    <a:lnTo>
                      <a:pt x="85" y="39"/>
                    </a:lnTo>
                    <a:lnTo>
                      <a:pt x="83" y="27"/>
                    </a:lnTo>
                    <a:lnTo>
                      <a:pt x="83" y="13"/>
                    </a:lnTo>
                    <a:lnTo>
                      <a:pt x="43" y="0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3" y="56"/>
                    </a:lnTo>
                    <a:lnTo>
                      <a:pt x="18" y="61"/>
                    </a:lnTo>
                    <a:lnTo>
                      <a:pt x="11" y="65"/>
                    </a:lnTo>
                    <a:lnTo>
                      <a:pt x="6" y="69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4"/>
                    </a:lnTo>
                    <a:lnTo>
                      <a:pt x="1" y="75"/>
                    </a:lnTo>
                    <a:lnTo>
                      <a:pt x="3" y="75"/>
                    </a:lnTo>
                    <a:lnTo>
                      <a:pt x="9" y="81"/>
                    </a:lnTo>
                    <a:lnTo>
                      <a:pt x="23" y="96"/>
                    </a:lnTo>
                    <a:lnTo>
                      <a:pt x="37" y="111"/>
                    </a:lnTo>
                    <a:lnTo>
                      <a:pt x="43" y="118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53" y="129"/>
                    </a:lnTo>
                    <a:lnTo>
                      <a:pt x="57" y="132"/>
                    </a:lnTo>
                    <a:lnTo>
                      <a:pt x="62" y="134"/>
                    </a:lnTo>
                    <a:lnTo>
                      <a:pt x="66" y="135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41"/>
                    </a:lnTo>
                    <a:lnTo>
                      <a:pt x="77" y="145"/>
                    </a:lnTo>
                    <a:lnTo>
                      <a:pt x="79" y="148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3" y="154"/>
                    </a:lnTo>
                    <a:lnTo>
                      <a:pt x="99" y="154"/>
                    </a:lnTo>
                    <a:lnTo>
                      <a:pt x="104" y="156"/>
                    </a:lnTo>
                    <a:lnTo>
                      <a:pt x="106" y="157"/>
                    </a:lnTo>
                    <a:lnTo>
                      <a:pt x="108" y="160"/>
                    </a:lnTo>
                    <a:lnTo>
                      <a:pt x="109" y="163"/>
                    </a:lnTo>
                    <a:lnTo>
                      <a:pt x="109" y="167"/>
                    </a:lnTo>
                    <a:lnTo>
                      <a:pt x="109" y="17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3" y="191"/>
                    </a:lnTo>
                    <a:lnTo>
                      <a:pt x="115" y="193"/>
                    </a:lnTo>
                    <a:lnTo>
                      <a:pt x="117" y="193"/>
                    </a:lnTo>
                    <a:lnTo>
                      <a:pt x="129" y="193"/>
                    </a:lnTo>
                    <a:lnTo>
                      <a:pt x="149" y="192"/>
                    </a:lnTo>
                    <a:lnTo>
                      <a:pt x="164" y="191"/>
                    </a:lnTo>
                    <a:lnTo>
                      <a:pt x="174" y="190"/>
                    </a:lnTo>
                    <a:lnTo>
                      <a:pt x="180" y="189"/>
                    </a:lnTo>
                    <a:lnTo>
                      <a:pt x="186" y="187"/>
                    </a:lnTo>
                    <a:lnTo>
                      <a:pt x="192" y="186"/>
                    </a:lnTo>
                    <a:lnTo>
                      <a:pt x="200" y="187"/>
                    </a:lnTo>
                    <a:lnTo>
                      <a:pt x="212" y="188"/>
                    </a:lnTo>
                    <a:lnTo>
                      <a:pt x="229" y="192"/>
                    </a:lnTo>
                    <a:lnTo>
                      <a:pt x="281" y="167"/>
                    </a:lnTo>
                    <a:lnTo>
                      <a:pt x="275" y="16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0" name="Freeform 215"/>
              <p:cNvSpPr>
                <a:spLocks/>
              </p:cNvSpPr>
              <p:nvPr>
                <p:custDataLst>
                  <p:tags r:id="rId340"/>
                </p:custDataLst>
              </p:nvPr>
            </p:nvSpPr>
            <p:spPr bwMode="auto">
              <a:xfrm>
                <a:off x="7616833" y="3252388"/>
                <a:ext cx="65789" cy="66320"/>
              </a:xfrm>
              <a:custGeom>
                <a:avLst/>
                <a:gdLst>
                  <a:gd name="T0" fmla="*/ 0 w 120"/>
                  <a:gd name="T1" fmla="*/ 2147483647 h 56"/>
                  <a:gd name="T2" fmla="*/ 659147666 w 120"/>
                  <a:gd name="T3" fmla="*/ 2147483647 h 56"/>
                  <a:gd name="T4" fmla="*/ 1647718948 w 120"/>
                  <a:gd name="T5" fmla="*/ 2147483647 h 56"/>
                  <a:gd name="T6" fmla="*/ 2147483647 w 120"/>
                  <a:gd name="T7" fmla="*/ 2147483647 h 56"/>
                  <a:gd name="T8" fmla="*/ 2147483647 w 120"/>
                  <a:gd name="T9" fmla="*/ 2147483647 h 56"/>
                  <a:gd name="T10" fmla="*/ 2147483647 w 120"/>
                  <a:gd name="T11" fmla="*/ 2147483647 h 56"/>
                  <a:gd name="T12" fmla="*/ 2147483647 w 120"/>
                  <a:gd name="T13" fmla="*/ 2147483647 h 56"/>
                  <a:gd name="T14" fmla="*/ 2147483647 w 120"/>
                  <a:gd name="T15" fmla="*/ 2147483647 h 56"/>
                  <a:gd name="T16" fmla="*/ 2147483647 w 120"/>
                  <a:gd name="T17" fmla="*/ 2147483647 h 56"/>
                  <a:gd name="T18" fmla="*/ 2147483647 w 120"/>
                  <a:gd name="T19" fmla="*/ 2147483647 h 56"/>
                  <a:gd name="T20" fmla="*/ 2147483647 w 120"/>
                  <a:gd name="T21" fmla="*/ 2147483647 h 56"/>
                  <a:gd name="T22" fmla="*/ 2147483647 w 120"/>
                  <a:gd name="T23" fmla="*/ 2147483647 h 56"/>
                  <a:gd name="T24" fmla="*/ 2147483647 w 120"/>
                  <a:gd name="T25" fmla="*/ 2147483647 h 56"/>
                  <a:gd name="T26" fmla="*/ 2147483647 w 120"/>
                  <a:gd name="T27" fmla="*/ 2147483647 h 56"/>
                  <a:gd name="T28" fmla="*/ 2147483647 w 120"/>
                  <a:gd name="T29" fmla="*/ 2147483647 h 56"/>
                  <a:gd name="T30" fmla="*/ 2147483647 w 120"/>
                  <a:gd name="T31" fmla="*/ 2147483647 h 56"/>
                  <a:gd name="T32" fmla="*/ 2147483647 w 120"/>
                  <a:gd name="T33" fmla="*/ 2147483647 h 56"/>
                  <a:gd name="T34" fmla="*/ 2147483647 w 120"/>
                  <a:gd name="T35" fmla="*/ 2147483647 h 56"/>
                  <a:gd name="T36" fmla="*/ 2147483647 w 120"/>
                  <a:gd name="T37" fmla="*/ 2147483647 h 56"/>
                  <a:gd name="T38" fmla="*/ 2147483647 w 120"/>
                  <a:gd name="T39" fmla="*/ 2147483647 h 56"/>
                  <a:gd name="T40" fmla="*/ 2147483647 w 120"/>
                  <a:gd name="T41" fmla="*/ 2147483647 h 56"/>
                  <a:gd name="T42" fmla="*/ 2147483647 w 120"/>
                  <a:gd name="T43" fmla="*/ 0 h 56"/>
                  <a:gd name="T44" fmla="*/ 2147483647 w 120"/>
                  <a:gd name="T45" fmla="*/ 1660598323 h 56"/>
                  <a:gd name="T46" fmla="*/ 2147483647 w 120"/>
                  <a:gd name="T47" fmla="*/ 2147483647 h 56"/>
                  <a:gd name="T48" fmla="*/ 2147483647 w 120"/>
                  <a:gd name="T49" fmla="*/ 2147483647 h 56"/>
                  <a:gd name="T50" fmla="*/ 2147483647 w 120"/>
                  <a:gd name="T51" fmla="*/ 2147483647 h 56"/>
                  <a:gd name="T52" fmla="*/ 2147483647 w 120"/>
                  <a:gd name="T53" fmla="*/ 2147483647 h 56"/>
                  <a:gd name="T54" fmla="*/ 2147483647 w 120"/>
                  <a:gd name="T55" fmla="*/ 2147483647 h 56"/>
                  <a:gd name="T56" fmla="*/ 1318295333 w 120"/>
                  <a:gd name="T57" fmla="*/ 2147483647 h 56"/>
                  <a:gd name="T58" fmla="*/ 0 w 120"/>
                  <a:gd name="T59" fmla="*/ 2147483647 h 5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20" h="56">
                    <a:moveTo>
                      <a:pt x="0" y="18"/>
                    </a:moveTo>
                    <a:lnTo>
                      <a:pt x="4" y="26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41"/>
                    </a:lnTo>
                    <a:lnTo>
                      <a:pt x="27" y="44"/>
                    </a:lnTo>
                    <a:lnTo>
                      <a:pt x="35" y="46"/>
                    </a:lnTo>
                    <a:lnTo>
                      <a:pt x="43" y="48"/>
                    </a:lnTo>
                    <a:lnTo>
                      <a:pt x="51" y="49"/>
                    </a:lnTo>
                    <a:lnTo>
                      <a:pt x="67" y="50"/>
                    </a:lnTo>
                    <a:lnTo>
                      <a:pt x="85" y="51"/>
                    </a:lnTo>
                    <a:lnTo>
                      <a:pt x="102" y="52"/>
                    </a:lnTo>
                    <a:lnTo>
                      <a:pt x="120" y="56"/>
                    </a:lnTo>
                    <a:lnTo>
                      <a:pt x="120" y="37"/>
                    </a:lnTo>
                    <a:lnTo>
                      <a:pt x="111" y="34"/>
                    </a:lnTo>
                    <a:lnTo>
                      <a:pt x="102" y="30"/>
                    </a:lnTo>
                    <a:lnTo>
                      <a:pt x="94" y="24"/>
                    </a:lnTo>
                    <a:lnTo>
                      <a:pt x="88" y="18"/>
                    </a:lnTo>
                    <a:lnTo>
                      <a:pt x="81" y="13"/>
                    </a:lnTo>
                    <a:lnTo>
                      <a:pt x="75" y="7"/>
                    </a:lnTo>
                    <a:lnTo>
                      <a:pt x="67" y="3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8" y="3"/>
                    </a:lnTo>
                    <a:lnTo>
                      <a:pt x="41" y="6"/>
                    </a:lnTo>
                    <a:lnTo>
                      <a:pt x="33" y="9"/>
                    </a:lnTo>
                    <a:lnTo>
                      <a:pt x="24" y="13"/>
                    </a:lnTo>
                    <a:lnTo>
                      <a:pt x="16" y="15"/>
                    </a:lnTo>
                    <a:lnTo>
                      <a:pt x="8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1" name="Freeform 216"/>
              <p:cNvSpPr>
                <a:spLocks/>
              </p:cNvSpPr>
              <p:nvPr>
                <p:custDataLst>
                  <p:tags r:id="rId341"/>
                </p:custDataLst>
              </p:nvPr>
            </p:nvSpPr>
            <p:spPr bwMode="auto">
              <a:xfrm>
                <a:off x="7435618" y="3097882"/>
                <a:ext cx="315381" cy="123524"/>
              </a:xfrm>
              <a:custGeom>
                <a:avLst/>
                <a:gdLst>
                  <a:gd name="T0" fmla="*/ 127 w 574"/>
                  <a:gd name="T1" fmla="*/ 1 h 204"/>
                  <a:gd name="T2" fmla="*/ 95 w 574"/>
                  <a:gd name="T3" fmla="*/ 6 h 204"/>
                  <a:gd name="T4" fmla="*/ 66 w 574"/>
                  <a:gd name="T5" fmla="*/ 16 h 204"/>
                  <a:gd name="T6" fmla="*/ 43 w 574"/>
                  <a:gd name="T7" fmla="*/ 26 h 204"/>
                  <a:gd name="T8" fmla="*/ 30 w 574"/>
                  <a:gd name="T9" fmla="*/ 35 h 204"/>
                  <a:gd name="T10" fmla="*/ 16 w 574"/>
                  <a:gd name="T11" fmla="*/ 51 h 204"/>
                  <a:gd name="T12" fmla="*/ 4 w 574"/>
                  <a:gd name="T13" fmla="*/ 71 h 204"/>
                  <a:gd name="T14" fmla="*/ 0 w 574"/>
                  <a:gd name="T15" fmla="*/ 82 h 204"/>
                  <a:gd name="T16" fmla="*/ 1 w 574"/>
                  <a:gd name="T17" fmla="*/ 86 h 204"/>
                  <a:gd name="T18" fmla="*/ 13 w 574"/>
                  <a:gd name="T19" fmla="*/ 86 h 204"/>
                  <a:gd name="T20" fmla="*/ 29 w 574"/>
                  <a:gd name="T21" fmla="*/ 83 h 204"/>
                  <a:gd name="T22" fmla="*/ 52 w 574"/>
                  <a:gd name="T23" fmla="*/ 75 h 204"/>
                  <a:gd name="T24" fmla="*/ 80 w 574"/>
                  <a:gd name="T25" fmla="*/ 58 h 204"/>
                  <a:gd name="T26" fmla="*/ 102 w 574"/>
                  <a:gd name="T27" fmla="*/ 46 h 204"/>
                  <a:gd name="T28" fmla="*/ 119 w 574"/>
                  <a:gd name="T29" fmla="*/ 40 h 204"/>
                  <a:gd name="T30" fmla="*/ 175 w 574"/>
                  <a:gd name="T31" fmla="*/ 37 h 204"/>
                  <a:gd name="T32" fmla="*/ 176 w 574"/>
                  <a:gd name="T33" fmla="*/ 48 h 204"/>
                  <a:gd name="T34" fmla="*/ 180 w 574"/>
                  <a:gd name="T35" fmla="*/ 55 h 204"/>
                  <a:gd name="T36" fmla="*/ 184 w 574"/>
                  <a:gd name="T37" fmla="*/ 59 h 204"/>
                  <a:gd name="T38" fmla="*/ 190 w 574"/>
                  <a:gd name="T39" fmla="*/ 61 h 204"/>
                  <a:gd name="T40" fmla="*/ 229 w 574"/>
                  <a:gd name="T41" fmla="*/ 61 h 204"/>
                  <a:gd name="T42" fmla="*/ 269 w 574"/>
                  <a:gd name="T43" fmla="*/ 78 h 204"/>
                  <a:gd name="T44" fmla="*/ 302 w 574"/>
                  <a:gd name="T45" fmla="*/ 95 h 204"/>
                  <a:gd name="T46" fmla="*/ 336 w 574"/>
                  <a:gd name="T47" fmla="*/ 111 h 204"/>
                  <a:gd name="T48" fmla="*/ 375 w 574"/>
                  <a:gd name="T49" fmla="*/ 123 h 204"/>
                  <a:gd name="T50" fmla="*/ 376 w 574"/>
                  <a:gd name="T51" fmla="*/ 134 h 204"/>
                  <a:gd name="T52" fmla="*/ 382 w 574"/>
                  <a:gd name="T53" fmla="*/ 142 h 204"/>
                  <a:gd name="T54" fmla="*/ 396 w 574"/>
                  <a:gd name="T55" fmla="*/ 152 h 204"/>
                  <a:gd name="T56" fmla="*/ 428 w 574"/>
                  <a:gd name="T57" fmla="*/ 166 h 204"/>
                  <a:gd name="T58" fmla="*/ 402 w 574"/>
                  <a:gd name="T59" fmla="*/ 191 h 204"/>
                  <a:gd name="T60" fmla="*/ 407 w 574"/>
                  <a:gd name="T61" fmla="*/ 197 h 204"/>
                  <a:gd name="T62" fmla="*/ 414 w 574"/>
                  <a:gd name="T63" fmla="*/ 201 h 204"/>
                  <a:gd name="T64" fmla="*/ 429 w 574"/>
                  <a:gd name="T65" fmla="*/ 204 h 204"/>
                  <a:gd name="T66" fmla="*/ 461 w 574"/>
                  <a:gd name="T67" fmla="*/ 204 h 204"/>
                  <a:gd name="T68" fmla="*/ 555 w 574"/>
                  <a:gd name="T69" fmla="*/ 189 h 204"/>
                  <a:gd name="T70" fmla="*/ 559 w 574"/>
                  <a:gd name="T71" fmla="*/ 183 h 204"/>
                  <a:gd name="T72" fmla="*/ 565 w 574"/>
                  <a:gd name="T73" fmla="*/ 177 h 204"/>
                  <a:gd name="T74" fmla="*/ 572 w 574"/>
                  <a:gd name="T75" fmla="*/ 173 h 204"/>
                  <a:gd name="T76" fmla="*/ 574 w 574"/>
                  <a:gd name="T77" fmla="*/ 161 h 204"/>
                  <a:gd name="T78" fmla="*/ 561 w 574"/>
                  <a:gd name="T79" fmla="*/ 153 h 204"/>
                  <a:gd name="T80" fmla="*/ 532 w 574"/>
                  <a:gd name="T81" fmla="*/ 148 h 204"/>
                  <a:gd name="T82" fmla="*/ 504 w 574"/>
                  <a:gd name="T83" fmla="*/ 138 h 204"/>
                  <a:gd name="T84" fmla="*/ 475 w 574"/>
                  <a:gd name="T85" fmla="*/ 124 h 204"/>
                  <a:gd name="T86" fmla="*/ 433 w 574"/>
                  <a:gd name="T87" fmla="*/ 100 h 204"/>
                  <a:gd name="T88" fmla="*/ 383 w 574"/>
                  <a:gd name="T89" fmla="*/ 68 h 204"/>
                  <a:gd name="T90" fmla="*/ 358 w 574"/>
                  <a:gd name="T91" fmla="*/ 54 h 204"/>
                  <a:gd name="T92" fmla="*/ 348 w 574"/>
                  <a:gd name="T93" fmla="*/ 52 h 204"/>
                  <a:gd name="T94" fmla="*/ 330 w 574"/>
                  <a:gd name="T95" fmla="*/ 52 h 204"/>
                  <a:gd name="T96" fmla="*/ 312 w 574"/>
                  <a:gd name="T97" fmla="*/ 51 h 204"/>
                  <a:gd name="T98" fmla="*/ 302 w 574"/>
                  <a:gd name="T99" fmla="*/ 49 h 204"/>
                  <a:gd name="T100" fmla="*/ 294 w 574"/>
                  <a:gd name="T101" fmla="*/ 43 h 204"/>
                  <a:gd name="T102" fmla="*/ 290 w 574"/>
                  <a:gd name="T103" fmla="*/ 32 h 204"/>
                  <a:gd name="T104" fmla="*/ 142 w 574"/>
                  <a:gd name="T10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4" h="204">
                    <a:moveTo>
                      <a:pt x="142" y="0"/>
                    </a:moveTo>
                    <a:lnTo>
                      <a:pt x="127" y="1"/>
                    </a:lnTo>
                    <a:lnTo>
                      <a:pt x="111" y="3"/>
                    </a:lnTo>
                    <a:lnTo>
                      <a:pt x="95" y="6"/>
                    </a:lnTo>
                    <a:lnTo>
                      <a:pt x="80" y="11"/>
                    </a:lnTo>
                    <a:lnTo>
                      <a:pt x="66" y="16"/>
                    </a:lnTo>
                    <a:lnTo>
                      <a:pt x="52" y="21"/>
                    </a:lnTo>
                    <a:lnTo>
                      <a:pt x="43" y="26"/>
                    </a:lnTo>
                    <a:lnTo>
                      <a:pt x="36" y="31"/>
                    </a:lnTo>
                    <a:lnTo>
                      <a:pt x="30" y="35"/>
                    </a:lnTo>
                    <a:lnTo>
                      <a:pt x="24" y="42"/>
                    </a:lnTo>
                    <a:lnTo>
                      <a:pt x="16" y="51"/>
                    </a:lnTo>
                    <a:lnTo>
                      <a:pt x="10" y="61"/>
                    </a:lnTo>
                    <a:lnTo>
                      <a:pt x="4" y="71"/>
                    </a:lnTo>
                    <a:lnTo>
                      <a:pt x="1" y="79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1" y="86"/>
                    </a:lnTo>
                    <a:lnTo>
                      <a:pt x="3" y="87"/>
                    </a:lnTo>
                    <a:lnTo>
                      <a:pt x="13" y="86"/>
                    </a:lnTo>
                    <a:lnTo>
                      <a:pt x="22" y="85"/>
                    </a:lnTo>
                    <a:lnTo>
                      <a:pt x="29" y="83"/>
                    </a:lnTo>
                    <a:lnTo>
                      <a:pt x="38" y="81"/>
                    </a:lnTo>
                    <a:lnTo>
                      <a:pt x="52" y="75"/>
                    </a:lnTo>
                    <a:lnTo>
                      <a:pt x="66" y="66"/>
                    </a:lnTo>
                    <a:lnTo>
                      <a:pt x="80" y="58"/>
                    </a:lnTo>
                    <a:lnTo>
                      <a:pt x="94" y="50"/>
                    </a:lnTo>
                    <a:lnTo>
                      <a:pt x="102" y="46"/>
                    </a:lnTo>
                    <a:lnTo>
                      <a:pt x="111" y="43"/>
                    </a:lnTo>
                    <a:lnTo>
                      <a:pt x="119" y="40"/>
                    </a:lnTo>
                    <a:lnTo>
                      <a:pt x="129" y="37"/>
                    </a:lnTo>
                    <a:lnTo>
                      <a:pt x="175" y="37"/>
                    </a:lnTo>
                    <a:lnTo>
                      <a:pt x="175" y="43"/>
                    </a:lnTo>
                    <a:lnTo>
                      <a:pt x="176" y="48"/>
                    </a:lnTo>
                    <a:lnTo>
                      <a:pt x="178" y="52"/>
                    </a:lnTo>
                    <a:lnTo>
                      <a:pt x="180" y="55"/>
                    </a:lnTo>
                    <a:lnTo>
                      <a:pt x="181" y="58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90" y="61"/>
                    </a:lnTo>
                    <a:lnTo>
                      <a:pt x="206" y="60"/>
                    </a:lnTo>
                    <a:lnTo>
                      <a:pt x="229" y="61"/>
                    </a:lnTo>
                    <a:lnTo>
                      <a:pt x="250" y="69"/>
                    </a:lnTo>
                    <a:lnTo>
                      <a:pt x="269" y="78"/>
                    </a:lnTo>
                    <a:lnTo>
                      <a:pt x="285" y="86"/>
                    </a:lnTo>
                    <a:lnTo>
                      <a:pt x="302" y="95"/>
                    </a:lnTo>
                    <a:lnTo>
                      <a:pt x="318" y="103"/>
                    </a:lnTo>
                    <a:lnTo>
                      <a:pt x="336" y="111"/>
                    </a:lnTo>
                    <a:lnTo>
                      <a:pt x="354" y="118"/>
                    </a:lnTo>
                    <a:lnTo>
                      <a:pt x="375" y="123"/>
                    </a:lnTo>
                    <a:lnTo>
                      <a:pt x="375" y="129"/>
                    </a:lnTo>
                    <a:lnTo>
                      <a:pt x="376" y="134"/>
                    </a:lnTo>
                    <a:lnTo>
                      <a:pt x="379" y="138"/>
                    </a:lnTo>
                    <a:lnTo>
                      <a:pt x="382" y="142"/>
                    </a:lnTo>
                    <a:lnTo>
                      <a:pt x="388" y="147"/>
                    </a:lnTo>
                    <a:lnTo>
                      <a:pt x="396" y="152"/>
                    </a:lnTo>
                    <a:lnTo>
                      <a:pt x="415" y="159"/>
                    </a:lnTo>
                    <a:lnTo>
                      <a:pt x="428" y="166"/>
                    </a:lnTo>
                    <a:lnTo>
                      <a:pt x="417" y="176"/>
                    </a:lnTo>
                    <a:lnTo>
                      <a:pt x="402" y="191"/>
                    </a:lnTo>
                    <a:lnTo>
                      <a:pt x="404" y="195"/>
                    </a:lnTo>
                    <a:lnTo>
                      <a:pt x="407" y="197"/>
                    </a:lnTo>
                    <a:lnTo>
                      <a:pt x="410" y="199"/>
                    </a:lnTo>
                    <a:lnTo>
                      <a:pt x="414" y="201"/>
                    </a:lnTo>
                    <a:lnTo>
                      <a:pt x="421" y="203"/>
                    </a:lnTo>
                    <a:lnTo>
                      <a:pt x="429" y="204"/>
                    </a:lnTo>
                    <a:lnTo>
                      <a:pt x="445" y="204"/>
                    </a:lnTo>
                    <a:lnTo>
                      <a:pt x="461" y="204"/>
                    </a:lnTo>
                    <a:lnTo>
                      <a:pt x="554" y="191"/>
                    </a:lnTo>
                    <a:lnTo>
                      <a:pt x="555" y="189"/>
                    </a:lnTo>
                    <a:lnTo>
                      <a:pt x="556" y="186"/>
                    </a:lnTo>
                    <a:lnTo>
                      <a:pt x="559" y="183"/>
                    </a:lnTo>
                    <a:lnTo>
                      <a:pt x="562" y="179"/>
                    </a:lnTo>
                    <a:lnTo>
                      <a:pt x="565" y="177"/>
                    </a:lnTo>
                    <a:lnTo>
                      <a:pt x="568" y="174"/>
                    </a:lnTo>
                    <a:lnTo>
                      <a:pt x="572" y="173"/>
                    </a:lnTo>
                    <a:lnTo>
                      <a:pt x="574" y="172"/>
                    </a:lnTo>
                    <a:lnTo>
                      <a:pt x="574" y="161"/>
                    </a:lnTo>
                    <a:lnTo>
                      <a:pt x="574" y="154"/>
                    </a:lnTo>
                    <a:lnTo>
                      <a:pt x="561" y="153"/>
                    </a:lnTo>
                    <a:lnTo>
                      <a:pt x="546" y="151"/>
                    </a:lnTo>
                    <a:lnTo>
                      <a:pt x="532" y="148"/>
                    </a:lnTo>
                    <a:lnTo>
                      <a:pt x="518" y="143"/>
                    </a:lnTo>
                    <a:lnTo>
                      <a:pt x="504" y="138"/>
                    </a:lnTo>
                    <a:lnTo>
                      <a:pt x="489" y="132"/>
                    </a:lnTo>
                    <a:lnTo>
                      <a:pt x="475" y="124"/>
                    </a:lnTo>
                    <a:lnTo>
                      <a:pt x="461" y="116"/>
                    </a:lnTo>
                    <a:lnTo>
                      <a:pt x="433" y="100"/>
                    </a:lnTo>
                    <a:lnTo>
                      <a:pt x="407" y="84"/>
                    </a:lnTo>
                    <a:lnTo>
                      <a:pt x="383" y="68"/>
                    </a:lnTo>
                    <a:lnTo>
                      <a:pt x="362" y="55"/>
                    </a:lnTo>
                    <a:lnTo>
                      <a:pt x="358" y="54"/>
                    </a:lnTo>
                    <a:lnTo>
                      <a:pt x="353" y="52"/>
                    </a:lnTo>
                    <a:lnTo>
                      <a:pt x="348" y="52"/>
                    </a:lnTo>
                    <a:lnTo>
                      <a:pt x="342" y="52"/>
                    </a:lnTo>
                    <a:lnTo>
                      <a:pt x="330" y="52"/>
                    </a:lnTo>
                    <a:lnTo>
                      <a:pt x="318" y="52"/>
                    </a:lnTo>
                    <a:lnTo>
                      <a:pt x="312" y="51"/>
                    </a:lnTo>
                    <a:lnTo>
                      <a:pt x="306" y="50"/>
                    </a:lnTo>
                    <a:lnTo>
                      <a:pt x="302" y="49"/>
                    </a:lnTo>
                    <a:lnTo>
                      <a:pt x="297" y="46"/>
                    </a:lnTo>
                    <a:lnTo>
                      <a:pt x="294" y="43"/>
                    </a:lnTo>
                    <a:lnTo>
                      <a:pt x="291" y="38"/>
                    </a:lnTo>
                    <a:lnTo>
                      <a:pt x="290" y="32"/>
                    </a:lnTo>
                    <a:lnTo>
                      <a:pt x="288" y="25"/>
                    </a:lnTo>
                    <a:lnTo>
                      <a:pt x="142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52" name="Freeform 217"/>
              <p:cNvSpPr>
                <a:spLocks/>
              </p:cNvSpPr>
              <p:nvPr>
                <p:custDataLst>
                  <p:tags r:id="rId342"/>
                </p:custDataLst>
              </p:nvPr>
            </p:nvSpPr>
            <p:spPr bwMode="auto">
              <a:xfrm>
                <a:off x="7820178" y="3212954"/>
                <a:ext cx="111640" cy="78868"/>
              </a:xfrm>
              <a:custGeom>
                <a:avLst/>
                <a:gdLst>
                  <a:gd name="T0" fmla="*/ 2147483647 w 207"/>
                  <a:gd name="T1" fmla="*/ 2147483647 h 129"/>
                  <a:gd name="T2" fmla="*/ 2147483647 w 207"/>
                  <a:gd name="T3" fmla="*/ 2147483647 h 129"/>
                  <a:gd name="T4" fmla="*/ 2147483647 w 207"/>
                  <a:gd name="T5" fmla="*/ 2147483647 h 129"/>
                  <a:gd name="T6" fmla="*/ 2147483647 w 207"/>
                  <a:gd name="T7" fmla="*/ 2147483647 h 129"/>
                  <a:gd name="T8" fmla="*/ 2147483647 w 207"/>
                  <a:gd name="T9" fmla="*/ 2147483647 h 129"/>
                  <a:gd name="T10" fmla="*/ 2147483647 w 207"/>
                  <a:gd name="T11" fmla="*/ 2147483647 h 129"/>
                  <a:gd name="T12" fmla="*/ 2147483647 w 207"/>
                  <a:gd name="T13" fmla="*/ 2147483647 h 129"/>
                  <a:gd name="T14" fmla="*/ 2147483647 w 207"/>
                  <a:gd name="T15" fmla="*/ 2147483647 h 129"/>
                  <a:gd name="T16" fmla="*/ 2147483647 w 207"/>
                  <a:gd name="T17" fmla="*/ 2147483647 h 129"/>
                  <a:gd name="T18" fmla="*/ 2147483647 w 207"/>
                  <a:gd name="T19" fmla="*/ 2147483647 h 129"/>
                  <a:gd name="T20" fmla="*/ 2147483647 w 207"/>
                  <a:gd name="T21" fmla="*/ 2147483647 h 129"/>
                  <a:gd name="T22" fmla="*/ 2147483647 w 207"/>
                  <a:gd name="T23" fmla="*/ 2147483647 h 129"/>
                  <a:gd name="T24" fmla="*/ 2147483647 w 207"/>
                  <a:gd name="T25" fmla="*/ 2147483647 h 129"/>
                  <a:gd name="T26" fmla="*/ 2147483647 w 207"/>
                  <a:gd name="T27" fmla="*/ 2147483647 h 129"/>
                  <a:gd name="T28" fmla="*/ 2147483647 w 207"/>
                  <a:gd name="T29" fmla="*/ 2147483647 h 129"/>
                  <a:gd name="T30" fmla="*/ 2147483647 w 207"/>
                  <a:gd name="T31" fmla="*/ 2147483647 h 129"/>
                  <a:gd name="T32" fmla="*/ 2147483647 w 207"/>
                  <a:gd name="T33" fmla="*/ 2147483647 h 129"/>
                  <a:gd name="T34" fmla="*/ 2147483647 w 207"/>
                  <a:gd name="T35" fmla="*/ 2147483647 h 129"/>
                  <a:gd name="T36" fmla="*/ 2147483647 w 207"/>
                  <a:gd name="T37" fmla="*/ 2147483647 h 129"/>
                  <a:gd name="T38" fmla="*/ 2147483647 w 207"/>
                  <a:gd name="T39" fmla="*/ 2147483647 h 129"/>
                  <a:gd name="T40" fmla="*/ 2147483647 w 207"/>
                  <a:gd name="T41" fmla="*/ 2147483647 h 129"/>
                  <a:gd name="T42" fmla="*/ 2147483647 w 207"/>
                  <a:gd name="T43" fmla="*/ 1599801309 h 129"/>
                  <a:gd name="T44" fmla="*/ 2147483647 w 207"/>
                  <a:gd name="T45" fmla="*/ 0 h 129"/>
                  <a:gd name="T46" fmla="*/ 0 w 207"/>
                  <a:gd name="T47" fmla="*/ 0 h 129"/>
                  <a:gd name="T48" fmla="*/ 156778695 w 207"/>
                  <a:gd name="T49" fmla="*/ 1371044369 h 129"/>
                  <a:gd name="T50" fmla="*/ 313848624 w 207"/>
                  <a:gd name="T51" fmla="*/ 2147483647 h 129"/>
                  <a:gd name="T52" fmla="*/ 627406553 w 207"/>
                  <a:gd name="T53" fmla="*/ 2147483647 h 129"/>
                  <a:gd name="T54" fmla="*/ 941255177 w 207"/>
                  <a:gd name="T55" fmla="*/ 2147483647 h 129"/>
                  <a:gd name="T56" fmla="*/ 1568662269 w 207"/>
                  <a:gd name="T57" fmla="*/ 2147483647 h 129"/>
                  <a:gd name="T58" fmla="*/ 2039289588 w 207"/>
                  <a:gd name="T59" fmla="*/ 2147483647 h 129"/>
                  <a:gd name="T60" fmla="*/ 2147483647 w 207"/>
                  <a:gd name="T61" fmla="*/ 2147483647 h 129"/>
                  <a:gd name="T62" fmla="*/ 2147483647 w 207"/>
                  <a:gd name="T63" fmla="*/ 2147483647 h 129"/>
                  <a:gd name="T64" fmla="*/ 2147483647 w 207"/>
                  <a:gd name="T65" fmla="*/ 2147483647 h 129"/>
                  <a:gd name="T66" fmla="*/ 2147483647 w 207"/>
                  <a:gd name="T67" fmla="*/ 2147483647 h 129"/>
                  <a:gd name="T68" fmla="*/ 1725731659 w 207"/>
                  <a:gd name="T69" fmla="*/ 2147483647 h 129"/>
                  <a:gd name="T70" fmla="*/ 1098034411 w 207"/>
                  <a:gd name="T71" fmla="*/ 2147483647 h 129"/>
                  <a:gd name="T72" fmla="*/ 0 w 207"/>
                  <a:gd name="T73" fmla="*/ 2147483647 h 129"/>
                  <a:gd name="T74" fmla="*/ 627406553 w 207"/>
                  <a:gd name="T75" fmla="*/ 2147483647 h 129"/>
                  <a:gd name="T76" fmla="*/ 2039289588 w 207"/>
                  <a:gd name="T77" fmla="*/ 2147483647 h 129"/>
                  <a:gd name="T78" fmla="*/ 2147483647 w 207"/>
                  <a:gd name="T79" fmla="*/ 2147483647 h 129"/>
                  <a:gd name="T80" fmla="*/ 2147483647 w 207"/>
                  <a:gd name="T81" fmla="*/ 2147483647 h 129"/>
                  <a:gd name="T82" fmla="*/ 2147483647 w 207"/>
                  <a:gd name="T83" fmla="*/ 2147483647 h 129"/>
                  <a:gd name="T84" fmla="*/ 2147483647 w 207"/>
                  <a:gd name="T85" fmla="*/ 2147483647 h 12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07" h="129">
                    <a:moveTo>
                      <a:pt x="41" y="129"/>
                    </a:moveTo>
                    <a:lnTo>
                      <a:pt x="50" y="121"/>
                    </a:lnTo>
                    <a:lnTo>
                      <a:pt x="60" y="115"/>
                    </a:lnTo>
                    <a:lnTo>
                      <a:pt x="70" y="110"/>
                    </a:lnTo>
                    <a:lnTo>
                      <a:pt x="81" y="105"/>
                    </a:lnTo>
                    <a:lnTo>
                      <a:pt x="105" y="99"/>
                    </a:lnTo>
                    <a:lnTo>
                      <a:pt x="129" y="92"/>
                    </a:lnTo>
                    <a:lnTo>
                      <a:pt x="152" y="87"/>
                    </a:lnTo>
                    <a:lnTo>
                      <a:pt x="173" y="81"/>
                    </a:lnTo>
                    <a:lnTo>
                      <a:pt x="182" y="77"/>
                    </a:lnTo>
                    <a:lnTo>
                      <a:pt x="191" y="73"/>
                    </a:lnTo>
                    <a:lnTo>
                      <a:pt x="200" y="67"/>
                    </a:lnTo>
                    <a:lnTo>
                      <a:pt x="207" y="61"/>
                    </a:lnTo>
                    <a:lnTo>
                      <a:pt x="198" y="54"/>
                    </a:lnTo>
                    <a:lnTo>
                      <a:pt x="188" y="47"/>
                    </a:lnTo>
                    <a:lnTo>
                      <a:pt x="179" y="42"/>
                    </a:lnTo>
                    <a:lnTo>
                      <a:pt x="169" y="36"/>
                    </a:lnTo>
                    <a:lnTo>
                      <a:pt x="150" y="29"/>
                    </a:lnTo>
                    <a:lnTo>
                      <a:pt x="129" y="23"/>
                    </a:lnTo>
                    <a:lnTo>
                      <a:pt x="107" y="18"/>
                    </a:lnTo>
                    <a:lnTo>
                      <a:pt x="85" y="13"/>
                    </a:lnTo>
                    <a:lnTo>
                      <a:pt x="63" y="7"/>
                    </a:lnTo>
                    <a:lnTo>
                      <a:pt x="41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13"/>
                    </a:lnTo>
                    <a:lnTo>
                      <a:pt x="4" y="19"/>
                    </a:lnTo>
                    <a:lnTo>
                      <a:pt x="6" y="25"/>
                    </a:lnTo>
                    <a:lnTo>
                      <a:pt x="10" y="35"/>
                    </a:lnTo>
                    <a:lnTo>
                      <a:pt x="13" y="46"/>
                    </a:lnTo>
                    <a:lnTo>
                      <a:pt x="17" y="54"/>
                    </a:lnTo>
                    <a:lnTo>
                      <a:pt x="18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1" y="71"/>
                    </a:lnTo>
                    <a:lnTo>
                      <a:pt x="7" y="73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13" y="110"/>
                    </a:lnTo>
                    <a:lnTo>
                      <a:pt x="19" y="113"/>
                    </a:lnTo>
                    <a:lnTo>
                      <a:pt x="25" y="117"/>
                    </a:lnTo>
                    <a:lnTo>
                      <a:pt x="33" y="122"/>
                    </a:lnTo>
                    <a:lnTo>
                      <a:pt x="41" y="129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3" name="Freeform 218"/>
              <p:cNvSpPr>
                <a:spLocks/>
              </p:cNvSpPr>
              <p:nvPr>
                <p:custDataLst>
                  <p:tags r:id="rId343"/>
                </p:custDataLst>
              </p:nvPr>
            </p:nvSpPr>
            <p:spPr bwMode="auto">
              <a:xfrm>
                <a:off x="7277926" y="3281067"/>
                <a:ext cx="41866" cy="95000"/>
              </a:xfrm>
              <a:custGeom>
                <a:avLst/>
                <a:gdLst>
                  <a:gd name="T0" fmla="*/ 2147483647 w 72"/>
                  <a:gd name="T1" fmla="*/ 0 h 154"/>
                  <a:gd name="T2" fmla="*/ 2147483647 w 72"/>
                  <a:gd name="T3" fmla="*/ 939184805 h 154"/>
                  <a:gd name="T4" fmla="*/ 2147483647 w 72"/>
                  <a:gd name="T5" fmla="*/ 2112784578 h 154"/>
                  <a:gd name="T6" fmla="*/ 2147483647 w 72"/>
                  <a:gd name="T7" fmla="*/ 2147483647 h 154"/>
                  <a:gd name="T8" fmla="*/ 2147483647 w 72"/>
                  <a:gd name="T9" fmla="*/ 2147483647 h 154"/>
                  <a:gd name="T10" fmla="*/ 2147483647 w 72"/>
                  <a:gd name="T11" fmla="*/ 2147483647 h 154"/>
                  <a:gd name="T12" fmla="*/ 2147483647 w 72"/>
                  <a:gd name="T13" fmla="*/ 2147483647 h 154"/>
                  <a:gd name="T14" fmla="*/ 2147483647 w 72"/>
                  <a:gd name="T15" fmla="*/ 2147483647 h 154"/>
                  <a:gd name="T16" fmla="*/ 2147483647 w 72"/>
                  <a:gd name="T17" fmla="*/ 2147483647 h 154"/>
                  <a:gd name="T18" fmla="*/ 2147483647 w 72"/>
                  <a:gd name="T19" fmla="*/ 2147483647 h 154"/>
                  <a:gd name="T20" fmla="*/ 2147483647 w 72"/>
                  <a:gd name="T21" fmla="*/ 2147483647 h 154"/>
                  <a:gd name="T22" fmla="*/ 2147483647 w 72"/>
                  <a:gd name="T23" fmla="*/ 2147483647 h 154"/>
                  <a:gd name="T24" fmla="*/ 2147483647 w 72"/>
                  <a:gd name="T25" fmla="*/ 2147483647 h 154"/>
                  <a:gd name="T26" fmla="*/ 2147483647 w 72"/>
                  <a:gd name="T27" fmla="*/ 2147483647 h 154"/>
                  <a:gd name="T28" fmla="*/ 2147483647 w 72"/>
                  <a:gd name="T29" fmla="*/ 2147483647 h 154"/>
                  <a:gd name="T30" fmla="*/ 2147483647 w 72"/>
                  <a:gd name="T31" fmla="*/ 2147483647 h 154"/>
                  <a:gd name="T32" fmla="*/ 2147483647 w 72"/>
                  <a:gd name="T33" fmla="*/ 2147483647 h 154"/>
                  <a:gd name="T34" fmla="*/ 2147483647 w 72"/>
                  <a:gd name="T35" fmla="*/ 2147483647 h 154"/>
                  <a:gd name="T36" fmla="*/ 2147483647 w 72"/>
                  <a:gd name="T37" fmla="*/ 2147483647 h 154"/>
                  <a:gd name="T38" fmla="*/ 2147483647 w 72"/>
                  <a:gd name="T39" fmla="*/ 2147483647 h 154"/>
                  <a:gd name="T40" fmla="*/ 2147483647 w 72"/>
                  <a:gd name="T41" fmla="*/ 2147483647 h 154"/>
                  <a:gd name="T42" fmla="*/ 0 w 72"/>
                  <a:gd name="T43" fmla="*/ 2147483647 h 154"/>
                  <a:gd name="T44" fmla="*/ 589664003 w 72"/>
                  <a:gd name="T45" fmla="*/ 2147483647 h 154"/>
                  <a:gd name="T46" fmla="*/ 1572887594 w 72"/>
                  <a:gd name="T47" fmla="*/ 2147483647 h 154"/>
                  <a:gd name="T48" fmla="*/ 1769329263 w 72"/>
                  <a:gd name="T49" fmla="*/ 2147483647 h 154"/>
                  <a:gd name="T50" fmla="*/ 2147483647 w 72"/>
                  <a:gd name="T51" fmla="*/ 2147483647 h 154"/>
                  <a:gd name="T52" fmla="*/ 2147483647 w 72"/>
                  <a:gd name="T53" fmla="*/ 2147483647 h 154"/>
                  <a:gd name="T54" fmla="*/ 2147483647 w 72"/>
                  <a:gd name="T55" fmla="*/ 2147483647 h 154"/>
                  <a:gd name="T56" fmla="*/ 2147483647 w 72"/>
                  <a:gd name="T57" fmla="*/ 0 h 154"/>
                  <a:gd name="T58" fmla="*/ 2147483647 w 72"/>
                  <a:gd name="T59" fmla="*/ 0 h 154"/>
                  <a:gd name="T60" fmla="*/ 2147483647 w 72"/>
                  <a:gd name="T61" fmla="*/ 0 h 154"/>
                  <a:gd name="T62" fmla="*/ 2147483647 w 72"/>
                  <a:gd name="T63" fmla="*/ 0 h 154"/>
                  <a:gd name="T64" fmla="*/ 2147483647 w 72"/>
                  <a:gd name="T65" fmla="*/ 0 h 15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72" h="154">
                    <a:moveTo>
                      <a:pt x="72" y="0"/>
                    </a:moveTo>
                    <a:lnTo>
                      <a:pt x="69" y="4"/>
                    </a:lnTo>
                    <a:lnTo>
                      <a:pt x="67" y="9"/>
                    </a:lnTo>
                    <a:lnTo>
                      <a:pt x="66" y="13"/>
                    </a:lnTo>
                    <a:lnTo>
                      <a:pt x="66" y="18"/>
                    </a:lnTo>
                    <a:lnTo>
                      <a:pt x="66" y="27"/>
                    </a:lnTo>
                    <a:lnTo>
                      <a:pt x="66" y="37"/>
                    </a:lnTo>
                    <a:lnTo>
                      <a:pt x="69" y="43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67" y="82"/>
                    </a:lnTo>
                    <a:lnTo>
                      <a:pt x="65" y="91"/>
                    </a:lnTo>
                    <a:lnTo>
                      <a:pt x="61" y="100"/>
                    </a:lnTo>
                    <a:lnTo>
                      <a:pt x="53" y="116"/>
                    </a:lnTo>
                    <a:lnTo>
                      <a:pt x="44" y="131"/>
                    </a:lnTo>
                    <a:lnTo>
                      <a:pt x="34" y="144"/>
                    </a:lnTo>
                    <a:lnTo>
                      <a:pt x="26" y="154"/>
                    </a:lnTo>
                    <a:lnTo>
                      <a:pt x="26" y="141"/>
                    </a:lnTo>
                    <a:lnTo>
                      <a:pt x="15" y="144"/>
                    </a:lnTo>
                    <a:lnTo>
                      <a:pt x="0" y="148"/>
                    </a:lnTo>
                    <a:lnTo>
                      <a:pt x="3" y="129"/>
                    </a:lnTo>
                    <a:lnTo>
                      <a:pt x="8" y="105"/>
                    </a:lnTo>
                    <a:lnTo>
                      <a:pt x="9" y="92"/>
                    </a:lnTo>
                    <a:lnTo>
                      <a:pt x="12" y="77"/>
                    </a:lnTo>
                    <a:lnTo>
                      <a:pt x="15" y="63"/>
                    </a:lnTo>
                    <a:lnTo>
                      <a:pt x="20" y="49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2" y="0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4" name="Freeform 219"/>
              <p:cNvSpPr>
                <a:spLocks/>
              </p:cNvSpPr>
              <p:nvPr>
                <p:custDataLst>
                  <p:tags r:id="rId344"/>
                </p:custDataLst>
              </p:nvPr>
            </p:nvSpPr>
            <p:spPr bwMode="auto">
              <a:xfrm>
                <a:off x="7178247" y="3281067"/>
                <a:ext cx="117621" cy="164906"/>
              </a:xfrm>
              <a:custGeom>
                <a:avLst/>
                <a:gdLst>
                  <a:gd name="T0" fmla="*/ 1328307694 w 214"/>
                  <a:gd name="T1" fmla="*/ 2147483647 h 271"/>
                  <a:gd name="T2" fmla="*/ 1992612414 w 214"/>
                  <a:gd name="T3" fmla="*/ 2147483647 h 271"/>
                  <a:gd name="T4" fmla="*/ 2147483647 w 214"/>
                  <a:gd name="T5" fmla="*/ 2147483647 h 271"/>
                  <a:gd name="T6" fmla="*/ 2147483647 w 214"/>
                  <a:gd name="T7" fmla="*/ 2147483647 h 271"/>
                  <a:gd name="T8" fmla="*/ 2147483647 w 214"/>
                  <a:gd name="T9" fmla="*/ 2147483647 h 271"/>
                  <a:gd name="T10" fmla="*/ 2147483647 w 214"/>
                  <a:gd name="T11" fmla="*/ 2147483647 h 271"/>
                  <a:gd name="T12" fmla="*/ 2147483647 w 214"/>
                  <a:gd name="T13" fmla="*/ 2147483647 h 271"/>
                  <a:gd name="T14" fmla="*/ 2147483647 w 214"/>
                  <a:gd name="T15" fmla="*/ 2147483647 h 271"/>
                  <a:gd name="T16" fmla="*/ 2147483647 w 214"/>
                  <a:gd name="T17" fmla="*/ 2147483647 h 271"/>
                  <a:gd name="T18" fmla="*/ 2147483647 w 214"/>
                  <a:gd name="T19" fmla="*/ 2147483647 h 271"/>
                  <a:gd name="T20" fmla="*/ 2147483647 w 214"/>
                  <a:gd name="T21" fmla="*/ 2147483647 h 271"/>
                  <a:gd name="T22" fmla="*/ 2147483647 w 214"/>
                  <a:gd name="T23" fmla="*/ 2147483647 h 271"/>
                  <a:gd name="T24" fmla="*/ 2147483647 w 214"/>
                  <a:gd name="T25" fmla="*/ 2147483647 h 271"/>
                  <a:gd name="T26" fmla="*/ 2147483647 w 214"/>
                  <a:gd name="T27" fmla="*/ 2147483647 h 271"/>
                  <a:gd name="T28" fmla="*/ 2147483647 w 214"/>
                  <a:gd name="T29" fmla="*/ 2147483647 h 271"/>
                  <a:gd name="T30" fmla="*/ 2147483647 w 214"/>
                  <a:gd name="T31" fmla="*/ 2147483647 h 271"/>
                  <a:gd name="T32" fmla="*/ 2147483647 w 214"/>
                  <a:gd name="T33" fmla="*/ 2147483647 h 271"/>
                  <a:gd name="T34" fmla="*/ 2147483647 w 214"/>
                  <a:gd name="T35" fmla="*/ 676137723 h 271"/>
                  <a:gd name="T36" fmla="*/ 2147483647 w 214"/>
                  <a:gd name="T37" fmla="*/ 0 h 271"/>
                  <a:gd name="T38" fmla="*/ 2147483647 w 214"/>
                  <a:gd name="T39" fmla="*/ 0 h 271"/>
                  <a:gd name="T40" fmla="*/ 2147483647 w 214"/>
                  <a:gd name="T41" fmla="*/ 2147483647 h 271"/>
                  <a:gd name="T42" fmla="*/ 2147483647 w 214"/>
                  <a:gd name="T43" fmla="*/ 2147483647 h 271"/>
                  <a:gd name="T44" fmla="*/ 2147483647 w 214"/>
                  <a:gd name="T45" fmla="*/ 2147483647 h 271"/>
                  <a:gd name="T46" fmla="*/ 2147483647 w 214"/>
                  <a:gd name="T47" fmla="*/ 2147483647 h 271"/>
                  <a:gd name="T48" fmla="*/ 2147483647 w 214"/>
                  <a:gd name="T49" fmla="*/ 2147483647 h 271"/>
                  <a:gd name="T50" fmla="*/ 2147483647 w 214"/>
                  <a:gd name="T51" fmla="*/ 2147483647 h 271"/>
                  <a:gd name="T52" fmla="*/ 2147483647 w 214"/>
                  <a:gd name="T53" fmla="*/ 2147483647 h 271"/>
                  <a:gd name="T54" fmla="*/ 2147483647 w 214"/>
                  <a:gd name="T55" fmla="*/ 2147483647 h 271"/>
                  <a:gd name="T56" fmla="*/ 2147483647 w 214"/>
                  <a:gd name="T57" fmla="*/ 2147483647 h 271"/>
                  <a:gd name="T58" fmla="*/ 2147483647 w 214"/>
                  <a:gd name="T59" fmla="*/ 2147483647 h 271"/>
                  <a:gd name="T60" fmla="*/ 2147483647 w 214"/>
                  <a:gd name="T61" fmla="*/ 2147483647 h 271"/>
                  <a:gd name="T62" fmla="*/ 2147483647 w 214"/>
                  <a:gd name="T63" fmla="*/ 2147483647 h 271"/>
                  <a:gd name="T64" fmla="*/ 2147483647 w 214"/>
                  <a:gd name="T65" fmla="*/ 2147483647 h 271"/>
                  <a:gd name="T66" fmla="*/ 2147483647 w 214"/>
                  <a:gd name="T67" fmla="*/ 2147483647 h 271"/>
                  <a:gd name="T68" fmla="*/ 2147483647 w 214"/>
                  <a:gd name="T69" fmla="*/ 2147483647 h 271"/>
                  <a:gd name="T70" fmla="*/ 0 w 214"/>
                  <a:gd name="T71" fmla="*/ 2147483647 h 27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14" h="271">
                    <a:moveTo>
                      <a:pt x="7" y="221"/>
                    </a:moveTo>
                    <a:lnTo>
                      <a:pt x="8" y="207"/>
                    </a:lnTo>
                    <a:lnTo>
                      <a:pt x="9" y="192"/>
                    </a:lnTo>
                    <a:lnTo>
                      <a:pt x="12" y="181"/>
                    </a:lnTo>
                    <a:lnTo>
                      <a:pt x="16" y="170"/>
                    </a:lnTo>
                    <a:lnTo>
                      <a:pt x="24" y="148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40" y="114"/>
                    </a:lnTo>
                    <a:lnTo>
                      <a:pt x="44" y="112"/>
                    </a:lnTo>
                    <a:lnTo>
                      <a:pt x="51" y="111"/>
                    </a:lnTo>
                    <a:lnTo>
                      <a:pt x="65" y="111"/>
                    </a:lnTo>
                    <a:lnTo>
                      <a:pt x="82" y="111"/>
                    </a:lnTo>
                    <a:lnTo>
                      <a:pt x="89" y="111"/>
                    </a:lnTo>
                    <a:lnTo>
                      <a:pt x="98" y="111"/>
                    </a:lnTo>
                    <a:lnTo>
                      <a:pt x="106" y="110"/>
                    </a:lnTo>
                    <a:lnTo>
                      <a:pt x="113" y="108"/>
                    </a:lnTo>
                    <a:lnTo>
                      <a:pt x="120" y="105"/>
                    </a:lnTo>
                    <a:lnTo>
                      <a:pt x="125" y="100"/>
                    </a:lnTo>
                    <a:lnTo>
                      <a:pt x="130" y="94"/>
                    </a:lnTo>
                    <a:lnTo>
                      <a:pt x="133" y="85"/>
                    </a:lnTo>
                    <a:lnTo>
                      <a:pt x="113" y="73"/>
                    </a:lnTo>
                    <a:lnTo>
                      <a:pt x="94" y="63"/>
                    </a:lnTo>
                    <a:lnTo>
                      <a:pt x="86" y="58"/>
                    </a:lnTo>
                    <a:lnTo>
                      <a:pt x="79" y="52"/>
                    </a:lnTo>
                    <a:lnTo>
                      <a:pt x="77" y="49"/>
                    </a:lnTo>
                    <a:lnTo>
                      <a:pt x="75" y="45"/>
                    </a:lnTo>
                    <a:lnTo>
                      <a:pt x="74" y="41"/>
                    </a:lnTo>
                    <a:lnTo>
                      <a:pt x="74" y="37"/>
                    </a:lnTo>
                    <a:lnTo>
                      <a:pt x="75" y="34"/>
                    </a:lnTo>
                    <a:lnTo>
                      <a:pt x="77" y="31"/>
                    </a:lnTo>
                    <a:lnTo>
                      <a:pt x="82" y="28"/>
                    </a:lnTo>
                    <a:lnTo>
                      <a:pt x="87" y="25"/>
                    </a:lnTo>
                    <a:lnTo>
                      <a:pt x="101" y="19"/>
                    </a:lnTo>
                    <a:lnTo>
                      <a:pt x="118" y="13"/>
                    </a:lnTo>
                    <a:lnTo>
                      <a:pt x="150" y="3"/>
                    </a:lnTo>
                    <a:lnTo>
                      <a:pt x="167" y="0"/>
                    </a:lnTo>
                    <a:lnTo>
                      <a:pt x="180" y="0"/>
                    </a:lnTo>
                    <a:lnTo>
                      <a:pt x="190" y="0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7" y="49"/>
                    </a:lnTo>
                    <a:lnTo>
                      <a:pt x="202" y="63"/>
                    </a:lnTo>
                    <a:lnTo>
                      <a:pt x="199" y="77"/>
                    </a:lnTo>
                    <a:lnTo>
                      <a:pt x="196" y="92"/>
                    </a:lnTo>
                    <a:lnTo>
                      <a:pt x="195" y="105"/>
                    </a:lnTo>
                    <a:lnTo>
                      <a:pt x="190" y="129"/>
                    </a:lnTo>
                    <a:lnTo>
                      <a:pt x="187" y="148"/>
                    </a:lnTo>
                    <a:lnTo>
                      <a:pt x="202" y="151"/>
                    </a:lnTo>
                    <a:lnTo>
                      <a:pt x="213" y="154"/>
                    </a:lnTo>
                    <a:lnTo>
                      <a:pt x="214" y="158"/>
                    </a:lnTo>
                    <a:lnTo>
                      <a:pt x="214" y="166"/>
                    </a:lnTo>
                    <a:lnTo>
                      <a:pt x="213" y="170"/>
                    </a:lnTo>
                    <a:lnTo>
                      <a:pt x="210" y="174"/>
                    </a:lnTo>
                    <a:lnTo>
                      <a:pt x="209" y="176"/>
                    </a:lnTo>
                    <a:lnTo>
                      <a:pt x="207" y="177"/>
                    </a:lnTo>
                    <a:lnTo>
                      <a:pt x="203" y="178"/>
                    </a:lnTo>
                    <a:lnTo>
                      <a:pt x="200" y="178"/>
                    </a:lnTo>
                    <a:lnTo>
                      <a:pt x="197" y="187"/>
                    </a:lnTo>
                    <a:lnTo>
                      <a:pt x="192" y="196"/>
                    </a:lnTo>
                    <a:lnTo>
                      <a:pt x="188" y="205"/>
                    </a:lnTo>
                    <a:lnTo>
                      <a:pt x="181" y="214"/>
                    </a:lnTo>
                    <a:lnTo>
                      <a:pt x="169" y="229"/>
                    </a:lnTo>
                    <a:lnTo>
                      <a:pt x="155" y="243"/>
                    </a:lnTo>
                    <a:lnTo>
                      <a:pt x="131" y="263"/>
                    </a:lnTo>
                    <a:lnTo>
                      <a:pt x="120" y="271"/>
                    </a:lnTo>
                    <a:lnTo>
                      <a:pt x="103" y="266"/>
                    </a:lnTo>
                    <a:lnTo>
                      <a:pt x="87" y="261"/>
                    </a:lnTo>
                    <a:lnTo>
                      <a:pt x="71" y="254"/>
                    </a:lnTo>
                    <a:lnTo>
                      <a:pt x="55" y="248"/>
                    </a:lnTo>
                    <a:lnTo>
                      <a:pt x="27" y="235"/>
                    </a:lnTo>
                    <a:lnTo>
                      <a:pt x="0" y="221"/>
                    </a:lnTo>
                    <a:lnTo>
                      <a:pt x="7" y="221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5" name="Freeform 220"/>
              <p:cNvSpPr>
                <a:spLocks/>
              </p:cNvSpPr>
              <p:nvPr>
                <p:custDataLst>
                  <p:tags r:id="rId345"/>
                </p:custDataLst>
              </p:nvPr>
            </p:nvSpPr>
            <p:spPr bwMode="auto">
              <a:xfrm>
                <a:off x="7238054" y="3406539"/>
                <a:ext cx="89711" cy="64528"/>
              </a:xfrm>
              <a:custGeom>
                <a:avLst/>
                <a:gdLst>
                  <a:gd name="T0" fmla="*/ 2147483647 w 153"/>
                  <a:gd name="T1" fmla="*/ 0 h 80"/>
                  <a:gd name="T2" fmla="*/ 2147483647 w 153"/>
                  <a:gd name="T3" fmla="*/ 2147483647 h 80"/>
                  <a:gd name="T4" fmla="*/ 2147483647 w 153"/>
                  <a:gd name="T5" fmla="*/ 2147483647 h 80"/>
                  <a:gd name="T6" fmla="*/ 2147483647 w 153"/>
                  <a:gd name="T7" fmla="*/ 2147483647 h 80"/>
                  <a:gd name="T8" fmla="*/ 2147483647 w 153"/>
                  <a:gd name="T9" fmla="*/ 2147483647 h 80"/>
                  <a:gd name="T10" fmla="*/ 2147483647 w 153"/>
                  <a:gd name="T11" fmla="*/ 2147483647 h 80"/>
                  <a:gd name="T12" fmla="*/ 2147483647 w 153"/>
                  <a:gd name="T13" fmla="*/ 2147483647 h 80"/>
                  <a:gd name="T14" fmla="*/ 2147483647 w 153"/>
                  <a:gd name="T15" fmla="*/ 2147483647 h 80"/>
                  <a:gd name="T16" fmla="*/ 2147483647 w 153"/>
                  <a:gd name="T17" fmla="*/ 2147483647 h 80"/>
                  <a:gd name="T18" fmla="*/ 2147483647 w 153"/>
                  <a:gd name="T19" fmla="*/ 2147483647 h 80"/>
                  <a:gd name="T20" fmla="*/ 2147483647 w 153"/>
                  <a:gd name="T21" fmla="*/ 2147483647 h 80"/>
                  <a:gd name="T22" fmla="*/ 2147483647 w 153"/>
                  <a:gd name="T23" fmla="*/ 2147483647 h 80"/>
                  <a:gd name="T24" fmla="*/ 2147483647 w 153"/>
                  <a:gd name="T25" fmla="*/ 2147483647 h 80"/>
                  <a:gd name="T26" fmla="*/ 2147483647 w 153"/>
                  <a:gd name="T27" fmla="*/ 2147483647 h 80"/>
                  <a:gd name="T28" fmla="*/ 2147483647 w 153"/>
                  <a:gd name="T29" fmla="*/ 2147483647 h 80"/>
                  <a:gd name="T30" fmla="*/ 2147483647 w 153"/>
                  <a:gd name="T31" fmla="*/ 2147483647 h 80"/>
                  <a:gd name="T32" fmla="*/ 2147483647 w 153"/>
                  <a:gd name="T33" fmla="*/ 2147483647 h 80"/>
                  <a:gd name="T34" fmla="*/ 2147483647 w 153"/>
                  <a:gd name="T35" fmla="*/ 2147483647 h 80"/>
                  <a:gd name="T36" fmla="*/ 2147483647 w 153"/>
                  <a:gd name="T37" fmla="*/ 2147483647 h 80"/>
                  <a:gd name="T38" fmla="*/ 2147483647 w 153"/>
                  <a:gd name="T39" fmla="*/ 2147483647 h 80"/>
                  <a:gd name="T40" fmla="*/ 2147483647 w 153"/>
                  <a:gd name="T41" fmla="*/ 2147483647 h 80"/>
                  <a:gd name="T42" fmla="*/ 2147483647 w 153"/>
                  <a:gd name="T43" fmla="*/ 2147483647 h 80"/>
                  <a:gd name="T44" fmla="*/ 2147483647 w 153"/>
                  <a:gd name="T45" fmla="*/ 2147483647 h 80"/>
                  <a:gd name="T46" fmla="*/ 2147483647 w 153"/>
                  <a:gd name="T47" fmla="*/ 2147483647 h 80"/>
                  <a:gd name="T48" fmla="*/ 2147483647 w 153"/>
                  <a:gd name="T49" fmla="*/ 2147483647 h 80"/>
                  <a:gd name="T50" fmla="*/ 0 w 153"/>
                  <a:gd name="T51" fmla="*/ 2147483647 h 80"/>
                  <a:gd name="T52" fmla="*/ 1410964054 w 153"/>
                  <a:gd name="T53" fmla="*/ 2147483647 h 80"/>
                  <a:gd name="T54" fmla="*/ 2147483647 w 153"/>
                  <a:gd name="T55" fmla="*/ 2147483647 h 80"/>
                  <a:gd name="T56" fmla="*/ 2147483647 w 153"/>
                  <a:gd name="T57" fmla="*/ 2147483647 h 80"/>
                  <a:gd name="T58" fmla="*/ 2147483647 w 153"/>
                  <a:gd name="T59" fmla="*/ 2147483647 h 80"/>
                  <a:gd name="T60" fmla="*/ 2147483647 w 153"/>
                  <a:gd name="T61" fmla="*/ 2147483647 h 80"/>
                  <a:gd name="T62" fmla="*/ 2147483647 w 153"/>
                  <a:gd name="T63" fmla="*/ 2147483647 h 80"/>
                  <a:gd name="T64" fmla="*/ 2147483647 w 153"/>
                  <a:gd name="T65" fmla="*/ 0 h 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53" h="80">
                    <a:moveTo>
                      <a:pt x="60" y="0"/>
                    </a:moveTo>
                    <a:lnTo>
                      <a:pt x="83" y="14"/>
                    </a:lnTo>
                    <a:lnTo>
                      <a:pt x="104" y="24"/>
                    </a:lnTo>
                    <a:lnTo>
                      <a:pt x="115" y="28"/>
                    </a:lnTo>
                    <a:lnTo>
                      <a:pt x="126" y="31"/>
                    </a:lnTo>
                    <a:lnTo>
                      <a:pt x="133" y="32"/>
                    </a:lnTo>
                    <a:lnTo>
                      <a:pt x="139" y="32"/>
                    </a:lnTo>
                    <a:lnTo>
                      <a:pt x="146" y="31"/>
                    </a:lnTo>
                    <a:lnTo>
                      <a:pt x="153" y="30"/>
                    </a:lnTo>
                    <a:lnTo>
                      <a:pt x="153" y="56"/>
                    </a:lnTo>
                    <a:lnTo>
                      <a:pt x="149" y="60"/>
                    </a:lnTo>
                    <a:lnTo>
                      <a:pt x="145" y="65"/>
                    </a:lnTo>
                    <a:lnTo>
                      <a:pt x="138" y="69"/>
                    </a:lnTo>
                    <a:lnTo>
                      <a:pt x="132" y="72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2" y="79"/>
                    </a:lnTo>
                    <a:lnTo>
                      <a:pt x="106" y="80"/>
                    </a:lnTo>
                    <a:lnTo>
                      <a:pt x="90" y="74"/>
                    </a:lnTo>
                    <a:lnTo>
                      <a:pt x="76" y="71"/>
                    </a:lnTo>
                    <a:lnTo>
                      <a:pt x="63" y="69"/>
                    </a:lnTo>
                    <a:lnTo>
                      <a:pt x="50" y="69"/>
                    </a:lnTo>
                    <a:lnTo>
                      <a:pt x="39" y="68"/>
                    </a:lnTo>
                    <a:lnTo>
                      <a:pt x="27" y="67"/>
                    </a:lnTo>
                    <a:lnTo>
                      <a:pt x="14" y="65"/>
                    </a:lnTo>
                    <a:lnTo>
                      <a:pt x="0" y="62"/>
                    </a:lnTo>
                    <a:lnTo>
                      <a:pt x="7" y="58"/>
                    </a:lnTo>
                    <a:lnTo>
                      <a:pt x="23" y="45"/>
                    </a:lnTo>
                    <a:lnTo>
                      <a:pt x="34" y="37"/>
                    </a:lnTo>
                    <a:lnTo>
                      <a:pt x="45" y="28"/>
                    </a:lnTo>
                    <a:lnTo>
                      <a:pt x="56" y="17"/>
                    </a:lnTo>
                    <a:lnTo>
                      <a:pt x="67" y="6"/>
                    </a:lnTo>
                    <a:lnTo>
                      <a:pt x="60" y="0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6" name="Freeform 221"/>
              <p:cNvSpPr>
                <a:spLocks/>
              </p:cNvSpPr>
              <p:nvPr>
                <p:custDataLst>
                  <p:tags r:id="rId346"/>
                </p:custDataLst>
              </p:nvPr>
            </p:nvSpPr>
            <p:spPr bwMode="auto">
              <a:xfrm>
                <a:off x="7277926" y="3363520"/>
                <a:ext cx="179421" cy="98584"/>
              </a:xfrm>
              <a:custGeom>
                <a:avLst/>
                <a:gdLst>
                  <a:gd name="T0" fmla="*/ 0 w 332"/>
                  <a:gd name="T1" fmla="*/ 2147483647 h 169"/>
                  <a:gd name="T2" fmla="*/ 2147483647 w 332"/>
                  <a:gd name="T3" fmla="*/ 2147483647 h 169"/>
                  <a:gd name="T4" fmla="*/ 2147483647 w 332"/>
                  <a:gd name="T5" fmla="*/ 2147483647 h 169"/>
                  <a:gd name="T6" fmla="*/ 2147483647 w 332"/>
                  <a:gd name="T7" fmla="*/ 2147483647 h 169"/>
                  <a:gd name="T8" fmla="*/ 2147483647 w 332"/>
                  <a:gd name="T9" fmla="*/ 2147483647 h 169"/>
                  <a:gd name="T10" fmla="*/ 2147483647 w 332"/>
                  <a:gd name="T11" fmla="*/ 2147483647 h 169"/>
                  <a:gd name="T12" fmla="*/ 2147483647 w 332"/>
                  <a:gd name="T13" fmla="*/ 2147483647 h 169"/>
                  <a:gd name="T14" fmla="*/ 2147483647 w 332"/>
                  <a:gd name="T15" fmla="*/ 2147483647 h 169"/>
                  <a:gd name="T16" fmla="*/ 2147483647 w 332"/>
                  <a:gd name="T17" fmla="*/ 2147483647 h 169"/>
                  <a:gd name="T18" fmla="*/ 2147483647 w 332"/>
                  <a:gd name="T19" fmla="*/ 2147483647 h 169"/>
                  <a:gd name="T20" fmla="*/ 2147483647 w 332"/>
                  <a:gd name="T21" fmla="*/ 2147483647 h 169"/>
                  <a:gd name="T22" fmla="*/ 2147483647 w 332"/>
                  <a:gd name="T23" fmla="*/ 2147483647 h 169"/>
                  <a:gd name="T24" fmla="*/ 2147483647 w 332"/>
                  <a:gd name="T25" fmla="*/ 2147483647 h 169"/>
                  <a:gd name="T26" fmla="*/ 2147483647 w 332"/>
                  <a:gd name="T27" fmla="*/ 2147483647 h 169"/>
                  <a:gd name="T28" fmla="*/ 2147483647 w 332"/>
                  <a:gd name="T29" fmla="*/ 2147483647 h 169"/>
                  <a:gd name="T30" fmla="*/ 2147483647 w 332"/>
                  <a:gd name="T31" fmla="*/ 2147483647 h 169"/>
                  <a:gd name="T32" fmla="*/ 2147483647 w 332"/>
                  <a:gd name="T33" fmla="*/ 2147483647 h 169"/>
                  <a:gd name="T34" fmla="*/ 2147483647 w 332"/>
                  <a:gd name="T35" fmla="*/ 2147483647 h 169"/>
                  <a:gd name="T36" fmla="*/ 2147483647 w 332"/>
                  <a:gd name="T37" fmla="*/ 2147483647 h 169"/>
                  <a:gd name="T38" fmla="*/ 2147483647 w 332"/>
                  <a:gd name="T39" fmla="*/ 397109769 h 169"/>
                  <a:gd name="T40" fmla="*/ 2147483647 w 332"/>
                  <a:gd name="T41" fmla="*/ 198384842 h 169"/>
                  <a:gd name="T42" fmla="*/ 2147483647 w 332"/>
                  <a:gd name="T43" fmla="*/ 0 h 169"/>
                  <a:gd name="T44" fmla="*/ 2147483647 w 332"/>
                  <a:gd name="T45" fmla="*/ 198384842 h 169"/>
                  <a:gd name="T46" fmla="*/ 2147483647 w 332"/>
                  <a:gd name="T47" fmla="*/ 793878869 h 169"/>
                  <a:gd name="T48" fmla="*/ 2147483647 w 332"/>
                  <a:gd name="T49" fmla="*/ 1984866923 h 169"/>
                  <a:gd name="T50" fmla="*/ 2147483647 w 332"/>
                  <a:gd name="T51" fmla="*/ 2147483647 h 169"/>
                  <a:gd name="T52" fmla="*/ 2147483647 w 332"/>
                  <a:gd name="T53" fmla="*/ 2147483647 h 169"/>
                  <a:gd name="T54" fmla="*/ 2147483647 w 332"/>
                  <a:gd name="T55" fmla="*/ 2147483647 h 169"/>
                  <a:gd name="T56" fmla="*/ 2147483647 w 332"/>
                  <a:gd name="T57" fmla="*/ 2147483647 h 169"/>
                  <a:gd name="T58" fmla="*/ 2147483647 w 332"/>
                  <a:gd name="T59" fmla="*/ 2147483647 h 169"/>
                  <a:gd name="T60" fmla="*/ 2147483647 w 332"/>
                  <a:gd name="T61" fmla="*/ 2147483647 h 169"/>
                  <a:gd name="T62" fmla="*/ 2147483647 w 332"/>
                  <a:gd name="T63" fmla="*/ 2147483647 h 169"/>
                  <a:gd name="T64" fmla="*/ 2147483647 w 332"/>
                  <a:gd name="T65" fmla="*/ 2147483647 h 169"/>
                  <a:gd name="T66" fmla="*/ 1736289983 w 332"/>
                  <a:gd name="T67" fmla="*/ 2147483647 h 169"/>
                  <a:gd name="T68" fmla="*/ 1104858846 w 332"/>
                  <a:gd name="T69" fmla="*/ 2147483647 h 16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32" h="169">
                    <a:moveTo>
                      <a:pt x="7" y="83"/>
                    </a:moveTo>
                    <a:lnTo>
                      <a:pt x="0" y="77"/>
                    </a:lnTo>
                    <a:lnTo>
                      <a:pt x="23" y="91"/>
                    </a:lnTo>
                    <a:lnTo>
                      <a:pt x="44" y="101"/>
                    </a:lnTo>
                    <a:lnTo>
                      <a:pt x="55" y="105"/>
                    </a:lnTo>
                    <a:lnTo>
                      <a:pt x="66" y="108"/>
                    </a:lnTo>
                    <a:lnTo>
                      <a:pt x="73" y="109"/>
                    </a:lnTo>
                    <a:lnTo>
                      <a:pt x="79" y="109"/>
                    </a:lnTo>
                    <a:lnTo>
                      <a:pt x="86" y="108"/>
                    </a:lnTo>
                    <a:lnTo>
                      <a:pt x="93" y="107"/>
                    </a:lnTo>
                    <a:lnTo>
                      <a:pt x="86" y="139"/>
                    </a:lnTo>
                    <a:lnTo>
                      <a:pt x="90" y="144"/>
                    </a:lnTo>
                    <a:lnTo>
                      <a:pt x="94" y="149"/>
                    </a:lnTo>
                    <a:lnTo>
                      <a:pt x="95" y="154"/>
                    </a:lnTo>
                    <a:lnTo>
                      <a:pt x="97" y="158"/>
                    </a:lnTo>
                    <a:lnTo>
                      <a:pt x="99" y="163"/>
                    </a:lnTo>
                    <a:lnTo>
                      <a:pt x="102" y="166"/>
                    </a:lnTo>
                    <a:lnTo>
                      <a:pt x="107" y="168"/>
                    </a:lnTo>
                    <a:lnTo>
                      <a:pt x="113" y="169"/>
                    </a:lnTo>
                    <a:lnTo>
                      <a:pt x="117" y="169"/>
                    </a:lnTo>
                    <a:lnTo>
                      <a:pt x="120" y="167"/>
                    </a:lnTo>
                    <a:lnTo>
                      <a:pt x="123" y="166"/>
                    </a:lnTo>
                    <a:lnTo>
                      <a:pt x="127" y="163"/>
                    </a:lnTo>
                    <a:lnTo>
                      <a:pt x="132" y="157"/>
                    </a:lnTo>
                    <a:lnTo>
                      <a:pt x="138" y="150"/>
                    </a:lnTo>
                    <a:lnTo>
                      <a:pt x="146" y="136"/>
                    </a:lnTo>
                    <a:lnTo>
                      <a:pt x="153" y="127"/>
                    </a:lnTo>
                    <a:lnTo>
                      <a:pt x="174" y="115"/>
                    </a:lnTo>
                    <a:lnTo>
                      <a:pt x="195" y="105"/>
                    </a:lnTo>
                    <a:lnTo>
                      <a:pt x="214" y="96"/>
                    </a:lnTo>
                    <a:lnTo>
                      <a:pt x="235" y="88"/>
                    </a:lnTo>
                    <a:lnTo>
                      <a:pt x="256" y="80"/>
                    </a:lnTo>
                    <a:lnTo>
                      <a:pt x="279" y="73"/>
                    </a:lnTo>
                    <a:lnTo>
                      <a:pt x="304" y="65"/>
                    </a:lnTo>
                    <a:lnTo>
                      <a:pt x="332" y="58"/>
                    </a:lnTo>
                    <a:lnTo>
                      <a:pt x="332" y="46"/>
                    </a:lnTo>
                    <a:lnTo>
                      <a:pt x="332" y="35"/>
                    </a:lnTo>
                    <a:lnTo>
                      <a:pt x="332" y="22"/>
                    </a:lnTo>
                    <a:lnTo>
                      <a:pt x="332" y="3"/>
                    </a:lnTo>
                    <a:lnTo>
                      <a:pt x="320" y="2"/>
                    </a:lnTo>
                    <a:lnTo>
                      <a:pt x="303" y="2"/>
                    </a:lnTo>
                    <a:lnTo>
                      <a:pt x="283" y="1"/>
                    </a:lnTo>
                    <a:lnTo>
                      <a:pt x="259" y="0"/>
                    </a:lnTo>
                    <a:lnTo>
                      <a:pt x="234" y="0"/>
                    </a:lnTo>
                    <a:lnTo>
                      <a:pt x="208" y="0"/>
                    </a:lnTo>
                    <a:lnTo>
                      <a:pt x="180" y="1"/>
                    </a:lnTo>
                    <a:lnTo>
                      <a:pt x="153" y="3"/>
                    </a:lnTo>
                    <a:lnTo>
                      <a:pt x="131" y="4"/>
                    </a:lnTo>
                    <a:lnTo>
                      <a:pt x="110" y="6"/>
                    </a:lnTo>
                    <a:lnTo>
                      <a:pt x="90" y="10"/>
                    </a:lnTo>
                    <a:lnTo>
                      <a:pt x="73" y="15"/>
                    </a:lnTo>
                    <a:lnTo>
                      <a:pt x="59" y="19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3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3" y="38"/>
                    </a:lnTo>
                    <a:lnTo>
                      <a:pt x="30" y="42"/>
                    </a:lnTo>
                    <a:lnTo>
                      <a:pt x="29" y="44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6"/>
                    </a:lnTo>
                    <a:lnTo>
                      <a:pt x="19" y="55"/>
                    </a:lnTo>
                    <a:lnTo>
                      <a:pt x="16" y="63"/>
                    </a:lnTo>
                    <a:lnTo>
                      <a:pt x="11" y="72"/>
                    </a:lnTo>
                    <a:lnTo>
                      <a:pt x="7" y="77"/>
                    </a:lnTo>
                    <a:lnTo>
                      <a:pt x="7" y="8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7" name="Freeform 222"/>
              <p:cNvSpPr>
                <a:spLocks/>
              </p:cNvSpPr>
              <p:nvPr>
                <p:custDataLst>
                  <p:tags r:id="rId347"/>
                </p:custDataLst>
              </p:nvPr>
            </p:nvSpPr>
            <p:spPr bwMode="auto">
              <a:xfrm>
                <a:off x="7299856" y="3397576"/>
                <a:ext cx="157492" cy="138020"/>
              </a:xfrm>
              <a:custGeom>
                <a:avLst/>
                <a:gdLst>
                  <a:gd name="T0" fmla="*/ 2147483647 w 286"/>
                  <a:gd name="T1" fmla="*/ 2147483647 h 235"/>
                  <a:gd name="T2" fmla="*/ 2147483647 w 286"/>
                  <a:gd name="T3" fmla="*/ 2147483647 h 235"/>
                  <a:gd name="T4" fmla="*/ 2147483647 w 286"/>
                  <a:gd name="T5" fmla="*/ 2147483647 h 235"/>
                  <a:gd name="T6" fmla="*/ 2147483647 w 286"/>
                  <a:gd name="T7" fmla="*/ 2147483647 h 235"/>
                  <a:gd name="T8" fmla="*/ 2147483647 w 286"/>
                  <a:gd name="T9" fmla="*/ 2147483647 h 235"/>
                  <a:gd name="T10" fmla="*/ 2147483647 w 286"/>
                  <a:gd name="T11" fmla="*/ 2147483647 h 235"/>
                  <a:gd name="T12" fmla="*/ 2147483647 w 286"/>
                  <a:gd name="T13" fmla="*/ 2147483647 h 235"/>
                  <a:gd name="T14" fmla="*/ 2147483647 w 286"/>
                  <a:gd name="T15" fmla="*/ 2147483647 h 235"/>
                  <a:gd name="T16" fmla="*/ 2147483647 w 286"/>
                  <a:gd name="T17" fmla="*/ 2147483647 h 235"/>
                  <a:gd name="T18" fmla="*/ 2147483647 w 286"/>
                  <a:gd name="T19" fmla="*/ 2147483647 h 235"/>
                  <a:gd name="T20" fmla="*/ 2147483647 w 286"/>
                  <a:gd name="T21" fmla="*/ 2147483647 h 235"/>
                  <a:gd name="T22" fmla="*/ 2147483647 w 286"/>
                  <a:gd name="T23" fmla="*/ 1418063878 h 235"/>
                  <a:gd name="T24" fmla="*/ 2147483647 w 286"/>
                  <a:gd name="T25" fmla="*/ 2147483647 h 235"/>
                  <a:gd name="T26" fmla="*/ 2147483647 w 286"/>
                  <a:gd name="T27" fmla="*/ 2147483647 h 235"/>
                  <a:gd name="T28" fmla="*/ 2147483647 w 286"/>
                  <a:gd name="T29" fmla="*/ 2147483647 h 235"/>
                  <a:gd name="T30" fmla="*/ 2147483647 w 286"/>
                  <a:gd name="T31" fmla="*/ 2147483647 h 235"/>
                  <a:gd name="T32" fmla="*/ 2147483647 w 286"/>
                  <a:gd name="T33" fmla="*/ 2147483647 h 235"/>
                  <a:gd name="T34" fmla="*/ 2147483647 w 286"/>
                  <a:gd name="T35" fmla="*/ 2147483647 h 235"/>
                  <a:gd name="T36" fmla="*/ 2147483647 w 286"/>
                  <a:gd name="T37" fmla="*/ 2147483647 h 235"/>
                  <a:gd name="T38" fmla="*/ 2147483647 w 286"/>
                  <a:gd name="T39" fmla="*/ 2147483647 h 235"/>
                  <a:gd name="T40" fmla="*/ 2147483647 w 286"/>
                  <a:gd name="T41" fmla="*/ 2147483647 h 235"/>
                  <a:gd name="T42" fmla="*/ 2147483647 w 286"/>
                  <a:gd name="T43" fmla="*/ 2147483647 h 235"/>
                  <a:gd name="T44" fmla="*/ 2147483647 w 286"/>
                  <a:gd name="T45" fmla="*/ 2147483647 h 235"/>
                  <a:gd name="T46" fmla="*/ 2147483647 w 286"/>
                  <a:gd name="T47" fmla="*/ 2147483647 h 235"/>
                  <a:gd name="T48" fmla="*/ 2147483647 w 286"/>
                  <a:gd name="T49" fmla="*/ 2147483647 h 235"/>
                  <a:gd name="T50" fmla="*/ 2147483647 w 286"/>
                  <a:gd name="T51" fmla="*/ 2147483647 h 235"/>
                  <a:gd name="T52" fmla="*/ 2147483647 w 286"/>
                  <a:gd name="T53" fmla="*/ 2147483647 h 235"/>
                  <a:gd name="T54" fmla="*/ 2147483647 w 286"/>
                  <a:gd name="T55" fmla="*/ 2147483647 h 235"/>
                  <a:gd name="T56" fmla="*/ 0 w 286"/>
                  <a:gd name="T57" fmla="*/ 2147483647 h 235"/>
                  <a:gd name="T58" fmla="*/ 2147483647 w 286"/>
                  <a:gd name="T59" fmla="*/ 2147483647 h 235"/>
                  <a:gd name="T60" fmla="*/ 2147483647 w 286"/>
                  <a:gd name="T61" fmla="*/ 2147483647 h 235"/>
                  <a:gd name="T62" fmla="*/ 2147483647 w 286"/>
                  <a:gd name="T63" fmla="*/ 2147483647 h 235"/>
                  <a:gd name="T64" fmla="*/ 2147483647 w 286"/>
                  <a:gd name="T65" fmla="*/ 2147483647 h 23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86" h="235">
                    <a:moveTo>
                      <a:pt x="40" y="81"/>
                    </a:moveTo>
                    <a:lnTo>
                      <a:pt x="44" y="86"/>
                    </a:lnTo>
                    <a:lnTo>
                      <a:pt x="48" y="91"/>
                    </a:lnTo>
                    <a:lnTo>
                      <a:pt x="49" y="96"/>
                    </a:lnTo>
                    <a:lnTo>
                      <a:pt x="51" y="100"/>
                    </a:lnTo>
                    <a:lnTo>
                      <a:pt x="53" y="105"/>
                    </a:lnTo>
                    <a:lnTo>
                      <a:pt x="56" y="108"/>
                    </a:lnTo>
                    <a:lnTo>
                      <a:pt x="61" y="110"/>
                    </a:lnTo>
                    <a:lnTo>
                      <a:pt x="67" y="111"/>
                    </a:lnTo>
                    <a:lnTo>
                      <a:pt x="71" y="111"/>
                    </a:lnTo>
                    <a:lnTo>
                      <a:pt x="74" y="109"/>
                    </a:lnTo>
                    <a:lnTo>
                      <a:pt x="77" y="108"/>
                    </a:lnTo>
                    <a:lnTo>
                      <a:pt x="81" y="105"/>
                    </a:lnTo>
                    <a:lnTo>
                      <a:pt x="86" y="99"/>
                    </a:lnTo>
                    <a:lnTo>
                      <a:pt x="92" y="92"/>
                    </a:lnTo>
                    <a:lnTo>
                      <a:pt x="100" y="78"/>
                    </a:lnTo>
                    <a:lnTo>
                      <a:pt x="107" y="69"/>
                    </a:lnTo>
                    <a:lnTo>
                      <a:pt x="128" y="57"/>
                    </a:lnTo>
                    <a:lnTo>
                      <a:pt x="149" y="47"/>
                    </a:lnTo>
                    <a:lnTo>
                      <a:pt x="168" y="38"/>
                    </a:lnTo>
                    <a:lnTo>
                      <a:pt x="189" y="30"/>
                    </a:lnTo>
                    <a:lnTo>
                      <a:pt x="210" y="22"/>
                    </a:lnTo>
                    <a:lnTo>
                      <a:pt x="233" y="15"/>
                    </a:lnTo>
                    <a:lnTo>
                      <a:pt x="258" y="7"/>
                    </a:lnTo>
                    <a:lnTo>
                      <a:pt x="286" y="0"/>
                    </a:lnTo>
                    <a:lnTo>
                      <a:pt x="286" y="11"/>
                    </a:lnTo>
                    <a:lnTo>
                      <a:pt x="284" y="21"/>
                    </a:lnTo>
                    <a:lnTo>
                      <a:pt x="282" y="32"/>
                    </a:lnTo>
                    <a:lnTo>
                      <a:pt x="279" y="44"/>
                    </a:lnTo>
                    <a:lnTo>
                      <a:pt x="272" y="70"/>
                    </a:lnTo>
                    <a:lnTo>
                      <a:pt x="263" y="97"/>
                    </a:lnTo>
                    <a:lnTo>
                      <a:pt x="254" y="128"/>
                    </a:lnTo>
                    <a:lnTo>
                      <a:pt x="246" y="158"/>
                    </a:lnTo>
                    <a:lnTo>
                      <a:pt x="244" y="174"/>
                    </a:lnTo>
                    <a:lnTo>
                      <a:pt x="242" y="190"/>
                    </a:lnTo>
                    <a:lnTo>
                      <a:pt x="240" y="206"/>
                    </a:lnTo>
                    <a:lnTo>
                      <a:pt x="240" y="222"/>
                    </a:lnTo>
                    <a:lnTo>
                      <a:pt x="146" y="216"/>
                    </a:lnTo>
                    <a:lnTo>
                      <a:pt x="142" y="216"/>
                    </a:lnTo>
                    <a:lnTo>
                      <a:pt x="138" y="218"/>
                    </a:lnTo>
                    <a:lnTo>
                      <a:pt x="134" y="220"/>
                    </a:lnTo>
                    <a:lnTo>
                      <a:pt x="132" y="223"/>
                    </a:lnTo>
                    <a:lnTo>
                      <a:pt x="128" y="229"/>
                    </a:lnTo>
                    <a:lnTo>
                      <a:pt x="127" y="235"/>
                    </a:lnTo>
                    <a:lnTo>
                      <a:pt x="117" y="226"/>
                    </a:lnTo>
                    <a:lnTo>
                      <a:pt x="109" y="217"/>
                    </a:lnTo>
                    <a:lnTo>
                      <a:pt x="101" y="208"/>
                    </a:lnTo>
                    <a:lnTo>
                      <a:pt x="94" y="199"/>
                    </a:lnTo>
                    <a:lnTo>
                      <a:pt x="81" y="180"/>
                    </a:lnTo>
                    <a:lnTo>
                      <a:pt x="69" y="160"/>
                    </a:lnTo>
                    <a:lnTo>
                      <a:pt x="62" y="150"/>
                    </a:lnTo>
                    <a:lnTo>
                      <a:pt x="55" y="142"/>
                    </a:lnTo>
                    <a:lnTo>
                      <a:pt x="49" y="133"/>
                    </a:lnTo>
                    <a:lnTo>
                      <a:pt x="41" y="125"/>
                    </a:lnTo>
                    <a:lnTo>
                      <a:pt x="32" y="117"/>
                    </a:lnTo>
                    <a:lnTo>
                      <a:pt x="22" y="110"/>
                    </a:lnTo>
                    <a:lnTo>
                      <a:pt x="13" y="104"/>
                    </a:lnTo>
                    <a:lnTo>
                      <a:pt x="0" y="99"/>
                    </a:lnTo>
                    <a:lnTo>
                      <a:pt x="6" y="98"/>
                    </a:lnTo>
                    <a:lnTo>
                      <a:pt x="13" y="97"/>
                    </a:lnTo>
                    <a:lnTo>
                      <a:pt x="19" y="94"/>
                    </a:lnTo>
                    <a:lnTo>
                      <a:pt x="26" y="91"/>
                    </a:lnTo>
                    <a:lnTo>
                      <a:pt x="32" y="88"/>
                    </a:lnTo>
                    <a:lnTo>
                      <a:pt x="39" y="84"/>
                    </a:lnTo>
                    <a:lnTo>
                      <a:pt x="43" y="79"/>
                    </a:lnTo>
                    <a:lnTo>
                      <a:pt x="47" y="75"/>
                    </a:lnTo>
                    <a:lnTo>
                      <a:pt x="40" y="81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8" name="Freeform 223"/>
              <p:cNvSpPr>
                <a:spLocks/>
              </p:cNvSpPr>
              <p:nvPr>
                <p:custDataLst>
                  <p:tags r:id="rId348"/>
                </p:custDataLst>
              </p:nvPr>
            </p:nvSpPr>
            <p:spPr bwMode="auto">
              <a:xfrm>
                <a:off x="7363650" y="3524841"/>
                <a:ext cx="105659" cy="112924"/>
              </a:xfrm>
              <a:custGeom>
                <a:avLst/>
                <a:gdLst>
                  <a:gd name="T0" fmla="*/ 2147483647 w 205"/>
                  <a:gd name="T1" fmla="*/ 2147483647 h 191"/>
                  <a:gd name="T2" fmla="*/ 2147483647 w 205"/>
                  <a:gd name="T3" fmla="*/ 2147483647 h 191"/>
                  <a:gd name="T4" fmla="*/ 2147483647 w 205"/>
                  <a:gd name="T5" fmla="*/ 2147483647 h 191"/>
                  <a:gd name="T6" fmla="*/ 2147483647 w 205"/>
                  <a:gd name="T7" fmla="*/ 2147483647 h 191"/>
                  <a:gd name="T8" fmla="*/ 2147483647 w 205"/>
                  <a:gd name="T9" fmla="*/ 2147483647 h 191"/>
                  <a:gd name="T10" fmla="*/ 2147483647 w 205"/>
                  <a:gd name="T11" fmla="*/ 2147483647 h 191"/>
                  <a:gd name="T12" fmla="*/ 2147483647 w 205"/>
                  <a:gd name="T13" fmla="*/ 2147483647 h 191"/>
                  <a:gd name="T14" fmla="*/ 2147483647 w 205"/>
                  <a:gd name="T15" fmla="*/ 2147483647 h 191"/>
                  <a:gd name="T16" fmla="*/ 2147483647 w 205"/>
                  <a:gd name="T17" fmla="*/ 2147483647 h 191"/>
                  <a:gd name="T18" fmla="*/ 2147483647 w 205"/>
                  <a:gd name="T19" fmla="*/ 2147483647 h 191"/>
                  <a:gd name="T20" fmla="*/ 2147483647 w 205"/>
                  <a:gd name="T21" fmla="*/ 2147483647 h 191"/>
                  <a:gd name="T22" fmla="*/ 2147483647 w 205"/>
                  <a:gd name="T23" fmla="*/ 2147483647 h 191"/>
                  <a:gd name="T24" fmla="*/ 2147483647 w 205"/>
                  <a:gd name="T25" fmla="*/ 2147483647 h 191"/>
                  <a:gd name="T26" fmla="*/ 2147483647 w 205"/>
                  <a:gd name="T27" fmla="*/ 2147483647 h 191"/>
                  <a:gd name="T28" fmla="*/ 2147483647 w 205"/>
                  <a:gd name="T29" fmla="*/ 2147483647 h 191"/>
                  <a:gd name="T30" fmla="*/ 2147483647 w 205"/>
                  <a:gd name="T31" fmla="*/ 2147483647 h 191"/>
                  <a:gd name="T32" fmla="*/ 2147483647 w 205"/>
                  <a:gd name="T33" fmla="*/ 2147483647 h 191"/>
                  <a:gd name="T34" fmla="*/ 2147483647 w 205"/>
                  <a:gd name="T35" fmla="*/ 2147483647 h 191"/>
                  <a:gd name="T36" fmla="*/ 2147483647 w 205"/>
                  <a:gd name="T37" fmla="*/ 2147483647 h 191"/>
                  <a:gd name="T38" fmla="*/ 2147483647 w 205"/>
                  <a:gd name="T39" fmla="*/ 2147483647 h 191"/>
                  <a:gd name="T40" fmla="*/ 2147483647 w 205"/>
                  <a:gd name="T41" fmla="*/ 2147483647 h 191"/>
                  <a:gd name="T42" fmla="*/ 1779836163 w 205"/>
                  <a:gd name="T43" fmla="*/ 2147483647 h 191"/>
                  <a:gd name="T44" fmla="*/ 547764604 w 205"/>
                  <a:gd name="T45" fmla="*/ 2147483647 h 191"/>
                  <a:gd name="T46" fmla="*/ 0 w 205"/>
                  <a:gd name="T47" fmla="*/ 2147483647 h 191"/>
                  <a:gd name="T48" fmla="*/ 0 w 205"/>
                  <a:gd name="T49" fmla="*/ 2147483647 h 191"/>
                  <a:gd name="T50" fmla="*/ 410690348 w 205"/>
                  <a:gd name="T51" fmla="*/ 2147483647 h 191"/>
                  <a:gd name="T52" fmla="*/ 1095263256 w 205"/>
                  <a:gd name="T53" fmla="*/ 2147483647 h 191"/>
                  <a:gd name="T54" fmla="*/ 1916910419 w 205"/>
                  <a:gd name="T55" fmla="*/ 2147483647 h 191"/>
                  <a:gd name="T56" fmla="*/ 2147483647 w 205"/>
                  <a:gd name="T57" fmla="*/ 826678766 h 191"/>
                  <a:gd name="T58" fmla="*/ 2147483647 w 205"/>
                  <a:gd name="T59" fmla="*/ 0 h 191"/>
                  <a:gd name="T60" fmla="*/ 2147483647 w 205"/>
                  <a:gd name="T61" fmla="*/ 1239844033 h 191"/>
                  <a:gd name="T62" fmla="*/ 2147483647 w 205"/>
                  <a:gd name="T63" fmla="*/ 2147483647 h 191"/>
                  <a:gd name="T64" fmla="*/ 2147483647 w 205"/>
                  <a:gd name="T65" fmla="*/ 2147483647 h 191"/>
                  <a:gd name="T66" fmla="*/ 2147483647 w 205"/>
                  <a:gd name="T67" fmla="*/ 2147483647 h 191"/>
                  <a:gd name="T68" fmla="*/ 2147483647 w 205"/>
                  <a:gd name="T69" fmla="*/ 2147483647 h 191"/>
                  <a:gd name="T70" fmla="*/ 2147483647 w 205"/>
                  <a:gd name="T71" fmla="*/ 2147483647 h 191"/>
                  <a:gd name="T72" fmla="*/ 2147483647 w 205"/>
                  <a:gd name="T73" fmla="*/ 2147483647 h 191"/>
                  <a:gd name="T74" fmla="*/ 2147483647 w 205"/>
                  <a:gd name="T75" fmla="*/ 2147483647 h 191"/>
                  <a:gd name="T76" fmla="*/ 2147483647 w 205"/>
                  <a:gd name="T77" fmla="*/ 2147483647 h 191"/>
                  <a:gd name="T78" fmla="*/ 2147483647 w 205"/>
                  <a:gd name="T79" fmla="*/ 2147483647 h 191"/>
                  <a:gd name="T80" fmla="*/ 2147483647 w 205"/>
                  <a:gd name="T81" fmla="*/ 2147483647 h 19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05" h="191">
                    <a:moveTo>
                      <a:pt x="205" y="185"/>
                    </a:moveTo>
                    <a:lnTo>
                      <a:pt x="188" y="185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5" y="185"/>
                    </a:lnTo>
                    <a:lnTo>
                      <a:pt x="158" y="185"/>
                    </a:lnTo>
                    <a:lnTo>
                      <a:pt x="151" y="182"/>
                    </a:lnTo>
                    <a:lnTo>
                      <a:pt x="144" y="180"/>
                    </a:lnTo>
                    <a:lnTo>
                      <a:pt x="140" y="177"/>
                    </a:lnTo>
                    <a:lnTo>
                      <a:pt x="136" y="173"/>
                    </a:lnTo>
                    <a:lnTo>
                      <a:pt x="132" y="168"/>
                    </a:lnTo>
                    <a:lnTo>
                      <a:pt x="129" y="163"/>
                    </a:lnTo>
                    <a:lnTo>
                      <a:pt x="127" y="158"/>
                    </a:lnTo>
                    <a:lnTo>
                      <a:pt x="120" y="147"/>
                    </a:lnTo>
                    <a:lnTo>
                      <a:pt x="114" y="136"/>
                    </a:lnTo>
                    <a:lnTo>
                      <a:pt x="110" y="131"/>
                    </a:lnTo>
                    <a:lnTo>
                      <a:pt x="105" y="125"/>
                    </a:lnTo>
                    <a:lnTo>
                      <a:pt x="99" y="121"/>
                    </a:lnTo>
                    <a:lnTo>
                      <a:pt x="93" y="117"/>
                    </a:lnTo>
                    <a:lnTo>
                      <a:pt x="93" y="126"/>
                    </a:lnTo>
                    <a:lnTo>
                      <a:pt x="93" y="136"/>
                    </a:lnTo>
                    <a:lnTo>
                      <a:pt x="90" y="135"/>
                    </a:lnTo>
                    <a:lnTo>
                      <a:pt x="86" y="133"/>
                    </a:lnTo>
                    <a:lnTo>
                      <a:pt x="84" y="130"/>
                    </a:lnTo>
                    <a:lnTo>
                      <a:pt x="80" y="124"/>
                    </a:lnTo>
                    <a:lnTo>
                      <a:pt x="72" y="113"/>
                    </a:lnTo>
                    <a:lnTo>
                      <a:pt x="64" y="100"/>
                    </a:lnTo>
                    <a:lnTo>
                      <a:pt x="56" y="87"/>
                    </a:lnTo>
                    <a:lnTo>
                      <a:pt x="46" y="74"/>
                    </a:lnTo>
                    <a:lnTo>
                      <a:pt x="41" y="67"/>
                    </a:lnTo>
                    <a:lnTo>
                      <a:pt x="36" y="62"/>
                    </a:lnTo>
                    <a:lnTo>
                      <a:pt x="31" y="58"/>
                    </a:lnTo>
                    <a:lnTo>
                      <a:pt x="26" y="55"/>
                    </a:lnTo>
                    <a:lnTo>
                      <a:pt x="26" y="60"/>
                    </a:lnTo>
                    <a:lnTo>
                      <a:pt x="27" y="64"/>
                    </a:lnTo>
                    <a:lnTo>
                      <a:pt x="29" y="69"/>
                    </a:lnTo>
                    <a:lnTo>
                      <a:pt x="31" y="74"/>
                    </a:lnTo>
                    <a:lnTo>
                      <a:pt x="34" y="78"/>
                    </a:lnTo>
                    <a:lnTo>
                      <a:pt x="37" y="81"/>
                    </a:lnTo>
                    <a:lnTo>
                      <a:pt x="41" y="84"/>
                    </a:lnTo>
                    <a:lnTo>
                      <a:pt x="46" y="87"/>
                    </a:lnTo>
                    <a:lnTo>
                      <a:pt x="46" y="105"/>
                    </a:lnTo>
                    <a:lnTo>
                      <a:pt x="19" y="105"/>
                    </a:lnTo>
                    <a:lnTo>
                      <a:pt x="13" y="98"/>
                    </a:lnTo>
                    <a:lnTo>
                      <a:pt x="8" y="91"/>
                    </a:lnTo>
                    <a:lnTo>
                      <a:pt x="4" y="84"/>
                    </a:lnTo>
                    <a:lnTo>
                      <a:pt x="2" y="77"/>
                    </a:lnTo>
                    <a:lnTo>
                      <a:pt x="0" y="60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8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13" y="19"/>
                    </a:lnTo>
                    <a:lnTo>
                      <a:pt x="14" y="13"/>
                    </a:lnTo>
                    <a:lnTo>
                      <a:pt x="18" y="7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126" y="6"/>
                    </a:lnTo>
                    <a:lnTo>
                      <a:pt x="126" y="13"/>
                    </a:lnTo>
                    <a:lnTo>
                      <a:pt x="127" y="21"/>
                    </a:lnTo>
                    <a:lnTo>
                      <a:pt x="128" y="29"/>
                    </a:lnTo>
                    <a:lnTo>
                      <a:pt x="130" y="37"/>
                    </a:lnTo>
                    <a:lnTo>
                      <a:pt x="136" y="53"/>
                    </a:lnTo>
                    <a:lnTo>
                      <a:pt x="143" y="70"/>
                    </a:lnTo>
                    <a:lnTo>
                      <a:pt x="153" y="87"/>
                    </a:lnTo>
                    <a:lnTo>
                      <a:pt x="165" y="102"/>
                    </a:lnTo>
                    <a:lnTo>
                      <a:pt x="171" y="110"/>
                    </a:lnTo>
                    <a:lnTo>
                      <a:pt x="177" y="117"/>
                    </a:lnTo>
                    <a:lnTo>
                      <a:pt x="185" y="123"/>
                    </a:lnTo>
                    <a:lnTo>
                      <a:pt x="192" y="130"/>
                    </a:lnTo>
                    <a:lnTo>
                      <a:pt x="191" y="137"/>
                    </a:lnTo>
                    <a:lnTo>
                      <a:pt x="189" y="143"/>
                    </a:lnTo>
                    <a:lnTo>
                      <a:pt x="189" y="149"/>
                    </a:lnTo>
                    <a:lnTo>
                      <a:pt x="189" y="156"/>
                    </a:lnTo>
                    <a:lnTo>
                      <a:pt x="192" y="171"/>
                    </a:lnTo>
                    <a:lnTo>
                      <a:pt x="192" y="191"/>
                    </a:lnTo>
                    <a:lnTo>
                      <a:pt x="192" y="185"/>
                    </a:lnTo>
                    <a:lnTo>
                      <a:pt x="205" y="185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9" name="Freeform 224"/>
              <p:cNvSpPr>
                <a:spLocks/>
              </p:cNvSpPr>
              <p:nvPr>
                <p:custDataLst>
                  <p:tags r:id="rId349"/>
                </p:custDataLst>
              </p:nvPr>
            </p:nvSpPr>
            <p:spPr bwMode="auto">
              <a:xfrm>
                <a:off x="7465322" y="3585785"/>
                <a:ext cx="179421" cy="89623"/>
              </a:xfrm>
              <a:custGeom>
                <a:avLst/>
                <a:gdLst>
                  <a:gd name="T0" fmla="*/ 486561939 w 329"/>
                  <a:gd name="T1" fmla="*/ 2147483647 h 154"/>
                  <a:gd name="T2" fmla="*/ 0 w 329"/>
                  <a:gd name="T3" fmla="*/ 2147483647 h 154"/>
                  <a:gd name="T4" fmla="*/ 324473880 w 329"/>
                  <a:gd name="T5" fmla="*/ 2147483647 h 154"/>
                  <a:gd name="T6" fmla="*/ 2147483647 w 329"/>
                  <a:gd name="T7" fmla="*/ 2147483647 h 154"/>
                  <a:gd name="T8" fmla="*/ 2147483647 w 329"/>
                  <a:gd name="T9" fmla="*/ 2147483647 h 154"/>
                  <a:gd name="T10" fmla="*/ 2147483647 w 329"/>
                  <a:gd name="T11" fmla="*/ 2147483647 h 154"/>
                  <a:gd name="T12" fmla="*/ 2147483647 w 329"/>
                  <a:gd name="T13" fmla="*/ 2147483647 h 154"/>
                  <a:gd name="T14" fmla="*/ 2147483647 w 329"/>
                  <a:gd name="T15" fmla="*/ 2147483647 h 154"/>
                  <a:gd name="T16" fmla="*/ 2147483647 w 329"/>
                  <a:gd name="T17" fmla="*/ 2147483647 h 154"/>
                  <a:gd name="T18" fmla="*/ 2147483647 w 329"/>
                  <a:gd name="T19" fmla="*/ 2147483647 h 154"/>
                  <a:gd name="T20" fmla="*/ 2147483647 w 329"/>
                  <a:gd name="T21" fmla="*/ 788461252 h 154"/>
                  <a:gd name="T22" fmla="*/ 2147483647 w 329"/>
                  <a:gd name="T23" fmla="*/ 0 h 154"/>
                  <a:gd name="T24" fmla="*/ 2147483647 w 329"/>
                  <a:gd name="T25" fmla="*/ 0 h 154"/>
                  <a:gd name="T26" fmla="*/ 2147483647 w 329"/>
                  <a:gd name="T27" fmla="*/ 1182692460 h 154"/>
                  <a:gd name="T28" fmla="*/ 2147483647 w 329"/>
                  <a:gd name="T29" fmla="*/ 2147483647 h 154"/>
                  <a:gd name="T30" fmla="*/ 2147483647 w 329"/>
                  <a:gd name="T31" fmla="*/ 2147483647 h 154"/>
                  <a:gd name="T32" fmla="*/ 2147483647 w 329"/>
                  <a:gd name="T33" fmla="*/ 2147483647 h 154"/>
                  <a:gd name="T34" fmla="*/ 2147483647 w 329"/>
                  <a:gd name="T35" fmla="*/ 2147483647 h 154"/>
                  <a:gd name="T36" fmla="*/ 2147483647 w 329"/>
                  <a:gd name="T37" fmla="*/ 2147483647 h 154"/>
                  <a:gd name="T38" fmla="*/ 2147483647 w 329"/>
                  <a:gd name="T39" fmla="*/ 2147483647 h 154"/>
                  <a:gd name="T40" fmla="*/ 2147483647 w 329"/>
                  <a:gd name="T41" fmla="*/ 2147483647 h 154"/>
                  <a:gd name="T42" fmla="*/ 2147483647 w 329"/>
                  <a:gd name="T43" fmla="*/ 2147483647 h 154"/>
                  <a:gd name="T44" fmla="*/ 2147483647 w 329"/>
                  <a:gd name="T45" fmla="*/ 2147483647 h 154"/>
                  <a:gd name="T46" fmla="*/ 2147483647 w 329"/>
                  <a:gd name="T47" fmla="*/ 2147483647 h 154"/>
                  <a:gd name="T48" fmla="*/ 2147483647 w 329"/>
                  <a:gd name="T49" fmla="*/ 2147483647 h 154"/>
                  <a:gd name="T50" fmla="*/ 2147483647 w 329"/>
                  <a:gd name="T51" fmla="*/ 2147483647 h 154"/>
                  <a:gd name="T52" fmla="*/ 2147483647 w 329"/>
                  <a:gd name="T53" fmla="*/ 2147483647 h 154"/>
                  <a:gd name="T54" fmla="*/ 2147483647 w 329"/>
                  <a:gd name="T55" fmla="*/ 2147483647 h 154"/>
                  <a:gd name="T56" fmla="*/ 2147483647 w 329"/>
                  <a:gd name="T57" fmla="*/ 2147483647 h 154"/>
                  <a:gd name="T58" fmla="*/ 2147483647 w 329"/>
                  <a:gd name="T59" fmla="*/ 2147483647 h 154"/>
                  <a:gd name="T60" fmla="*/ 2147483647 w 329"/>
                  <a:gd name="T61" fmla="*/ 2147483647 h 154"/>
                  <a:gd name="T62" fmla="*/ 2147483647 w 329"/>
                  <a:gd name="T63" fmla="*/ 2147483647 h 154"/>
                  <a:gd name="T64" fmla="*/ 2147483647 w 329"/>
                  <a:gd name="T65" fmla="*/ 2147483647 h 154"/>
                  <a:gd name="T66" fmla="*/ 2147483647 w 329"/>
                  <a:gd name="T67" fmla="*/ 2147483647 h 154"/>
                  <a:gd name="T68" fmla="*/ 2147483647 w 329"/>
                  <a:gd name="T69" fmla="*/ 2147483647 h 154"/>
                  <a:gd name="T70" fmla="*/ 2147483647 w 329"/>
                  <a:gd name="T71" fmla="*/ 2147483647 h 154"/>
                  <a:gd name="T72" fmla="*/ 2147483647 w 329"/>
                  <a:gd name="T73" fmla="*/ 2147483647 h 154"/>
                  <a:gd name="T74" fmla="*/ 2147483647 w 329"/>
                  <a:gd name="T75" fmla="*/ 2147483647 h 154"/>
                  <a:gd name="T76" fmla="*/ 2147483647 w 329"/>
                  <a:gd name="T77" fmla="*/ 2147483647 h 154"/>
                  <a:gd name="T78" fmla="*/ 2147483647 w 329"/>
                  <a:gd name="T79" fmla="*/ 2147483647 h 154"/>
                  <a:gd name="T80" fmla="*/ 2147483647 w 329"/>
                  <a:gd name="T81" fmla="*/ 2147483647 h 154"/>
                  <a:gd name="T82" fmla="*/ 2147483647 w 329"/>
                  <a:gd name="T83" fmla="*/ 2147483647 h 154"/>
                  <a:gd name="T84" fmla="*/ 2147483647 w 329"/>
                  <a:gd name="T85" fmla="*/ 2147483647 h 154"/>
                  <a:gd name="T86" fmla="*/ 2147483647 w 329"/>
                  <a:gd name="T87" fmla="*/ 2147483647 h 154"/>
                  <a:gd name="T88" fmla="*/ 2147483647 w 329"/>
                  <a:gd name="T89" fmla="*/ 2147483647 h 154"/>
                  <a:gd name="T90" fmla="*/ 2147483647 w 329"/>
                  <a:gd name="T91" fmla="*/ 2147483647 h 154"/>
                  <a:gd name="T92" fmla="*/ 2147483647 w 329"/>
                  <a:gd name="T93" fmla="*/ 2147483647 h 154"/>
                  <a:gd name="T94" fmla="*/ 2147483647 w 329"/>
                  <a:gd name="T95" fmla="*/ 2147483647 h 154"/>
                  <a:gd name="T96" fmla="*/ 486561939 w 329"/>
                  <a:gd name="T97" fmla="*/ 2147483647 h 15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329" h="154">
                    <a:moveTo>
                      <a:pt x="3" y="73"/>
                    </a:moveTo>
                    <a:lnTo>
                      <a:pt x="3" y="58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2" y="31"/>
                    </a:lnTo>
                    <a:lnTo>
                      <a:pt x="3" y="25"/>
                    </a:lnTo>
                    <a:lnTo>
                      <a:pt x="17" y="33"/>
                    </a:lnTo>
                    <a:lnTo>
                      <a:pt x="30" y="39"/>
                    </a:lnTo>
                    <a:lnTo>
                      <a:pt x="36" y="41"/>
                    </a:lnTo>
                    <a:lnTo>
                      <a:pt x="42" y="42"/>
                    </a:lnTo>
                    <a:lnTo>
                      <a:pt x="49" y="43"/>
                    </a:lnTo>
                    <a:lnTo>
                      <a:pt x="56" y="43"/>
                    </a:lnTo>
                    <a:lnTo>
                      <a:pt x="67" y="43"/>
                    </a:lnTo>
                    <a:lnTo>
                      <a:pt x="77" y="41"/>
                    </a:lnTo>
                    <a:lnTo>
                      <a:pt x="86" y="39"/>
                    </a:lnTo>
                    <a:lnTo>
                      <a:pt x="95" y="36"/>
                    </a:lnTo>
                    <a:lnTo>
                      <a:pt x="110" y="30"/>
                    </a:lnTo>
                    <a:lnTo>
                      <a:pt x="126" y="21"/>
                    </a:lnTo>
                    <a:lnTo>
                      <a:pt x="140" y="13"/>
                    </a:lnTo>
                    <a:lnTo>
                      <a:pt x="154" y="6"/>
                    </a:lnTo>
                    <a:lnTo>
                      <a:pt x="162" y="4"/>
                    </a:lnTo>
                    <a:lnTo>
                      <a:pt x="171" y="2"/>
                    </a:lnTo>
                    <a:lnTo>
                      <a:pt x="179" y="0"/>
                    </a:lnTo>
                    <a:lnTo>
                      <a:pt x="189" y="0"/>
                    </a:lnTo>
                    <a:lnTo>
                      <a:pt x="203" y="0"/>
                    </a:lnTo>
                    <a:lnTo>
                      <a:pt x="214" y="3"/>
                    </a:lnTo>
                    <a:lnTo>
                      <a:pt x="224" y="6"/>
                    </a:lnTo>
                    <a:lnTo>
                      <a:pt x="234" y="10"/>
                    </a:lnTo>
                    <a:lnTo>
                      <a:pt x="243" y="15"/>
                    </a:lnTo>
                    <a:lnTo>
                      <a:pt x="251" y="21"/>
                    </a:lnTo>
                    <a:lnTo>
                      <a:pt x="259" y="28"/>
                    </a:lnTo>
                    <a:lnTo>
                      <a:pt x="266" y="34"/>
                    </a:lnTo>
                    <a:lnTo>
                      <a:pt x="280" y="46"/>
                    </a:lnTo>
                    <a:lnTo>
                      <a:pt x="295" y="57"/>
                    </a:lnTo>
                    <a:lnTo>
                      <a:pt x="302" y="61"/>
                    </a:lnTo>
                    <a:lnTo>
                      <a:pt x="310" y="64"/>
                    </a:lnTo>
                    <a:lnTo>
                      <a:pt x="319" y="67"/>
                    </a:lnTo>
                    <a:lnTo>
                      <a:pt x="329" y="67"/>
                    </a:lnTo>
                    <a:lnTo>
                      <a:pt x="313" y="82"/>
                    </a:lnTo>
                    <a:lnTo>
                      <a:pt x="301" y="94"/>
                    </a:lnTo>
                    <a:lnTo>
                      <a:pt x="293" y="106"/>
                    </a:lnTo>
                    <a:lnTo>
                      <a:pt x="286" y="117"/>
                    </a:lnTo>
                    <a:lnTo>
                      <a:pt x="277" y="138"/>
                    </a:lnTo>
                    <a:lnTo>
                      <a:pt x="268" y="154"/>
                    </a:lnTo>
                    <a:lnTo>
                      <a:pt x="265" y="153"/>
                    </a:lnTo>
                    <a:lnTo>
                      <a:pt x="260" y="150"/>
                    </a:lnTo>
                    <a:lnTo>
                      <a:pt x="253" y="146"/>
                    </a:lnTo>
                    <a:lnTo>
                      <a:pt x="246" y="141"/>
                    </a:lnTo>
                    <a:lnTo>
                      <a:pt x="240" y="136"/>
                    </a:lnTo>
                    <a:lnTo>
                      <a:pt x="234" y="130"/>
                    </a:lnTo>
                    <a:lnTo>
                      <a:pt x="230" y="126"/>
                    </a:lnTo>
                    <a:lnTo>
                      <a:pt x="229" y="123"/>
                    </a:lnTo>
                    <a:lnTo>
                      <a:pt x="230" y="114"/>
                    </a:lnTo>
                    <a:lnTo>
                      <a:pt x="232" y="107"/>
                    </a:lnTo>
                    <a:lnTo>
                      <a:pt x="235" y="100"/>
                    </a:lnTo>
                    <a:lnTo>
                      <a:pt x="240" y="95"/>
                    </a:lnTo>
                    <a:lnTo>
                      <a:pt x="249" y="86"/>
                    </a:lnTo>
                    <a:lnTo>
                      <a:pt x="255" y="80"/>
                    </a:lnTo>
                    <a:lnTo>
                      <a:pt x="233" y="68"/>
                    </a:lnTo>
                    <a:lnTo>
                      <a:pt x="215" y="60"/>
                    </a:lnTo>
                    <a:lnTo>
                      <a:pt x="207" y="55"/>
                    </a:lnTo>
                    <a:lnTo>
                      <a:pt x="200" y="49"/>
                    </a:lnTo>
                    <a:lnTo>
                      <a:pt x="195" y="41"/>
                    </a:lnTo>
                    <a:lnTo>
                      <a:pt x="189" y="31"/>
                    </a:lnTo>
                    <a:lnTo>
                      <a:pt x="179" y="34"/>
                    </a:lnTo>
                    <a:lnTo>
                      <a:pt x="171" y="37"/>
                    </a:lnTo>
                    <a:lnTo>
                      <a:pt x="163" y="41"/>
                    </a:lnTo>
                    <a:lnTo>
                      <a:pt x="156" y="45"/>
                    </a:lnTo>
                    <a:lnTo>
                      <a:pt x="150" y="50"/>
                    </a:lnTo>
                    <a:lnTo>
                      <a:pt x="144" y="55"/>
                    </a:lnTo>
                    <a:lnTo>
                      <a:pt x="140" y="61"/>
                    </a:lnTo>
                    <a:lnTo>
                      <a:pt x="136" y="67"/>
                    </a:lnTo>
                    <a:lnTo>
                      <a:pt x="132" y="74"/>
                    </a:lnTo>
                    <a:lnTo>
                      <a:pt x="130" y="81"/>
                    </a:lnTo>
                    <a:lnTo>
                      <a:pt x="128" y="88"/>
                    </a:lnTo>
                    <a:lnTo>
                      <a:pt x="126" y="95"/>
                    </a:lnTo>
                    <a:lnTo>
                      <a:pt x="123" y="109"/>
                    </a:lnTo>
                    <a:lnTo>
                      <a:pt x="122" y="123"/>
                    </a:lnTo>
                    <a:lnTo>
                      <a:pt x="122" y="125"/>
                    </a:lnTo>
                    <a:lnTo>
                      <a:pt x="120" y="127"/>
                    </a:lnTo>
                    <a:lnTo>
                      <a:pt x="118" y="129"/>
                    </a:lnTo>
                    <a:lnTo>
                      <a:pt x="115" y="131"/>
                    </a:lnTo>
                    <a:lnTo>
                      <a:pt x="108" y="135"/>
                    </a:lnTo>
                    <a:lnTo>
                      <a:pt x="103" y="136"/>
                    </a:lnTo>
                    <a:lnTo>
                      <a:pt x="96" y="135"/>
                    </a:lnTo>
                    <a:lnTo>
                      <a:pt x="89" y="132"/>
                    </a:lnTo>
                    <a:lnTo>
                      <a:pt x="83" y="129"/>
                    </a:lnTo>
                    <a:lnTo>
                      <a:pt x="77" y="125"/>
                    </a:lnTo>
                    <a:lnTo>
                      <a:pt x="66" y="116"/>
                    </a:lnTo>
                    <a:lnTo>
                      <a:pt x="58" y="105"/>
                    </a:lnTo>
                    <a:lnTo>
                      <a:pt x="48" y="94"/>
                    </a:lnTo>
                    <a:lnTo>
                      <a:pt x="38" y="84"/>
                    </a:lnTo>
                    <a:lnTo>
                      <a:pt x="33" y="80"/>
                    </a:lnTo>
                    <a:lnTo>
                      <a:pt x="28" y="76"/>
                    </a:lnTo>
                    <a:lnTo>
                      <a:pt x="22" y="74"/>
                    </a:lnTo>
                    <a:lnTo>
                      <a:pt x="16" y="73"/>
                    </a:lnTo>
                    <a:lnTo>
                      <a:pt x="3" y="7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0" name="Freeform 225"/>
              <p:cNvSpPr>
                <a:spLocks/>
              </p:cNvSpPr>
              <p:nvPr>
                <p:custDataLst>
                  <p:tags r:id="rId350"/>
                </p:custDataLst>
              </p:nvPr>
            </p:nvSpPr>
            <p:spPr bwMode="auto">
              <a:xfrm>
                <a:off x="8320565" y="5001824"/>
                <a:ext cx="167460" cy="175661"/>
              </a:xfrm>
              <a:custGeom>
                <a:avLst/>
                <a:gdLst>
                  <a:gd name="T0" fmla="*/ 2147483647 w 306"/>
                  <a:gd name="T1" fmla="*/ 2147483647 h 293"/>
                  <a:gd name="T2" fmla="*/ 2147483647 w 306"/>
                  <a:gd name="T3" fmla="*/ 2147483647 h 293"/>
                  <a:gd name="T4" fmla="*/ 2147483647 w 306"/>
                  <a:gd name="T5" fmla="*/ 2147483647 h 293"/>
                  <a:gd name="T6" fmla="*/ 2147483647 w 306"/>
                  <a:gd name="T7" fmla="*/ 2147483647 h 293"/>
                  <a:gd name="T8" fmla="*/ 2147483647 w 306"/>
                  <a:gd name="T9" fmla="*/ 2147483647 h 293"/>
                  <a:gd name="T10" fmla="*/ 2147483647 w 306"/>
                  <a:gd name="T11" fmla="*/ 2147483647 h 293"/>
                  <a:gd name="T12" fmla="*/ 2147483647 w 306"/>
                  <a:gd name="T13" fmla="*/ 2147483647 h 293"/>
                  <a:gd name="T14" fmla="*/ 2147483647 w 306"/>
                  <a:gd name="T15" fmla="*/ 2147483647 h 293"/>
                  <a:gd name="T16" fmla="*/ 2147483647 w 306"/>
                  <a:gd name="T17" fmla="*/ 2147483647 h 293"/>
                  <a:gd name="T18" fmla="*/ 2147483647 w 306"/>
                  <a:gd name="T19" fmla="*/ 2147483647 h 293"/>
                  <a:gd name="T20" fmla="*/ 2147483647 w 306"/>
                  <a:gd name="T21" fmla="*/ 2147483647 h 293"/>
                  <a:gd name="T22" fmla="*/ 2147483647 w 306"/>
                  <a:gd name="T23" fmla="*/ 2147483647 h 293"/>
                  <a:gd name="T24" fmla="*/ 2147483647 w 306"/>
                  <a:gd name="T25" fmla="*/ 2147483647 h 293"/>
                  <a:gd name="T26" fmla="*/ 2147483647 w 306"/>
                  <a:gd name="T27" fmla="*/ 2147483647 h 293"/>
                  <a:gd name="T28" fmla="*/ 2147483647 w 306"/>
                  <a:gd name="T29" fmla="*/ 2147483647 h 293"/>
                  <a:gd name="T30" fmla="*/ 2147483647 w 306"/>
                  <a:gd name="T31" fmla="*/ 2147483647 h 293"/>
                  <a:gd name="T32" fmla="*/ 2147483647 w 306"/>
                  <a:gd name="T33" fmla="*/ 2147483647 h 293"/>
                  <a:gd name="T34" fmla="*/ 2147483647 w 306"/>
                  <a:gd name="T35" fmla="*/ 2147483647 h 293"/>
                  <a:gd name="T36" fmla="*/ 163819660 w 306"/>
                  <a:gd name="T37" fmla="*/ 2147483647 h 293"/>
                  <a:gd name="T38" fmla="*/ 0 w 306"/>
                  <a:gd name="T39" fmla="*/ 2147483647 h 293"/>
                  <a:gd name="T40" fmla="*/ 163819660 w 306"/>
                  <a:gd name="T41" fmla="*/ 2147483647 h 293"/>
                  <a:gd name="T42" fmla="*/ 655579085 w 306"/>
                  <a:gd name="T43" fmla="*/ 2147483647 h 293"/>
                  <a:gd name="T44" fmla="*/ 1802917593 w 306"/>
                  <a:gd name="T45" fmla="*/ 2147483647 h 293"/>
                  <a:gd name="T46" fmla="*/ 2147483647 w 306"/>
                  <a:gd name="T47" fmla="*/ 1723830938 h 293"/>
                  <a:gd name="T48" fmla="*/ 2147483647 w 306"/>
                  <a:gd name="T49" fmla="*/ 430957585 h 293"/>
                  <a:gd name="T50" fmla="*/ 2147483647 w 306"/>
                  <a:gd name="T51" fmla="*/ 0 h 293"/>
                  <a:gd name="T52" fmla="*/ 2147483647 w 306"/>
                  <a:gd name="T53" fmla="*/ 1292873353 h 293"/>
                  <a:gd name="T54" fmla="*/ 2147483647 w 306"/>
                  <a:gd name="T55" fmla="*/ 1508531704 h 293"/>
                  <a:gd name="T56" fmla="*/ 2147483647 w 306"/>
                  <a:gd name="T57" fmla="*/ 861915169 h 293"/>
                  <a:gd name="T58" fmla="*/ 2147483647 w 306"/>
                  <a:gd name="T59" fmla="*/ 1077574119 h 293"/>
                  <a:gd name="T60" fmla="*/ 2147483647 w 306"/>
                  <a:gd name="T61" fmla="*/ 2147483647 h 293"/>
                  <a:gd name="T62" fmla="*/ 2147483647 w 306"/>
                  <a:gd name="T63" fmla="*/ 2147483647 h 293"/>
                  <a:gd name="T64" fmla="*/ 2147483647 w 306"/>
                  <a:gd name="T65" fmla="*/ 2147483647 h 293"/>
                  <a:gd name="T66" fmla="*/ 2147483647 w 306"/>
                  <a:gd name="T67" fmla="*/ 2147483647 h 293"/>
                  <a:gd name="T68" fmla="*/ 2147483647 w 306"/>
                  <a:gd name="T69" fmla="*/ 2147483647 h 293"/>
                  <a:gd name="T70" fmla="*/ 2147483647 w 306"/>
                  <a:gd name="T71" fmla="*/ 2147483647 h 293"/>
                  <a:gd name="T72" fmla="*/ 2147483647 w 306"/>
                  <a:gd name="T73" fmla="*/ 2147483647 h 293"/>
                  <a:gd name="T74" fmla="*/ 2147483647 w 306"/>
                  <a:gd name="T75" fmla="*/ 2147483647 h 293"/>
                  <a:gd name="T76" fmla="*/ 2147483647 w 306"/>
                  <a:gd name="T77" fmla="*/ 2147483647 h 293"/>
                  <a:gd name="T78" fmla="*/ 2147483647 w 306"/>
                  <a:gd name="T79" fmla="*/ 2147483647 h 293"/>
                  <a:gd name="T80" fmla="*/ 2147483647 w 306"/>
                  <a:gd name="T81" fmla="*/ 2147483647 h 293"/>
                  <a:gd name="T82" fmla="*/ 2147483647 w 306"/>
                  <a:gd name="T83" fmla="*/ 2147483647 h 293"/>
                  <a:gd name="T84" fmla="*/ 2147483647 w 306"/>
                  <a:gd name="T85" fmla="*/ 2147483647 h 29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306" h="293">
                    <a:moveTo>
                      <a:pt x="300" y="169"/>
                    </a:moveTo>
                    <a:lnTo>
                      <a:pt x="297" y="181"/>
                    </a:lnTo>
                    <a:lnTo>
                      <a:pt x="297" y="185"/>
                    </a:lnTo>
                    <a:lnTo>
                      <a:pt x="296" y="185"/>
                    </a:lnTo>
                    <a:lnTo>
                      <a:pt x="294" y="187"/>
                    </a:lnTo>
                    <a:lnTo>
                      <a:pt x="291" y="194"/>
                    </a:lnTo>
                    <a:lnTo>
                      <a:pt x="286" y="197"/>
                    </a:lnTo>
                    <a:lnTo>
                      <a:pt x="282" y="199"/>
                    </a:lnTo>
                    <a:lnTo>
                      <a:pt x="276" y="200"/>
                    </a:lnTo>
                    <a:lnTo>
                      <a:pt x="272" y="201"/>
                    </a:lnTo>
                    <a:lnTo>
                      <a:pt x="267" y="203"/>
                    </a:lnTo>
                    <a:lnTo>
                      <a:pt x="263" y="207"/>
                    </a:lnTo>
                    <a:lnTo>
                      <a:pt x="260" y="212"/>
                    </a:lnTo>
                    <a:lnTo>
                      <a:pt x="253" y="229"/>
                    </a:lnTo>
                    <a:lnTo>
                      <a:pt x="248" y="242"/>
                    </a:lnTo>
                    <a:lnTo>
                      <a:pt x="242" y="254"/>
                    </a:lnTo>
                    <a:lnTo>
                      <a:pt x="236" y="263"/>
                    </a:lnTo>
                    <a:lnTo>
                      <a:pt x="231" y="267"/>
                    </a:lnTo>
                    <a:lnTo>
                      <a:pt x="227" y="270"/>
                    </a:lnTo>
                    <a:lnTo>
                      <a:pt x="221" y="273"/>
                    </a:lnTo>
                    <a:lnTo>
                      <a:pt x="215" y="276"/>
                    </a:lnTo>
                    <a:lnTo>
                      <a:pt x="200" y="281"/>
                    </a:lnTo>
                    <a:lnTo>
                      <a:pt x="181" y="286"/>
                    </a:lnTo>
                    <a:lnTo>
                      <a:pt x="164" y="290"/>
                    </a:lnTo>
                    <a:lnTo>
                      <a:pt x="148" y="292"/>
                    </a:lnTo>
                    <a:lnTo>
                      <a:pt x="139" y="293"/>
                    </a:lnTo>
                    <a:lnTo>
                      <a:pt x="130" y="293"/>
                    </a:lnTo>
                    <a:lnTo>
                      <a:pt x="123" y="293"/>
                    </a:lnTo>
                    <a:lnTo>
                      <a:pt x="114" y="292"/>
                    </a:lnTo>
                    <a:lnTo>
                      <a:pt x="106" y="290"/>
                    </a:lnTo>
                    <a:lnTo>
                      <a:pt x="98" y="288"/>
                    </a:lnTo>
                    <a:lnTo>
                      <a:pt x="92" y="286"/>
                    </a:lnTo>
                    <a:lnTo>
                      <a:pt x="85" y="282"/>
                    </a:lnTo>
                    <a:lnTo>
                      <a:pt x="80" y="278"/>
                    </a:lnTo>
                    <a:lnTo>
                      <a:pt x="74" y="274"/>
                    </a:lnTo>
                    <a:lnTo>
                      <a:pt x="71" y="268"/>
                    </a:lnTo>
                    <a:lnTo>
                      <a:pt x="68" y="262"/>
                    </a:lnTo>
                    <a:lnTo>
                      <a:pt x="1" y="236"/>
                    </a:lnTo>
                    <a:lnTo>
                      <a:pt x="1" y="119"/>
                    </a:lnTo>
                    <a:lnTo>
                      <a:pt x="0" y="88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2" y="42"/>
                    </a:lnTo>
                    <a:lnTo>
                      <a:pt x="4" y="35"/>
                    </a:lnTo>
                    <a:lnTo>
                      <a:pt x="6" y="28"/>
                    </a:lnTo>
                    <a:lnTo>
                      <a:pt x="11" y="21"/>
                    </a:lnTo>
                    <a:lnTo>
                      <a:pt x="15" y="14"/>
                    </a:lnTo>
                    <a:lnTo>
                      <a:pt x="20" y="8"/>
                    </a:lnTo>
                    <a:lnTo>
                      <a:pt x="28" y="2"/>
                    </a:lnTo>
                    <a:lnTo>
                      <a:pt x="41" y="2"/>
                    </a:lnTo>
                    <a:lnTo>
                      <a:pt x="48" y="0"/>
                    </a:lnTo>
                    <a:lnTo>
                      <a:pt x="53" y="0"/>
                    </a:lnTo>
                    <a:lnTo>
                      <a:pt x="68" y="2"/>
                    </a:lnTo>
                    <a:lnTo>
                      <a:pt x="72" y="6"/>
                    </a:lnTo>
                    <a:lnTo>
                      <a:pt x="76" y="7"/>
                    </a:lnTo>
                    <a:lnTo>
                      <a:pt x="80" y="7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7" y="5"/>
                    </a:lnTo>
                    <a:lnTo>
                      <a:pt x="87" y="9"/>
                    </a:lnTo>
                    <a:lnTo>
                      <a:pt x="90" y="11"/>
                    </a:lnTo>
                    <a:lnTo>
                      <a:pt x="94" y="15"/>
                    </a:lnTo>
                    <a:lnTo>
                      <a:pt x="99" y="19"/>
                    </a:lnTo>
                    <a:lnTo>
                      <a:pt x="107" y="23"/>
                    </a:lnTo>
                    <a:lnTo>
                      <a:pt x="121" y="31"/>
                    </a:lnTo>
                    <a:lnTo>
                      <a:pt x="127" y="34"/>
                    </a:lnTo>
                    <a:lnTo>
                      <a:pt x="148" y="41"/>
                    </a:lnTo>
                    <a:lnTo>
                      <a:pt x="165" y="49"/>
                    </a:lnTo>
                    <a:lnTo>
                      <a:pt x="182" y="59"/>
                    </a:lnTo>
                    <a:lnTo>
                      <a:pt x="196" y="69"/>
                    </a:lnTo>
                    <a:lnTo>
                      <a:pt x="210" y="79"/>
                    </a:lnTo>
                    <a:lnTo>
                      <a:pt x="226" y="91"/>
                    </a:lnTo>
                    <a:lnTo>
                      <a:pt x="241" y="102"/>
                    </a:lnTo>
                    <a:lnTo>
                      <a:pt x="260" y="113"/>
                    </a:lnTo>
                    <a:lnTo>
                      <a:pt x="261" y="117"/>
                    </a:lnTo>
                    <a:lnTo>
                      <a:pt x="263" y="120"/>
                    </a:lnTo>
                    <a:lnTo>
                      <a:pt x="266" y="124"/>
                    </a:lnTo>
                    <a:lnTo>
                      <a:pt x="270" y="128"/>
                    </a:lnTo>
                    <a:lnTo>
                      <a:pt x="280" y="135"/>
                    </a:lnTo>
                    <a:lnTo>
                      <a:pt x="291" y="144"/>
                    </a:lnTo>
                    <a:lnTo>
                      <a:pt x="299" y="151"/>
                    </a:lnTo>
                    <a:lnTo>
                      <a:pt x="305" y="158"/>
                    </a:lnTo>
                    <a:lnTo>
                      <a:pt x="306" y="161"/>
                    </a:lnTo>
                    <a:lnTo>
                      <a:pt x="306" y="164"/>
                    </a:lnTo>
                    <a:lnTo>
                      <a:pt x="304" y="166"/>
                    </a:lnTo>
                    <a:lnTo>
                      <a:pt x="300" y="169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1" name="Freeform 363"/>
              <p:cNvSpPr>
                <a:spLocks/>
              </p:cNvSpPr>
              <p:nvPr/>
            </p:nvSpPr>
            <p:spPr bwMode="auto">
              <a:xfrm>
                <a:off x="7496104" y="3863615"/>
                <a:ext cx="190505" cy="227642"/>
              </a:xfrm>
              <a:custGeom>
                <a:avLst/>
                <a:gdLst>
                  <a:gd name="T0" fmla="*/ 2147483647 w 352"/>
                  <a:gd name="T1" fmla="*/ 2147483647 h 387"/>
                  <a:gd name="T2" fmla="*/ 2147483647 w 352"/>
                  <a:gd name="T3" fmla="*/ 2147483647 h 387"/>
                  <a:gd name="T4" fmla="*/ 2147483647 w 352"/>
                  <a:gd name="T5" fmla="*/ 2147483647 h 387"/>
                  <a:gd name="T6" fmla="*/ 2147483647 w 352"/>
                  <a:gd name="T7" fmla="*/ 2147483647 h 387"/>
                  <a:gd name="T8" fmla="*/ 2147483647 w 352"/>
                  <a:gd name="T9" fmla="*/ 2147483647 h 387"/>
                  <a:gd name="T10" fmla="*/ 2147483647 w 352"/>
                  <a:gd name="T11" fmla="*/ 2147483647 h 387"/>
                  <a:gd name="T12" fmla="*/ 2147483647 w 352"/>
                  <a:gd name="T13" fmla="*/ 1221052865 h 387"/>
                  <a:gd name="T14" fmla="*/ 2147483647 w 352"/>
                  <a:gd name="T15" fmla="*/ 2147483647 h 387"/>
                  <a:gd name="T16" fmla="*/ 2147483647 w 352"/>
                  <a:gd name="T17" fmla="*/ 2147483647 h 387"/>
                  <a:gd name="T18" fmla="*/ 2147483647 w 352"/>
                  <a:gd name="T19" fmla="*/ 2147483647 h 387"/>
                  <a:gd name="T20" fmla="*/ 2147483647 w 352"/>
                  <a:gd name="T21" fmla="*/ 2147483647 h 387"/>
                  <a:gd name="T22" fmla="*/ 2147483647 w 352"/>
                  <a:gd name="T23" fmla="*/ 2147483647 h 387"/>
                  <a:gd name="T24" fmla="*/ 2147483647 w 352"/>
                  <a:gd name="T25" fmla="*/ 2147483647 h 387"/>
                  <a:gd name="T26" fmla="*/ 2147483647 w 352"/>
                  <a:gd name="T27" fmla="*/ 2147483647 h 387"/>
                  <a:gd name="T28" fmla="*/ 1109526016 w 352"/>
                  <a:gd name="T29" fmla="*/ 2147483647 h 387"/>
                  <a:gd name="T30" fmla="*/ 0 w 352"/>
                  <a:gd name="T31" fmla="*/ 2147483647 h 387"/>
                  <a:gd name="T32" fmla="*/ 0 w 352"/>
                  <a:gd name="T33" fmla="*/ 2147483647 h 387"/>
                  <a:gd name="T34" fmla="*/ 475678537 w 352"/>
                  <a:gd name="T35" fmla="*/ 2147483647 h 387"/>
                  <a:gd name="T36" fmla="*/ 1426742277 w 352"/>
                  <a:gd name="T37" fmla="*/ 2147483647 h 387"/>
                  <a:gd name="T38" fmla="*/ 2147483647 w 352"/>
                  <a:gd name="T39" fmla="*/ 2147483647 h 387"/>
                  <a:gd name="T40" fmla="*/ 2147483647 w 352"/>
                  <a:gd name="T41" fmla="*/ 2147483647 h 387"/>
                  <a:gd name="T42" fmla="*/ 2147483647 w 352"/>
                  <a:gd name="T43" fmla="*/ 2147483647 h 387"/>
                  <a:gd name="T44" fmla="*/ 2147483647 w 352"/>
                  <a:gd name="T45" fmla="*/ 2147483647 h 387"/>
                  <a:gd name="T46" fmla="*/ 2147483647 w 352"/>
                  <a:gd name="T47" fmla="*/ 2147483647 h 387"/>
                  <a:gd name="T48" fmla="*/ 2147483647 w 352"/>
                  <a:gd name="T49" fmla="*/ 2147483647 h 387"/>
                  <a:gd name="T50" fmla="*/ 2147483647 w 352"/>
                  <a:gd name="T51" fmla="*/ 2147483647 h 387"/>
                  <a:gd name="T52" fmla="*/ 2147483647 w 352"/>
                  <a:gd name="T53" fmla="*/ 2147483647 h 387"/>
                  <a:gd name="T54" fmla="*/ 2147483647 w 352"/>
                  <a:gd name="T55" fmla="*/ 2147483647 h 387"/>
                  <a:gd name="T56" fmla="*/ 2147483647 w 352"/>
                  <a:gd name="T57" fmla="*/ 2147483647 h 387"/>
                  <a:gd name="T58" fmla="*/ 2147483647 w 352"/>
                  <a:gd name="T59" fmla="*/ 2147483647 h 387"/>
                  <a:gd name="T60" fmla="*/ 2147483647 w 352"/>
                  <a:gd name="T61" fmla="*/ 2147483647 h 387"/>
                  <a:gd name="T62" fmla="*/ 2147483647 w 352"/>
                  <a:gd name="T63" fmla="*/ 2147483647 h 387"/>
                  <a:gd name="T64" fmla="*/ 2147483647 w 352"/>
                  <a:gd name="T65" fmla="*/ 2147483647 h 387"/>
                  <a:gd name="T66" fmla="*/ 2147483647 w 352"/>
                  <a:gd name="T67" fmla="*/ 2147483647 h 387"/>
                  <a:gd name="T68" fmla="*/ 2147483647 w 352"/>
                  <a:gd name="T69" fmla="*/ 2147483647 h 387"/>
                  <a:gd name="T70" fmla="*/ 2147483647 w 352"/>
                  <a:gd name="T71" fmla="*/ 2147483647 h 387"/>
                  <a:gd name="T72" fmla="*/ 2147483647 w 352"/>
                  <a:gd name="T73" fmla="*/ 2147483647 h 387"/>
                  <a:gd name="T74" fmla="*/ 2147483647 w 352"/>
                  <a:gd name="T75" fmla="*/ 2147483647 h 387"/>
                  <a:gd name="T76" fmla="*/ 2147483647 w 352"/>
                  <a:gd name="T77" fmla="*/ 2147483647 h 387"/>
                  <a:gd name="T78" fmla="*/ 2147483647 w 352"/>
                  <a:gd name="T79" fmla="*/ 2147483647 h 387"/>
                  <a:gd name="T80" fmla="*/ 2147483647 w 352"/>
                  <a:gd name="T81" fmla="*/ 2147483647 h 387"/>
                  <a:gd name="T82" fmla="*/ 2147483647 w 352"/>
                  <a:gd name="T83" fmla="*/ 2147483647 h 387"/>
                  <a:gd name="T84" fmla="*/ 2147483647 w 352"/>
                  <a:gd name="T85" fmla="*/ 2147483647 h 387"/>
                  <a:gd name="T86" fmla="*/ 2147483647 w 352"/>
                  <a:gd name="T87" fmla="*/ 2147483647 h 387"/>
                  <a:gd name="T88" fmla="*/ 2147483647 w 352"/>
                  <a:gd name="T89" fmla="*/ 2147483647 h 387"/>
                  <a:gd name="T90" fmla="*/ 2147483647 w 352"/>
                  <a:gd name="T91" fmla="*/ 2147483647 h 387"/>
                  <a:gd name="T92" fmla="*/ 2147483647 w 352"/>
                  <a:gd name="T93" fmla="*/ 2147483647 h 387"/>
                  <a:gd name="T94" fmla="*/ 2147483647 w 352"/>
                  <a:gd name="T95" fmla="*/ 2147483647 h 387"/>
                  <a:gd name="T96" fmla="*/ 2147483647 w 352"/>
                  <a:gd name="T97" fmla="*/ 2147483647 h 387"/>
                  <a:gd name="T98" fmla="*/ 2147483647 w 352"/>
                  <a:gd name="T99" fmla="*/ 2147483647 h 387"/>
                  <a:gd name="T100" fmla="*/ 2147483647 w 352"/>
                  <a:gd name="T101" fmla="*/ 2147483647 h 387"/>
                  <a:gd name="T102" fmla="*/ 2147483647 w 352"/>
                  <a:gd name="T103" fmla="*/ 2147483647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462" name="Group 391"/>
              <p:cNvGrpSpPr>
                <a:grpSpLocks/>
              </p:cNvGrpSpPr>
              <p:nvPr>
                <p:custDataLst>
                  <p:tags r:id="rId351"/>
                </p:custDataLst>
              </p:nvPr>
            </p:nvGrpSpPr>
            <p:grpSpPr bwMode="auto">
              <a:xfrm>
                <a:off x="6508407" y="1124744"/>
                <a:ext cx="2382319" cy="1279813"/>
                <a:chOff x="527" y="1110"/>
                <a:chExt cx="1410" cy="709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469" name="Freeform 392"/>
                <p:cNvSpPr>
                  <a:spLocks/>
                </p:cNvSpPr>
                <p:nvPr/>
              </p:nvSpPr>
              <p:spPr bwMode="auto">
                <a:xfrm>
                  <a:off x="1401" y="1427"/>
                  <a:ext cx="31" cy="17"/>
                </a:xfrm>
                <a:custGeom>
                  <a:avLst/>
                  <a:gdLst>
                    <a:gd name="T0" fmla="*/ 0 w 98"/>
                    <a:gd name="T1" fmla="*/ 41 h 54"/>
                    <a:gd name="T2" fmla="*/ 5 w 98"/>
                    <a:gd name="T3" fmla="*/ 46 h 54"/>
                    <a:gd name="T4" fmla="*/ 13 w 98"/>
                    <a:gd name="T5" fmla="*/ 50 h 54"/>
                    <a:gd name="T6" fmla="*/ 23 w 98"/>
                    <a:gd name="T7" fmla="*/ 53 h 54"/>
                    <a:gd name="T8" fmla="*/ 32 w 98"/>
                    <a:gd name="T9" fmla="*/ 54 h 54"/>
                    <a:gd name="T10" fmla="*/ 38 w 98"/>
                    <a:gd name="T11" fmla="*/ 54 h 54"/>
                    <a:gd name="T12" fmla="*/ 45 w 98"/>
                    <a:gd name="T13" fmla="*/ 53 h 54"/>
                    <a:gd name="T14" fmla="*/ 50 w 98"/>
                    <a:gd name="T15" fmla="*/ 51 h 54"/>
                    <a:gd name="T16" fmla="*/ 56 w 98"/>
                    <a:gd name="T17" fmla="*/ 49 h 54"/>
                    <a:gd name="T18" fmla="*/ 67 w 98"/>
                    <a:gd name="T19" fmla="*/ 42 h 54"/>
                    <a:gd name="T20" fmla="*/ 75 w 98"/>
                    <a:gd name="T21" fmla="*/ 35 h 54"/>
                    <a:gd name="T22" fmla="*/ 84 w 98"/>
                    <a:gd name="T23" fmla="*/ 28 h 54"/>
                    <a:gd name="T24" fmla="*/ 91 w 98"/>
                    <a:gd name="T25" fmla="*/ 20 h 54"/>
                    <a:gd name="T26" fmla="*/ 95 w 98"/>
                    <a:gd name="T27" fmla="*/ 12 h 54"/>
                    <a:gd name="T28" fmla="*/ 98 w 98"/>
                    <a:gd name="T29" fmla="*/ 4 h 54"/>
                    <a:gd name="T30" fmla="*/ 91 w 98"/>
                    <a:gd name="T31" fmla="*/ 2 h 54"/>
                    <a:gd name="T32" fmla="*/ 83 w 98"/>
                    <a:gd name="T33" fmla="*/ 0 h 54"/>
                    <a:gd name="T34" fmla="*/ 75 w 98"/>
                    <a:gd name="T35" fmla="*/ 0 h 54"/>
                    <a:gd name="T36" fmla="*/ 68 w 98"/>
                    <a:gd name="T37" fmla="*/ 0 h 54"/>
                    <a:gd name="T38" fmla="*/ 59 w 98"/>
                    <a:gd name="T39" fmla="*/ 1 h 54"/>
                    <a:gd name="T40" fmla="*/ 51 w 98"/>
                    <a:gd name="T41" fmla="*/ 3 h 54"/>
                    <a:gd name="T42" fmla="*/ 43 w 98"/>
                    <a:gd name="T43" fmla="*/ 6 h 54"/>
                    <a:gd name="T44" fmla="*/ 37 w 98"/>
                    <a:gd name="T45" fmla="*/ 9 h 54"/>
                    <a:gd name="T46" fmla="*/ 23 w 98"/>
                    <a:gd name="T47" fmla="*/ 17 h 54"/>
                    <a:gd name="T48" fmla="*/ 12 w 98"/>
                    <a:gd name="T49" fmla="*/ 25 h 54"/>
                    <a:gd name="T50" fmla="*/ 7 w 98"/>
                    <a:gd name="T51" fmla="*/ 29 h 54"/>
                    <a:gd name="T52" fmla="*/ 4 w 98"/>
                    <a:gd name="T53" fmla="*/ 33 h 54"/>
                    <a:gd name="T54" fmla="*/ 1 w 98"/>
                    <a:gd name="T55" fmla="*/ 37 h 54"/>
                    <a:gd name="T56" fmla="*/ 0 w 98"/>
                    <a:gd name="T57" fmla="*/ 4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98" h="54">
                      <a:moveTo>
                        <a:pt x="0" y="41"/>
                      </a:moveTo>
                      <a:lnTo>
                        <a:pt x="5" y="46"/>
                      </a:lnTo>
                      <a:lnTo>
                        <a:pt x="13" y="50"/>
                      </a:lnTo>
                      <a:lnTo>
                        <a:pt x="23" y="53"/>
                      </a:lnTo>
                      <a:lnTo>
                        <a:pt x="32" y="54"/>
                      </a:lnTo>
                      <a:lnTo>
                        <a:pt x="38" y="54"/>
                      </a:lnTo>
                      <a:lnTo>
                        <a:pt x="45" y="53"/>
                      </a:lnTo>
                      <a:lnTo>
                        <a:pt x="50" y="51"/>
                      </a:lnTo>
                      <a:lnTo>
                        <a:pt x="56" y="49"/>
                      </a:lnTo>
                      <a:lnTo>
                        <a:pt x="67" y="42"/>
                      </a:lnTo>
                      <a:lnTo>
                        <a:pt x="75" y="35"/>
                      </a:lnTo>
                      <a:lnTo>
                        <a:pt x="84" y="28"/>
                      </a:lnTo>
                      <a:lnTo>
                        <a:pt x="91" y="20"/>
                      </a:lnTo>
                      <a:lnTo>
                        <a:pt x="95" y="12"/>
                      </a:lnTo>
                      <a:lnTo>
                        <a:pt x="98" y="4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8" y="0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6"/>
                      </a:lnTo>
                      <a:lnTo>
                        <a:pt x="37" y="9"/>
                      </a:lnTo>
                      <a:lnTo>
                        <a:pt x="23" y="17"/>
                      </a:lnTo>
                      <a:lnTo>
                        <a:pt x="12" y="25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7"/>
                      </a:lnTo>
                      <a:lnTo>
                        <a:pt x="0" y="4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0" name="Freeform 393"/>
                <p:cNvSpPr>
                  <a:spLocks/>
                </p:cNvSpPr>
                <p:nvPr/>
              </p:nvSpPr>
              <p:spPr bwMode="auto">
                <a:xfrm>
                  <a:off x="1387" y="1551"/>
                  <a:ext cx="21" cy="8"/>
                </a:xfrm>
                <a:custGeom>
                  <a:avLst/>
                  <a:gdLst>
                    <a:gd name="T0" fmla="*/ 0 w 67"/>
                    <a:gd name="T1" fmla="*/ 27 h 28"/>
                    <a:gd name="T2" fmla="*/ 11 w 67"/>
                    <a:gd name="T3" fmla="*/ 28 h 28"/>
                    <a:gd name="T4" fmla="*/ 21 w 67"/>
                    <a:gd name="T5" fmla="*/ 27 h 28"/>
                    <a:gd name="T6" fmla="*/ 31 w 67"/>
                    <a:gd name="T7" fmla="*/ 25 h 28"/>
                    <a:gd name="T8" fmla="*/ 41 w 67"/>
                    <a:gd name="T9" fmla="*/ 21 h 28"/>
                    <a:gd name="T10" fmla="*/ 49 w 67"/>
                    <a:gd name="T11" fmla="*/ 17 h 28"/>
                    <a:gd name="T12" fmla="*/ 57 w 67"/>
                    <a:gd name="T13" fmla="*/ 12 h 28"/>
                    <a:gd name="T14" fmla="*/ 63 w 67"/>
                    <a:gd name="T15" fmla="*/ 7 h 28"/>
                    <a:gd name="T16" fmla="*/ 67 w 67"/>
                    <a:gd name="T17" fmla="*/ 3 h 28"/>
                    <a:gd name="T18" fmla="*/ 57 w 67"/>
                    <a:gd name="T19" fmla="*/ 1 h 28"/>
                    <a:gd name="T20" fmla="*/ 46 w 67"/>
                    <a:gd name="T21" fmla="*/ 0 h 28"/>
                    <a:gd name="T22" fmla="*/ 36 w 67"/>
                    <a:gd name="T23" fmla="*/ 1 h 28"/>
                    <a:gd name="T24" fmla="*/ 26 w 67"/>
                    <a:gd name="T25" fmla="*/ 3 h 28"/>
                    <a:gd name="T26" fmla="*/ 17 w 67"/>
                    <a:gd name="T27" fmla="*/ 7 h 28"/>
                    <a:gd name="T28" fmla="*/ 10 w 67"/>
                    <a:gd name="T29" fmla="*/ 12 h 28"/>
                    <a:gd name="T30" fmla="*/ 7 w 67"/>
                    <a:gd name="T31" fmla="*/ 15 h 28"/>
                    <a:gd name="T32" fmla="*/ 4 w 67"/>
                    <a:gd name="T33" fmla="*/ 19 h 28"/>
                    <a:gd name="T34" fmla="*/ 2 w 67"/>
                    <a:gd name="T35" fmla="*/ 22 h 28"/>
                    <a:gd name="T36" fmla="*/ 0 w 67"/>
                    <a:gd name="T37" fmla="*/ 27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7" h="28">
                      <a:moveTo>
                        <a:pt x="0" y="27"/>
                      </a:moveTo>
                      <a:lnTo>
                        <a:pt x="11" y="28"/>
                      </a:lnTo>
                      <a:lnTo>
                        <a:pt x="21" y="27"/>
                      </a:lnTo>
                      <a:lnTo>
                        <a:pt x="31" y="25"/>
                      </a:lnTo>
                      <a:lnTo>
                        <a:pt x="41" y="21"/>
                      </a:lnTo>
                      <a:lnTo>
                        <a:pt x="49" y="17"/>
                      </a:lnTo>
                      <a:lnTo>
                        <a:pt x="57" y="12"/>
                      </a:lnTo>
                      <a:lnTo>
                        <a:pt x="63" y="7"/>
                      </a:lnTo>
                      <a:lnTo>
                        <a:pt x="67" y="3"/>
                      </a:lnTo>
                      <a:lnTo>
                        <a:pt x="57" y="1"/>
                      </a:lnTo>
                      <a:lnTo>
                        <a:pt x="46" y="0"/>
                      </a:lnTo>
                      <a:lnTo>
                        <a:pt x="36" y="1"/>
                      </a:lnTo>
                      <a:lnTo>
                        <a:pt x="26" y="3"/>
                      </a:lnTo>
                      <a:lnTo>
                        <a:pt x="17" y="7"/>
                      </a:lnTo>
                      <a:lnTo>
                        <a:pt x="10" y="12"/>
                      </a:lnTo>
                      <a:lnTo>
                        <a:pt x="7" y="15"/>
                      </a:lnTo>
                      <a:lnTo>
                        <a:pt x="4" y="19"/>
                      </a:lnTo>
                      <a:lnTo>
                        <a:pt x="2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1" name="Freeform 394"/>
                <p:cNvSpPr>
                  <a:spLocks/>
                </p:cNvSpPr>
                <p:nvPr/>
              </p:nvSpPr>
              <p:spPr bwMode="auto">
                <a:xfrm>
                  <a:off x="1332" y="1608"/>
                  <a:ext cx="11" cy="11"/>
                </a:xfrm>
                <a:custGeom>
                  <a:avLst/>
                  <a:gdLst>
                    <a:gd name="T0" fmla="*/ 0 w 32"/>
                    <a:gd name="T1" fmla="*/ 18 h 36"/>
                    <a:gd name="T2" fmla="*/ 1 w 32"/>
                    <a:gd name="T3" fmla="*/ 24 h 36"/>
                    <a:gd name="T4" fmla="*/ 4 w 32"/>
                    <a:gd name="T5" fmla="*/ 29 h 36"/>
                    <a:gd name="T6" fmla="*/ 6 w 32"/>
                    <a:gd name="T7" fmla="*/ 32 h 36"/>
                    <a:gd name="T8" fmla="*/ 8 w 32"/>
                    <a:gd name="T9" fmla="*/ 34 h 36"/>
                    <a:gd name="T10" fmla="*/ 11 w 32"/>
                    <a:gd name="T11" fmla="*/ 36 h 36"/>
                    <a:gd name="T12" fmla="*/ 13 w 32"/>
                    <a:gd name="T13" fmla="*/ 36 h 36"/>
                    <a:gd name="T14" fmla="*/ 32 w 32"/>
                    <a:gd name="T15" fmla="*/ 36 h 36"/>
                    <a:gd name="T16" fmla="*/ 32 w 32"/>
                    <a:gd name="T17" fmla="*/ 22 h 36"/>
                    <a:gd name="T18" fmla="*/ 31 w 32"/>
                    <a:gd name="T19" fmla="*/ 14 h 36"/>
                    <a:gd name="T20" fmla="*/ 30 w 32"/>
                    <a:gd name="T21" fmla="*/ 7 h 36"/>
                    <a:gd name="T22" fmla="*/ 26 w 32"/>
                    <a:gd name="T23" fmla="*/ 0 h 36"/>
                    <a:gd name="T24" fmla="*/ 19 w 32"/>
                    <a:gd name="T25" fmla="*/ 2 h 36"/>
                    <a:gd name="T26" fmla="*/ 11 w 32"/>
                    <a:gd name="T27" fmla="*/ 7 h 36"/>
                    <a:gd name="T28" fmla="*/ 6 w 32"/>
                    <a:gd name="T29" fmla="*/ 10 h 36"/>
                    <a:gd name="T30" fmla="*/ 3 w 32"/>
                    <a:gd name="T31" fmla="*/ 13 h 36"/>
                    <a:gd name="T32" fmla="*/ 1 w 32"/>
                    <a:gd name="T33" fmla="*/ 16 h 36"/>
                    <a:gd name="T34" fmla="*/ 0 w 32"/>
                    <a:gd name="T35" fmla="*/ 1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" h="36">
                      <a:moveTo>
                        <a:pt x="0" y="18"/>
                      </a:moveTo>
                      <a:lnTo>
                        <a:pt x="1" y="24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1" y="36"/>
                      </a:lnTo>
                      <a:lnTo>
                        <a:pt x="13" y="36"/>
                      </a:lnTo>
                      <a:lnTo>
                        <a:pt x="32" y="36"/>
                      </a:lnTo>
                      <a:lnTo>
                        <a:pt x="32" y="22"/>
                      </a:lnTo>
                      <a:lnTo>
                        <a:pt x="31" y="14"/>
                      </a:lnTo>
                      <a:lnTo>
                        <a:pt x="30" y="7"/>
                      </a:lnTo>
                      <a:lnTo>
                        <a:pt x="26" y="0"/>
                      </a:lnTo>
                      <a:lnTo>
                        <a:pt x="19" y="2"/>
                      </a:lnTo>
                      <a:lnTo>
                        <a:pt x="11" y="7"/>
                      </a:lnTo>
                      <a:lnTo>
                        <a:pt x="6" y="10"/>
                      </a:lnTo>
                      <a:lnTo>
                        <a:pt x="3" y="13"/>
                      </a:lnTo>
                      <a:lnTo>
                        <a:pt x="1" y="16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2" name="Freeform 395"/>
                <p:cNvSpPr>
                  <a:spLocks/>
                </p:cNvSpPr>
                <p:nvPr/>
              </p:nvSpPr>
              <p:spPr bwMode="auto">
                <a:xfrm>
                  <a:off x="1279" y="1314"/>
                  <a:ext cx="46" cy="17"/>
                </a:xfrm>
                <a:custGeom>
                  <a:avLst/>
                  <a:gdLst>
                    <a:gd name="T0" fmla="*/ 0 w 146"/>
                    <a:gd name="T1" fmla="*/ 43 h 52"/>
                    <a:gd name="T2" fmla="*/ 11 w 146"/>
                    <a:gd name="T3" fmla="*/ 46 h 52"/>
                    <a:gd name="T4" fmla="*/ 22 w 146"/>
                    <a:gd name="T5" fmla="*/ 48 h 52"/>
                    <a:gd name="T6" fmla="*/ 33 w 146"/>
                    <a:gd name="T7" fmla="*/ 51 h 52"/>
                    <a:gd name="T8" fmla="*/ 43 w 146"/>
                    <a:gd name="T9" fmla="*/ 52 h 52"/>
                    <a:gd name="T10" fmla="*/ 63 w 146"/>
                    <a:gd name="T11" fmla="*/ 52 h 52"/>
                    <a:gd name="T12" fmla="*/ 82 w 146"/>
                    <a:gd name="T13" fmla="*/ 51 h 52"/>
                    <a:gd name="T14" fmla="*/ 117 w 146"/>
                    <a:gd name="T15" fmla="*/ 46 h 52"/>
                    <a:gd name="T16" fmla="*/ 146 w 146"/>
                    <a:gd name="T17" fmla="*/ 43 h 52"/>
                    <a:gd name="T18" fmla="*/ 144 w 146"/>
                    <a:gd name="T19" fmla="*/ 36 h 52"/>
                    <a:gd name="T20" fmla="*/ 142 w 146"/>
                    <a:gd name="T21" fmla="*/ 30 h 52"/>
                    <a:gd name="T22" fmla="*/ 139 w 146"/>
                    <a:gd name="T23" fmla="*/ 24 h 52"/>
                    <a:gd name="T24" fmla="*/ 137 w 146"/>
                    <a:gd name="T25" fmla="*/ 19 h 52"/>
                    <a:gd name="T26" fmla="*/ 134 w 146"/>
                    <a:gd name="T27" fmla="*/ 15 h 52"/>
                    <a:gd name="T28" fmla="*/ 129 w 146"/>
                    <a:gd name="T29" fmla="*/ 11 h 52"/>
                    <a:gd name="T30" fmla="*/ 125 w 146"/>
                    <a:gd name="T31" fmla="*/ 8 h 52"/>
                    <a:gd name="T32" fmla="*/ 121 w 146"/>
                    <a:gd name="T33" fmla="*/ 6 h 52"/>
                    <a:gd name="T34" fmla="*/ 111 w 146"/>
                    <a:gd name="T35" fmla="*/ 2 h 52"/>
                    <a:gd name="T36" fmla="*/ 101 w 146"/>
                    <a:gd name="T37" fmla="*/ 0 h 52"/>
                    <a:gd name="T38" fmla="*/ 89 w 146"/>
                    <a:gd name="T39" fmla="*/ 1 h 52"/>
                    <a:gd name="T40" fmla="*/ 78 w 146"/>
                    <a:gd name="T41" fmla="*/ 2 h 52"/>
                    <a:gd name="T42" fmla="*/ 66 w 146"/>
                    <a:gd name="T43" fmla="*/ 5 h 52"/>
                    <a:gd name="T44" fmla="*/ 54 w 146"/>
                    <a:gd name="T45" fmla="*/ 9 h 52"/>
                    <a:gd name="T46" fmla="*/ 43 w 146"/>
                    <a:gd name="T47" fmla="*/ 14 h 52"/>
                    <a:gd name="T48" fmla="*/ 32 w 146"/>
                    <a:gd name="T49" fmla="*/ 19 h 52"/>
                    <a:gd name="T50" fmla="*/ 22 w 146"/>
                    <a:gd name="T51" fmla="*/ 25 h 52"/>
                    <a:gd name="T52" fmla="*/ 13 w 146"/>
                    <a:gd name="T53" fmla="*/ 31 h 52"/>
                    <a:gd name="T54" fmla="*/ 5 w 146"/>
                    <a:gd name="T55" fmla="*/ 37 h 52"/>
                    <a:gd name="T56" fmla="*/ 0 w 146"/>
                    <a:gd name="T57" fmla="*/ 43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46" h="52">
                      <a:moveTo>
                        <a:pt x="0" y="43"/>
                      </a:moveTo>
                      <a:lnTo>
                        <a:pt x="11" y="46"/>
                      </a:lnTo>
                      <a:lnTo>
                        <a:pt x="22" y="48"/>
                      </a:lnTo>
                      <a:lnTo>
                        <a:pt x="33" y="51"/>
                      </a:lnTo>
                      <a:lnTo>
                        <a:pt x="43" y="52"/>
                      </a:lnTo>
                      <a:lnTo>
                        <a:pt x="63" y="52"/>
                      </a:lnTo>
                      <a:lnTo>
                        <a:pt x="82" y="51"/>
                      </a:lnTo>
                      <a:lnTo>
                        <a:pt x="117" y="46"/>
                      </a:lnTo>
                      <a:lnTo>
                        <a:pt x="146" y="43"/>
                      </a:lnTo>
                      <a:lnTo>
                        <a:pt x="144" y="36"/>
                      </a:lnTo>
                      <a:lnTo>
                        <a:pt x="142" y="30"/>
                      </a:lnTo>
                      <a:lnTo>
                        <a:pt x="139" y="24"/>
                      </a:lnTo>
                      <a:lnTo>
                        <a:pt x="137" y="19"/>
                      </a:lnTo>
                      <a:lnTo>
                        <a:pt x="134" y="15"/>
                      </a:lnTo>
                      <a:lnTo>
                        <a:pt x="129" y="11"/>
                      </a:lnTo>
                      <a:lnTo>
                        <a:pt x="125" y="8"/>
                      </a:lnTo>
                      <a:lnTo>
                        <a:pt x="121" y="6"/>
                      </a:lnTo>
                      <a:lnTo>
                        <a:pt x="111" y="2"/>
                      </a:lnTo>
                      <a:lnTo>
                        <a:pt x="101" y="0"/>
                      </a:lnTo>
                      <a:lnTo>
                        <a:pt x="89" y="1"/>
                      </a:lnTo>
                      <a:lnTo>
                        <a:pt x="78" y="2"/>
                      </a:lnTo>
                      <a:lnTo>
                        <a:pt x="66" y="5"/>
                      </a:lnTo>
                      <a:lnTo>
                        <a:pt x="54" y="9"/>
                      </a:lnTo>
                      <a:lnTo>
                        <a:pt x="43" y="14"/>
                      </a:lnTo>
                      <a:lnTo>
                        <a:pt x="32" y="19"/>
                      </a:lnTo>
                      <a:lnTo>
                        <a:pt x="22" y="25"/>
                      </a:lnTo>
                      <a:lnTo>
                        <a:pt x="13" y="31"/>
                      </a:lnTo>
                      <a:lnTo>
                        <a:pt x="5" y="37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3" name="Freeform 396"/>
                <p:cNvSpPr>
                  <a:spLocks/>
                </p:cNvSpPr>
                <p:nvPr/>
              </p:nvSpPr>
              <p:spPr bwMode="auto">
                <a:xfrm>
                  <a:off x="1261" y="1252"/>
                  <a:ext cx="20" cy="10"/>
                </a:xfrm>
                <a:custGeom>
                  <a:avLst/>
                  <a:gdLst>
                    <a:gd name="T0" fmla="*/ 60 w 60"/>
                    <a:gd name="T1" fmla="*/ 0 h 31"/>
                    <a:gd name="T2" fmla="*/ 49 w 60"/>
                    <a:gd name="T3" fmla="*/ 0 h 31"/>
                    <a:gd name="T4" fmla="*/ 38 w 60"/>
                    <a:gd name="T5" fmla="*/ 0 h 31"/>
                    <a:gd name="T6" fmla="*/ 31 w 60"/>
                    <a:gd name="T7" fmla="*/ 0 h 31"/>
                    <a:gd name="T8" fmla="*/ 27 w 60"/>
                    <a:gd name="T9" fmla="*/ 0 h 31"/>
                    <a:gd name="T10" fmla="*/ 18 w 60"/>
                    <a:gd name="T11" fmla="*/ 0 h 31"/>
                    <a:gd name="T12" fmla="*/ 9 w 60"/>
                    <a:gd name="T13" fmla="*/ 2 h 31"/>
                    <a:gd name="T14" fmla="*/ 5 w 60"/>
                    <a:gd name="T15" fmla="*/ 3 h 31"/>
                    <a:gd name="T16" fmla="*/ 2 w 60"/>
                    <a:gd name="T17" fmla="*/ 5 h 31"/>
                    <a:gd name="T18" fmla="*/ 1 w 60"/>
                    <a:gd name="T19" fmla="*/ 8 h 31"/>
                    <a:gd name="T20" fmla="*/ 0 w 60"/>
                    <a:gd name="T21" fmla="*/ 12 h 31"/>
                    <a:gd name="T22" fmla="*/ 1 w 60"/>
                    <a:gd name="T23" fmla="*/ 15 h 31"/>
                    <a:gd name="T24" fmla="*/ 2 w 60"/>
                    <a:gd name="T25" fmla="*/ 18 h 31"/>
                    <a:gd name="T26" fmla="*/ 5 w 60"/>
                    <a:gd name="T27" fmla="*/ 22 h 31"/>
                    <a:gd name="T28" fmla="*/ 9 w 60"/>
                    <a:gd name="T29" fmla="*/ 24 h 31"/>
                    <a:gd name="T30" fmla="*/ 12 w 60"/>
                    <a:gd name="T31" fmla="*/ 27 h 31"/>
                    <a:gd name="T32" fmla="*/ 18 w 60"/>
                    <a:gd name="T33" fmla="*/ 29 h 31"/>
                    <a:gd name="T34" fmla="*/ 22 w 60"/>
                    <a:gd name="T35" fmla="*/ 31 h 31"/>
                    <a:gd name="T36" fmla="*/ 27 w 60"/>
                    <a:gd name="T37" fmla="*/ 31 h 31"/>
                    <a:gd name="T38" fmla="*/ 32 w 60"/>
                    <a:gd name="T39" fmla="*/ 30 h 31"/>
                    <a:gd name="T40" fmla="*/ 37 w 60"/>
                    <a:gd name="T41" fmla="*/ 28 h 31"/>
                    <a:gd name="T42" fmla="*/ 43 w 60"/>
                    <a:gd name="T43" fmla="*/ 24 h 31"/>
                    <a:gd name="T44" fmla="*/ 48 w 60"/>
                    <a:gd name="T45" fmla="*/ 18 h 31"/>
                    <a:gd name="T46" fmla="*/ 57 w 60"/>
                    <a:gd name="T47" fmla="*/ 10 h 31"/>
                    <a:gd name="T48" fmla="*/ 60 w 60"/>
                    <a:gd name="T49" fmla="*/ 6 h 31"/>
                    <a:gd name="T50" fmla="*/ 60 w 60"/>
                    <a:gd name="T51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60" h="31">
                      <a:moveTo>
                        <a:pt x="60" y="0"/>
                      </a:moveTo>
                      <a:lnTo>
                        <a:pt x="49" y="0"/>
                      </a:lnTo>
                      <a:lnTo>
                        <a:pt x="38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9" y="2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8"/>
                      </a:lnTo>
                      <a:lnTo>
                        <a:pt x="5" y="22"/>
                      </a:lnTo>
                      <a:lnTo>
                        <a:pt x="9" y="24"/>
                      </a:lnTo>
                      <a:lnTo>
                        <a:pt x="12" y="27"/>
                      </a:lnTo>
                      <a:lnTo>
                        <a:pt x="18" y="29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32" y="30"/>
                      </a:lnTo>
                      <a:lnTo>
                        <a:pt x="37" y="28"/>
                      </a:lnTo>
                      <a:lnTo>
                        <a:pt x="43" y="24"/>
                      </a:lnTo>
                      <a:lnTo>
                        <a:pt x="48" y="18"/>
                      </a:lnTo>
                      <a:lnTo>
                        <a:pt x="57" y="10"/>
                      </a:lnTo>
                      <a:lnTo>
                        <a:pt x="60" y="6"/>
                      </a:lnTo>
                      <a:lnTo>
                        <a:pt x="6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4" name="Freeform 397"/>
                <p:cNvSpPr>
                  <a:spLocks/>
                </p:cNvSpPr>
                <p:nvPr/>
              </p:nvSpPr>
              <p:spPr bwMode="auto">
                <a:xfrm>
                  <a:off x="1730" y="1713"/>
                  <a:ext cx="26" cy="20"/>
                </a:xfrm>
                <a:custGeom>
                  <a:avLst/>
                  <a:gdLst>
                    <a:gd name="T0" fmla="*/ 0 w 80"/>
                    <a:gd name="T1" fmla="*/ 43 h 62"/>
                    <a:gd name="T2" fmla="*/ 1 w 80"/>
                    <a:gd name="T3" fmla="*/ 46 h 62"/>
                    <a:gd name="T4" fmla="*/ 1 w 80"/>
                    <a:gd name="T5" fmla="*/ 49 h 62"/>
                    <a:gd name="T6" fmla="*/ 3 w 80"/>
                    <a:gd name="T7" fmla="*/ 51 h 62"/>
                    <a:gd name="T8" fmla="*/ 4 w 80"/>
                    <a:gd name="T9" fmla="*/ 53 h 62"/>
                    <a:gd name="T10" fmla="*/ 10 w 80"/>
                    <a:gd name="T11" fmla="*/ 57 h 62"/>
                    <a:gd name="T12" fmla="*/ 15 w 80"/>
                    <a:gd name="T13" fmla="*/ 59 h 62"/>
                    <a:gd name="T14" fmla="*/ 28 w 80"/>
                    <a:gd name="T15" fmla="*/ 62 h 62"/>
                    <a:gd name="T16" fmla="*/ 40 w 80"/>
                    <a:gd name="T17" fmla="*/ 62 h 62"/>
                    <a:gd name="T18" fmla="*/ 45 w 80"/>
                    <a:gd name="T19" fmla="*/ 62 h 62"/>
                    <a:gd name="T20" fmla="*/ 49 w 80"/>
                    <a:gd name="T21" fmla="*/ 59 h 62"/>
                    <a:gd name="T22" fmla="*/ 54 w 80"/>
                    <a:gd name="T23" fmla="*/ 57 h 62"/>
                    <a:gd name="T24" fmla="*/ 58 w 80"/>
                    <a:gd name="T25" fmla="*/ 54 h 62"/>
                    <a:gd name="T26" fmla="*/ 65 w 80"/>
                    <a:gd name="T27" fmla="*/ 47 h 62"/>
                    <a:gd name="T28" fmla="*/ 70 w 80"/>
                    <a:gd name="T29" fmla="*/ 38 h 62"/>
                    <a:gd name="T30" fmla="*/ 74 w 80"/>
                    <a:gd name="T31" fmla="*/ 28 h 62"/>
                    <a:gd name="T32" fmla="*/ 78 w 80"/>
                    <a:gd name="T33" fmla="*/ 18 h 62"/>
                    <a:gd name="T34" fmla="*/ 79 w 80"/>
                    <a:gd name="T35" fmla="*/ 8 h 62"/>
                    <a:gd name="T36" fmla="*/ 80 w 80"/>
                    <a:gd name="T37" fmla="*/ 0 h 62"/>
                    <a:gd name="T38" fmla="*/ 71 w 80"/>
                    <a:gd name="T39" fmla="*/ 0 h 62"/>
                    <a:gd name="T40" fmla="*/ 59 w 80"/>
                    <a:gd name="T41" fmla="*/ 3 h 62"/>
                    <a:gd name="T42" fmla="*/ 46 w 80"/>
                    <a:gd name="T43" fmla="*/ 8 h 62"/>
                    <a:gd name="T44" fmla="*/ 33 w 80"/>
                    <a:gd name="T45" fmla="*/ 13 h 62"/>
                    <a:gd name="T46" fmla="*/ 21 w 80"/>
                    <a:gd name="T47" fmla="*/ 19 h 62"/>
                    <a:gd name="T48" fmla="*/ 10 w 80"/>
                    <a:gd name="T49" fmla="*/ 26 h 62"/>
                    <a:gd name="T50" fmla="*/ 6 w 80"/>
                    <a:gd name="T51" fmla="*/ 30 h 62"/>
                    <a:gd name="T52" fmla="*/ 3 w 80"/>
                    <a:gd name="T53" fmla="*/ 34 h 62"/>
                    <a:gd name="T54" fmla="*/ 1 w 80"/>
                    <a:gd name="T55" fmla="*/ 39 h 62"/>
                    <a:gd name="T56" fmla="*/ 0 w 80"/>
                    <a:gd name="T57" fmla="*/ 43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80" h="62">
                      <a:moveTo>
                        <a:pt x="0" y="43"/>
                      </a:moveTo>
                      <a:lnTo>
                        <a:pt x="1" y="46"/>
                      </a:lnTo>
                      <a:lnTo>
                        <a:pt x="1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10" y="57"/>
                      </a:lnTo>
                      <a:lnTo>
                        <a:pt x="15" y="59"/>
                      </a:lnTo>
                      <a:lnTo>
                        <a:pt x="28" y="62"/>
                      </a:lnTo>
                      <a:lnTo>
                        <a:pt x="40" y="62"/>
                      </a:lnTo>
                      <a:lnTo>
                        <a:pt x="45" y="62"/>
                      </a:lnTo>
                      <a:lnTo>
                        <a:pt x="49" y="59"/>
                      </a:lnTo>
                      <a:lnTo>
                        <a:pt x="54" y="57"/>
                      </a:lnTo>
                      <a:lnTo>
                        <a:pt x="58" y="54"/>
                      </a:lnTo>
                      <a:lnTo>
                        <a:pt x="65" y="47"/>
                      </a:lnTo>
                      <a:lnTo>
                        <a:pt x="70" y="38"/>
                      </a:lnTo>
                      <a:lnTo>
                        <a:pt x="74" y="28"/>
                      </a:lnTo>
                      <a:lnTo>
                        <a:pt x="78" y="18"/>
                      </a:lnTo>
                      <a:lnTo>
                        <a:pt x="79" y="8"/>
                      </a:lnTo>
                      <a:lnTo>
                        <a:pt x="80" y="0"/>
                      </a:lnTo>
                      <a:lnTo>
                        <a:pt x="71" y="0"/>
                      </a:lnTo>
                      <a:lnTo>
                        <a:pt x="59" y="3"/>
                      </a:lnTo>
                      <a:lnTo>
                        <a:pt x="46" y="8"/>
                      </a:lnTo>
                      <a:lnTo>
                        <a:pt x="33" y="13"/>
                      </a:lnTo>
                      <a:lnTo>
                        <a:pt x="21" y="19"/>
                      </a:lnTo>
                      <a:lnTo>
                        <a:pt x="10" y="26"/>
                      </a:lnTo>
                      <a:lnTo>
                        <a:pt x="6" y="30"/>
                      </a:lnTo>
                      <a:lnTo>
                        <a:pt x="3" y="34"/>
                      </a:lnTo>
                      <a:lnTo>
                        <a:pt x="1" y="39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5" name="Freeform 398"/>
                <p:cNvSpPr>
                  <a:spLocks/>
                </p:cNvSpPr>
                <p:nvPr/>
              </p:nvSpPr>
              <p:spPr bwMode="auto">
                <a:xfrm>
                  <a:off x="1583" y="1674"/>
                  <a:ext cx="33" cy="16"/>
                </a:xfrm>
                <a:custGeom>
                  <a:avLst/>
                  <a:gdLst>
                    <a:gd name="T0" fmla="*/ 80 w 106"/>
                    <a:gd name="T1" fmla="*/ 13 h 49"/>
                    <a:gd name="T2" fmla="*/ 72 w 106"/>
                    <a:gd name="T3" fmla="*/ 12 h 49"/>
                    <a:gd name="T4" fmla="*/ 66 w 106"/>
                    <a:gd name="T5" fmla="*/ 11 h 49"/>
                    <a:gd name="T6" fmla="*/ 59 w 106"/>
                    <a:gd name="T7" fmla="*/ 8 h 49"/>
                    <a:gd name="T8" fmla="*/ 53 w 106"/>
                    <a:gd name="T9" fmla="*/ 6 h 49"/>
                    <a:gd name="T10" fmla="*/ 47 w 106"/>
                    <a:gd name="T11" fmla="*/ 4 h 49"/>
                    <a:gd name="T12" fmla="*/ 41 w 106"/>
                    <a:gd name="T13" fmla="*/ 2 h 49"/>
                    <a:gd name="T14" fmla="*/ 34 w 106"/>
                    <a:gd name="T15" fmla="*/ 0 h 49"/>
                    <a:gd name="T16" fmla="*/ 26 w 106"/>
                    <a:gd name="T17" fmla="*/ 0 h 49"/>
                    <a:gd name="T18" fmla="*/ 15 w 106"/>
                    <a:gd name="T19" fmla="*/ 0 h 49"/>
                    <a:gd name="T20" fmla="*/ 0 w 106"/>
                    <a:gd name="T21" fmla="*/ 0 h 49"/>
                    <a:gd name="T22" fmla="*/ 9 w 106"/>
                    <a:gd name="T23" fmla="*/ 11 h 49"/>
                    <a:gd name="T24" fmla="*/ 17 w 106"/>
                    <a:gd name="T25" fmla="*/ 21 h 49"/>
                    <a:gd name="T26" fmla="*/ 26 w 106"/>
                    <a:gd name="T27" fmla="*/ 29 h 49"/>
                    <a:gd name="T28" fmla="*/ 34 w 106"/>
                    <a:gd name="T29" fmla="*/ 36 h 49"/>
                    <a:gd name="T30" fmla="*/ 42 w 106"/>
                    <a:gd name="T31" fmla="*/ 42 h 49"/>
                    <a:gd name="T32" fmla="*/ 52 w 106"/>
                    <a:gd name="T33" fmla="*/ 46 h 49"/>
                    <a:gd name="T34" fmla="*/ 61 w 106"/>
                    <a:gd name="T35" fmla="*/ 48 h 49"/>
                    <a:gd name="T36" fmla="*/ 72 w 106"/>
                    <a:gd name="T37" fmla="*/ 49 h 49"/>
                    <a:gd name="T38" fmla="*/ 79 w 106"/>
                    <a:gd name="T39" fmla="*/ 48 h 49"/>
                    <a:gd name="T40" fmla="*/ 87 w 106"/>
                    <a:gd name="T41" fmla="*/ 45 h 49"/>
                    <a:gd name="T42" fmla="*/ 97 w 106"/>
                    <a:gd name="T43" fmla="*/ 39 h 49"/>
                    <a:gd name="T44" fmla="*/ 106 w 106"/>
                    <a:gd name="T45" fmla="*/ 31 h 49"/>
                    <a:gd name="T46" fmla="*/ 101 w 106"/>
                    <a:gd name="T47" fmla="*/ 30 h 49"/>
                    <a:gd name="T48" fmla="*/ 98 w 106"/>
                    <a:gd name="T49" fmla="*/ 28 h 49"/>
                    <a:gd name="T50" fmla="*/ 93 w 106"/>
                    <a:gd name="T51" fmla="*/ 25 h 49"/>
                    <a:gd name="T52" fmla="*/ 90 w 106"/>
                    <a:gd name="T53" fmla="*/ 22 h 49"/>
                    <a:gd name="T54" fmla="*/ 88 w 106"/>
                    <a:gd name="T55" fmla="*/ 19 h 49"/>
                    <a:gd name="T56" fmla="*/ 84 w 106"/>
                    <a:gd name="T57" fmla="*/ 16 h 49"/>
                    <a:gd name="T58" fmla="*/ 82 w 106"/>
                    <a:gd name="T59" fmla="*/ 14 h 49"/>
                    <a:gd name="T60" fmla="*/ 80 w 106"/>
                    <a:gd name="T61" fmla="*/ 1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49">
                      <a:moveTo>
                        <a:pt x="80" y="13"/>
                      </a:moveTo>
                      <a:lnTo>
                        <a:pt x="72" y="12"/>
                      </a:lnTo>
                      <a:lnTo>
                        <a:pt x="66" y="11"/>
                      </a:lnTo>
                      <a:lnTo>
                        <a:pt x="59" y="8"/>
                      </a:lnTo>
                      <a:lnTo>
                        <a:pt x="53" y="6"/>
                      </a:lnTo>
                      <a:lnTo>
                        <a:pt x="47" y="4"/>
                      </a:lnTo>
                      <a:lnTo>
                        <a:pt x="41" y="2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9" y="11"/>
                      </a:lnTo>
                      <a:lnTo>
                        <a:pt x="17" y="21"/>
                      </a:lnTo>
                      <a:lnTo>
                        <a:pt x="26" y="29"/>
                      </a:lnTo>
                      <a:lnTo>
                        <a:pt x="34" y="36"/>
                      </a:lnTo>
                      <a:lnTo>
                        <a:pt x="42" y="42"/>
                      </a:lnTo>
                      <a:lnTo>
                        <a:pt x="52" y="46"/>
                      </a:lnTo>
                      <a:lnTo>
                        <a:pt x="61" y="48"/>
                      </a:lnTo>
                      <a:lnTo>
                        <a:pt x="72" y="49"/>
                      </a:lnTo>
                      <a:lnTo>
                        <a:pt x="79" y="48"/>
                      </a:lnTo>
                      <a:lnTo>
                        <a:pt x="87" y="45"/>
                      </a:lnTo>
                      <a:lnTo>
                        <a:pt x="97" y="39"/>
                      </a:lnTo>
                      <a:lnTo>
                        <a:pt x="106" y="31"/>
                      </a:lnTo>
                      <a:lnTo>
                        <a:pt x="101" y="30"/>
                      </a:lnTo>
                      <a:lnTo>
                        <a:pt x="98" y="28"/>
                      </a:lnTo>
                      <a:lnTo>
                        <a:pt x="93" y="25"/>
                      </a:lnTo>
                      <a:lnTo>
                        <a:pt x="90" y="22"/>
                      </a:lnTo>
                      <a:lnTo>
                        <a:pt x="88" y="19"/>
                      </a:lnTo>
                      <a:lnTo>
                        <a:pt x="84" y="16"/>
                      </a:lnTo>
                      <a:lnTo>
                        <a:pt x="82" y="14"/>
                      </a:lnTo>
                      <a:lnTo>
                        <a:pt x="8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6" name="Freeform 399"/>
                <p:cNvSpPr>
                  <a:spLocks/>
                </p:cNvSpPr>
                <p:nvPr/>
              </p:nvSpPr>
              <p:spPr bwMode="auto">
                <a:xfrm>
                  <a:off x="1599" y="1713"/>
                  <a:ext cx="15" cy="7"/>
                </a:xfrm>
                <a:custGeom>
                  <a:avLst/>
                  <a:gdLst>
                    <a:gd name="T0" fmla="*/ 0 w 47"/>
                    <a:gd name="T1" fmla="*/ 19 h 22"/>
                    <a:gd name="T2" fmla="*/ 5 w 47"/>
                    <a:gd name="T3" fmla="*/ 21 h 22"/>
                    <a:gd name="T4" fmla="*/ 12 w 47"/>
                    <a:gd name="T5" fmla="*/ 22 h 22"/>
                    <a:gd name="T6" fmla="*/ 18 w 47"/>
                    <a:gd name="T7" fmla="*/ 22 h 22"/>
                    <a:gd name="T8" fmla="*/ 26 w 47"/>
                    <a:gd name="T9" fmla="*/ 21 h 22"/>
                    <a:gd name="T10" fmla="*/ 33 w 47"/>
                    <a:gd name="T11" fmla="*/ 19 h 22"/>
                    <a:gd name="T12" fmla="*/ 38 w 47"/>
                    <a:gd name="T13" fmla="*/ 15 h 22"/>
                    <a:gd name="T14" fmla="*/ 41 w 47"/>
                    <a:gd name="T15" fmla="*/ 12 h 22"/>
                    <a:gd name="T16" fmla="*/ 44 w 47"/>
                    <a:gd name="T17" fmla="*/ 9 h 22"/>
                    <a:gd name="T18" fmla="*/ 45 w 47"/>
                    <a:gd name="T19" fmla="*/ 5 h 22"/>
                    <a:gd name="T20" fmla="*/ 47 w 47"/>
                    <a:gd name="T21" fmla="*/ 0 h 22"/>
                    <a:gd name="T22" fmla="*/ 0 w 47"/>
                    <a:gd name="T23" fmla="*/ 19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7" h="22">
                      <a:moveTo>
                        <a:pt x="0" y="19"/>
                      </a:move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8" y="22"/>
                      </a:lnTo>
                      <a:lnTo>
                        <a:pt x="26" y="21"/>
                      </a:lnTo>
                      <a:lnTo>
                        <a:pt x="33" y="19"/>
                      </a:lnTo>
                      <a:lnTo>
                        <a:pt x="38" y="15"/>
                      </a:lnTo>
                      <a:lnTo>
                        <a:pt x="41" y="12"/>
                      </a:lnTo>
                      <a:lnTo>
                        <a:pt x="44" y="9"/>
                      </a:lnTo>
                      <a:lnTo>
                        <a:pt x="45" y="5"/>
                      </a:lnTo>
                      <a:lnTo>
                        <a:pt x="47" y="0"/>
                      </a:lnTo>
                      <a:lnTo>
                        <a:pt x="0" y="1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7" name="Freeform 400"/>
                <p:cNvSpPr>
                  <a:spLocks/>
                </p:cNvSpPr>
                <p:nvPr/>
              </p:nvSpPr>
              <p:spPr bwMode="auto">
                <a:xfrm>
                  <a:off x="1608" y="1742"/>
                  <a:ext cx="17" cy="11"/>
                </a:xfrm>
                <a:custGeom>
                  <a:avLst/>
                  <a:gdLst>
                    <a:gd name="T0" fmla="*/ 53 w 53"/>
                    <a:gd name="T1" fmla="*/ 0 h 32"/>
                    <a:gd name="T2" fmla="*/ 37 w 53"/>
                    <a:gd name="T3" fmla="*/ 9 h 32"/>
                    <a:gd name="T4" fmla="*/ 23 w 53"/>
                    <a:gd name="T5" fmla="*/ 18 h 32"/>
                    <a:gd name="T6" fmla="*/ 11 w 53"/>
                    <a:gd name="T7" fmla="*/ 26 h 32"/>
                    <a:gd name="T8" fmla="*/ 0 w 53"/>
                    <a:gd name="T9" fmla="*/ 32 h 32"/>
                    <a:gd name="T10" fmla="*/ 13 w 53"/>
                    <a:gd name="T11" fmla="*/ 32 h 32"/>
                    <a:gd name="T12" fmla="*/ 26 w 53"/>
                    <a:gd name="T13" fmla="*/ 32 h 32"/>
                    <a:gd name="T14" fmla="*/ 39 w 53"/>
                    <a:gd name="T15" fmla="*/ 32 h 32"/>
                    <a:gd name="T16" fmla="*/ 53 w 53"/>
                    <a:gd name="T17" fmla="*/ 32 h 32"/>
                    <a:gd name="T18" fmla="*/ 53 w 53"/>
                    <a:gd name="T19" fmla="*/ 24 h 32"/>
                    <a:gd name="T20" fmla="*/ 53 w 53"/>
                    <a:gd name="T21" fmla="*/ 16 h 32"/>
                    <a:gd name="T22" fmla="*/ 53 w 53"/>
                    <a:gd name="T23" fmla="*/ 9 h 32"/>
                    <a:gd name="T24" fmla="*/ 53 w 53"/>
                    <a:gd name="T25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3" h="32">
                      <a:moveTo>
                        <a:pt x="53" y="0"/>
                      </a:moveTo>
                      <a:lnTo>
                        <a:pt x="37" y="9"/>
                      </a:lnTo>
                      <a:lnTo>
                        <a:pt x="23" y="18"/>
                      </a:lnTo>
                      <a:lnTo>
                        <a:pt x="11" y="26"/>
                      </a:lnTo>
                      <a:lnTo>
                        <a:pt x="0" y="32"/>
                      </a:lnTo>
                      <a:lnTo>
                        <a:pt x="13" y="32"/>
                      </a:lnTo>
                      <a:lnTo>
                        <a:pt x="26" y="32"/>
                      </a:lnTo>
                      <a:lnTo>
                        <a:pt x="39" y="32"/>
                      </a:lnTo>
                      <a:lnTo>
                        <a:pt x="53" y="32"/>
                      </a:lnTo>
                      <a:lnTo>
                        <a:pt x="53" y="24"/>
                      </a:lnTo>
                      <a:lnTo>
                        <a:pt x="53" y="16"/>
                      </a:lnTo>
                      <a:lnTo>
                        <a:pt x="53" y="9"/>
                      </a:lnTo>
                      <a:lnTo>
                        <a:pt x="5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8" name="Freeform 401"/>
                <p:cNvSpPr>
                  <a:spLocks/>
                </p:cNvSpPr>
                <p:nvPr/>
              </p:nvSpPr>
              <p:spPr bwMode="auto">
                <a:xfrm>
                  <a:off x="1450" y="1438"/>
                  <a:ext cx="14" cy="12"/>
                </a:xfrm>
                <a:custGeom>
                  <a:avLst/>
                  <a:gdLst>
                    <a:gd name="T0" fmla="*/ 27 w 46"/>
                    <a:gd name="T1" fmla="*/ 3 h 34"/>
                    <a:gd name="T2" fmla="*/ 0 w 46"/>
                    <a:gd name="T3" fmla="*/ 16 h 34"/>
                    <a:gd name="T4" fmla="*/ 0 w 46"/>
                    <a:gd name="T5" fmla="*/ 34 h 34"/>
                    <a:gd name="T6" fmla="*/ 27 w 46"/>
                    <a:gd name="T7" fmla="*/ 34 h 34"/>
                    <a:gd name="T8" fmla="*/ 31 w 46"/>
                    <a:gd name="T9" fmla="*/ 32 h 34"/>
                    <a:gd name="T10" fmla="*/ 35 w 46"/>
                    <a:gd name="T11" fmla="*/ 28 h 34"/>
                    <a:gd name="T12" fmla="*/ 39 w 46"/>
                    <a:gd name="T13" fmla="*/ 25 h 34"/>
                    <a:gd name="T14" fmla="*/ 42 w 46"/>
                    <a:gd name="T15" fmla="*/ 21 h 34"/>
                    <a:gd name="T16" fmla="*/ 44 w 46"/>
                    <a:gd name="T17" fmla="*/ 17 h 34"/>
                    <a:gd name="T18" fmla="*/ 45 w 46"/>
                    <a:gd name="T19" fmla="*/ 13 h 34"/>
                    <a:gd name="T20" fmla="*/ 46 w 46"/>
                    <a:gd name="T21" fmla="*/ 8 h 34"/>
                    <a:gd name="T22" fmla="*/ 46 w 46"/>
                    <a:gd name="T23" fmla="*/ 3 h 34"/>
                    <a:gd name="T24" fmla="*/ 46 w 46"/>
                    <a:gd name="T25" fmla="*/ 1 h 34"/>
                    <a:gd name="T26" fmla="*/ 44 w 46"/>
                    <a:gd name="T27" fmla="*/ 0 h 34"/>
                    <a:gd name="T28" fmla="*/ 42 w 46"/>
                    <a:gd name="T29" fmla="*/ 0 h 34"/>
                    <a:gd name="T30" fmla="*/ 39 w 46"/>
                    <a:gd name="T31" fmla="*/ 0 h 34"/>
                    <a:gd name="T32" fmla="*/ 32 w 46"/>
                    <a:gd name="T33" fmla="*/ 2 h 34"/>
                    <a:gd name="T34" fmla="*/ 27 w 46"/>
                    <a:gd name="T35" fmla="*/ 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6" h="34">
                      <a:moveTo>
                        <a:pt x="27" y="3"/>
                      </a:moveTo>
                      <a:lnTo>
                        <a:pt x="0" y="16"/>
                      </a:lnTo>
                      <a:lnTo>
                        <a:pt x="0" y="34"/>
                      </a:lnTo>
                      <a:lnTo>
                        <a:pt x="27" y="34"/>
                      </a:lnTo>
                      <a:lnTo>
                        <a:pt x="31" y="32"/>
                      </a:lnTo>
                      <a:lnTo>
                        <a:pt x="35" y="28"/>
                      </a:lnTo>
                      <a:lnTo>
                        <a:pt x="39" y="25"/>
                      </a:lnTo>
                      <a:lnTo>
                        <a:pt x="42" y="21"/>
                      </a:ln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6" y="8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2" y="2"/>
                      </a:lnTo>
                      <a:lnTo>
                        <a:pt x="27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9" name="Freeform 402"/>
                <p:cNvSpPr>
                  <a:spLocks/>
                </p:cNvSpPr>
                <p:nvPr/>
              </p:nvSpPr>
              <p:spPr bwMode="auto">
                <a:xfrm>
                  <a:off x="1305" y="1224"/>
                  <a:ext cx="16" cy="8"/>
                </a:xfrm>
                <a:custGeom>
                  <a:avLst/>
                  <a:gdLst>
                    <a:gd name="T0" fmla="*/ 0 w 48"/>
                    <a:gd name="T1" fmla="*/ 25 h 25"/>
                    <a:gd name="T2" fmla="*/ 14 w 48"/>
                    <a:gd name="T3" fmla="*/ 25 h 25"/>
                    <a:gd name="T4" fmla="*/ 28 w 48"/>
                    <a:gd name="T5" fmla="*/ 25 h 25"/>
                    <a:gd name="T6" fmla="*/ 30 w 48"/>
                    <a:gd name="T7" fmla="*/ 24 h 25"/>
                    <a:gd name="T8" fmla="*/ 33 w 48"/>
                    <a:gd name="T9" fmla="*/ 22 h 25"/>
                    <a:gd name="T10" fmla="*/ 37 w 48"/>
                    <a:gd name="T11" fmla="*/ 18 h 25"/>
                    <a:gd name="T12" fmla="*/ 40 w 48"/>
                    <a:gd name="T13" fmla="*/ 15 h 25"/>
                    <a:gd name="T14" fmla="*/ 45 w 48"/>
                    <a:gd name="T15" fmla="*/ 7 h 25"/>
                    <a:gd name="T16" fmla="*/ 48 w 48"/>
                    <a:gd name="T17" fmla="*/ 0 h 25"/>
                    <a:gd name="T18" fmla="*/ 40 w 48"/>
                    <a:gd name="T19" fmla="*/ 1 h 25"/>
                    <a:gd name="T20" fmla="*/ 33 w 48"/>
                    <a:gd name="T21" fmla="*/ 2 h 25"/>
                    <a:gd name="T22" fmla="*/ 28 w 48"/>
                    <a:gd name="T23" fmla="*/ 5 h 25"/>
                    <a:gd name="T24" fmla="*/ 21 w 48"/>
                    <a:gd name="T25" fmla="*/ 8 h 25"/>
                    <a:gd name="T26" fmla="*/ 11 w 48"/>
                    <a:gd name="T27" fmla="*/ 16 h 25"/>
                    <a:gd name="T28" fmla="*/ 0 w 48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25">
                      <a:moveTo>
                        <a:pt x="0" y="25"/>
                      </a:moveTo>
                      <a:lnTo>
                        <a:pt x="14" y="25"/>
                      </a:lnTo>
                      <a:lnTo>
                        <a:pt x="28" y="25"/>
                      </a:lnTo>
                      <a:lnTo>
                        <a:pt x="30" y="24"/>
                      </a:lnTo>
                      <a:lnTo>
                        <a:pt x="33" y="22"/>
                      </a:lnTo>
                      <a:lnTo>
                        <a:pt x="37" y="18"/>
                      </a:lnTo>
                      <a:lnTo>
                        <a:pt x="40" y="15"/>
                      </a:lnTo>
                      <a:lnTo>
                        <a:pt x="45" y="7"/>
                      </a:lnTo>
                      <a:lnTo>
                        <a:pt x="48" y="0"/>
                      </a:lnTo>
                      <a:lnTo>
                        <a:pt x="40" y="1"/>
                      </a:lnTo>
                      <a:lnTo>
                        <a:pt x="33" y="2"/>
                      </a:lnTo>
                      <a:lnTo>
                        <a:pt x="28" y="5"/>
                      </a:lnTo>
                      <a:lnTo>
                        <a:pt x="21" y="8"/>
                      </a:lnTo>
                      <a:lnTo>
                        <a:pt x="11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0" name="Freeform 403"/>
                <p:cNvSpPr>
                  <a:spLocks/>
                </p:cNvSpPr>
                <p:nvPr/>
              </p:nvSpPr>
              <p:spPr bwMode="auto">
                <a:xfrm>
                  <a:off x="1343" y="1188"/>
                  <a:ext cx="8" cy="11"/>
                </a:xfrm>
                <a:custGeom>
                  <a:avLst/>
                  <a:gdLst>
                    <a:gd name="T0" fmla="*/ 0 w 30"/>
                    <a:gd name="T1" fmla="*/ 0 h 37"/>
                    <a:gd name="T2" fmla="*/ 0 w 30"/>
                    <a:gd name="T3" fmla="*/ 37 h 37"/>
                    <a:gd name="T4" fmla="*/ 11 w 30"/>
                    <a:gd name="T5" fmla="*/ 36 h 37"/>
                    <a:gd name="T6" fmla="*/ 20 w 30"/>
                    <a:gd name="T7" fmla="*/ 34 h 37"/>
                    <a:gd name="T8" fmla="*/ 22 w 30"/>
                    <a:gd name="T9" fmla="*/ 33 h 37"/>
                    <a:gd name="T10" fmla="*/ 26 w 30"/>
                    <a:gd name="T11" fmla="*/ 32 h 37"/>
                    <a:gd name="T12" fmla="*/ 28 w 30"/>
                    <a:gd name="T13" fmla="*/ 30 h 37"/>
                    <a:gd name="T14" fmla="*/ 29 w 30"/>
                    <a:gd name="T15" fmla="*/ 28 h 37"/>
                    <a:gd name="T16" fmla="*/ 30 w 30"/>
                    <a:gd name="T17" fmla="*/ 23 h 37"/>
                    <a:gd name="T18" fmla="*/ 30 w 30"/>
                    <a:gd name="T19" fmla="*/ 16 h 37"/>
                    <a:gd name="T20" fmla="*/ 29 w 30"/>
                    <a:gd name="T21" fmla="*/ 9 h 37"/>
                    <a:gd name="T22" fmla="*/ 27 w 30"/>
                    <a:gd name="T23" fmla="*/ 0 h 37"/>
                    <a:gd name="T24" fmla="*/ 0 w 30"/>
                    <a:gd name="T2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0" h="37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11" y="36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6" y="32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0" y="23"/>
                      </a:lnTo>
                      <a:lnTo>
                        <a:pt x="30" y="16"/>
                      </a:lnTo>
                      <a:lnTo>
                        <a:pt x="29" y="9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1" name="Freeform 404"/>
                <p:cNvSpPr>
                  <a:spLocks/>
                </p:cNvSpPr>
                <p:nvPr/>
              </p:nvSpPr>
              <p:spPr bwMode="auto">
                <a:xfrm>
                  <a:off x="1334" y="1208"/>
                  <a:ext cx="36" cy="16"/>
                </a:xfrm>
                <a:custGeom>
                  <a:avLst/>
                  <a:gdLst>
                    <a:gd name="T0" fmla="*/ 33 w 113"/>
                    <a:gd name="T1" fmla="*/ 3 h 46"/>
                    <a:gd name="T2" fmla="*/ 22 w 113"/>
                    <a:gd name="T3" fmla="*/ 3 h 46"/>
                    <a:gd name="T4" fmla="*/ 12 w 113"/>
                    <a:gd name="T5" fmla="*/ 5 h 46"/>
                    <a:gd name="T6" fmla="*/ 7 w 113"/>
                    <a:gd name="T7" fmla="*/ 7 h 46"/>
                    <a:gd name="T8" fmla="*/ 3 w 113"/>
                    <a:gd name="T9" fmla="*/ 11 h 46"/>
                    <a:gd name="T10" fmla="*/ 1 w 113"/>
                    <a:gd name="T11" fmla="*/ 15 h 46"/>
                    <a:gd name="T12" fmla="*/ 0 w 113"/>
                    <a:gd name="T13" fmla="*/ 21 h 46"/>
                    <a:gd name="T14" fmla="*/ 6 w 113"/>
                    <a:gd name="T15" fmla="*/ 27 h 46"/>
                    <a:gd name="T16" fmla="*/ 10 w 113"/>
                    <a:gd name="T17" fmla="*/ 33 h 46"/>
                    <a:gd name="T18" fmla="*/ 16 w 113"/>
                    <a:gd name="T19" fmla="*/ 37 h 46"/>
                    <a:gd name="T20" fmla="*/ 20 w 113"/>
                    <a:gd name="T21" fmla="*/ 41 h 46"/>
                    <a:gd name="T22" fmla="*/ 25 w 113"/>
                    <a:gd name="T23" fmla="*/ 43 h 46"/>
                    <a:gd name="T24" fmla="*/ 30 w 113"/>
                    <a:gd name="T25" fmla="*/ 45 h 46"/>
                    <a:gd name="T26" fmla="*/ 35 w 113"/>
                    <a:gd name="T27" fmla="*/ 46 h 46"/>
                    <a:gd name="T28" fmla="*/ 40 w 113"/>
                    <a:gd name="T29" fmla="*/ 46 h 46"/>
                    <a:gd name="T30" fmla="*/ 56 w 113"/>
                    <a:gd name="T31" fmla="*/ 46 h 46"/>
                    <a:gd name="T32" fmla="*/ 70 w 113"/>
                    <a:gd name="T33" fmla="*/ 43 h 46"/>
                    <a:gd name="T34" fmla="*/ 76 w 113"/>
                    <a:gd name="T35" fmla="*/ 41 h 46"/>
                    <a:gd name="T36" fmla="*/ 81 w 113"/>
                    <a:gd name="T37" fmla="*/ 38 h 46"/>
                    <a:gd name="T38" fmla="*/ 87 w 113"/>
                    <a:gd name="T39" fmla="*/ 36 h 46"/>
                    <a:gd name="T40" fmla="*/ 91 w 113"/>
                    <a:gd name="T41" fmla="*/ 33 h 46"/>
                    <a:gd name="T42" fmla="*/ 99 w 113"/>
                    <a:gd name="T43" fmla="*/ 27 h 46"/>
                    <a:gd name="T44" fmla="*/ 106 w 113"/>
                    <a:gd name="T45" fmla="*/ 20 h 46"/>
                    <a:gd name="T46" fmla="*/ 110 w 113"/>
                    <a:gd name="T47" fmla="*/ 12 h 46"/>
                    <a:gd name="T48" fmla="*/ 113 w 113"/>
                    <a:gd name="T49" fmla="*/ 3 h 46"/>
                    <a:gd name="T50" fmla="*/ 99 w 113"/>
                    <a:gd name="T51" fmla="*/ 1 h 46"/>
                    <a:gd name="T52" fmla="*/ 87 w 113"/>
                    <a:gd name="T53" fmla="*/ 0 h 46"/>
                    <a:gd name="T54" fmla="*/ 76 w 113"/>
                    <a:gd name="T55" fmla="*/ 0 h 46"/>
                    <a:gd name="T56" fmla="*/ 66 w 113"/>
                    <a:gd name="T57" fmla="*/ 1 h 46"/>
                    <a:gd name="T58" fmla="*/ 48 w 113"/>
                    <a:gd name="T59" fmla="*/ 2 h 46"/>
                    <a:gd name="T60" fmla="*/ 33 w 113"/>
                    <a:gd name="T61" fmla="*/ 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3" h="46">
                      <a:moveTo>
                        <a:pt x="33" y="3"/>
                      </a:moveTo>
                      <a:lnTo>
                        <a:pt x="22" y="3"/>
                      </a:lnTo>
                      <a:lnTo>
                        <a:pt x="12" y="5"/>
                      </a:lnTo>
                      <a:lnTo>
                        <a:pt x="7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21"/>
                      </a:lnTo>
                      <a:lnTo>
                        <a:pt x="6" y="27"/>
                      </a:lnTo>
                      <a:lnTo>
                        <a:pt x="10" y="33"/>
                      </a:lnTo>
                      <a:lnTo>
                        <a:pt x="16" y="37"/>
                      </a:lnTo>
                      <a:lnTo>
                        <a:pt x="20" y="41"/>
                      </a:lnTo>
                      <a:lnTo>
                        <a:pt x="25" y="43"/>
                      </a:lnTo>
                      <a:lnTo>
                        <a:pt x="30" y="45"/>
                      </a:lnTo>
                      <a:lnTo>
                        <a:pt x="35" y="46"/>
                      </a:lnTo>
                      <a:lnTo>
                        <a:pt x="40" y="46"/>
                      </a:lnTo>
                      <a:lnTo>
                        <a:pt x="56" y="46"/>
                      </a:lnTo>
                      <a:lnTo>
                        <a:pt x="70" y="43"/>
                      </a:lnTo>
                      <a:lnTo>
                        <a:pt x="76" y="41"/>
                      </a:lnTo>
                      <a:lnTo>
                        <a:pt x="81" y="38"/>
                      </a:lnTo>
                      <a:lnTo>
                        <a:pt x="87" y="36"/>
                      </a:lnTo>
                      <a:lnTo>
                        <a:pt x="91" y="33"/>
                      </a:lnTo>
                      <a:lnTo>
                        <a:pt x="99" y="27"/>
                      </a:lnTo>
                      <a:lnTo>
                        <a:pt x="106" y="20"/>
                      </a:lnTo>
                      <a:lnTo>
                        <a:pt x="110" y="12"/>
                      </a:lnTo>
                      <a:lnTo>
                        <a:pt x="113" y="3"/>
                      </a:lnTo>
                      <a:lnTo>
                        <a:pt x="99" y="1"/>
                      </a:lnTo>
                      <a:lnTo>
                        <a:pt x="87" y="0"/>
                      </a:lnTo>
                      <a:lnTo>
                        <a:pt x="76" y="0"/>
                      </a:lnTo>
                      <a:lnTo>
                        <a:pt x="66" y="1"/>
                      </a:lnTo>
                      <a:lnTo>
                        <a:pt x="48" y="2"/>
                      </a:lnTo>
                      <a:lnTo>
                        <a:pt x="33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2" name="Freeform 405"/>
                <p:cNvSpPr>
                  <a:spLocks/>
                </p:cNvSpPr>
                <p:nvPr/>
              </p:nvSpPr>
              <p:spPr bwMode="auto">
                <a:xfrm>
                  <a:off x="1365" y="1201"/>
                  <a:ext cx="49" cy="28"/>
                </a:xfrm>
                <a:custGeom>
                  <a:avLst/>
                  <a:gdLst>
                    <a:gd name="T0" fmla="*/ 0 w 153"/>
                    <a:gd name="T1" fmla="*/ 79 h 82"/>
                    <a:gd name="T2" fmla="*/ 2 w 153"/>
                    <a:gd name="T3" fmla="*/ 81 h 82"/>
                    <a:gd name="T4" fmla="*/ 6 w 153"/>
                    <a:gd name="T5" fmla="*/ 82 h 82"/>
                    <a:gd name="T6" fmla="*/ 10 w 153"/>
                    <a:gd name="T7" fmla="*/ 82 h 82"/>
                    <a:gd name="T8" fmla="*/ 14 w 153"/>
                    <a:gd name="T9" fmla="*/ 82 h 82"/>
                    <a:gd name="T10" fmla="*/ 23 w 153"/>
                    <a:gd name="T11" fmla="*/ 80 h 82"/>
                    <a:gd name="T12" fmla="*/ 33 w 153"/>
                    <a:gd name="T13" fmla="*/ 79 h 82"/>
                    <a:gd name="T14" fmla="*/ 40 w 153"/>
                    <a:gd name="T15" fmla="*/ 79 h 82"/>
                    <a:gd name="T16" fmla="*/ 47 w 153"/>
                    <a:gd name="T17" fmla="*/ 78 h 82"/>
                    <a:gd name="T18" fmla="*/ 56 w 153"/>
                    <a:gd name="T19" fmla="*/ 76 h 82"/>
                    <a:gd name="T20" fmla="*/ 65 w 153"/>
                    <a:gd name="T21" fmla="*/ 74 h 82"/>
                    <a:gd name="T22" fmla="*/ 83 w 153"/>
                    <a:gd name="T23" fmla="*/ 68 h 82"/>
                    <a:gd name="T24" fmla="*/ 103 w 153"/>
                    <a:gd name="T25" fmla="*/ 59 h 82"/>
                    <a:gd name="T26" fmla="*/ 112 w 153"/>
                    <a:gd name="T27" fmla="*/ 54 h 82"/>
                    <a:gd name="T28" fmla="*/ 121 w 153"/>
                    <a:gd name="T29" fmla="*/ 49 h 82"/>
                    <a:gd name="T30" fmla="*/ 129 w 153"/>
                    <a:gd name="T31" fmla="*/ 43 h 82"/>
                    <a:gd name="T32" fmla="*/ 136 w 153"/>
                    <a:gd name="T33" fmla="*/ 38 h 82"/>
                    <a:gd name="T34" fmla="*/ 142 w 153"/>
                    <a:gd name="T35" fmla="*/ 32 h 82"/>
                    <a:gd name="T36" fmla="*/ 147 w 153"/>
                    <a:gd name="T37" fmla="*/ 25 h 82"/>
                    <a:gd name="T38" fmla="*/ 150 w 153"/>
                    <a:gd name="T39" fmla="*/ 19 h 82"/>
                    <a:gd name="T40" fmla="*/ 153 w 153"/>
                    <a:gd name="T41" fmla="*/ 12 h 82"/>
                    <a:gd name="T42" fmla="*/ 134 w 153"/>
                    <a:gd name="T43" fmla="*/ 8 h 82"/>
                    <a:gd name="T44" fmla="*/ 115 w 153"/>
                    <a:gd name="T45" fmla="*/ 3 h 82"/>
                    <a:gd name="T46" fmla="*/ 96 w 153"/>
                    <a:gd name="T47" fmla="*/ 1 h 82"/>
                    <a:gd name="T48" fmla="*/ 77 w 153"/>
                    <a:gd name="T49" fmla="*/ 0 h 82"/>
                    <a:gd name="T50" fmla="*/ 68 w 153"/>
                    <a:gd name="T51" fmla="*/ 1 h 82"/>
                    <a:gd name="T52" fmla="*/ 60 w 153"/>
                    <a:gd name="T53" fmla="*/ 1 h 82"/>
                    <a:gd name="T54" fmla="*/ 52 w 153"/>
                    <a:gd name="T55" fmla="*/ 2 h 82"/>
                    <a:gd name="T56" fmla="*/ 45 w 153"/>
                    <a:gd name="T57" fmla="*/ 4 h 82"/>
                    <a:gd name="T58" fmla="*/ 38 w 153"/>
                    <a:gd name="T59" fmla="*/ 7 h 82"/>
                    <a:gd name="T60" fmla="*/ 34 w 153"/>
                    <a:gd name="T61" fmla="*/ 10 h 82"/>
                    <a:gd name="T62" fmla="*/ 30 w 153"/>
                    <a:gd name="T63" fmla="*/ 14 h 82"/>
                    <a:gd name="T64" fmla="*/ 26 w 153"/>
                    <a:gd name="T65" fmla="*/ 18 h 82"/>
                    <a:gd name="T66" fmla="*/ 32 w 153"/>
                    <a:gd name="T67" fmla="*/ 23 h 82"/>
                    <a:gd name="T68" fmla="*/ 36 w 153"/>
                    <a:gd name="T69" fmla="*/ 29 h 82"/>
                    <a:gd name="T70" fmla="*/ 38 w 153"/>
                    <a:gd name="T71" fmla="*/ 32 h 82"/>
                    <a:gd name="T72" fmla="*/ 42 w 153"/>
                    <a:gd name="T73" fmla="*/ 34 h 82"/>
                    <a:gd name="T74" fmla="*/ 44 w 153"/>
                    <a:gd name="T75" fmla="*/ 36 h 82"/>
                    <a:gd name="T76" fmla="*/ 46 w 153"/>
                    <a:gd name="T77" fmla="*/ 36 h 82"/>
                    <a:gd name="T78" fmla="*/ 40 w 153"/>
                    <a:gd name="T79" fmla="*/ 41 h 82"/>
                    <a:gd name="T80" fmla="*/ 33 w 153"/>
                    <a:gd name="T81" fmla="*/ 46 h 82"/>
                    <a:gd name="T82" fmla="*/ 29 w 153"/>
                    <a:gd name="T83" fmla="*/ 52 h 82"/>
                    <a:gd name="T84" fmla="*/ 23 w 153"/>
                    <a:gd name="T85" fmla="*/ 57 h 82"/>
                    <a:gd name="T86" fmla="*/ 18 w 153"/>
                    <a:gd name="T87" fmla="*/ 64 h 82"/>
                    <a:gd name="T88" fmla="*/ 13 w 153"/>
                    <a:gd name="T89" fmla="*/ 69 h 82"/>
                    <a:gd name="T90" fmla="*/ 7 w 153"/>
                    <a:gd name="T91" fmla="*/ 75 h 82"/>
                    <a:gd name="T92" fmla="*/ 0 w 153"/>
                    <a:gd name="T93" fmla="*/ 79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53" h="82">
                      <a:moveTo>
                        <a:pt x="0" y="79"/>
                      </a:moveTo>
                      <a:lnTo>
                        <a:pt x="2" y="81"/>
                      </a:lnTo>
                      <a:lnTo>
                        <a:pt x="6" y="82"/>
                      </a:lnTo>
                      <a:lnTo>
                        <a:pt x="10" y="82"/>
                      </a:lnTo>
                      <a:lnTo>
                        <a:pt x="14" y="82"/>
                      </a:lnTo>
                      <a:lnTo>
                        <a:pt x="23" y="80"/>
                      </a:lnTo>
                      <a:lnTo>
                        <a:pt x="33" y="79"/>
                      </a:lnTo>
                      <a:lnTo>
                        <a:pt x="40" y="79"/>
                      </a:lnTo>
                      <a:lnTo>
                        <a:pt x="47" y="78"/>
                      </a:lnTo>
                      <a:lnTo>
                        <a:pt x="56" y="76"/>
                      </a:lnTo>
                      <a:lnTo>
                        <a:pt x="65" y="74"/>
                      </a:lnTo>
                      <a:lnTo>
                        <a:pt x="83" y="68"/>
                      </a:lnTo>
                      <a:lnTo>
                        <a:pt x="103" y="59"/>
                      </a:lnTo>
                      <a:lnTo>
                        <a:pt x="112" y="54"/>
                      </a:lnTo>
                      <a:lnTo>
                        <a:pt x="121" y="49"/>
                      </a:lnTo>
                      <a:lnTo>
                        <a:pt x="129" y="43"/>
                      </a:lnTo>
                      <a:lnTo>
                        <a:pt x="136" y="38"/>
                      </a:lnTo>
                      <a:lnTo>
                        <a:pt x="142" y="32"/>
                      </a:lnTo>
                      <a:lnTo>
                        <a:pt x="147" y="25"/>
                      </a:lnTo>
                      <a:lnTo>
                        <a:pt x="150" y="19"/>
                      </a:lnTo>
                      <a:lnTo>
                        <a:pt x="153" y="12"/>
                      </a:lnTo>
                      <a:lnTo>
                        <a:pt x="134" y="8"/>
                      </a:lnTo>
                      <a:lnTo>
                        <a:pt x="115" y="3"/>
                      </a:lnTo>
                      <a:lnTo>
                        <a:pt x="96" y="1"/>
                      </a:lnTo>
                      <a:lnTo>
                        <a:pt x="77" y="0"/>
                      </a:lnTo>
                      <a:lnTo>
                        <a:pt x="68" y="1"/>
                      </a:lnTo>
                      <a:lnTo>
                        <a:pt x="60" y="1"/>
                      </a:lnTo>
                      <a:lnTo>
                        <a:pt x="52" y="2"/>
                      </a:lnTo>
                      <a:lnTo>
                        <a:pt x="45" y="4"/>
                      </a:lnTo>
                      <a:lnTo>
                        <a:pt x="38" y="7"/>
                      </a:lnTo>
                      <a:lnTo>
                        <a:pt x="34" y="10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32" y="23"/>
                      </a:lnTo>
                      <a:lnTo>
                        <a:pt x="36" y="29"/>
                      </a:lnTo>
                      <a:lnTo>
                        <a:pt x="38" y="32"/>
                      </a:lnTo>
                      <a:lnTo>
                        <a:pt x="42" y="34"/>
                      </a:lnTo>
                      <a:lnTo>
                        <a:pt x="44" y="36"/>
                      </a:lnTo>
                      <a:lnTo>
                        <a:pt x="46" y="36"/>
                      </a:lnTo>
                      <a:lnTo>
                        <a:pt x="40" y="41"/>
                      </a:lnTo>
                      <a:lnTo>
                        <a:pt x="33" y="46"/>
                      </a:lnTo>
                      <a:lnTo>
                        <a:pt x="29" y="52"/>
                      </a:lnTo>
                      <a:lnTo>
                        <a:pt x="23" y="57"/>
                      </a:lnTo>
                      <a:lnTo>
                        <a:pt x="18" y="64"/>
                      </a:lnTo>
                      <a:lnTo>
                        <a:pt x="13" y="69"/>
                      </a:lnTo>
                      <a:lnTo>
                        <a:pt x="7" y="75"/>
                      </a:lnTo>
                      <a:lnTo>
                        <a:pt x="0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3" name="Freeform 406"/>
                <p:cNvSpPr>
                  <a:spLocks/>
                </p:cNvSpPr>
                <p:nvPr/>
              </p:nvSpPr>
              <p:spPr bwMode="auto">
                <a:xfrm>
                  <a:off x="1414" y="1217"/>
                  <a:ext cx="29" cy="17"/>
                </a:xfrm>
                <a:custGeom>
                  <a:avLst/>
                  <a:gdLst>
                    <a:gd name="T0" fmla="*/ 0 w 86"/>
                    <a:gd name="T1" fmla="*/ 37 h 50"/>
                    <a:gd name="T2" fmla="*/ 5 w 86"/>
                    <a:gd name="T3" fmla="*/ 41 h 50"/>
                    <a:gd name="T4" fmla="*/ 11 w 86"/>
                    <a:gd name="T5" fmla="*/ 44 h 50"/>
                    <a:gd name="T6" fmla="*/ 16 w 86"/>
                    <a:gd name="T7" fmla="*/ 47 h 50"/>
                    <a:gd name="T8" fmla="*/ 23 w 86"/>
                    <a:gd name="T9" fmla="*/ 48 h 50"/>
                    <a:gd name="T10" fmla="*/ 35 w 86"/>
                    <a:gd name="T11" fmla="*/ 49 h 50"/>
                    <a:gd name="T12" fmla="*/ 46 w 86"/>
                    <a:gd name="T13" fmla="*/ 50 h 50"/>
                    <a:gd name="T14" fmla="*/ 58 w 86"/>
                    <a:gd name="T15" fmla="*/ 49 h 50"/>
                    <a:gd name="T16" fmla="*/ 67 w 86"/>
                    <a:gd name="T17" fmla="*/ 48 h 50"/>
                    <a:gd name="T18" fmla="*/ 73 w 86"/>
                    <a:gd name="T19" fmla="*/ 47 h 50"/>
                    <a:gd name="T20" fmla="*/ 79 w 86"/>
                    <a:gd name="T21" fmla="*/ 44 h 50"/>
                    <a:gd name="T22" fmla="*/ 82 w 86"/>
                    <a:gd name="T23" fmla="*/ 41 h 50"/>
                    <a:gd name="T24" fmla="*/ 84 w 86"/>
                    <a:gd name="T25" fmla="*/ 37 h 50"/>
                    <a:gd name="T26" fmla="*/ 85 w 86"/>
                    <a:gd name="T27" fmla="*/ 32 h 50"/>
                    <a:gd name="T28" fmla="*/ 86 w 86"/>
                    <a:gd name="T29" fmla="*/ 25 h 50"/>
                    <a:gd name="T30" fmla="*/ 85 w 86"/>
                    <a:gd name="T31" fmla="*/ 17 h 50"/>
                    <a:gd name="T32" fmla="*/ 84 w 86"/>
                    <a:gd name="T33" fmla="*/ 10 h 50"/>
                    <a:gd name="T34" fmla="*/ 83 w 86"/>
                    <a:gd name="T35" fmla="*/ 7 h 50"/>
                    <a:gd name="T36" fmla="*/ 81 w 86"/>
                    <a:gd name="T37" fmla="*/ 5 h 50"/>
                    <a:gd name="T38" fmla="*/ 77 w 86"/>
                    <a:gd name="T39" fmla="*/ 2 h 50"/>
                    <a:gd name="T40" fmla="*/ 73 w 86"/>
                    <a:gd name="T41" fmla="*/ 0 h 50"/>
                    <a:gd name="T42" fmla="*/ 0 w 86"/>
                    <a:gd name="T43" fmla="*/ 3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6" h="50">
                      <a:moveTo>
                        <a:pt x="0" y="37"/>
                      </a:moveTo>
                      <a:lnTo>
                        <a:pt x="5" y="41"/>
                      </a:lnTo>
                      <a:lnTo>
                        <a:pt x="11" y="44"/>
                      </a:lnTo>
                      <a:lnTo>
                        <a:pt x="16" y="47"/>
                      </a:lnTo>
                      <a:lnTo>
                        <a:pt x="23" y="48"/>
                      </a:lnTo>
                      <a:lnTo>
                        <a:pt x="35" y="49"/>
                      </a:lnTo>
                      <a:lnTo>
                        <a:pt x="46" y="50"/>
                      </a:lnTo>
                      <a:lnTo>
                        <a:pt x="58" y="49"/>
                      </a:lnTo>
                      <a:lnTo>
                        <a:pt x="67" y="48"/>
                      </a:lnTo>
                      <a:lnTo>
                        <a:pt x="73" y="47"/>
                      </a:lnTo>
                      <a:lnTo>
                        <a:pt x="79" y="44"/>
                      </a:lnTo>
                      <a:lnTo>
                        <a:pt x="82" y="41"/>
                      </a:lnTo>
                      <a:lnTo>
                        <a:pt x="84" y="37"/>
                      </a:lnTo>
                      <a:lnTo>
                        <a:pt x="85" y="32"/>
                      </a:lnTo>
                      <a:lnTo>
                        <a:pt x="86" y="25"/>
                      </a:lnTo>
                      <a:lnTo>
                        <a:pt x="85" y="17"/>
                      </a:lnTo>
                      <a:lnTo>
                        <a:pt x="84" y="10"/>
                      </a:lnTo>
                      <a:lnTo>
                        <a:pt x="83" y="7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3" y="0"/>
                      </a:lnTo>
                      <a:lnTo>
                        <a:pt x="0" y="3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4" name="Freeform 407"/>
                <p:cNvSpPr>
                  <a:spLocks/>
                </p:cNvSpPr>
                <p:nvPr/>
              </p:nvSpPr>
              <p:spPr bwMode="auto">
                <a:xfrm>
                  <a:off x="1379" y="1163"/>
                  <a:ext cx="55" cy="25"/>
                </a:xfrm>
                <a:custGeom>
                  <a:avLst/>
                  <a:gdLst>
                    <a:gd name="T0" fmla="*/ 119 w 172"/>
                    <a:gd name="T1" fmla="*/ 61 h 74"/>
                    <a:gd name="T2" fmla="*/ 109 w 172"/>
                    <a:gd name="T3" fmla="*/ 61 h 74"/>
                    <a:gd name="T4" fmla="*/ 99 w 172"/>
                    <a:gd name="T5" fmla="*/ 61 h 74"/>
                    <a:gd name="T6" fmla="*/ 90 w 172"/>
                    <a:gd name="T7" fmla="*/ 61 h 74"/>
                    <a:gd name="T8" fmla="*/ 80 w 172"/>
                    <a:gd name="T9" fmla="*/ 61 h 74"/>
                    <a:gd name="T10" fmla="*/ 60 w 172"/>
                    <a:gd name="T11" fmla="*/ 74 h 74"/>
                    <a:gd name="T12" fmla="*/ 33 w 172"/>
                    <a:gd name="T13" fmla="*/ 74 h 74"/>
                    <a:gd name="T14" fmla="*/ 36 w 172"/>
                    <a:gd name="T15" fmla="*/ 61 h 74"/>
                    <a:gd name="T16" fmla="*/ 39 w 172"/>
                    <a:gd name="T17" fmla="*/ 49 h 74"/>
                    <a:gd name="T18" fmla="*/ 30 w 172"/>
                    <a:gd name="T19" fmla="*/ 49 h 74"/>
                    <a:gd name="T20" fmla="*/ 23 w 172"/>
                    <a:gd name="T21" fmla="*/ 48 h 74"/>
                    <a:gd name="T22" fmla="*/ 15 w 172"/>
                    <a:gd name="T23" fmla="*/ 47 h 74"/>
                    <a:gd name="T24" fmla="*/ 9 w 172"/>
                    <a:gd name="T25" fmla="*/ 45 h 74"/>
                    <a:gd name="T26" fmla="*/ 5 w 172"/>
                    <a:gd name="T27" fmla="*/ 42 h 74"/>
                    <a:gd name="T28" fmla="*/ 2 w 172"/>
                    <a:gd name="T29" fmla="*/ 39 h 74"/>
                    <a:gd name="T30" fmla="*/ 1 w 172"/>
                    <a:gd name="T31" fmla="*/ 35 h 74"/>
                    <a:gd name="T32" fmla="*/ 0 w 172"/>
                    <a:gd name="T33" fmla="*/ 31 h 74"/>
                    <a:gd name="T34" fmla="*/ 1 w 172"/>
                    <a:gd name="T35" fmla="*/ 26 h 74"/>
                    <a:gd name="T36" fmla="*/ 2 w 172"/>
                    <a:gd name="T37" fmla="*/ 21 h 74"/>
                    <a:gd name="T38" fmla="*/ 5 w 172"/>
                    <a:gd name="T39" fmla="*/ 17 h 74"/>
                    <a:gd name="T40" fmla="*/ 8 w 172"/>
                    <a:gd name="T41" fmla="*/ 14 h 74"/>
                    <a:gd name="T42" fmla="*/ 13 w 172"/>
                    <a:gd name="T43" fmla="*/ 10 h 74"/>
                    <a:gd name="T44" fmla="*/ 18 w 172"/>
                    <a:gd name="T45" fmla="*/ 7 h 74"/>
                    <a:gd name="T46" fmla="*/ 24 w 172"/>
                    <a:gd name="T47" fmla="*/ 5 h 74"/>
                    <a:gd name="T48" fmla="*/ 29 w 172"/>
                    <a:gd name="T49" fmla="*/ 4 h 74"/>
                    <a:gd name="T50" fmla="*/ 42 w 172"/>
                    <a:gd name="T51" fmla="*/ 1 h 74"/>
                    <a:gd name="T52" fmla="*/ 56 w 172"/>
                    <a:gd name="T53" fmla="*/ 0 h 74"/>
                    <a:gd name="T54" fmla="*/ 69 w 172"/>
                    <a:gd name="T55" fmla="*/ 0 h 74"/>
                    <a:gd name="T56" fmla="*/ 80 w 172"/>
                    <a:gd name="T57" fmla="*/ 0 h 74"/>
                    <a:gd name="T58" fmla="*/ 94 w 172"/>
                    <a:gd name="T59" fmla="*/ 1 h 74"/>
                    <a:gd name="T60" fmla="*/ 106 w 172"/>
                    <a:gd name="T61" fmla="*/ 4 h 74"/>
                    <a:gd name="T62" fmla="*/ 117 w 172"/>
                    <a:gd name="T63" fmla="*/ 7 h 74"/>
                    <a:gd name="T64" fmla="*/ 128 w 172"/>
                    <a:gd name="T65" fmla="*/ 13 h 74"/>
                    <a:gd name="T66" fmla="*/ 139 w 172"/>
                    <a:gd name="T67" fmla="*/ 17 h 74"/>
                    <a:gd name="T68" fmla="*/ 150 w 172"/>
                    <a:gd name="T69" fmla="*/ 21 h 74"/>
                    <a:gd name="T70" fmla="*/ 161 w 172"/>
                    <a:gd name="T71" fmla="*/ 24 h 74"/>
                    <a:gd name="T72" fmla="*/ 172 w 172"/>
                    <a:gd name="T73" fmla="*/ 25 h 74"/>
                    <a:gd name="T74" fmla="*/ 172 w 172"/>
                    <a:gd name="T75" fmla="*/ 43 h 74"/>
                    <a:gd name="T76" fmla="*/ 169 w 172"/>
                    <a:gd name="T77" fmla="*/ 48 h 74"/>
                    <a:gd name="T78" fmla="*/ 165 w 172"/>
                    <a:gd name="T79" fmla="*/ 53 h 74"/>
                    <a:gd name="T80" fmla="*/ 161 w 172"/>
                    <a:gd name="T81" fmla="*/ 57 h 74"/>
                    <a:gd name="T82" fmla="*/ 158 w 172"/>
                    <a:gd name="T83" fmla="*/ 60 h 74"/>
                    <a:gd name="T84" fmla="*/ 153 w 172"/>
                    <a:gd name="T85" fmla="*/ 62 h 74"/>
                    <a:gd name="T86" fmla="*/ 149 w 172"/>
                    <a:gd name="T87" fmla="*/ 63 h 74"/>
                    <a:gd name="T88" fmla="*/ 146 w 172"/>
                    <a:gd name="T89" fmla="*/ 65 h 74"/>
                    <a:gd name="T90" fmla="*/ 141 w 172"/>
                    <a:gd name="T91" fmla="*/ 65 h 74"/>
                    <a:gd name="T92" fmla="*/ 131 w 172"/>
                    <a:gd name="T93" fmla="*/ 65 h 74"/>
                    <a:gd name="T94" fmla="*/ 121 w 172"/>
                    <a:gd name="T95" fmla="*/ 63 h 74"/>
                    <a:gd name="T96" fmla="*/ 112 w 172"/>
                    <a:gd name="T97" fmla="*/ 59 h 74"/>
                    <a:gd name="T98" fmla="*/ 99 w 172"/>
                    <a:gd name="T99" fmla="*/ 55 h 74"/>
                    <a:gd name="T100" fmla="*/ 106 w 172"/>
                    <a:gd name="T101" fmla="*/ 55 h 74"/>
                    <a:gd name="T102" fmla="*/ 119 w 172"/>
                    <a:gd name="T103" fmla="*/ 61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72" h="74">
                      <a:moveTo>
                        <a:pt x="119" y="61"/>
                      </a:moveTo>
                      <a:lnTo>
                        <a:pt x="109" y="61"/>
                      </a:lnTo>
                      <a:lnTo>
                        <a:pt x="99" y="61"/>
                      </a:lnTo>
                      <a:lnTo>
                        <a:pt x="90" y="61"/>
                      </a:lnTo>
                      <a:lnTo>
                        <a:pt x="80" y="61"/>
                      </a:lnTo>
                      <a:lnTo>
                        <a:pt x="60" y="74"/>
                      </a:lnTo>
                      <a:lnTo>
                        <a:pt x="33" y="74"/>
                      </a:lnTo>
                      <a:lnTo>
                        <a:pt x="36" y="61"/>
                      </a:lnTo>
                      <a:lnTo>
                        <a:pt x="39" y="49"/>
                      </a:lnTo>
                      <a:lnTo>
                        <a:pt x="30" y="49"/>
                      </a:lnTo>
                      <a:lnTo>
                        <a:pt x="23" y="48"/>
                      </a:lnTo>
                      <a:lnTo>
                        <a:pt x="15" y="47"/>
                      </a:lnTo>
                      <a:lnTo>
                        <a:pt x="9" y="45"/>
                      </a:lnTo>
                      <a:lnTo>
                        <a:pt x="5" y="42"/>
                      </a:lnTo>
                      <a:lnTo>
                        <a:pt x="2" y="39"/>
                      </a:lnTo>
                      <a:lnTo>
                        <a:pt x="1" y="35"/>
                      </a:lnTo>
                      <a:lnTo>
                        <a:pt x="0" y="31"/>
                      </a:lnTo>
                      <a:lnTo>
                        <a:pt x="1" y="26"/>
                      </a:lnTo>
                      <a:lnTo>
                        <a:pt x="2" y="21"/>
                      </a:lnTo>
                      <a:lnTo>
                        <a:pt x="5" y="17"/>
                      </a:lnTo>
                      <a:lnTo>
                        <a:pt x="8" y="14"/>
                      </a:lnTo>
                      <a:lnTo>
                        <a:pt x="13" y="10"/>
                      </a:lnTo>
                      <a:lnTo>
                        <a:pt x="18" y="7"/>
                      </a:lnTo>
                      <a:lnTo>
                        <a:pt x="24" y="5"/>
                      </a:lnTo>
                      <a:lnTo>
                        <a:pt x="29" y="4"/>
                      </a:lnTo>
                      <a:lnTo>
                        <a:pt x="42" y="1"/>
                      </a:lnTo>
                      <a:lnTo>
                        <a:pt x="56" y="0"/>
                      </a:lnTo>
                      <a:lnTo>
                        <a:pt x="69" y="0"/>
                      </a:lnTo>
                      <a:lnTo>
                        <a:pt x="80" y="0"/>
                      </a:lnTo>
                      <a:lnTo>
                        <a:pt x="94" y="1"/>
                      </a:lnTo>
                      <a:lnTo>
                        <a:pt x="106" y="4"/>
                      </a:lnTo>
                      <a:lnTo>
                        <a:pt x="117" y="7"/>
                      </a:lnTo>
                      <a:lnTo>
                        <a:pt x="128" y="13"/>
                      </a:lnTo>
                      <a:lnTo>
                        <a:pt x="139" y="17"/>
                      </a:lnTo>
                      <a:lnTo>
                        <a:pt x="150" y="21"/>
                      </a:lnTo>
                      <a:lnTo>
                        <a:pt x="161" y="24"/>
                      </a:lnTo>
                      <a:lnTo>
                        <a:pt x="172" y="25"/>
                      </a:lnTo>
                      <a:lnTo>
                        <a:pt x="172" y="43"/>
                      </a:lnTo>
                      <a:lnTo>
                        <a:pt x="169" y="48"/>
                      </a:lnTo>
                      <a:lnTo>
                        <a:pt x="165" y="53"/>
                      </a:lnTo>
                      <a:lnTo>
                        <a:pt x="161" y="57"/>
                      </a:lnTo>
                      <a:lnTo>
                        <a:pt x="158" y="60"/>
                      </a:lnTo>
                      <a:lnTo>
                        <a:pt x="153" y="62"/>
                      </a:lnTo>
                      <a:lnTo>
                        <a:pt x="149" y="63"/>
                      </a:lnTo>
                      <a:lnTo>
                        <a:pt x="146" y="65"/>
                      </a:lnTo>
                      <a:lnTo>
                        <a:pt x="141" y="65"/>
                      </a:lnTo>
                      <a:lnTo>
                        <a:pt x="131" y="65"/>
                      </a:lnTo>
                      <a:lnTo>
                        <a:pt x="121" y="63"/>
                      </a:lnTo>
                      <a:lnTo>
                        <a:pt x="112" y="59"/>
                      </a:lnTo>
                      <a:lnTo>
                        <a:pt x="99" y="55"/>
                      </a:lnTo>
                      <a:lnTo>
                        <a:pt x="106" y="55"/>
                      </a:lnTo>
                      <a:lnTo>
                        <a:pt x="119" y="6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5" name="Freeform 408"/>
                <p:cNvSpPr>
                  <a:spLocks/>
                </p:cNvSpPr>
                <p:nvPr/>
              </p:nvSpPr>
              <p:spPr bwMode="auto">
                <a:xfrm>
                  <a:off x="1450" y="1171"/>
                  <a:ext cx="38" cy="17"/>
                </a:xfrm>
                <a:custGeom>
                  <a:avLst/>
                  <a:gdLst>
                    <a:gd name="T0" fmla="*/ 27 w 120"/>
                    <a:gd name="T1" fmla="*/ 49 h 49"/>
                    <a:gd name="T2" fmla="*/ 47 w 120"/>
                    <a:gd name="T3" fmla="*/ 49 h 49"/>
                    <a:gd name="T4" fmla="*/ 64 w 120"/>
                    <a:gd name="T5" fmla="*/ 48 h 49"/>
                    <a:gd name="T6" fmla="*/ 78 w 120"/>
                    <a:gd name="T7" fmla="*/ 46 h 49"/>
                    <a:gd name="T8" fmla="*/ 90 w 120"/>
                    <a:gd name="T9" fmla="*/ 43 h 49"/>
                    <a:gd name="T10" fmla="*/ 96 w 120"/>
                    <a:gd name="T11" fmla="*/ 39 h 49"/>
                    <a:gd name="T12" fmla="*/ 100 w 120"/>
                    <a:gd name="T13" fmla="*/ 37 h 49"/>
                    <a:gd name="T14" fmla="*/ 104 w 120"/>
                    <a:gd name="T15" fmla="*/ 34 h 49"/>
                    <a:gd name="T16" fmla="*/ 108 w 120"/>
                    <a:gd name="T17" fmla="*/ 31 h 49"/>
                    <a:gd name="T18" fmla="*/ 114 w 120"/>
                    <a:gd name="T19" fmla="*/ 22 h 49"/>
                    <a:gd name="T20" fmla="*/ 120 w 120"/>
                    <a:gd name="T21" fmla="*/ 12 h 49"/>
                    <a:gd name="T22" fmla="*/ 102 w 120"/>
                    <a:gd name="T23" fmla="*/ 6 h 49"/>
                    <a:gd name="T24" fmla="*/ 84 w 120"/>
                    <a:gd name="T25" fmla="*/ 3 h 49"/>
                    <a:gd name="T26" fmla="*/ 66 w 120"/>
                    <a:gd name="T27" fmla="*/ 1 h 49"/>
                    <a:gd name="T28" fmla="*/ 50 w 120"/>
                    <a:gd name="T29" fmla="*/ 0 h 49"/>
                    <a:gd name="T30" fmla="*/ 34 w 120"/>
                    <a:gd name="T31" fmla="*/ 1 h 49"/>
                    <a:gd name="T32" fmla="*/ 20 w 120"/>
                    <a:gd name="T33" fmla="*/ 2 h 49"/>
                    <a:gd name="T34" fmla="*/ 9 w 120"/>
                    <a:gd name="T35" fmla="*/ 4 h 49"/>
                    <a:gd name="T36" fmla="*/ 0 w 120"/>
                    <a:gd name="T37" fmla="*/ 6 h 49"/>
                    <a:gd name="T38" fmla="*/ 0 w 120"/>
                    <a:gd name="T39" fmla="*/ 30 h 49"/>
                    <a:gd name="T40" fmla="*/ 2 w 120"/>
                    <a:gd name="T41" fmla="*/ 35 h 49"/>
                    <a:gd name="T42" fmla="*/ 6 w 120"/>
                    <a:gd name="T43" fmla="*/ 38 h 49"/>
                    <a:gd name="T44" fmla="*/ 9 w 120"/>
                    <a:gd name="T45" fmla="*/ 41 h 49"/>
                    <a:gd name="T46" fmla="*/ 13 w 120"/>
                    <a:gd name="T47" fmla="*/ 45 h 49"/>
                    <a:gd name="T48" fmla="*/ 20 w 120"/>
                    <a:gd name="T49" fmla="*/ 48 h 49"/>
                    <a:gd name="T50" fmla="*/ 27 w 120"/>
                    <a:gd name="T51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0" h="49">
                      <a:moveTo>
                        <a:pt x="27" y="49"/>
                      </a:moveTo>
                      <a:lnTo>
                        <a:pt x="47" y="49"/>
                      </a:lnTo>
                      <a:lnTo>
                        <a:pt x="64" y="48"/>
                      </a:lnTo>
                      <a:lnTo>
                        <a:pt x="78" y="46"/>
                      </a:lnTo>
                      <a:lnTo>
                        <a:pt x="90" y="43"/>
                      </a:lnTo>
                      <a:lnTo>
                        <a:pt x="96" y="39"/>
                      </a:lnTo>
                      <a:lnTo>
                        <a:pt x="100" y="37"/>
                      </a:lnTo>
                      <a:lnTo>
                        <a:pt x="104" y="34"/>
                      </a:lnTo>
                      <a:lnTo>
                        <a:pt x="108" y="31"/>
                      </a:lnTo>
                      <a:lnTo>
                        <a:pt x="114" y="22"/>
                      </a:lnTo>
                      <a:lnTo>
                        <a:pt x="120" y="12"/>
                      </a:lnTo>
                      <a:lnTo>
                        <a:pt x="102" y="6"/>
                      </a:lnTo>
                      <a:lnTo>
                        <a:pt x="84" y="3"/>
                      </a:lnTo>
                      <a:lnTo>
                        <a:pt x="66" y="1"/>
                      </a:lnTo>
                      <a:lnTo>
                        <a:pt x="50" y="0"/>
                      </a:lnTo>
                      <a:lnTo>
                        <a:pt x="34" y="1"/>
                      </a:lnTo>
                      <a:lnTo>
                        <a:pt x="20" y="2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6" y="38"/>
                      </a:lnTo>
                      <a:lnTo>
                        <a:pt x="9" y="41"/>
                      </a:lnTo>
                      <a:lnTo>
                        <a:pt x="13" y="45"/>
                      </a:lnTo>
                      <a:lnTo>
                        <a:pt x="20" y="48"/>
                      </a:lnTo>
                      <a:lnTo>
                        <a:pt x="27" y="4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6" name="Freeform 409"/>
                <p:cNvSpPr>
                  <a:spLocks/>
                </p:cNvSpPr>
                <p:nvPr/>
              </p:nvSpPr>
              <p:spPr bwMode="auto">
                <a:xfrm>
                  <a:off x="1441" y="1194"/>
                  <a:ext cx="26" cy="19"/>
                </a:xfrm>
                <a:custGeom>
                  <a:avLst/>
                  <a:gdLst>
                    <a:gd name="T0" fmla="*/ 33 w 85"/>
                    <a:gd name="T1" fmla="*/ 0 h 61"/>
                    <a:gd name="T2" fmla="*/ 22 w 85"/>
                    <a:gd name="T3" fmla="*/ 5 h 61"/>
                    <a:gd name="T4" fmla="*/ 11 w 85"/>
                    <a:gd name="T5" fmla="*/ 12 h 61"/>
                    <a:gd name="T6" fmla="*/ 6 w 85"/>
                    <a:gd name="T7" fmla="*/ 17 h 61"/>
                    <a:gd name="T8" fmla="*/ 3 w 85"/>
                    <a:gd name="T9" fmla="*/ 21 h 61"/>
                    <a:gd name="T10" fmla="*/ 0 w 85"/>
                    <a:gd name="T11" fmla="*/ 25 h 61"/>
                    <a:gd name="T12" fmla="*/ 0 w 85"/>
                    <a:gd name="T13" fmla="*/ 31 h 61"/>
                    <a:gd name="T14" fmla="*/ 0 w 85"/>
                    <a:gd name="T15" fmla="*/ 34 h 61"/>
                    <a:gd name="T16" fmla="*/ 1 w 85"/>
                    <a:gd name="T17" fmla="*/ 37 h 61"/>
                    <a:gd name="T18" fmla="*/ 2 w 85"/>
                    <a:gd name="T19" fmla="*/ 40 h 61"/>
                    <a:gd name="T20" fmla="*/ 5 w 85"/>
                    <a:gd name="T21" fmla="*/ 43 h 61"/>
                    <a:gd name="T22" fmla="*/ 11 w 85"/>
                    <a:gd name="T23" fmla="*/ 48 h 61"/>
                    <a:gd name="T24" fmla="*/ 18 w 85"/>
                    <a:gd name="T25" fmla="*/ 53 h 61"/>
                    <a:gd name="T26" fmla="*/ 27 w 85"/>
                    <a:gd name="T27" fmla="*/ 56 h 61"/>
                    <a:gd name="T28" fmla="*/ 36 w 85"/>
                    <a:gd name="T29" fmla="*/ 59 h 61"/>
                    <a:gd name="T30" fmla="*/ 45 w 85"/>
                    <a:gd name="T31" fmla="*/ 61 h 61"/>
                    <a:gd name="T32" fmla="*/ 53 w 85"/>
                    <a:gd name="T33" fmla="*/ 61 h 61"/>
                    <a:gd name="T34" fmla="*/ 56 w 85"/>
                    <a:gd name="T35" fmla="*/ 61 h 61"/>
                    <a:gd name="T36" fmla="*/ 59 w 85"/>
                    <a:gd name="T37" fmla="*/ 60 h 61"/>
                    <a:gd name="T38" fmla="*/ 62 w 85"/>
                    <a:gd name="T39" fmla="*/ 59 h 61"/>
                    <a:gd name="T40" fmla="*/ 66 w 85"/>
                    <a:gd name="T41" fmla="*/ 57 h 61"/>
                    <a:gd name="T42" fmla="*/ 72 w 85"/>
                    <a:gd name="T43" fmla="*/ 52 h 61"/>
                    <a:gd name="T44" fmla="*/ 77 w 85"/>
                    <a:gd name="T45" fmla="*/ 47 h 61"/>
                    <a:gd name="T46" fmla="*/ 80 w 85"/>
                    <a:gd name="T47" fmla="*/ 40 h 61"/>
                    <a:gd name="T48" fmla="*/ 83 w 85"/>
                    <a:gd name="T49" fmla="*/ 33 h 61"/>
                    <a:gd name="T50" fmla="*/ 85 w 85"/>
                    <a:gd name="T51" fmla="*/ 25 h 61"/>
                    <a:gd name="T52" fmla="*/ 85 w 85"/>
                    <a:gd name="T53" fmla="*/ 18 h 61"/>
                    <a:gd name="T54" fmla="*/ 33 w 85"/>
                    <a:gd name="T55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5" h="61">
                      <a:moveTo>
                        <a:pt x="33" y="0"/>
                      </a:moveTo>
                      <a:lnTo>
                        <a:pt x="22" y="5"/>
                      </a:lnTo>
                      <a:lnTo>
                        <a:pt x="11" y="12"/>
                      </a:lnTo>
                      <a:lnTo>
                        <a:pt x="6" y="17"/>
                      </a:lnTo>
                      <a:lnTo>
                        <a:pt x="3" y="21"/>
                      </a:lnTo>
                      <a:lnTo>
                        <a:pt x="0" y="25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1" y="37"/>
                      </a:lnTo>
                      <a:lnTo>
                        <a:pt x="2" y="40"/>
                      </a:lnTo>
                      <a:lnTo>
                        <a:pt x="5" y="43"/>
                      </a:lnTo>
                      <a:lnTo>
                        <a:pt x="11" y="48"/>
                      </a:lnTo>
                      <a:lnTo>
                        <a:pt x="18" y="53"/>
                      </a:lnTo>
                      <a:lnTo>
                        <a:pt x="27" y="56"/>
                      </a:lnTo>
                      <a:lnTo>
                        <a:pt x="36" y="59"/>
                      </a:lnTo>
                      <a:lnTo>
                        <a:pt x="45" y="61"/>
                      </a:lnTo>
                      <a:lnTo>
                        <a:pt x="53" y="61"/>
                      </a:lnTo>
                      <a:lnTo>
                        <a:pt x="56" y="61"/>
                      </a:lnTo>
                      <a:lnTo>
                        <a:pt x="59" y="60"/>
                      </a:lnTo>
                      <a:lnTo>
                        <a:pt x="62" y="59"/>
                      </a:lnTo>
                      <a:lnTo>
                        <a:pt x="66" y="57"/>
                      </a:lnTo>
                      <a:lnTo>
                        <a:pt x="72" y="52"/>
                      </a:lnTo>
                      <a:lnTo>
                        <a:pt x="77" y="47"/>
                      </a:lnTo>
                      <a:lnTo>
                        <a:pt x="80" y="40"/>
                      </a:lnTo>
                      <a:lnTo>
                        <a:pt x="83" y="33"/>
                      </a:lnTo>
                      <a:lnTo>
                        <a:pt x="85" y="25"/>
                      </a:lnTo>
                      <a:lnTo>
                        <a:pt x="85" y="18"/>
                      </a:lnTo>
                      <a:lnTo>
                        <a:pt x="3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7" name="Freeform 410"/>
                <p:cNvSpPr>
                  <a:spLocks/>
                </p:cNvSpPr>
                <p:nvPr/>
              </p:nvSpPr>
              <p:spPr bwMode="auto">
                <a:xfrm>
                  <a:off x="1254" y="1188"/>
                  <a:ext cx="31" cy="6"/>
                </a:xfrm>
                <a:custGeom>
                  <a:avLst/>
                  <a:gdLst>
                    <a:gd name="T0" fmla="*/ 0 w 100"/>
                    <a:gd name="T1" fmla="*/ 6 h 19"/>
                    <a:gd name="T2" fmla="*/ 7 w 100"/>
                    <a:gd name="T3" fmla="*/ 11 h 19"/>
                    <a:gd name="T4" fmla="*/ 13 w 100"/>
                    <a:gd name="T5" fmla="*/ 15 h 19"/>
                    <a:gd name="T6" fmla="*/ 21 w 100"/>
                    <a:gd name="T7" fmla="*/ 18 h 19"/>
                    <a:gd name="T8" fmla="*/ 27 w 100"/>
                    <a:gd name="T9" fmla="*/ 19 h 19"/>
                    <a:gd name="T10" fmla="*/ 100 w 100"/>
                    <a:gd name="T11" fmla="*/ 6 h 19"/>
                    <a:gd name="T12" fmla="*/ 73 w 100"/>
                    <a:gd name="T13" fmla="*/ 2 h 19"/>
                    <a:gd name="T14" fmla="*/ 47 w 100"/>
                    <a:gd name="T15" fmla="*/ 0 h 19"/>
                    <a:gd name="T16" fmla="*/ 36 w 100"/>
                    <a:gd name="T17" fmla="*/ 0 h 19"/>
                    <a:gd name="T18" fmla="*/ 24 w 100"/>
                    <a:gd name="T19" fmla="*/ 1 h 19"/>
                    <a:gd name="T20" fmla="*/ 12 w 100"/>
                    <a:gd name="T21" fmla="*/ 3 h 19"/>
                    <a:gd name="T22" fmla="*/ 0 w 100"/>
                    <a:gd name="T23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0" h="19">
                      <a:moveTo>
                        <a:pt x="0" y="6"/>
                      </a:moveTo>
                      <a:lnTo>
                        <a:pt x="7" y="11"/>
                      </a:lnTo>
                      <a:lnTo>
                        <a:pt x="13" y="15"/>
                      </a:lnTo>
                      <a:lnTo>
                        <a:pt x="21" y="18"/>
                      </a:lnTo>
                      <a:lnTo>
                        <a:pt x="27" y="19"/>
                      </a:lnTo>
                      <a:lnTo>
                        <a:pt x="100" y="6"/>
                      </a:lnTo>
                      <a:lnTo>
                        <a:pt x="73" y="2"/>
                      </a:lnTo>
                      <a:lnTo>
                        <a:pt x="47" y="0"/>
                      </a:lnTo>
                      <a:lnTo>
                        <a:pt x="36" y="0"/>
                      </a:lnTo>
                      <a:lnTo>
                        <a:pt x="24" y="1"/>
                      </a:lnTo>
                      <a:lnTo>
                        <a:pt x="12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8" name="Freeform 411"/>
                <p:cNvSpPr>
                  <a:spLocks/>
                </p:cNvSpPr>
                <p:nvPr/>
              </p:nvSpPr>
              <p:spPr bwMode="auto">
                <a:xfrm>
                  <a:off x="1272" y="1168"/>
                  <a:ext cx="53" cy="15"/>
                </a:xfrm>
                <a:custGeom>
                  <a:avLst/>
                  <a:gdLst>
                    <a:gd name="T0" fmla="*/ 0 w 166"/>
                    <a:gd name="T1" fmla="*/ 27 h 45"/>
                    <a:gd name="T2" fmla="*/ 0 w 166"/>
                    <a:gd name="T3" fmla="*/ 29 h 45"/>
                    <a:gd name="T4" fmla="*/ 3 w 166"/>
                    <a:gd name="T5" fmla="*/ 31 h 45"/>
                    <a:gd name="T6" fmla="*/ 8 w 166"/>
                    <a:gd name="T7" fmla="*/ 33 h 45"/>
                    <a:gd name="T8" fmla="*/ 13 w 166"/>
                    <a:gd name="T9" fmla="*/ 35 h 45"/>
                    <a:gd name="T10" fmla="*/ 27 w 166"/>
                    <a:gd name="T11" fmla="*/ 38 h 45"/>
                    <a:gd name="T12" fmla="*/ 44 w 166"/>
                    <a:gd name="T13" fmla="*/ 41 h 45"/>
                    <a:gd name="T14" fmla="*/ 75 w 166"/>
                    <a:gd name="T15" fmla="*/ 44 h 45"/>
                    <a:gd name="T16" fmla="*/ 92 w 166"/>
                    <a:gd name="T17" fmla="*/ 45 h 45"/>
                    <a:gd name="T18" fmla="*/ 166 w 166"/>
                    <a:gd name="T19" fmla="*/ 27 h 45"/>
                    <a:gd name="T20" fmla="*/ 157 w 166"/>
                    <a:gd name="T21" fmla="*/ 25 h 45"/>
                    <a:gd name="T22" fmla="*/ 137 w 166"/>
                    <a:gd name="T23" fmla="*/ 19 h 45"/>
                    <a:gd name="T24" fmla="*/ 110 w 166"/>
                    <a:gd name="T25" fmla="*/ 11 h 45"/>
                    <a:gd name="T26" fmla="*/ 80 w 166"/>
                    <a:gd name="T27" fmla="*/ 4 h 45"/>
                    <a:gd name="T28" fmla="*/ 65 w 166"/>
                    <a:gd name="T29" fmla="*/ 2 h 45"/>
                    <a:gd name="T30" fmla="*/ 50 w 166"/>
                    <a:gd name="T31" fmla="*/ 1 h 45"/>
                    <a:gd name="T32" fmla="*/ 36 w 166"/>
                    <a:gd name="T33" fmla="*/ 0 h 45"/>
                    <a:gd name="T34" fmla="*/ 24 w 166"/>
                    <a:gd name="T35" fmla="*/ 2 h 45"/>
                    <a:gd name="T36" fmla="*/ 19 w 166"/>
                    <a:gd name="T37" fmla="*/ 3 h 45"/>
                    <a:gd name="T38" fmla="*/ 14 w 166"/>
                    <a:gd name="T39" fmla="*/ 5 h 45"/>
                    <a:gd name="T40" fmla="*/ 10 w 166"/>
                    <a:gd name="T41" fmla="*/ 7 h 45"/>
                    <a:gd name="T42" fmla="*/ 7 w 166"/>
                    <a:gd name="T43" fmla="*/ 10 h 45"/>
                    <a:gd name="T44" fmla="*/ 3 w 166"/>
                    <a:gd name="T45" fmla="*/ 13 h 45"/>
                    <a:gd name="T46" fmla="*/ 1 w 166"/>
                    <a:gd name="T47" fmla="*/ 17 h 45"/>
                    <a:gd name="T48" fmla="*/ 0 w 166"/>
                    <a:gd name="T49" fmla="*/ 22 h 45"/>
                    <a:gd name="T50" fmla="*/ 0 w 166"/>
                    <a:gd name="T51" fmla="*/ 2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6" h="45">
                      <a:moveTo>
                        <a:pt x="0" y="27"/>
                      </a:moveTo>
                      <a:lnTo>
                        <a:pt x="0" y="29"/>
                      </a:lnTo>
                      <a:lnTo>
                        <a:pt x="3" y="31"/>
                      </a:lnTo>
                      <a:lnTo>
                        <a:pt x="8" y="33"/>
                      </a:lnTo>
                      <a:lnTo>
                        <a:pt x="13" y="35"/>
                      </a:lnTo>
                      <a:lnTo>
                        <a:pt x="27" y="38"/>
                      </a:lnTo>
                      <a:lnTo>
                        <a:pt x="44" y="41"/>
                      </a:lnTo>
                      <a:lnTo>
                        <a:pt x="75" y="44"/>
                      </a:lnTo>
                      <a:lnTo>
                        <a:pt x="92" y="45"/>
                      </a:lnTo>
                      <a:lnTo>
                        <a:pt x="166" y="27"/>
                      </a:lnTo>
                      <a:lnTo>
                        <a:pt x="157" y="25"/>
                      </a:lnTo>
                      <a:lnTo>
                        <a:pt x="137" y="19"/>
                      </a:lnTo>
                      <a:lnTo>
                        <a:pt x="110" y="11"/>
                      </a:lnTo>
                      <a:lnTo>
                        <a:pt x="80" y="4"/>
                      </a:lnTo>
                      <a:lnTo>
                        <a:pt x="65" y="2"/>
                      </a:lnTo>
                      <a:lnTo>
                        <a:pt x="50" y="1"/>
                      </a:lnTo>
                      <a:lnTo>
                        <a:pt x="36" y="0"/>
                      </a:lnTo>
                      <a:lnTo>
                        <a:pt x="24" y="2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7" y="10"/>
                      </a:lnTo>
                      <a:lnTo>
                        <a:pt x="3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9" name="Freeform 412"/>
                <p:cNvSpPr>
                  <a:spLocks/>
                </p:cNvSpPr>
                <p:nvPr/>
              </p:nvSpPr>
              <p:spPr bwMode="auto">
                <a:xfrm>
                  <a:off x="1488" y="1422"/>
                  <a:ext cx="11" cy="8"/>
                </a:xfrm>
                <a:custGeom>
                  <a:avLst/>
                  <a:gdLst>
                    <a:gd name="T0" fmla="*/ 0 w 33"/>
                    <a:gd name="T1" fmla="*/ 0 h 25"/>
                    <a:gd name="T2" fmla="*/ 0 w 33"/>
                    <a:gd name="T3" fmla="*/ 9 h 25"/>
                    <a:gd name="T4" fmla="*/ 3 w 33"/>
                    <a:gd name="T5" fmla="*/ 15 h 25"/>
                    <a:gd name="T6" fmla="*/ 6 w 33"/>
                    <a:gd name="T7" fmla="*/ 20 h 25"/>
                    <a:gd name="T8" fmla="*/ 11 w 33"/>
                    <a:gd name="T9" fmla="*/ 22 h 25"/>
                    <a:gd name="T10" fmla="*/ 16 w 33"/>
                    <a:gd name="T11" fmla="*/ 24 h 25"/>
                    <a:gd name="T12" fmla="*/ 22 w 33"/>
                    <a:gd name="T13" fmla="*/ 25 h 25"/>
                    <a:gd name="T14" fmla="*/ 27 w 33"/>
                    <a:gd name="T15" fmla="*/ 25 h 25"/>
                    <a:gd name="T16" fmla="*/ 33 w 33"/>
                    <a:gd name="T17" fmla="*/ 25 h 25"/>
                    <a:gd name="T18" fmla="*/ 33 w 33"/>
                    <a:gd name="T19" fmla="*/ 0 h 25"/>
                    <a:gd name="T20" fmla="*/ 24 w 33"/>
                    <a:gd name="T21" fmla="*/ 0 h 25"/>
                    <a:gd name="T22" fmla="*/ 16 w 33"/>
                    <a:gd name="T23" fmla="*/ 0 h 25"/>
                    <a:gd name="T24" fmla="*/ 9 w 33"/>
                    <a:gd name="T25" fmla="*/ 0 h 25"/>
                    <a:gd name="T26" fmla="*/ 0 w 33"/>
                    <a:gd name="T2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3" y="15"/>
                      </a:lnTo>
                      <a:lnTo>
                        <a:pt x="6" y="20"/>
                      </a:lnTo>
                      <a:lnTo>
                        <a:pt x="11" y="22"/>
                      </a:lnTo>
                      <a:lnTo>
                        <a:pt x="16" y="24"/>
                      </a:lnTo>
                      <a:lnTo>
                        <a:pt x="22" y="25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0" name="Freeform 413"/>
                <p:cNvSpPr>
                  <a:spLocks/>
                </p:cNvSpPr>
                <p:nvPr/>
              </p:nvSpPr>
              <p:spPr bwMode="auto">
                <a:xfrm>
                  <a:off x="1605" y="1729"/>
                  <a:ext cx="16" cy="20"/>
                </a:xfrm>
                <a:custGeom>
                  <a:avLst/>
                  <a:gdLst>
                    <a:gd name="T0" fmla="*/ 0 w 48"/>
                    <a:gd name="T1" fmla="*/ 62 h 62"/>
                    <a:gd name="T2" fmla="*/ 12 w 48"/>
                    <a:gd name="T3" fmla="*/ 56 h 62"/>
                    <a:gd name="T4" fmla="*/ 22 w 48"/>
                    <a:gd name="T5" fmla="*/ 50 h 62"/>
                    <a:gd name="T6" fmla="*/ 30 w 48"/>
                    <a:gd name="T7" fmla="*/ 43 h 62"/>
                    <a:gd name="T8" fmla="*/ 37 w 48"/>
                    <a:gd name="T9" fmla="*/ 36 h 62"/>
                    <a:gd name="T10" fmla="*/ 41 w 48"/>
                    <a:gd name="T11" fmla="*/ 28 h 62"/>
                    <a:gd name="T12" fmla="*/ 44 w 48"/>
                    <a:gd name="T13" fmla="*/ 19 h 62"/>
                    <a:gd name="T14" fmla="*/ 47 w 48"/>
                    <a:gd name="T15" fmla="*/ 9 h 62"/>
                    <a:gd name="T16" fmla="*/ 48 w 48"/>
                    <a:gd name="T17" fmla="*/ 0 h 62"/>
                    <a:gd name="T18" fmla="*/ 40 w 48"/>
                    <a:gd name="T19" fmla="*/ 3 h 62"/>
                    <a:gd name="T20" fmla="*/ 32 w 48"/>
                    <a:gd name="T21" fmla="*/ 6 h 62"/>
                    <a:gd name="T22" fmla="*/ 23 w 48"/>
                    <a:gd name="T23" fmla="*/ 10 h 62"/>
                    <a:gd name="T24" fmla="*/ 17 w 48"/>
                    <a:gd name="T25" fmla="*/ 15 h 62"/>
                    <a:gd name="T26" fmla="*/ 10 w 48"/>
                    <a:gd name="T27" fmla="*/ 21 h 62"/>
                    <a:gd name="T28" fmla="*/ 6 w 48"/>
                    <a:gd name="T29" fmla="*/ 27 h 62"/>
                    <a:gd name="T30" fmla="*/ 4 w 48"/>
                    <a:gd name="T31" fmla="*/ 31 h 62"/>
                    <a:gd name="T32" fmla="*/ 3 w 48"/>
                    <a:gd name="T33" fmla="*/ 35 h 62"/>
                    <a:gd name="T34" fmla="*/ 1 w 48"/>
                    <a:gd name="T35" fmla="*/ 39 h 62"/>
                    <a:gd name="T36" fmla="*/ 0 w 48"/>
                    <a:gd name="T37" fmla="*/ 43 h 62"/>
                    <a:gd name="T38" fmla="*/ 0 w 48"/>
                    <a:gd name="T39" fmla="*/ 52 h 62"/>
                    <a:gd name="T40" fmla="*/ 0 w 48"/>
                    <a:gd name="T41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8" h="62">
                      <a:moveTo>
                        <a:pt x="0" y="62"/>
                      </a:moveTo>
                      <a:lnTo>
                        <a:pt x="12" y="56"/>
                      </a:lnTo>
                      <a:lnTo>
                        <a:pt x="22" y="50"/>
                      </a:lnTo>
                      <a:lnTo>
                        <a:pt x="30" y="43"/>
                      </a:lnTo>
                      <a:lnTo>
                        <a:pt x="37" y="36"/>
                      </a:lnTo>
                      <a:lnTo>
                        <a:pt x="41" y="28"/>
                      </a:lnTo>
                      <a:lnTo>
                        <a:pt x="44" y="19"/>
                      </a:lnTo>
                      <a:lnTo>
                        <a:pt x="47" y="9"/>
                      </a:lnTo>
                      <a:lnTo>
                        <a:pt x="48" y="0"/>
                      </a:lnTo>
                      <a:lnTo>
                        <a:pt x="40" y="3"/>
                      </a:lnTo>
                      <a:lnTo>
                        <a:pt x="32" y="6"/>
                      </a:lnTo>
                      <a:lnTo>
                        <a:pt x="23" y="10"/>
                      </a:lnTo>
                      <a:lnTo>
                        <a:pt x="17" y="15"/>
                      </a:lnTo>
                      <a:lnTo>
                        <a:pt x="10" y="21"/>
                      </a:lnTo>
                      <a:lnTo>
                        <a:pt x="6" y="27"/>
                      </a:lnTo>
                      <a:lnTo>
                        <a:pt x="4" y="31"/>
                      </a:lnTo>
                      <a:lnTo>
                        <a:pt x="3" y="35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52"/>
                      </a:lnTo>
                      <a:lnTo>
                        <a:pt x="0" y="6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1" name="Freeform 414"/>
                <p:cNvSpPr>
                  <a:spLocks/>
                </p:cNvSpPr>
                <p:nvPr/>
              </p:nvSpPr>
              <p:spPr bwMode="auto">
                <a:xfrm>
                  <a:off x="1554" y="1729"/>
                  <a:ext cx="36" cy="20"/>
                </a:xfrm>
                <a:custGeom>
                  <a:avLst/>
                  <a:gdLst>
                    <a:gd name="T0" fmla="*/ 47 w 113"/>
                    <a:gd name="T1" fmla="*/ 0 h 62"/>
                    <a:gd name="T2" fmla="*/ 36 w 113"/>
                    <a:gd name="T3" fmla="*/ 7 h 62"/>
                    <a:gd name="T4" fmla="*/ 23 w 113"/>
                    <a:gd name="T5" fmla="*/ 17 h 62"/>
                    <a:gd name="T6" fmla="*/ 11 w 113"/>
                    <a:gd name="T7" fmla="*/ 27 h 62"/>
                    <a:gd name="T8" fmla="*/ 0 w 113"/>
                    <a:gd name="T9" fmla="*/ 37 h 62"/>
                    <a:gd name="T10" fmla="*/ 22 w 113"/>
                    <a:gd name="T11" fmla="*/ 46 h 62"/>
                    <a:gd name="T12" fmla="*/ 41 w 113"/>
                    <a:gd name="T13" fmla="*/ 54 h 62"/>
                    <a:gd name="T14" fmla="*/ 51 w 113"/>
                    <a:gd name="T15" fmla="*/ 57 h 62"/>
                    <a:gd name="T16" fmla="*/ 62 w 113"/>
                    <a:gd name="T17" fmla="*/ 59 h 62"/>
                    <a:gd name="T18" fmla="*/ 73 w 113"/>
                    <a:gd name="T19" fmla="*/ 61 h 62"/>
                    <a:gd name="T20" fmla="*/ 87 w 113"/>
                    <a:gd name="T21" fmla="*/ 62 h 62"/>
                    <a:gd name="T22" fmla="*/ 97 w 113"/>
                    <a:gd name="T23" fmla="*/ 61 h 62"/>
                    <a:gd name="T24" fmla="*/ 106 w 113"/>
                    <a:gd name="T25" fmla="*/ 58 h 62"/>
                    <a:gd name="T26" fmla="*/ 109 w 113"/>
                    <a:gd name="T27" fmla="*/ 56 h 62"/>
                    <a:gd name="T28" fmla="*/ 111 w 113"/>
                    <a:gd name="T29" fmla="*/ 54 h 62"/>
                    <a:gd name="T30" fmla="*/ 113 w 113"/>
                    <a:gd name="T31" fmla="*/ 52 h 62"/>
                    <a:gd name="T32" fmla="*/ 113 w 113"/>
                    <a:gd name="T33" fmla="*/ 49 h 62"/>
                    <a:gd name="T34" fmla="*/ 91 w 113"/>
                    <a:gd name="T35" fmla="*/ 41 h 62"/>
                    <a:gd name="T36" fmla="*/ 70 w 113"/>
                    <a:gd name="T37" fmla="*/ 32 h 62"/>
                    <a:gd name="T38" fmla="*/ 65 w 113"/>
                    <a:gd name="T39" fmla="*/ 29 h 62"/>
                    <a:gd name="T40" fmla="*/ 61 w 113"/>
                    <a:gd name="T41" fmla="*/ 26 h 62"/>
                    <a:gd name="T42" fmla="*/ 57 w 113"/>
                    <a:gd name="T43" fmla="*/ 23 h 62"/>
                    <a:gd name="T44" fmla="*/ 54 w 113"/>
                    <a:gd name="T45" fmla="*/ 20 h 62"/>
                    <a:gd name="T46" fmla="*/ 51 w 113"/>
                    <a:gd name="T47" fmla="*/ 16 h 62"/>
                    <a:gd name="T48" fmla="*/ 48 w 113"/>
                    <a:gd name="T49" fmla="*/ 10 h 62"/>
                    <a:gd name="T50" fmla="*/ 47 w 113"/>
                    <a:gd name="T51" fmla="*/ 5 h 62"/>
                    <a:gd name="T52" fmla="*/ 47 w 113"/>
                    <a:gd name="T53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3" h="62">
                      <a:moveTo>
                        <a:pt x="47" y="0"/>
                      </a:moveTo>
                      <a:lnTo>
                        <a:pt x="36" y="7"/>
                      </a:lnTo>
                      <a:lnTo>
                        <a:pt x="23" y="17"/>
                      </a:lnTo>
                      <a:lnTo>
                        <a:pt x="11" y="27"/>
                      </a:lnTo>
                      <a:lnTo>
                        <a:pt x="0" y="37"/>
                      </a:lnTo>
                      <a:lnTo>
                        <a:pt x="22" y="46"/>
                      </a:lnTo>
                      <a:lnTo>
                        <a:pt x="41" y="54"/>
                      </a:lnTo>
                      <a:lnTo>
                        <a:pt x="51" y="57"/>
                      </a:lnTo>
                      <a:lnTo>
                        <a:pt x="62" y="59"/>
                      </a:lnTo>
                      <a:lnTo>
                        <a:pt x="73" y="61"/>
                      </a:lnTo>
                      <a:lnTo>
                        <a:pt x="87" y="62"/>
                      </a:lnTo>
                      <a:lnTo>
                        <a:pt x="97" y="61"/>
                      </a:lnTo>
                      <a:lnTo>
                        <a:pt x="106" y="58"/>
                      </a:lnTo>
                      <a:lnTo>
                        <a:pt x="109" y="56"/>
                      </a:lnTo>
                      <a:lnTo>
                        <a:pt x="111" y="54"/>
                      </a:lnTo>
                      <a:lnTo>
                        <a:pt x="113" y="52"/>
                      </a:lnTo>
                      <a:lnTo>
                        <a:pt x="113" y="49"/>
                      </a:lnTo>
                      <a:lnTo>
                        <a:pt x="91" y="41"/>
                      </a:lnTo>
                      <a:lnTo>
                        <a:pt x="70" y="32"/>
                      </a:lnTo>
                      <a:lnTo>
                        <a:pt x="65" y="29"/>
                      </a:lnTo>
                      <a:lnTo>
                        <a:pt x="61" y="26"/>
                      </a:lnTo>
                      <a:lnTo>
                        <a:pt x="57" y="23"/>
                      </a:lnTo>
                      <a:lnTo>
                        <a:pt x="54" y="20"/>
                      </a:lnTo>
                      <a:lnTo>
                        <a:pt x="51" y="16"/>
                      </a:lnTo>
                      <a:lnTo>
                        <a:pt x="48" y="10"/>
                      </a:lnTo>
                      <a:lnTo>
                        <a:pt x="47" y="5"/>
                      </a:lnTo>
                      <a:lnTo>
                        <a:pt x="47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2" name="Freeform 415"/>
                <p:cNvSpPr>
                  <a:spLocks/>
                </p:cNvSpPr>
                <p:nvPr/>
              </p:nvSpPr>
              <p:spPr bwMode="auto">
                <a:xfrm>
                  <a:off x="1748" y="1188"/>
                  <a:ext cx="29" cy="15"/>
                </a:xfrm>
                <a:custGeom>
                  <a:avLst/>
                  <a:gdLst>
                    <a:gd name="T0" fmla="*/ 0 w 93"/>
                    <a:gd name="T1" fmla="*/ 0 h 50"/>
                    <a:gd name="T2" fmla="*/ 15 w 93"/>
                    <a:gd name="T3" fmla="*/ 0 h 50"/>
                    <a:gd name="T4" fmla="*/ 30 w 93"/>
                    <a:gd name="T5" fmla="*/ 1 h 50"/>
                    <a:gd name="T6" fmla="*/ 45 w 93"/>
                    <a:gd name="T7" fmla="*/ 2 h 50"/>
                    <a:gd name="T8" fmla="*/ 59 w 93"/>
                    <a:gd name="T9" fmla="*/ 5 h 50"/>
                    <a:gd name="T10" fmla="*/ 64 w 93"/>
                    <a:gd name="T11" fmla="*/ 7 h 50"/>
                    <a:gd name="T12" fmla="*/ 71 w 93"/>
                    <a:gd name="T13" fmla="*/ 9 h 50"/>
                    <a:gd name="T14" fmla="*/ 75 w 93"/>
                    <a:gd name="T15" fmla="*/ 12 h 50"/>
                    <a:gd name="T16" fmla="*/ 81 w 93"/>
                    <a:gd name="T17" fmla="*/ 16 h 50"/>
                    <a:gd name="T18" fmla="*/ 85 w 93"/>
                    <a:gd name="T19" fmla="*/ 20 h 50"/>
                    <a:gd name="T20" fmla="*/ 89 w 93"/>
                    <a:gd name="T21" fmla="*/ 25 h 50"/>
                    <a:gd name="T22" fmla="*/ 91 w 93"/>
                    <a:gd name="T23" fmla="*/ 30 h 50"/>
                    <a:gd name="T24" fmla="*/ 93 w 93"/>
                    <a:gd name="T25" fmla="*/ 37 h 50"/>
                    <a:gd name="T26" fmla="*/ 79 w 93"/>
                    <a:gd name="T27" fmla="*/ 37 h 50"/>
                    <a:gd name="T28" fmla="*/ 68 w 93"/>
                    <a:gd name="T29" fmla="*/ 39 h 50"/>
                    <a:gd name="T30" fmla="*/ 60 w 93"/>
                    <a:gd name="T31" fmla="*/ 41 h 50"/>
                    <a:gd name="T32" fmla="*/ 52 w 93"/>
                    <a:gd name="T33" fmla="*/ 43 h 50"/>
                    <a:gd name="T34" fmla="*/ 42 w 93"/>
                    <a:gd name="T35" fmla="*/ 47 h 50"/>
                    <a:gd name="T36" fmla="*/ 33 w 93"/>
                    <a:gd name="T37" fmla="*/ 50 h 50"/>
                    <a:gd name="T38" fmla="*/ 30 w 93"/>
                    <a:gd name="T39" fmla="*/ 50 h 50"/>
                    <a:gd name="T40" fmla="*/ 28 w 93"/>
                    <a:gd name="T41" fmla="*/ 48 h 50"/>
                    <a:gd name="T42" fmla="*/ 26 w 93"/>
                    <a:gd name="T43" fmla="*/ 47 h 50"/>
                    <a:gd name="T44" fmla="*/ 25 w 93"/>
                    <a:gd name="T45" fmla="*/ 45 h 50"/>
                    <a:gd name="T46" fmla="*/ 23 w 93"/>
                    <a:gd name="T47" fmla="*/ 41 h 50"/>
                    <a:gd name="T48" fmla="*/ 22 w 93"/>
                    <a:gd name="T49" fmla="*/ 36 h 50"/>
                    <a:gd name="T50" fmla="*/ 22 w 93"/>
                    <a:gd name="T51" fmla="*/ 31 h 50"/>
                    <a:gd name="T52" fmla="*/ 23 w 93"/>
                    <a:gd name="T53" fmla="*/ 26 h 50"/>
                    <a:gd name="T54" fmla="*/ 24 w 93"/>
                    <a:gd name="T55" fmla="*/ 22 h 50"/>
                    <a:gd name="T56" fmla="*/ 26 w 93"/>
                    <a:gd name="T57" fmla="*/ 19 h 50"/>
                    <a:gd name="T58" fmla="*/ 0 w 93"/>
                    <a:gd name="T59" fmla="*/ 19 h 50"/>
                    <a:gd name="T60" fmla="*/ 0 w 93"/>
                    <a:gd name="T61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93" h="50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30" y="1"/>
                      </a:lnTo>
                      <a:lnTo>
                        <a:pt x="45" y="2"/>
                      </a:lnTo>
                      <a:lnTo>
                        <a:pt x="59" y="5"/>
                      </a:lnTo>
                      <a:lnTo>
                        <a:pt x="64" y="7"/>
                      </a:lnTo>
                      <a:lnTo>
                        <a:pt x="71" y="9"/>
                      </a:lnTo>
                      <a:lnTo>
                        <a:pt x="75" y="12"/>
                      </a:lnTo>
                      <a:lnTo>
                        <a:pt x="81" y="16"/>
                      </a:lnTo>
                      <a:lnTo>
                        <a:pt x="85" y="20"/>
                      </a:lnTo>
                      <a:lnTo>
                        <a:pt x="89" y="25"/>
                      </a:lnTo>
                      <a:lnTo>
                        <a:pt x="91" y="30"/>
                      </a:lnTo>
                      <a:lnTo>
                        <a:pt x="93" y="37"/>
                      </a:lnTo>
                      <a:lnTo>
                        <a:pt x="79" y="37"/>
                      </a:lnTo>
                      <a:lnTo>
                        <a:pt x="68" y="39"/>
                      </a:lnTo>
                      <a:lnTo>
                        <a:pt x="60" y="41"/>
                      </a:lnTo>
                      <a:lnTo>
                        <a:pt x="52" y="43"/>
                      </a:lnTo>
                      <a:lnTo>
                        <a:pt x="42" y="47"/>
                      </a:lnTo>
                      <a:lnTo>
                        <a:pt x="33" y="50"/>
                      </a:lnTo>
                      <a:lnTo>
                        <a:pt x="30" y="50"/>
                      </a:lnTo>
                      <a:lnTo>
                        <a:pt x="28" y="48"/>
                      </a:lnTo>
                      <a:lnTo>
                        <a:pt x="26" y="47"/>
                      </a:lnTo>
                      <a:lnTo>
                        <a:pt x="25" y="45"/>
                      </a:lnTo>
                      <a:lnTo>
                        <a:pt x="23" y="41"/>
                      </a:lnTo>
                      <a:lnTo>
                        <a:pt x="22" y="36"/>
                      </a:lnTo>
                      <a:lnTo>
                        <a:pt x="22" y="31"/>
                      </a:lnTo>
                      <a:lnTo>
                        <a:pt x="23" y="26"/>
                      </a:lnTo>
                      <a:lnTo>
                        <a:pt x="24" y="22"/>
                      </a:lnTo>
                      <a:lnTo>
                        <a:pt x="26" y="1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3" name="Freeform 416"/>
                <p:cNvSpPr>
                  <a:spLocks/>
                </p:cNvSpPr>
                <p:nvPr/>
              </p:nvSpPr>
              <p:spPr bwMode="auto">
                <a:xfrm>
                  <a:off x="1436" y="1246"/>
                  <a:ext cx="331" cy="198"/>
                </a:xfrm>
                <a:custGeom>
                  <a:avLst/>
                  <a:gdLst>
                    <a:gd name="T0" fmla="*/ 20 w 1029"/>
                    <a:gd name="T1" fmla="*/ 112 h 604"/>
                    <a:gd name="T2" fmla="*/ 67 w 1029"/>
                    <a:gd name="T3" fmla="*/ 60 h 604"/>
                    <a:gd name="T4" fmla="*/ 266 w 1029"/>
                    <a:gd name="T5" fmla="*/ 0 h 604"/>
                    <a:gd name="T6" fmla="*/ 205 w 1029"/>
                    <a:gd name="T7" fmla="*/ 47 h 604"/>
                    <a:gd name="T8" fmla="*/ 180 w 1029"/>
                    <a:gd name="T9" fmla="*/ 105 h 604"/>
                    <a:gd name="T10" fmla="*/ 274 w 1029"/>
                    <a:gd name="T11" fmla="*/ 60 h 604"/>
                    <a:gd name="T12" fmla="*/ 397 w 1029"/>
                    <a:gd name="T13" fmla="*/ 14 h 604"/>
                    <a:gd name="T14" fmla="*/ 438 w 1029"/>
                    <a:gd name="T15" fmla="*/ 23 h 604"/>
                    <a:gd name="T16" fmla="*/ 433 w 1029"/>
                    <a:gd name="T17" fmla="*/ 71 h 604"/>
                    <a:gd name="T18" fmla="*/ 581 w 1029"/>
                    <a:gd name="T19" fmla="*/ 80 h 604"/>
                    <a:gd name="T20" fmla="*/ 675 w 1029"/>
                    <a:gd name="T21" fmla="*/ 89 h 604"/>
                    <a:gd name="T22" fmla="*/ 749 w 1029"/>
                    <a:gd name="T23" fmla="*/ 111 h 604"/>
                    <a:gd name="T24" fmla="*/ 749 w 1029"/>
                    <a:gd name="T25" fmla="*/ 134 h 604"/>
                    <a:gd name="T26" fmla="*/ 711 w 1029"/>
                    <a:gd name="T27" fmla="*/ 184 h 604"/>
                    <a:gd name="T28" fmla="*/ 799 w 1029"/>
                    <a:gd name="T29" fmla="*/ 168 h 604"/>
                    <a:gd name="T30" fmla="*/ 866 w 1029"/>
                    <a:gd name="T31" fmla="*/ 191 h 604"/>
                    <a:gd name="T32" fmla="*/ 856 w 1029"/>
                    <a:gd name="T33" fmla="*/ 239 h 604"/>
                    <a:gd name="T34" fmla="*/ 788 w 1029"/>
                    <a:gd name="T35" fmla="*/ 248 h 604"/>
                    <a:gd name="T36" fmla="*/ 859 w 1029"/>
                    <a:gd name="T37" fmla="*/ 284 h 604"/>
                    <a:gd name="T38" fmla="*/ 903 w 1029"/>
                    <a:gd name="T39" fmla="*/ 327 h 604"/>
                    <a:gd name="T40" fmla="*/ 977 w 1029"/>
                    <a:gd name="T41" fmla="*/ 329 h 604"/>
                    <a:gd name="T42" fmla="*/ 1029 w 1029"/>
                    <a:gd name="T43" fmla="*/ 351 h 604"/>
                    <a:gd name="T44" fmla="*/ 939 w 1029"/>
                    <a:gd name="T45" fmla="*/ 409 h 604"/>
                    <a:gd name="T46" fmla="*/ 899 w 1029"/>
                    <a:gd name="T47" fmla="*/ 417 h 604"/>
                    <a:gd name="T48" fmla="*/ 874 w 1029"/>
                    <a:gd name="T49" fmla="*/ 443 h 604"/>
                    <a:gd name="T50" fmla="*/ 830 w 1029"/>
                    <a:gd name="T51" fmla="*/ 414 h 604"/>
                    <a:gd name="T52" fmla="*/ 851 w 1029"/>
                    <a:gd name="T53" fmla="*/ 393 h 604"/>
                    <a:gd name="T54" fmla="*/ 792 w 1029"/>
                    <a:gd name="T55" fmla="*/ 379 h 604"/>
                    <a:gd name="T56" fmla="*/ 759 w 1029"/>
                    <a:gd name="T57" fmla="*/ 364 h 604"/>
                    <a:gd name="T58" fmla="*/ 744 w 1029"/>
                    <a:gd name="T59" fmla="*/ 394 h 604"/>
                    <a:gd name="T60" fmla="*/ 747 w 1029"/>
                    <a:gd name="T61" fmla="*/ 445 h 604"/>
                    <a:gd name="T62" fmla="*/ 795 w 1029"/>
                    <a:gd name="T63" fmla="*/ 523 h 604"/>
                    <a:gd name="T64" fmla="*/ 771 w 1029"/>
                    <a:gd name="T65" fmla="*/ 547 h 604"/>
                    <a:gd name="T66" fmla="*/ 708 w 1029"/>
                    <a:gd name="T67" fmla="*/ 556 h 604"/>
                    <a:gd name="T68" fmla="*/ 618 w 1029"/>
                    <a:gd name="T69" fmla="*/ 517 h 604"/>
                    <a:gd name="T70" fmla="*/ 668 w 1029"/>
                    <a:gd name="T71" fmla="*/ 567 h 604"/>
                    <a:gd name="T72" fmla="*/ 665 w 1029"/>
                    <a:gd name="T73" fmla="*/ 604 h 604"/>
                    <a:gd name="T74" fmla="*/ 518 w 1029"/>
                    <a:gd name="T75" fmla="*/ 570 h 604"/>
                    <a:gd name="T76" fmla="*/ 471 w 1029"/>
                    <a:gd name="T77" fmla="*/ 523 h 604"/>
                    <a:gd name="T78" fmla="*/ 410 w 1029"/>
                    <a:gd name="T79" fmla="*/ 473 h 604"/>
                    <a:gd name="T80" fmla="*/ 367 w 1029"/>
                    <a:gd name="T81" fmla="*/ 453 h 604"/>
                    <a:gd name="T82" fmla="*/ 392 w 1029"/>
                    <a:gd name="T83" fmla="*/ 433 h 604"/>
                    <a:gd name="T84" fmla="*/ 459 w 1029"/>
                    <a:gd name="T85" fmla="*/ 399 h 604"/>
                    <a:gd name="T86" fmla="*/ 500 w 1029"/>
                    <a:gd name="T87" fmla="*/ 378 h 604"/>
                    <a:gd name="T88" fmla="*/ 577 w 1029"/>
                    <a:gd name="T89" fmla="*/ 380 h 604"/>
                    <a:gd name="T90" fmla="*/ 614 w 1029"/>
                    <a:gd name="T91" fmla="*/ 395 h 604"/>
                    <a:gd name="T92" fmla="*/ 687 w 1029"/>
                    <a:gd name="T93" fmla="*/ 387 h 604"/>
                    <a:gd name="T94" fmla="*/ 581 w 1029"/>
                    <a:gd name="T95" fmla="*/ 355 h 604"/>
                    <a:gd name="T96" fmla="*/ 542 w 1029"/>
                    <a:gd name="T97" fmla="*/ 361 h 604"/>
                    <a:gd name="T98" fmla="*/ 539 w 1029"/>
                    <a:gd name="T99" fmla="*/ 350 h 604"/>
                    <a:gd name="T100" fmla="*/ 576 w 1029"/>
                    <a:gd name="T101" fmla="*/ 306 h 604"/>
                    <a:gd name="T102" fmla="*/ 576 w 1029"/>
                    <a:gd name="T103" fmla="*/ 274 h 604"/>
                    <a:gd name="T104" fmla="*/ 524 w 1029"/>
                    <a:gd name="T105" fmla="*/ 254 h 604"/>
                    <a:gd name="T106" fmla="*/ 473 w 1029"/>
                    <a:gd name="T107" fmla="*/ 198 h 604"/>
                    <a:gd name="T108" fmla="*/ 434 w 1029"/>
                    <a:gd name="T109" fmla="*/ 168 h 604"/>
                    <a:gd name="T110" fmla="*/ 408 w 1029"/>
                    <a:gd name="T111" fmla="*/ 163 h 604"/>
                    <a:gd name="T112" fmla="*/ 378 w 1029"/>
                    <a:gd name="T113" fmla="*/ 203 h 604"/>
                    <a:gd name="T114" fmla="*/ 207 w 1029"/>
                    <a:gd name="T115" fmla="*/ 174 h 604"/>
                    <a:gd name="T116" fmla="*/ 114 w 1029"/>
                    <a:gd name="T117" fmla="*/ 189 h 604"/>
                    <a:gd name="T118" fmla="*/ 79 w 1029"/>
                    <a:gd name="T119" fmla="*/ 187 h 604"/>
                    <a:gd name="T120" fmla="*/ 16 w 1029"/>
                    <a:gd name="T121" fmla="*/ 180 h 604"/>
                    <a:gd name="T122" fmla="*/ 9 w 1029"/>
                    <a:gd name="T123" fmla="*/ 158 h 604"/>
                    <a:gd name="T124" fmla="*/ 75 w 1029"/>
                    <a:gd name="T125" fmla="*/ 149 h 6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29" h="604">
                      <a:moveTo>
                        <a:pt x="73" y="129"/>
                      </a:moveTo>
                      <a:lnTo>
                        <a:pt x="34" y="129"/>
                      </a:lnTo>
                      <a:lnTo>
                        <a:pt x="28" y="128"/>
                      </a:lnTo>
                      <a:lnTo>
                        <a:pt x="24" y="125"/>
                      </a:lnTo>
                      <a:lnTo>
                        <a:pt x="22" y="121"/>
                      </a:lnTo>
                      <a:lnTo>
                        <a:pt x="20" y="117"/>
                      </a:lnTo>
                      <a:lnTo>
                        <a:pt x="20" y="112"/>
                      </a:lnTo>
                      <a:lnTo>
                        <a:pt x="22" y="107"/>
                      </a:lnTo>
                      <a:lnTo>
                        <a:pt x="24" y="102"/>
                      </a:lnTo>
                      <a:lnTo>
                        <a:pt x="26" y="97"/>
                      </a:lnTo>
                      <a:lnTo>
                        <a:pt x="34" y="87"/>
                      </a:lnTo>
                      <a:lnTo>
                        <a:pt x="42" y="77"/>
                      </a:lnTo>
                      <a:lnTo>
                        <a:pt x="54" y="69"/>
                      </a:lnTo>
                      <a:lnTo>
                        <a:pt x="67" y="60"/>
                      </a:lnTo>
                      <a:lnTo>
                        <a:pt x="81" y="52"/>
                      </a:lnTo>
                      <a:lnTo>
                        <a:pt x="96" y="45"/>
                      </a:lnTo>
                      <a:lnTo>
                        <a:pt x="128" y="30"/>
                      </a:lnTo>
                      <a:lnTo>
                        <a:pt x="160" y="18"/>
                      </a:lnTo>
                      <a:lnTo>
                        <a:pt x="190" y="8"/>
                      </a:lnTo>
                      <a:lnTo>
                        <a:pt x="213" y="0"/>
                      </a:lnTo>
                      <a:lnTo>
                        <a:pt x="266" y="0"/>
                      </a:lnTo>
                      <a:lnTo>
                        <a:pt x="264" y="7"/>
                      </a:lnTo>
                      <a:lnTo>
                        <a:pt x="260" y="14"/>
                      </a:lnTo>
                      <a:lnTo>
                        <a:pt x="255" y="19"/>
                      </a:lnTo>
                      <a:lnTo>
                        <a:pt x="250" y="24"/>
                      </a:lnTo>
                      <a:lnTo>
                        <a:pt x="236" y="32"/>
                      </a:lnTo>
                      <a:lnTo>
                        <a:pt x="220" y="40"/>
                      </a:lnTo>
                      <a:lnTo>
                        <a:pt x="205" y="47"/>
                      </a:lnTo>
                      <a:lnTo>
                        <a:pt x="192" y="55"/>
                      </a:lnTo>
                      <a:lnTo>
                        <a:pt x="187" y="60"/>
                      </a:lnTo>
                      <a:lnTo>
                        <a:pt x="183" y="66"/>
                      </a:lnTo>
                      <a:lnTo>
                        <a:pt x="181" y="72"/>
                      </a:lnTo>
                      <a:lnTo>
                        <a:pt x="180" y="80"/>
                      </a:lnTo>
                      <a:lnTo>
                        <a:pt x="180" y="95"/>
                      </a:lnTo>
                      <a:lnTo>
                        <a:pt x="180" y="105"/>
                      </a:lnTo>
                      <a:lnTo>
                        <a:pt x="198" y="104"/>
                      </a:lnTo>
                      <a:lnTo>
                        <a:pt x="216" y="101"/>
                      </a:lnTo>
                      <a:lnTo>
                        <a:pt x="233" y="97"/>
                      </a:lnTo>
                      <a:lnTo>
                        <a:pt x="252" y="93"/>
                      </a:lnTo>
                      <a:lnTo>
                        <a:pt x="252" y="82"/>
                      </a:lnTo>
                      <a:lnTo>
                        <a:pt x="252" y="67"/>
                      </a:lnTo>
                      <a:lnTo>
                        <a:pt x="274" y="60"/>
                      </a:lnTo>
                      <a:lnTo>
                        <a:pt x="295" y="51"/>
                      </a:lnTo>
                      <a:lnTo>
                        <a:pt x="316" y="42"/>
                      </a:lnTo>
                      <a:lnTo>
                        <a:pt x="336" y="32"/>
                      </a:lnTo>
                      <a:lnTo>
                        <a:pt x="355" y="24"/>
                      </a:lnTo>
                      <a:lnTo>
                        <a:pt x="376" y="18"/>
                      </a:lnTo>
                      <a:lnTo>
                        <a:pt x="386" y="15"/>
                      </a:lnTo>
                      <a:lnTo>
                        <a:pt x="397" y="14"/>
                      </a:lnTo>
                      <a:lnTo>
                        <a:pt x="408" y="12"/>
                      </a:lnTo>
                      <a:lnTo>
                        <a:pt x="419" y="12"/>
                      </a:lnTo>
                      <a:lnTo>
                        <a:pt x="422" y="12"/>
                      </a:lnTo>
                      <a:lnTo>
                        <a:pt x="426" y="14"/>
                      </a:lnTo>
                      <a:lnTo>
                        <a:pt x="429" y="15"/>
                      </a:lnTo>
                      <a:lnTo>
                        <a:pt x="432" y="18"/>
                      </a:lnTo>
                      <a:lnTo>
                        <a:pt x="438" y="23"/>
                      </a:lnTo>
                      <a:lnTo>
                        <a:pt x="443" y="30"/>
                      </a:lnTo>
                      <a:lnTo>
                        <a:pt x="450" y="44"/>
                      </a:lnTo>
                      <a:lnTo>
                        <a:pt x="452" y="49"/>
                      </a:lnTo>
                      <a:lnTo>
                        <a:pt x="443" y="57"/>
                      </a:lnTo>
                      <a:lnTo>
                        <a:pt x="437" y="64"/>
                      </a:lnTo>
                      <a:lnTo>
                        <a:pt x="434" y="68"/>
                      </a:lnTo>
                      <a:lnTo>
                        <a:pt x="433" y="71"/>
                      </a:lnTo>
                      <a:lnTo>
                        <a:pt x="432" y="75"/>
                      </a:lnTo>
                      <a:lnTo>
                        <a:pt x="432" y="80"/>
                      </a:lnTo>
                      <a:lnTo>
                        <a:pt x="467" y="80"/>
                      </a:lnTo>
                      <a:lnTo>
                        <a:pt x="504" y="80"/>
                      </a:lnTo>
                      <a:lnTo>
                        <a:pt x="536" y="80"/>
                      </a:lnTo>
                      <a:lnTo>
                        <a:pt x="565" y="80"/>
                      </a:lnTo>
                      <a:lnTo>
                        <a:pt x="581" y="80"/>
                      </a:lnTo>
                      <a:lnTo>
                        <a:pt x="601" y="83"/>
                      </a:lnTo>
                      <a:lnTo>
                        <a:pt x="621" y="85"/>
                      </a:lnTo>
                      <a:lnTo>
                        <a:pt x="637" y="86"/>
                      </a:lnTo>
                      <a:lnTo>
                        <a:pt x="648" y="86"/>
                      </a:lnTo>
                      <a:lnTo>
                        <a:pt x="658" y="87"/>
                      </a:lnTo>
                      <a:lnTo>
                        <a:pt x="667" y="88"/>
                      </a:lnTo>
                      <a:lnTo>
                        <a:pt x="675" y="89"/>
                      </a:lnTo>
                      <a:lnTo>
                        <a:pt x="690" y="94"/>
                      </a:lnTo>
                      <a:lnTo>
                        <a:pt x="702" y="99"/>
                      </a:lnTo>
                      <a:lnTo>
                        <a:pt x="715" y="103"/>
                      </a:lnTo>
                      <a:lnTo>
                        <a:pt x="728" y="107"/>
                      </a:lnTo>
                      <a:lnTo>
                        <a:pt x="734" y="109"/>
                      </a:lnTo>
                      <a:lnTo>
                        <a:pt x="742" y="110"/>
                      </a:lnTo>
                      <a:lnTo>
                        <a:pt x="749" y="111"/>
                      </a:lnTo>
                      <a:lnTo>
                        <a:pt x="757" y="111"/>
                      </a:lnTo>
                      <a:lnTo>
                        <a:pt x="753" y="115"/>
                      </a:lnTo>
                      <a:lnTo>
                        <a:pt x="751" y="119"/>
                      </a:lnTo>
                      <a:lnTo>
                        <a:pt x="748" y="122"/>
                      </a:lnTo>
                      <a:lnTo>
                        <a:pt x="747" y="125"/>
                      </a:lnTo>
                      <a:lnTo>
                        <a:pt x="747" y="130"/>
                      </a:lnTo>
                      <a:lnTo>
                        <a:pt x="749" y="134"/>
                      </a:lnTo>
                      <a:lnTo>
                        <a:pt x="752" y="138"/>
                      </a:lnTo>
                      <a:lnTo>
                        <a:pt x="754" y="142"/>
                      </a:lnTo>
                      <a:lnTo>
                        <a:pt x="754" y="145"/>
                      </a:lnTo>
                      <a:lnTo>
                        <a:pt x="754" y="147"/>
                      </a:lnTo>
                      <a:lnTo>
                        <a:pt x="753" y="151"/>
                      </a:lnTo>
                      <a:lnTo>
                        <a:pt x="751" y="154"/>
                      </a:lnTo>
                      <a:lnTo>
                        <a:pt x="711" y="184"/>
                      </a:lnTo>
                      <a:lnTo>
                        <a:pt x="728" y="179"/>
                      </a:lnTo>
                      <a:lnTo>
                        <a:pt x="746" y="172"/>
                      </a:lnTo>
                      <a:lnTo>
                        <a:pt x="764" y="166"/>
                      </a:lnTo>
                      <a:lnTo>
                        <a:pt x="777" y="160"/>
                      </a:lnTo>
                      <a:lnTo>
                        <a:pt x="798" y="160"/>
                      </a:lnTo>
                      <a:lnTo>
                        <a:pt x="797" y="164"/>
                      </a:lnTo>
                      <a:lnTo>
                        <a:pt x="799" y="168"/>
                      </a:lnTo>
                      <a:lnTo>
                        <a:pt x="802" y="172"/>
                      </a:lnTo>
                      <a:lnTo>
                        <a:pt x="807" y="174"/>
                      </a:lnTo>
                      <a:lnTo>
                        <a:pt x="820" y="179"/>
                      </a:lnTo>
                      <a:lnTo>
                        <a:pt x="834" y="183"/>
                      </a:lnTo>
                      <a:lnTo>
                        <a:pt x="848" y="186"/>
                      </a:lnTo>
                      <a:lnTo>
                        <a:pt x="860" y="189"/>
                      </a:lnTo>
                      <a:lnTo>
                        <a:pt x="866" y="191"/>
                      </a:lnTo>
                      <a:lnTo>
                        <a:pt x="869" y="192"/>
                      </a:lnTo>
                      <a:lnTo>
                        <a:pt x="870" y="194"/>
                      </a:lnTo>
                      <a:lnTo>
                        <a:pt x="870" y="196"/>
                      </a:lnTo>
                      <a:lnTo>
                        <a:pt x="864" y="234"/>
                      </a:lnTo>
                      <a:lnTo>
                        <a:pt x="863" y="236"/>
                      </a:lnTo>
                      <a:lnTo>
                        <a:pt x="860" y="238"/>
                      </a:lnTo>
                      <a:lnTo>
                        <a:pt x="856" y="239"/>
                      </a:lnTo>
                      <a:lnTo>
                        <a:pt x="852" y="240"/>
                      </a:lnTo>
                      <a:lnTo>
                        <a:pt x="838" y="242"/>
                      </a:lnTo>
                      <a:lnTo>
                        <a:pt x="824" y="243"/>
                      </a:lnTo>
                      <a:lnTo>
                        <a:pt x="809" y="244"/>
                      </a:lnTo>
                      <a:lnTo>
                        <a:pt x="797" y="246"/>
                      </a:lnTo>
                      <a:lnTo>
                        <a:pt x="791" y="247"/>
                      </a:lnTo>
                      <a:lnTo>
                        <a:pt x="788" y="248"/>
                      </a:lnTo>
                      <a:lnTo>
                        <a:pt x="785" y="250"/>
                      </a:lnTo>
                      <a:lnTo>
                        <a:pt x="784" y="252"/>
                      </a:lnTo>
                      <a:lnTo>
                        <a:pt x="799" y="262"/>
                      </a:lnTo>
                      <a:lnTo>
                        <a:pt x="813" y="269"/>
                      </a:lnTo>
                      <a:lnTo>
                        <a:pt x="827" y="275"/>
                      </a:lnTo>
                      <a:lnTo>
                        <a:pt x="843" y="280"/>
                      </a:lnTo>
                      <a:lnTo>
                        <a:pt x="859" y="284"/>
                      </a:lnTo>
                      <a:lnTo>
                        <a:pt x="877" y="287"/>
                      </a:lnTo>
                      <a:lnTo>
                        <a:pt x="896" y="289"/>
                      </a:lnTo>
                      <a:lnTo>
                        <a:pt x="916" y="289"/>
                      </a:lnTo>
                      <a:lnTo>
                        <a:pt x="915" y="298"/>
                      </a:lnTo>
                      <a:lnTo>
                        <a:pt x="913" y="307"/>
                      </a:lnTo>
                      <a:lnTo>
                        <a:pt x="909" y="317"/>
                      </a:lnTo>
                      <a:lnTo>
                        <a:pt x="903" y="327"/>
                      </a:lnTo>
                      <a:lnTo>
                        <a:pt x="914" y="330"/>
                      </a:lnTo>
                      <a:lnTo>
                        <a:pt x="925" y="333"/>
                      </a:lnTo>
                      <a:lnTo>
                        <a:pt x="937" y="333"/>
                      </a:lnTo>
                      <a:lnTo>
                        <a:pt x="948" y="333"/>
                      </a:lnTo>
                      <a:lnTo>
                        <a:pt x="959" y="332"/>
                      </a:lnTo>
                      <a:lnTo>
                        <a:pt x="969" y="331"/>
                      </a:lnTo>
                      <a:lnTo>
                        <a:pt x="977" y="329"/>
                      </a:lnTo>
                      <a:lnTo>
                        <a:pt x="983" y="327"/>
                      </a:lnTo>
                      <a:lnTo>
                        <a:pt x="987" y="333"/>
                      </a:lnTo>
                      <a:lnTo>
                        <a:pt x="991" y="337"/>
                      </a:lnTo>
                      <a:lnTo>
                        <a:pt x="995" y="341"/>
                      </a:lnTo>
                      <a:lnTo>
                        <a:pt x="1002" y="343"/>
                      </a:lnTo>
                      <a:lnTo>
                        <a:pt x="1015" y="347"/>
                      </a:lnTo>
                      <a:lnTo>
                        <a:pt x="1029" y="351"/>
                      </a:lnTo>
                      <a:lnTo>
                        <a:pt x="1012" y="360"/>
                      </a:lnTo>
                      <a:lnTo>
                        <a:pt x="997" y="371"/>
                      </a:lnTo>
                      <a:lnTo>
                        <a:pt x="983" y="382"/>
                      </a:lnTo>
                      <a:lnTo>
                        <a:pt x="971" y="391"/>
                      </a:lnTo>
                      <a:lnTo>
                        <a:pt x="959" y="400"/>
                      </a:lnTo>
                      <a:lnTo>
                        <a:pt x="947" y="406"/>
                      </a:lnTo>
                      <a:lnTo>
                        <a:pt x="939" y="409"/>
                      </a:lnTo>
                      <a:lnTo>
                        <a:pt x="933" y="411"/>
                      </a:lnTo>
                      <a:lnTo>
                        <a:pt x="925" y="412"/>
                      </a:lnTo>
                      <a:lnTo>
                        <a:pt x="916" y="412"/>
                      </a:lnTo>
                      <a:lnTo>
                        <a:pt x="911" y="413"/>
                      </a:lnTo>
                      <a:lnTo>
                        <a:pt x="907" y="414"/>
                      </a:lnTo>
                      <a:lnTo>
                        <a:pt x="902" y="415"/>
                      </a:lnTo>
                      <a:lnTo>
                        <a:pt x="899" y="417"/>
                      </a:lnTo>
                      <a:lnTo>
                        <a:pt x="893" y="422"/>
                      </a:lnTo>
                      <a:lnTo>
                        <a:pt x="889" y="428"/>
                      </a:lnTo>
                      <a:lnTo>
                        <a:pt x="885" y="434"/>
                      </a:lnTo>
                      <a:lnTo>
                        <a:pt x="881" y="439"/>
                      </a:lnTo>
                      <a:lnTo>
                        <a:pt x="879" y="441"/>
                      </a:lnTo>
                      <a:lnTo>
                        <a:pt x="877" y="442"/>
                      </a:lnTo>
                      <a:lnTo>
                        <a:pt x="874" y="443"/>
                      </a:lnTo>
                      <a:lnTo>
                        <a:pt x="870" y="444"/>
                      </a:lnTo>
                      <a:lnTo>
                        <a:pt x="865" y="442"/>
                      </a:lnTo>
                      <a:lnTo>
                        <a:pt x="857" y="439"/>
                      </a:lnTo>
                      <a:lnTo>
                        <a:pt x="849" y="435"/>
                      </a:lnTo>
                      <a:lnTo>
                        <a:pt x="842" y="429"/>
                      </a:lnTo>
                      <a:lnTo>
                        <a:pt x="835" y="422"/>
                      </a:lnTo>
                      <a:lnTo>
                        <a:pt x="830" y="414"/>
                      </a:lnTo>
                      <a:lnTo>
                        <a:pt x="827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4" y="400"/>
                      </a:lnTo>
                      <a:lnTo>
                        <a:pt x="840" y="400"/>
                      </a:lnTo>
                      <a:lnTo>
                        <a:pt x="851" y="400"/>
                      </a:lnTo>
                      <a:lnTo>
                        <a:pt x="851" y="393"/>
                      </a:lnTo>
                      <a:lnTo>
                        <a:pt x="851" y="382"/>
                      </a:lnTo>
                      <a:lnTo>
                        <a:pt x="837" y="382"/>
                      </a:lnTo>
                      <a:lnTo>
                        <a:pt x="827" y="382"/>
                      </a:lnTo>
                      <a:lnTo>
                        <a:pt x="816" y="382"/>
                      </a:lnTo>
                      <a:lnTo>
                        <a:pt x="804" y="382"/>
                      </a:lnTo>
                      <a:lnTo>
                        <a:pt x="798" y="381"/>
                      </a:lnTo>
                      <a:lnTo>
                        <a:pt x="792" y="379"/>
                      </a:lnTo>
                      <a:lnTo>
                        <a:pt x="788" y="376"/>
                      </a:lnTo>
                      <a:lnTo>
                        <a:pt x="784" y="373"/>
                      </a:lnTo>
                      <a:lnTo>
                        <a:pt x="780" y="369"/>
                      </a:lnTo>
                      <a:lnTo>
                        <a:pt x="776" y="366"/>
                      </a:lnTo>
                      <a:lnTo>
                        <a:pt x="770" y="364"/>
                      </a:lnTo>
                      <a:lnTo>
                        <a:pt x="764" y="363"/>
                      </a:lnTo>
                      <a:lnTo>
                        <a:pt x="759" y="364"/>
                      </a:lnTo>
                      <a:lnTo>
                        <a:pt x="755" y="366"/>
                      </a:lnTo>
                      <a:lnTo>
                        <a:pt x="752" y="369"/>
                      </a:lnTo>
                      <a:lnTo>
                        <a:pt x="749" y="374"/>
                      </a:lnTo>
                      <a:lnTo>
                        <a:pt x="747" y="379"/>
                      </a:lnTo>
                      <a:lnTo>
                        <a:pt x="745" y="384"/>
                      </a:lnTo>
                      <a:lnTo>
                        <a:pt x="744" y="389"/>
                      </a:lnTo>
                      <a:lnTo>
                        <a:pt x="744" y="394"/>
                      </a:lnTo>
                      <a:lnTo>
                        <a:pt x="711" y="394"/>
                      </a:lnTo>
                      <a:lnTo>
                        <a:pt x="711" y="412"/>
                      </a:lnTo>
                      <a:lnTo>
                        <a:pt x="715" y="414"/>
                      </a:lnTo>
                      <a:lnTo>
                        <a:pt x="720" y="418"/>
                      </a:lnTo>
                      <a:lnTo>
                        <a:pt x="726" y="423"/>
                      </a:lnTo>
                      <a:lnTo>
                        <a:pt x="733" y="430"/>
                      </a:lnTo>
                      <a:lnTo>
                        <a:pt x="747" y="445"/>
                      </a:lnTo>
                      <a:lnTo>
                        <a:pt x="762" y="462"/>
                      </a:lnTo>
                      <a:lnTo>
                        <a:pt x="775" y="478"/>
                      </a:lnTo>
                      <a:lnTo>
                        <a:pt x="787" y="494"/>
                      </a:lnTo>
                      <a:lnTo>
                        <a:pt x="795" y="505"/>
                      </a:lnTo>
                      <a:lnTo>
                        <a:pt x="798" y="511"/>
                      </a:lnTo>
                      <a:lnTo>
                        <a:pt x="797" y="517"/>
                      </a:lnTo>
                      <a:lnTo>
                        <a:pt x="795" y="523"/>
                      </a:lnTo>
                      <a:lnTo>
                        <a:pt x="795" y="527"/>
                      </a:lnTo>
                      <a:lnTo>
                        <a:pt x="795" y="530"/>
                      </a:lnTo>
                      <a:lnTo>
                        <a:pt x="796" y="533"/>
                      </a:lnTo>
                      <a:lnTo>
                        <a:pt x="798" y="535"/>
                      </a:lnTo>
                      <a:lnTo>
                        <a:pt x="788" y="539"/>
                      </a:lnTo>
                      <a:lnTo>
                        <a:pt x="779" y="543"/>
                      </a:lnTo>
                      <a:lnTo>
                        <a:pt x="771" y="547"/>
                      </a:lnTo>
                      <a:lnTo>
                        <a:pt x="765" y="551"/>
                      </a:lnTo>
                      <a:lnTo>
                        <a:pt x="758" y="554"/>
                      </a:lnTo>
                      <a:lnTo>
                        <a:pt x="752" y="558"/>
                      </a:lnTo>
                      <a:lnTo>
                        <a:pt x="745" y="560"/>
                      </a:lnTo>
                      <a:lnTo>
                        <a:pt x="737" y="560"/>
                      </a:lnTo>
                      <a:lnTo>
                        <a:pt x="723" y="559"/>
                      </a:lnTo>
                      <a:lnTo>
                        <a:pt x="708" y="556"/>
                      </a:lnTo>
                      <a:lnTo>
                        <a:pt x="695" y="552"/>
                      </a:lnTo>
                      <a:lnTo>
                        <a:pt x="681" y="546"/>
                      </a:lnTo>
                      <a:lnTo>
                        <a:pt x="669" y="540"/>
                      </a:lnTo>
                      <a:lnTo>
                        <a:pt x="659" y="531"/>
                      </a:lnTo>
                      <a:lnTo>
                        <a:pt x="651" y="524"/>
                      </a:lnTo>
                      <a:lnTo>
                        <a:pt x="644" y="517"/>
                      </a:lnTo>
                      <a:lnTo>
                        <a:pt x="618" y="517"/>
                      </a:lnTo>
                      <a:lnTo>
                        <a:pt x="621" y="525"/>
                      </a:lnTo>
                      <a:lnTo>
                        <a:pt x="624" y="531"/>
                      </a:lnTo>
                      <a:lnTo>
                        <a:pt x="629" y="538"/>
                      </a:lnTo>
                      <a:lnTo>
                        <a:pt x="634" y="543"/>
                      </a:lnTo>
                      <a:lnTo>
                        <a:pt x="645" y="552"/>
                      </a:lnTo>
                      <a:lnTo>
                        <a:pt x="657" y="560"/>
                      </a:lnTo>
                      <a:lnTo>
                        <a:pt x="668" y="567"/>
                      </a:lnTo>
                      <a:lnTo>
                        <a:pt x="678" y="575"/>
                      </a:lnTo>
                      <a:lnTo>
                        <a:pt x="683" y="580"/>
                      </a:lnTo>
                      <a:lnTo>
                        <a:pt x="687" y="585"/>
                      </a:lnTo>
                      <a:lnTo>
                        <a:pt x="689" y="590"/>
                      </a:lnTo>
                      <a:lnTo>
                        <a:pt x="691" y="598"/>
                      </a:lnTo>
                      <a:lnTo>
                        <a:pt x="678" y="601"/>
                      </a:lnTo>
                      <a:lnTo>
                        <a:pt x="665" y="604"/>
                      </a:lnTo>
                      <a:lnTo>
                        <a:pt x="644" y="603"/>
                      </a:lnTo>
                      <a:lnTo>
                        <a:pt x="618" y="599"/>
                      </a:lnTo>
                      <a:lnTo>
                        <a:pt x="589" y="592"/>
                      </a:lnTo>
                      <a:lnTo>
                        <a:pt x="558" y="584"/>
                      </a:lnTo>
                      <a:lnTo>
                        <a:pt x="544" y="580"/>
                      </a:lnTo>
                      <a:lnTo>
                        <a:pt x="531" y="575"/>
                      </a:lnTo>
                      <a:lnTo>
                        <a:pt x="518" y="570"/>
                      </a:lnTo>
                      <a:lnTo>
                        <a:pt x="507" y="565"/>
                      </a:lnTo>
                      <a:lnTo>
                        <a:pt x="497" y="559"/>
                      </a:lnTo>
                      <a:lnTo>
                        <a:pt x="488" y="554"/>
                      </a:lnTo>
                      <a:lnTo>
                        <a:pt x="483" y="548"/>
                      </a:lnTo>
                      <a:lnTo>
                        <a:pt x="478" y="542"/>
                      </a:lnTo>
                      <a:lnTo>
                        <a:pt x="475" y="532"/>
                      </a:lnTo>
                      <a:lnTo>
                        <a:pt x="471" y="523"/>
                      </a:lnTo>
                      <a:lnTo>
                        <a:pt x="464" y="513"/>
                      </a:lnTo>
                      <a:lnTo>
                        <a:pt x="457" y="504"/>
                      </a:lnTo>
                      <a:lnTo>
                        <a:pt x="451" y="496"/>
                      </a:lnTo>
                      <a:lnTo>
                        <a:pt x="444" y="489"/>
                      </a:lnTo>
                      <a:lnTo>
                        <a:pt x="438" y="484"/>
                      </a:lnTo>
                      <a:lnTo>
                        <a:pt x="432" y="480"/>
                      </a:lnTo>
                      <a:lnTo>
                        <a:pt x="410" y="473"/>
                      </a:lnTo>
                      <a:lnTo>
                        <a:pt x="388" y="468"/>
                      </a:lnTo>
                      <a:lnTo>
                        <a:pt x="384" y="467"/>
                      </a:lnTo>
                      <a:lnTo>
                        <a:pt x="379" y="465"/>
                      </a:lnTo>
                      <a:lnTo>
                        <a:pt x="375" y="463"/>
                      </a:lnTo>
                      <a:lnTo>
                        <a:pt x="372" y="460"/>
                      </a:lnTo>
                      <a:lnTo>
                        <a:pt x="370" y="457"/>
                      </a:lnTo>
                      <a:lnTo>
                        <a:pt x="367" y="453"/>
                      </a:lnTo>
                      <a:lnTo>
                        <a:pt x="366" y="449"/>
                      </a:lnTo>
                      <a:lnTo>
                        <a:pt x="365" y="444"/>
                      </a:lnTo>
                      <a:lnTo>
                        <a:pt x="366" y="441"/>
                      </a:lnTo>
                      <a:lnTo>
                        <a:pt x="368" y="439"/>
                      </a:lnTo>
                      <a:lnTo>
                        <a:pt x="373" y="437"/>
                      </a:lnTo>
                      <a:lnTo>
                        <a:pt x="378" y="436"/>
                      </a:lnTo>
                      <a:lnTo>
                        <a:pt x="392" y="433"/>
                      </a:lnTo>
                      <a:lnTo>
                        <a:pt x="406" y="430"/>
                      </a:lnTo>
                      <a:lnTo>
                        <a:pt x="435" y="427"/>
                      </a:lnTo>
                      <a:lnTo>
                        <a:pt x="452" y="424"/>
                      </a:lnTo>
                      <a:lnTo>
                        <a:pt x="452" y="416"/>
                      </a:lnTo>
                      <a:lnTo>
                        <a:pt x="454" y="409"/>
                      </a:lnTo>
                      <a:lnTo>
                        <a:pt x="456" y="404"/>
                      </a:lnTo>
                      <a:lnTo>
                        <a:pt x="459" y="399"/>
                      </a:lnTo>
                      <a:lnTo>
                        <a:pt x="461" y="394"/>
                      </a:lnTo>
                      <a:lnTo>
                        <a:pt x="463" y="390"/>
                      </a:lnTo>
                      <a:lnTo>
                        <a:pt x="465" y="386"/>
                      </a:lnTo>
                      <a:lnTo>
                        <a:pt x="465" y="382"/>
                      </a:lnTo>
                      <a:lnTo>
                        <a:pt x="479" y="382"/>
                      </a:lnTo>
                      <a:lnTo>
                        <a:pt x="490" y="380"/>
                      </a:lnTo>
                      <a:lnTo>
                        <a:pt x="500" y="378"/>
                      </a:lnTo>
                      <a:lnTo>
                        <a:pt x="508" y="375"/>
                      </a:lnTo>
                      <a:lnTo>
                        <a:pt x="521" y="368"/>
                      </a:lnTo>
                      <a:lnTo>
                        <a:pt x="532" y="363"/>
                      </a:lnTo>
                      <a:lnTo>
                        <a:pt x="572" y="363"/>
                      </a:lnTo>
                      <a:lnTo>
                        <a:pt x="573" y="369"/>
                      </a:lnTo>
                      <a:lnTo>
                        <a:pt x="575" y="376"/>
                      </a:lnTo>
                      <a:lnTo>
                        <a:pt x="577" y="380"/>
                      </a:lnTo>
                      <a:lnTo>
                        <a:pt x="580" y="384"/>
                      </a:lnTo>
                      <a:lnTo>
                        <a:pt x="583" y="387"/>
                      </a:lnTo>
                      <a:lnTo>
                        <a:pt x="587" y="389"/>
                      </a:lnTo>
                      <a:lnTo>
                        <a:pt x="590" y="391"/>
                      </a:lnTo>
                      <a:lnTo>
                        <a:pt x="595" y="393"/>
                      </a:lnTo>
                      <a:lnTo>
                        <a:pt x="603" y="394"/>
                      </a:lnTo>
                      <a:lnTo>
                        <a:pt x="614" y="395"/>
                      </a:lnTo>
                      <a:lnTo>
                        <a:pt x="625" y="394"/>
                      </a:lnTo>
                      <a:lnTo>
                        <a:pt x="637" y="394"/>
                      </a:lnTo>
                      <a:lnTo>
                        <a:pt x="650" y="394"/>
                      </a:lnTo>
                      <a:lnTo>
                        <a:pt x="659" y="393"/>
                      </a:lnTo>
                      <a:lnTo>
                        <a:pt x="668" y="392"/>
                      </a:lnTo>
                      <a:lnTo>
                        <a:pt x="675" y="390"/>
                      </a:lnTo>
                      <a:lnTo>
                        <a:pt x="687" y="387"/>
                      </a:lnTo>
                      <a:lnTo>
                        <a:pt x="698" y="382"/>
                      </a:lnTo>
                      <a:lnTo>
                        <a:pt x="698" y="373"/>
                      </a:lnTo>
                      <a:lnTo>
                        <a:pt x="698" y="363"/>
                      </a:lnTo>
                      <a:lnTo>
                        <a:pt x="605" y="351"/>
                      </a:lnTo>
                      <a:lnTo>
                        <a:pt x="596" y="351"/>
                      </a:lnTo>
                      <a:lnTo>
                        <a:pt x="588" y="353"/>
                      </a:lnTo>
                      <a:lnTo>
                        <a:pt x="581" y="355"/>
                      </a:lnTo>
                      <a:lnTo>
                        <a:pt x="576" y="357"/>
                      </a:lnTo>
                      <a:lnTo>
                        <a:pt x="572" y="359"/>
                      </a:lnTo>
                      <a:lnTo>
                        <a:pt x="567" y="361"/>
                      </a:lnTo>
                      <a:lnTo>
                        <a:pt x="563" y="362"/>
                      </a:lnTo>
                      <a:lnTo>
                        <a:pt x="558" y="363"/>
                      </a:lnTo>
                      <a:lnTo>
                        <a:pt x="550" y="362"/>
                      </a:lnTo>
                      <a:lnTo>
                        <a:pt x="542" y="361"/>
                      </a:lnTo>
                      <a:lnTo>
                        <a:pt x="540" y="360"/>
                      </a:lnTo>
                      <a:lnTo>
                        <a:pt x="536" y="360"/>
                      </a:lnTo>
                      <a:lnTo>
                        <a:pt x="534" y="361"/>
                      </a:lnTo>
                      <a:lnTo>
                        <a:pt x="532" y="363"/>
                      </a:lnTo>
                      <a:lnTo>
                        <a:pt x="533" y="358"/>
                      </a:lnTo>
                      <a:lnTo>
                        <a:pt x="535" y="354"/>
                      </a:lnTo>
                      <a:lnTo>
                        <a:pt x="539" y="350"/>
                      </a:lnTo>
                      <a:lnTo>
                        <a:pt x="542" y="347"/>
                      </a:lnTo>
                      <a:lnTo>
                        <a:pt x="550" y="339"/>
                      </a:lnTo>
                      <a:lnTo>
                        <a:pt x="557" y="332"/>
                      </a:lnTo>
                      <a:lnTo>
                        <a:pt x="565" y="324"/>
                      </a:lnTo>
                      <a:lnTo>
                        <a:pt x="572" y="316"/>
                      </a:lnTo>
                      <a:lnTo>
                        <a:pt x="574" y="311"/>
                      </a:lnTo>
                      <a:lnTo>
                        <a:pt x="576" y="306"/>
                      </a:lnTo>
                      <a:lnTo>
                        <a:pt x="577" y="301"/>
                      </a:lnTo>
                      <a:lnTo>
                        <a:pt x="578" y="295"/>
                      </a:lnTo>
                      <a:lnTo>
                        <a:pt x="577" y="290"/>
                      </a:lnTo>
                      <a:lnTo>
                        <a:pt x="576" y="283"/>
                      </a:lnTo>
                      <a:lnTo>
                        <a:pt x="575" y="280"/>
                      </a:lnTo>
                      <a:lnTo>
                        <a:pt x="575" y="277"/>
                      </a:lnTo>
                      <a:lnTo>
                        <a:pt x="576" y="274"/>
                      </a:lnTo>
                      <a:lnTo>
                        <a:pt x="578" y="271"/>
                      </a:lnTo>
                      <a:lnTo>
                        <a:pt x="568" y="271"/>
                      </a:lnTo>
                      <a:lnTo>
                        <a:pt x="558" y="269"/>
                      </a:lnTo>
                      <a:lnTo>
                        <a:pt x="550" y="267"/>
                      </a:lnTo>
                      <a:lnTo>
                        <a:pt x="541" y="263"/>
                      </a:lnTo>
                      <a:lnTo>
                        <a:pt x="533" y="258"/>
                      </a:lnTo>
                      <a:lnTo>
                        <a:pt x="524" y="254"/>
                      </a:lnTo>
                      <a:lnTo>
                        <a:pt x="518" y="248"/>
                      </a:lnTo>
                      <a:lnTo>
                        <a:pt x="511" y="243"/>
                      </a:lnTo>
                      <a:lnTo>
                        <a:pt x="499" y="231"/>
                      </a:lnTo>
                      <a:lnTo>
                        <a:pt x="489" y="219"/>
                      </a:lnTo>
                      <a:lnTo>
                        <a:pt x="483" y="208"/>
                      </a:lnTo>
                      <a:lnTo>
                        <a:pt x="478" y="196"/>
                      </a:lnTo>
                      <a:lnTo>
                        <a:pt x="473" y="198"/>
                      </a:lnTo>
                      <a:lnTo>
                        <a:pt x="467" y="198"/>
                      </a:lnTo>
                      <a:lnTo>
                        <a:pt x="463" y="198"/>
                      </a:lnTo>
                      <a:lnTo>
                        <a:pt x="459" y="196"/>
                      </a:lnTo>
                      <a:lnTo>
                        <a:pt x="452" y="190"/>
                      </a:lnTo>
                      <a:lnTo>
                        <a:pt x="446" y="183"/>
                      </a:lnTo>
                      <a:lnTo>
                        <a:pt x="441" y="175"/>
                      </a:lnTo>
                      <a:lnTo>
                        <a:pt x="434" y="168"/>
                      </a:lnTo>
                      <a:lnTo>
                        <a:pt x="431" y="165"/>
                      </a:lnTo>
                      <a:lnTo>
                        <a:pt x="428" y="162"/>
                      </a:lnTo>
                      <a:lnTo>
                        <a:pt x="423" y="161"/>
                      </a:lnTo>
                      <a:lnTo>
                        <a:pt x="419" y="160"/>
                      </a:lnTo>
                      <a:lnTo>
                        <a:pt x="415" y="161"/>
                      </a:lnTo>
                      <a:lnTo>
                        <a:pt x="411" y="162"/>
                      </a:lnTo>
                      <a:lnTo>
                        <a:pt x="408" y="163"/>
                      </a:lnTo>
                      <a:lnTo>
                        <a:pt x="404" y="165"/>
                      </a:lnTo>
                      <a:lnTo>
                        <a:pt x="397" y="170"/>
                      </a:lnTo>
                      <a:lnTo>
                        <a:pt x="392" y="177"/>
                      </a:lnTo>
                      <a:lnTo>
                        <a:pt x="386" y="184"/>
                      </a:lnTo>
                      <a:lnTo>
                        <a:pt x="382" y="191"/>
                      </a:lnTo>
                      <a:lnTo>
                        <a:pt x="379" y="197"/>
                      </a:lnTo>
                      <a:lnTo>
                        <a:pt x="378" y="203"/>
                      </a:lnTo>
                      <a:lnTo>
                        <a:pt x="339" y="203"/>
                      </a:lnTo>
                      <a:lnTo>
                        <a:pt x="317" y="194"/>
                      </a:lnTo>
                      <a:lnTo>
                        <a:pt x="295" y="188"/>
                      </a:lnTo>
                      <a:lnTo>
                        <a:pt x="273" y="182"/>
                      </a:lnTo>
                      <a:lnTo>
                        <a:pt x="252" y="178"/>
                      </a:lnTo>
                      <a:lnTo>
                        <a:pt x="230" y="176"/>
                      </a:lnTo>
                      <a:lnTo>
                        <a:pt x="207" y="174"/>
                      </a:lnTo>
                      <a:lnTo>
                        <a:pt x="184" y="173"/>
                      </a:lnTo>
                      <a:lnTo>
                        <a:pt x="160" y="172"/>
                      </a:lnTo>
                      <a:lnTo>
                        <a:pt x="148" y="173"/>
                      </a:lnTo>
                      <a:lnTo>
                        <a:pt x="138" y="176"/>
                      </a:lnTo>
                      <a:lnTo>
                        <a:pt x="129" y="180"/>
                      </a:lnTo>
                      <a:lnTo>
                        <a:pt x="121" y="184"/>
                      </a:lnTo>
                      <a:lnTo>
                        <a:pt x="114" y="189"/>
                      </a:lnTo>
                      <a:lnTo>
                        <a:pt x="107" y="193"/>
                      </a:lnTo>
                      <a:lnTo>
                        <a:pt x="101" y="195"/>
                      </a:lnTo>
                      <a:lnTo>
                        <a:pt x="93" y="196"/>
                      </a:lnTo>
                      <a:lnTo>
                        <a:pt x="88" y="196"/>
                      </a:lnTo>
                      <a:lnTo>
                        <a:pt x="84" y="194"/>
                      </a:lnTo>
                      <a:lnTo>
                        <a:pt x="81" y="190"/>
                      </a:lnTo>
                      <a:lnTo>
                        <a:pt x="79" y="187"/>
                      </a:lnTo>
                      <a:lnTo>
                        <a:pt x="74" y="179"/>
                      </a:lnTo>
                      <a:lnTo>
                        <a:pt x="73" y="172"/>
                      </a:lnTo>
                      <a:lnTo>
                        <a:pt x="50" y="177"/>
                      </a:lnTo>
                      <a:lnTo>
                        <a:pt x="29" y="181"/>
                      </a:lnTo>
                      <a:lnTo>
                        <a:pt x="25" y="181"/>
                      </a:lnTo>
                      <a:lnTo>
                        <a:pt x="20" y="180"/>
                      </a:lnTo>
                      <a:lnTo>
                        <a:pt x="16" y="180"/>
                      </a:lnTo>
                      <a:lnTo>
                        <a:pt x="13" y="178"/>
                      </a:lnTo>
                      <a:lnTo>
                        <a:pt x="8" y="176"/>
                      </a:lnTo>
                      <a:lnTo>
                        <a:pt x="6" y="174"/>
                      </a:lnTo>
                      <a:lnTo>
                        <a:pt x="3" y="170"/>
                      </a:lnTo>
                      <a:lnTo>
                        <a:pt x="0" y="166"/>
                      </a:lnTo>
                      <a:lnTo>
                        <a:pt x="4" y="162"/>
                      </a:lnTo>
                      <a:lnTo>
                        <a:pt x="9" y="158"/>
                      </a:lnTo>
                      <a:lnTo>
                        <a:pt x="14" y="155"/>
                      </a:lnTo>
                      <a:lnTo>
                        <a:pt x="20" y="152"/>
                      </a:lnTo>
                      <a:lnTo>
                        <a:pt x="32" y="149"/>
                      </a:lnTo>
                      <a:lnTo>
                        <a:pt x="46" y="146"/>
                      </a:lnTo>
                      <a:lnTo>
                        <a:pt x="59" y="145"/>
                      </a:lnTo>
                      <a:lnTo>
                        <a:pt x="70" y="147"/>
                      </a:lnTo>
                      <a:lnTo>
                        <a:pt x="75" y="149"/>
                      </a:lnTo>
                      <a:lnTo>
                        <a:pt x="80" y="150"/>
                      </a:lnTo>
                      <a:lnTo>
                        <a:pt x="83" y="152"/>
                      </a:lnTo>
                      <a:lnTo>
                        <a:pt x="86" y="154"/>
                      </a:lnTo>
                      <a:lnTo>
                        <a:pt x="86" y="139"/>
                      </a:lnTo>
                      <a:lnTo>
                        <a:pt x="86" y="129"/>
                      </a:lnTo>
                      <a:lnTo>
                        <a:pt x="73" y="12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4" name="Freeform 417"/>
                <p:cNvSpPr>
                  <a:spLocks/>
                </p:cNvSpPr>
                <p:nvPr/>
              </p:nvSpPr>
              <p:spPr bwMode="auto">
                <a:xfrm>
                  <a:off x="1528" y="1110"/>
                  <a:ext cx="409" cy="105"/>
                </a:xfrm>
                <a:custGeom>
                  <a:avLst/>
                  <a:gdLst>
                    <a:gd name="T0" fmla="*/ 797 w 1268"/>
                    <a:gd name="T1" fmla="*/ 38 h 321"/>
                    <a:gd name="T2" fmla="*/ 813 w 1268"/>
                    <a:gd name="T3" fmla="*/ 16 h 321"/>
                    <a:gd name="T4" fmla="*/ 846 w 1268"/>
                    <a:gd name="T5" fmla="*/ 10 h 321"/>
                    <a:gd name="T6" fmla="*/ 865 w 1268"/>
                    <a:gd name="T7" fmla="*/ 25 h 321"/>
                    <a:gd name="T8" fmla="*/ 938 w 1268"/>
                    <a:gd name="T9" fmla="*/ 14 h 321"/>
                    <a:gd name="T10" fmla="*/ 1020 w 1268"/>
                    <a:gd name="T11" fmla="*/ 1 h 321"/>
                    <a:gd name="T12" fmla="*/ 1084 w 1268"/>
                    <a:gd name="T13" fmla="*/ 17 h 321"/>
                    <a:gd name="T14" fmla="*/ 1133 w 1268"/>
                    <a:gd name="T15" fmla="*/ 20 h 321"/>
                    <a:gd name="T16" fmla="*/ 1268 w 1268"/>
                    <a:gd name="T17" fmla="*/ 32 h 321"/>
                    <a:gd name="T18" fmla="*/ 1242 w 1268"/>
                    <a:gd name="T19" fmla="*/ 50 h 321"/>
                    <a:gd name="T20" fmla="*/ 1163 w 1268"/>
                    <a:gd name="T21" fmla="*/ 64 h 321"/>
                    <a:gd name="T22" fmla="*/ 1053 w 1268"/>
                    <a:gd name="T23" fmla="*/ 77 h 321"/>
                    <a:gd name="T24" fmla="*/ 1029 w 1268"/>
                    <a:gd name="T25" fmla="*/ 96 h 321"/>
                    <a:gd name="T26" fmla="*/ 999 w 1268"/>
                    <a:gd name="T27" fmla="*/ 104 h 321"/>
                    <a:gd name="T28" fmla="*/ 942 w 1268"/>
                    <a:gd name="T29" fmla="*/ 102 h 321"/>
                    <a:gd name="T30" fmla="*/ 930 w 1268"/>
                    <a:gd name="T31" fmla="*/ 118 h 321"/>
                    <a:gd name="T32" fmla="*/ 747 w 1268"/>
                    <a:gd name="T33" fmla="*/ 133 h 321"/>
                    <a:gd name="T34" fmla="*/ 666 w 1268"/>
                    <a:gd name="T35" fmla="*/ 156 h 321"/>
                    <a:gd name="T36" fmla="*/ 635 w 1268"/>
                    <a:gd name="T37" fmla="*/ 181 h 321"/>
                    <a:gd name="T38" fmla="*/ 591 w 1268"/>
                    <a:gd name="T39" fmla="*/ 167 h 321"/>
                    <a:gd name="T40" fmla="*/ 570 w 1268"/>
                    <a:gd name="T41" fmla="*/ 181 h 321"/>
                    <a:gd name="T42" fmla="*/ 590 w 1268"/>
                    <a:gd name="T43" fmla="*/ 207 h 321"/>
                    <a:gd name="T44" fmla="*/ 545 w 1268"/>
                    <a:gd name="T45" fmla="*/ 237 h 321"/>
                    <a:gd name="T46" fmla="*/ 483 w 1268"/>
                    <a:gd name="T47" fmla="*/ 236 h 321"/>
                    <a:gd name="T48" fmla="*/ 404 w 1268"/>
                    <a:gd name="T49" fmla="*/ 242 h 321"/>
                    <a:gd name="T50" fmla="*/ 405 w 1268"/>
                    <a:gd name="T51" fmla="*/ 257 h 321"/>
                    <a:gd name="T52" fmla="*/ 392 w 1268"/>
                    <a:gd name="T53" fmla="*/ 293 h 321"/>
                    <a:gd name="T54" fmla="*/ 333 w 1268"/>
                    <a:gd name="T55" fmla="*/ 320 h 321"/>
                    <a:gd name="T56" fmla="*/ 290 w 1268"/>
                    <a:gd name="T57" fmla="*/ 296 h 321"/>
                    <a:gd name="T58" fmla="*/ 253 w 1268"/>
                    <a:gd name="T59" fmla="*/ 285 h 321"/>
                    <a:gd name="T60" fmla="*/ 96 w 1268"/>
                    <a:gd name="T61" fmla="*/ 276 h 321"/>
                    <a:gd name="T62" fmla="*/ 0 w 1268"/>
                    <a:gd name="T63" fmla="*/ 285 h 321"/>
                    <a:gd name="T64" fmla="*/ 10 w 1268"/>
                    <a:gd name="T65" fmla="*/ 266 h 321"/>
                    <a:gd name="T66" fmla="*/ 56 w 1268"/>
                    <a:gd name="T67" fmla="*/ 246 h 321"/>
                    <a:gd name="T68" fmla="*/ 143 w 1268"/>
                    <a:gd name="T69" fmla="*/ 235 h 321"/>
                    <a:gd name="T70" fmla="*/ 170 w 1268"/>
                    <a:gd name="T71" fmla="*/ 225 h 321"/>
                    <a:gd name="T72" fmla="*/ 190 w 1268"/>
                    <a:gd name="T73" fmla="*/ 217 h 321"/>
                    <a:gd name="T74" fmla="*/ 219 w 1268"/>
                    <a:gd name="T75" fmla="*/ 232 h 321"/>
                    <a:gd name="T76" fmla="*/ 247 w 1268"/>
                    <a:gd name="T77" fmla="*/ 247 h 321"/>
                    <a:gd name="T78" fmla="*/ 208 w 1268"/>
                    <a:gd name="T79" fmla="*/ 207 h 321"/>
                    <a:gd name="T80" fmla="*/ 193 w 1268"/>
                    <a:gd name="T81" fmla="*/ 200 h 321"/>
                    <a:gd name="T82" fmla="*/ 197 w 1268"/>
                    <a:gd name="T83" fmla="*/ 181 h 321"/>
                    <a:gd name="T84" fmla="*/ 246 w 1268"/>
                    <a:gd name="T85" fmla="*/ 174 h 321"/>
                    <a:gd name="T86" fmla="*/ 365 w 1268"/>
                    <a:gd name="T87" fmla="*/ 186 h 321"/>
                    <a:gd name="T88" fmla="*/ 418 w 1268"/>
                    <a:gd name="T89" fmla="*/ 174 h 321"/>
                    <a:gd name="T90" fmla="*/ 322 w 1268"/>
                    <a:gd name="T91" fmla="*/ 169 h 321"/>
                    <a:gd name="T92" fmla="*/ 299 w 1268"/>
                    <a:gd name="T93" fmla="*/ 149 h 321"/>
                    <a:gd name="T94" fmla="*/ 378 w 1268"/>
                    <a:gd name="T95" fmla="*/ 137 h 321"/>
                    <a:gd name="T96" fmla="*/ 438 w 1268"/>
                    <a:gd name="T97" fmla="*/ 155 h 321"/>
                    <a:gd name="T98" fmla="*/ 478 w 1268"/>
                    <a:gd name="T99" fmla="*/ 124 h 321"/>
                    <a:gd name="T100" fmla="*/ 664 w 1268"/>
                    <a:gd name="T101" fmla="*/ 87 h 321"/>
                    <a:gd name="T102" fmla="*/ 589 w 1268"/>
                    <a:gd name="T103" fmla="*/ 110 h 321"/>
                    <a:gd name="T104" fmla="*/ 449 w 1268"/>
                    <a:gd name="T105" fmla="*/ 111 h 321"/>
                    <a:gd name="T106" fmla="*/ 312 w 1268"/>
                    <a:gd name="T107" fmla="*/ 116 h 321"/>
                    <a:gd name="T108" fmla="*/ 253 w 1268"/>
                    <a:gd name="T109" fmla="*/ 101 h 321"/>
                    <a:gd name="T110" fmla="*/ 219 w 1268"/>
                    <a:gd name="T111" fmla="*/ 80 h 321"/>
                    <a:gd name="T112" fmla="*/ 253 w 1268"/>
                    <a:gd name="T113" fmla="*/ 71 h 321"/>
                    <a:gd name="T114" fmla="*/ 446 w 1268"/>
                    <a:gd name="T115" fmla="*/ 47 h 321"/>
                    <a:gd name="T116" fmla="*/ 618 w 1268"/>
                    <a:gd name="T117" fmla="*/ 32 h 321"/>
                    <a:gd name="T118" fmla="*/ 674 w 1268"/>
                    <a:gd name="T119" fmla="*/ 20 h 321"/>
                    <a:gd name="T120" fmla="*/ 757 w 1268"/>
                    <a:gd name="T121" fmla="*/ 26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68" h="321">
                      <a:moveTo>
                        <a:pt x="764" y="26"/>
                      </a:moveTo>
                      <a:lnTo>
                        <a:pt x="770" y="30"/>
                      </a:lnTo>
                      <a:lnTo>
                        <a:pt x="778" y="34"/>
                      </a:lnTo>
                      <a:lnTo>
                        <a:pt x="787" y="37"/>
                      </a:lnTo>
                      <a:lnTo>
                        <a:pt x="797" y="38"/>
                      </a:lnTo>
                      <a:lnTo>
                        <a:pt x="797" y="35"/>
                      </a:lnTo>
                      <a:lnTo>
                        <a:pt x="799" y="31"/>
                      </a:lnTo>
                      <a:lnTo>
                        <a:pt x="803" y="26"/>
                      </a:lnTo>
                      <a:lnTo>
                        <a:pt x="807" y="20"/>
                      </a:lnTo>
                      <a:lnTo>
                        <a:pt x="813" y="16"/>
                      </a:lnTo>
                      <a:lnTo>
                        <a:pt x="819" y="11"/>
                      </a:lnTo>
                      <a:lnTo>
                        <a:pt x="828" y="9"/>
                      </a:lnTo>
                      <a:lnTo>
                        <a:pt x="837" y="8"/>
                      </a:lnTo>
                      <a:lnTo>
                        <a:pt x="841" y="8"/>
                      </a:lnTo>
                      <a:lnTo>
                        <a:pt x="846" y="10"/>
                      </a:lnTo>
                      <a:lnTo>
                        <a:pt x="850" y="13"/>
                      </a:lnTo>
                      <a:lnTo>
                        <a:pt x="853" y="17"/>
                      </a:lnTo>
                      <a:lnTo>
                        <a:pt x="858" y="20"/>
                      </a:lnTo>
                      <a:lnTo>
                        <a:pt x="861" y="23"/>
                      </a:lnTo>
                      <a:lnTo>
                        <a:pt x="865" y="25"/>
                      </a:lnTo>
                      <a:lnTo>
                        <a:pt x="870" y="26"/>
                      </a:lnTo>
                      <a:lnTo>
                        <a:pt x="888" y="25"/>
                      </a:lnTo>
                      <a:lnTo>
                        <a:pt x="906" y="22"/>
                      </a:lnTo>
                      <a:lnTo>
                        <a:pt x="921" y="18"/>
                      </a:lnTo>
                      <a:lnTo>
                        <a:pt x="938" y="14"/>
                      </a:lnTo>
                      <a:lnTo>
                        <a:pt x="953" y="9"/>
                      </a:lnTo>
                      <a:lnTo>
                        <a:pt x="970" y="4"/>
                      </a:lnTo>
                      <a:lnTo>
                        <a:pt x="988" y="2"/>
                      </a:lnTo>
                      <a:lnTo>
                        <a:pt x="1009" y="0"/>
                      </a:lnTo>
                      <a:lnTo>
                        <a:pt x="1020" y="1"/>
                      </a:lnTo>
                      <a:lnTo>
                        <a:pt x="1032" y="3"/>
                      </a:lnTo>
                      <a:lnTo>
                        <a:pt x="1045" y="7"/>
                      </a:lnTo>
                      <a:lnTo>
                        <a:pt x="1059" y="11"/>
                      </a:lnTo>
                      <a:lnTo>
                        <a:pt x="1072" y="14"/>
                      </a:lnTo>
                      <a:lnTo>
                        <a:pt x="1084" y="17"/>
                      </a:lnTo>
                      <a:lnTo>
                        <a:pt x="1094" y="19"/>
                      </a:lnTo>
                      <a:lnTo>
                        <a:pt x="1103" y="20"/>
                      </a:lnTo>
                      <a:lnTo>
                        <a:pt x="1115" y="20"/>
                      </a:lnTo>
                      <a:lnTo>
                        <a:pt x="1123" y="20"/>
                      </a:lnTo>
                      <a:lnTo>
                        <a:pt x="1133" y="20"/>
                      </a:lnTo>
                      <a:lnTo>
                        <a:pt x="1149" y="20"/>
                      </a:lnTo>
                      <a:lnTo>
                        <a:pt x="1180" y="21"/>
                      </a:lnTo>
                      <a:lnTo>
                        <a:pt x="1209" y="23"/>
                      </a:lnTo>
                      <a:lnTo>
                        <a:pt x="1236" y="27"/>
                      </a:lnTo>
                      <a:lnTo>
                        <a:pt x="1268" y="32"/>
                      </a:lnTo>
                      <a:lnTo>
                        <a:pt x="1266" y="36"/>
                      </a:lnTo>
                      <a:lnTo>
                        <a:pt x="1263" y="39"/>
                      </a:lnTo>
                      <a:lnTo>
                        <a:pt x="1258" y="42"/>
                      </a:lnTo>
                      <a:lnTo>
                        <a:pt x="1253" y="45"/>
                      </a:lnTo>
                      <a:lnTo>
                        <a:pt x="1242" y="50"/>
                      </a:lnTo>
                      <a:lnTo>
                        <a:pt x="1229" y="54"/>
                      </a:lnTo>
                      <a:lnTo>
                        <a:pt x="1213" y="57"/>
                      </a:lnTo>
                      <a:lnTo>
                        <a:pt x="1198" y="59"/>
                      </a:lnTo>
                      <a:lnTo>
                        <a:pt x="1180" y="62"/>
                      </a:lnTo>
                      <a:lnTo>
                        <a:pt x="1163" y="64"/>
                      </a:lnTo>
                      <a:lnTo>
                        <a:pt x="1128" y="66"/>
                      </a:lnTo>
                      <a:lnTo>
                        <a:pt x="1094" y="69"/>
                      </a:lnTo>
                      <a:lnTo>
                        <a:pt x="1078" y="71"/>
                      </a:lnTo>
                      <a:lnTo>
                        <a:pt x="1065" y="74"/>
                      </a:lnTo>
                      <a:lnTo>
                        <a:pt x="1053" y="77"/>
                      </a:lnTo>
                      <a:lnTo>
                        <a:pt x="1043" y="81"/>
                      </a:lnTo>
                      <a:lnTo>
                        <a:pt x="1039" y="84"/>
                      </a:lnTo>
                      <a:lnTo>
                        <a:pt x="1034" y="87"/>
                      </a:lnTo>
                      <a:lnTo>
                        <a:pt x="1031" y="91"/>
                      </a:lnTo>
                      <a:lnTo>
                        <a:pt x="1029" y="96"/>
                      </a:lnTo>
                      <a:lnTo>
                        <a:pt x="1026" y="99"/>
                      </a:lnTo>
                      <a:lnTo>
                        <a:pt x="1021" y="102"/>
                      </a:lnTo>
                      <a:lnTo>
                        <a:pt x="1016" y="105"/>
                      </a:lnTo>
                      <a:lnTo>
                        <a:pt x="1009" y="105"/>
                      </a:lnTo>
                      <a:lnTo>
                        <a:pt x="999" y="104"/>
                      </a:lnTo>
                      <a:lnTo>
                        <a:pt x="991" y="102"/>
                      </a:lnTo>
                      <a:lnTo>
                        <a:pt x="983" y="98"/>
                      </a:lnTo>
                      <a:lnTo>
                        <a:pt x="976" y="93"/>
                      </a:lnTo>
                      <a:lnTo>
                        <a:pt x="943" y="93"/>
                      </a:lnTo>
                      <a:lnTo>
                        <a:pt x="942" y="102"/>
                      </a:lnTo>
                      <a:lnTo>
                        <a:pt x="939" y="110"/>
                      </a:lnTo>
                      <a:lnTo>
                        <a:pt x="937" y="113"/>
                      </a:lnTo>
                      <a:lnTo>
                        <a:pt x="935" y="115"/>
                      </a:lnTo>
                      <a:lnTo>
                        <a:pt x="932" y="118"/>
                      </a:lnTo>
                      <a:lnTo>
                        <a:pt x="930" y="118"/>
                      </a:lnTo>
                      <a:lnTo>
                        <a:pt x="902" y="119"/>
                      </a:lnTo>
                      <a:lnTo>
                        <a:pt x="862" y="120"/>
                      </a:lnTo>
                      <a:lnTo>
                        <a:pt x="818" y="124"/>
                      </a:lnTo>
                      <a:lnTo>
                        <a:pt x="771" y="129"/>
                      </a:lnTo>
                      <a:lnTo>
                        <a:pt x="747" y="133"/>
                      </a:lnTo>
                      <a:lnTo>
                        <a:pt x="725" y="137"/>
                      </a:lnTo>
                      <a:lnTo>
                        <a:pt x="703" y="143"/>
                      </a:lnTo>
                      <a:lnTo>
                        <a:pt x="683" y="149"/>
                      </a:lnTo>
                      <a:lnTo>
                        <a:pt x="674" y="153"/>
                      </a:lnTo>
                      <a:lnTo>
                        <a:pt x="666" y="156"/>
                      </a:lnTo>
                      <a:lnTo>
                        <a:pt x="658" y="160"/>
                      </a:lnTo>
                      <a:lnTo>
                        <a:pt x="651" y="165"/>
                      </a:lnTo>
                      <a:lnTo>
                        <a:pt x="645" y="169"/>
                      </a:lnTo>
                      <a:lnTo>
                        <a:pt x="639" y="175"/>
                      </a:lnTo>
                      <a:lnTo>
                        <a:pt x="635" y="181"/>
                      </a:lnTo>
                      <a:lnTo>
                        <a:pt x="630" y="186"/>
                      </a:lnTo>
                      <a:lnTo>
                        <a:pt x="604" y="186"/>
                      </a:lnTo>
                      <a:lnTo>
                        <a:pt x="604" y="177"/>
                      </a:lnTo>
                      <a:lnTo>
                        <a:pt x="604" y="167"/>
                      </a:lnTo>
                      <a:lnTo>
                        <a:pt x="591" y="167"/>
                      </a:lnTo>
                      <a:lnTo>
                        <a:pt x="579" y="167"/>
                      </a:lnTo>
                      <a:lnTo>
                        <a:pt x="562" y="167"/>
                      </a:lnTo>
                      <a:lnTo>
                        <a:pt x="538" y="167"/>
                      </a:lnTo>
                      <a:lnTo>
                        <a:pt x="556" y="175"/>
                      </a:lnTo>
                      <a:lnTo>
                        <a:pt x="570" y="181"/>
                      </a:lnTo>
                      <a:lnTo>
                        <a:pt x="577" y="185"/>
                      </a:lnTo>
                      <a:lnTo>
                        <a:pt x="583" y="190"/>
                      </a:lnTo>
                      <a:lnTo>
                        <a:pt x="591" y="196"/>
                      </a:lnTo>
                      <a:lnTo>
                        <a:pt x="597" y="204"/>
                      </a:lnTo>
                      <a:lnTo>
                        <a:pt x="590" y="207"/>
                      </a:lnTo>
                      <a:lnTo>
                        <a:pt x="581" y="212"/>
                      </a:lnTo>
                      <a:lnTo>
                        <a:pt x="571" y="218"/>
                      </a:lnTo>
                      <a:lnTo>
                        <a:pt x="562" y="225"/>
                      </a:lnTo>
                      <a:lnTo>
                        <a:pt x="552" y="232"/>
                      </a:lnTo>
                      <a:lnTo>
                        <a:pt x="545" y="237"/>
                      </a:lnTo>
                      <a:lnTo>
                        <a:pt x="537" y="240"/>
                      </a:lnTo>
                      <a:lnTo>
                        <a:pt x="532" y="241"/>
                      </a:lnTo>
                      <a:lnTo>
                        <a:pt x="517" y="241"/>
                      </a:lnTo>
                      <a:lnTo>
                        <a:pt x="502" y="238"/>
                      </a:lnTo>
                      <a:lnTo>
                        <a:pt x="483" y="236"/>
                      </a:lnTo>
                      <a:lnTo>
                        <a:pt x="458" y="235"/>
                      </a:lnTo>
                      <a:lnTo>
                        <a:pt x="442" y="236"/>
                      </a:lnTo>
                      <a:lnTo>
                        <a:pt x="427" y="237"/>
                      </a:lnTo>
                      <a:lnTo>
                        <a:pt x="415" y="240"/>
                      </a:lnTo>
                      <a:lnTo>
                        <a:pt x="404" y="242"/>
                      </a:lnTo>
                      <a:lnTo>
                        <a:pt x="384" y="248"/>
                      </a:lnTo>
                      <a:lnTo>
                        <a:pt x="365" y="254"/>
                      </a:lnTo>
                      <a:lnTo>
                        <a:pt x="382" y="257"/>
                      </a:lnTo>
                      <a:lnTo>
                        <a:pt x="394" y="258"/>
                      </a:lnTo>
                      <a:lnTo>
                        <a:pt x="405" y="257"/>
                      </a:lnTo>
                      <a:lnTo>
                        <a:pt x="418" y="254"/>
                      </a:lnTo>
                      <a:lnTo>
                        <a:pt x="418" y="272"/>
                      </a:lnTo>
                      <a:lnTo>
                        <a:pt x="413" y="277"/>
                      </a:lnTo>
                      <a:lnTo>
                        <a:pt x="404" y="285"/>
                      </a:lnTo>
                      <a:lnTo>
                        <a:pt x="392" y="293"/>
                      </a:lnTo>
                      <a:lnTo>
                        <a:pt x="379" y="301"/>
                      </a:lnTo>
                      <a:lnTo>
                        <a:pt x="356" y="315"/>
                      </a:lnTo>
                      <a:lnTo>
                        <a:pt x="345" y="321"/>
                      </a:lnTo>
                      <a:lnTo>
                        <a:pt x="339" y="321"/>
                      </a:lnTo>
                      <a:lnTo>
                        <a:pt x="333" y="320"/>
                      </a:lnTo>
                      <a:lnTo>
                        <a:pt x="327" y="318"/>
                      </a:lnTo>
                      <a:lnTo>
                        <a:pt x="322" y="315"/>
                      </a:lnTo>
                      <a:lnTo>
                        <a:pt x="312" y="310"/>
                      </a:lnTo>
                      <a:lnTo>
                        <a:pt x="301" y="303"/>
                      </a:lnTo>
                      <a:lnTo>
                        <a:pt x="290" y="296"/>
                      </a:lnTo>
                      <a:lnTo>
                        <a:pt x="279" y="290"/>
                      </a:lnTo>
                      <a:lnTo>
                        <a:pt x="272" y="288"/>
                      </a:lnTo>
                      <a:lnTo>
                        <a:pt x="266" y="286"/>
                      </a:lnTo>
                      <a:lnTo>
                        <a:pt x="259" y="285"/>
                      </a:lnTo>
                      <a:lnTo>
                        <a:pt x="253" y="285"/>
                      </a:lnTo>
                      <a:lnTo>
                        <a:pt x="215" y="283"/>
                      </a:lnTo>
                      <a:lnTo>
                        <a:pt x="182" y="281"/>
                      </a:lnTo>
                      <a:lnTo>
                        <a:pt x="152" y="279"/>
                      </a:lnTo>
                      <a:lnTo>
                        <a:pt x="123" y="277"/>
                      </a:lnTo>
                      <a:lnTo>
                        <a:pt x="96" y="276"/>
                      </a:lnTo>
                      <a:lnTo>
                        <a:pt x="66" y="276"/>
                      </a:lnTo>
                      <a:lnTo>
                        <a:pt x="51" y="277"/>
                      </a:lnTo>
                      <a:lnTo>
                        <a:pt x="35" y="279"/>
                      </a:lnTo>
                      <a:lnTo>
                        <a:pt x="18" y="281"/>
                      </a:lnTo>
                      <a:lnTo>
                        <a:pt x="0" y="285"/>
                      </a:lnTo>
                      <a:lnTo>
                        <a:pt x="0" y="281"/>
                      </a:lnTo>
                      <a:lnTo>
                        <a:pt x="1" y="277"/>
                      </a:lnTo>
                      <a:lnTo>
                        <a:pt x="2" y="274"/>
                      </a:lnTo>
                      <a:lnTo>
                        <a:pt x="5" y="271"/>
                      </a:lnTo>
                      <a:lnTo>
                        <a:pt x="10" y="266"/>
                      </a:lnTo>
                      <a:lnTo>
                        <a:pt x="17" y="261"/>
                      </a:lnTo>
                      <a:lnTo>
                        <a:pt x="25" y="257"/>
                      </a:lnTo>
                      <a:lnTo>
                        <a:pt x="35" y="253"/>
                      </a:lnTo>
                      <a:lnTo>
                        <a:pt x="45" y="249"/>
                      </a:lnTo>
                      <a:lnTo>
                        <a:pt x="56" y="246"/>
                      </a:lnTo>
                      <a:lnTo>
                        <a:pt x="79" y="241"/>
                      </a:lnTo>
                      <a:lnTo>
                        <a:pt x="101" y="238"/>
                      </a:lnTo>
                      <a:lnTo>
                        <a:pt x="120" y="236"/>
                      </a:lnTo>
                      <a:lnTo>
                        <a:pt x="133" y="235"/>
                      </a:lnTo>
                      <a:lnTo>
                        <a:pt x="143" y="235"/>
                      </a:lnTo>
                      <a:lnTo>
                        <a:pt x="159" y="235"/>
                      </a:lnTo>
                      <a:lnTo>
                        <a:pt x="162" y="235"/>
                      </a:lnTo>
                      <a:lnTo>
                        <a:pt x="164" y="233"/>
                      </a:lnTo>
                      <a:lnTo>
                        <a:pt x="167" y="230"/>
                      </a:lnTo>
                      <a:lnTo>
                        <a:pt x="170" y="225"/>
                      </a:lnTo>
                      <a:lnTo>
                        <a:pt x="174" y="222"/>
                      </a:lnTo>
                      <a:lnTo>
                        <a:pt x="177" y="219"/>
                      </a:lnTo>
                      <a:lnTo>
                        <a:pt x="181" y="217"/>
                      </a:lnTo>
                      <a:lnTo>
                        <a:pt x="186" y="216"/>
                      </a:lnTo>
                      <a:lnTo>
                        <a:pt x="190" y="217"/>
                      </a:lnTo>
                      <a:lnTo>
                        <a:pt x="196" y="218"/>
                      </a:lnTo>
                      <a:lnTo>
                        <a:pt x="200" y="219"/>
                      </a:lnTo>
                      <a:lnTo>
                        <a:pt x="203" y="221"/>
                      </a:lnTo>
                      <a:lnTo>
                        <a:pt x="211" y="226"/>
                      </a:lnTo>
                      <a:lnTo>
                        <a:pt x="219" y="232"/>
                      </a:lnTo>
                      <a:lnTo>
                        <a:pt x="226" y="238"/>
                      </a:lnTo>
                      <a:lnTo>
                        <a:pt x="234" y="243"/>
                      </a:lnTo>
                      <a:lnTo>
                        <a:pt x="238" y="245"/>
                      </a:lnTo>
                      <a:lnTo>
                        <a:pt x="243" y="246"/>
                      </a:lnTo>
                      <a:lnTo>
                        <a:pt x="247" y="247"/>
                      </a:lnTo>
                      <a:lnTo>
                        <a:pt x="253" y="247"/>
                      </a:lnTo>
                      <a:lnTo>
                        <a:pt x="253" y="204"/>
                      </a:lnTo>
                      <a:lnTo>
                        <a:pt x="232" y="206"/>
                      </a:lnTo>
                      <a:lnTo>
                        <a:pt x="212" y="207"/>
                      </a:lnTo>
                      <a:lnTo>
                        <a:pt x="208" y="207"/>
                      </a:lnTo>
                      <a:lnTo>
                        <a:pt x="204" y="207"/>
                      </a:lnTo>
                      <a:lnTo>
                        <a:pt x="201" y="206"/>
                      </a:lnTo>
                      <a:lnTo>
                        <a:pt x="198" y="204"/>
                      </a:lnTo>
                      <a:lnTo>
                        <a:pt x="196" y="202"/>
                      </a:lnTo>
                      <a:lnTo>
                        <a:pt x="193" y="200"/>
                      </a:lnTo>
                      <a:lnTo>
                        <a:pt x="192" y="196"/>
                      </a:lnTo>
                      <a:lnTo>
                        <a:pt x="192" y="192"/>
                      </a:lnTo>
                      <a:lnTo>
                        <a:pt x="193" y="188"/>
                      </a:lnTo>
                      <a:lnTo>
                        <a:pt x="194" y="184"/>
                      </a:lnTo>
                      <a:lnTo>
                        <a:pt x="197" y="181"/>
                      </a:lnTo>
                      <a:lnTo>
                        <a:pt x="199" y="179"/>
                      </a:lnTo>
                      <a:lnTo>
                        <a:pt x="205" y="176"/>
                      </a:lnTo>
                      <a:lnTo>
                        <a:pt x="214" y="174"/>
                      </a:lnTo>
                      <a:lnTo>
                        <a:pt x="232" y="172"/>
                      </a:lnTo>
                      <a:lnTo>
                        <a:pt x="246" y="174"/>
                      </a:lnTo>
                      <a:lnTo>
                        <a:pt x="265" y="176"/>
                      </a:lnTo>
                      <a:lnTo>
                        <a:pt x="290" y="180"/>
                      </a:lnTo>
                      <a:lnTo>
                        <a:pt x="315" y="184"/>
                      </a:lnTo>
                      <a:lnTo>
                        <a:pt x="338" y="186"/>
                      </a:lnTo>
                      <a:lnTo>
                        <a:pt x="365" y="186"/>
                      </a:lnTo>
                      <a:lnTo>
                        <a:pt x="386" y="184"/>
                      </a:lnTo>
                      <a:lnTo>
                        <a:pt x="394" y="183"/>
                      </a:lnTo>
                      <a:lnTo>
                        <a:pt x="403" y="181"/>
                      </a:lnTo>
                      <a:lnTo>
                        <a:pt x="411" y="178"/>
                      </a:lnTo>
                      <a:lnTo>
                        <a:pt x="418" y="174"/>
                      </a:lnTo>
                      <a:lnTo>
                        <a:pt x="379" y="172"/>
                      </a:lnTo>
                      <a:lnTo>
                        <a:pt x="344" y="172"/>
                      </a:lnTo>
                      <a:lnTo>
                        <a:pt x="336" y="172"/>
                      </a:lnTo>
                      <a:lnTo>
                        <a:pt x="328" y="171"/>
                      </a:lnTo>
                      <a:lnTo>
                        <a:pt x="322" y="169"/>
                      </a:lnTo>
                      <a:lnTo>
                        <a:pt x="315" y="167"/>
                      </a:lnTo>
                      <a:lnTo>
                        <a:pt x="310" y="164"/>
                      </a:lnTo>
                      <a:lnTo>
                        <a:pt x="305" y="160"/>
                      </a:lnTo>
                      <a:lnTo>
                        <a:pt x="302" y="155"/>
                      </a:lnTo>
                      <a:lnTo>
                        <a:pt x="299" y="149"/>
                      </a:lnTo>
                      <a:lnTo>
                        <a:pt x="309" y="145"/>
                      </a:lnTo>
                      <a:lnTo>
                        <a:pt x="320" y="142"/>
                      </a:lnTo>
                      <a:lnTo>
                        <a:pt x="331" y="140"/>
                      </a:lnTo>
                      <a:lnTo>
                        <a:pt x="345" y="138"/>
                      </a:lnTo>
                      <a:lnTo>
                        <a:pt x="378" y="137"/>
                      </a:lnTo>
                      <a:lnTo>
                        <a:pt x="425" y="137"/>
                      </a:lnTo>
                      <a:lnTo>
                        <a:pt x="426" y="141"/>
                      </a:lnTo>
                      <a:lnTo>
                        <a:pt x="429" y="146"/>
                      </a:lnTo>
                      <a:lnTo>
                        <a:pt x="434" y="150"/>
                      </a:lnTo>
                      <a:lnTo>
                        <a:pt x="438" y="155"/>
                      </a:lnTo>
                      <a:lnTo>
                        <a:pt x="484" y="155"/>
                      </a:lnTo>
                      <a:lnTo>
                        <a:pt x="483" y="146"/>
                      </a:lnTo>
                      <a:lnTo>
                        <a:pt x="481" y="137"/>
                      </a:lnTo>
                      <a:lnTo>
                        <a:pt x="479" y="130"/>
                      </a:lnTo>
                      <a:lnTo>
                        <a:pt x="478" y="124"/>
                      </a:lnTo>
                      <a:lnTo>
                        <a:pt x="645" y="124"/>
                      </a:lnTo>
                      <a:lnTo>
                        <a:pt x="648" y="109"/>
                      </a:lnTo>
                      <a:lnTo>
                        <a:pt x="651" y="101"/>
                      </a:lnTo>
                      <a:lnTo>
                        <a:pt x="657" y="95"/>
                      </a:lnTo>
                      <a:lnTo>
                        <a:pt x="664" y="87"/>
                      </a:lnTo>
                      <a:lnTo>
                        <a:pt x="653" y="91"/>
                      </a:lnTo>
                      <a:lnTo>
                        <a:pt x="638" y="99"/>
                      </a:lnTo>
                      <a:lnTo>
                        <a:pt x="622" y="108"/>
                      </a:lnTo>
                      <a:lnTo>
                        <a:pt x="611" y="111"/>
                      </a:lnTo>
                      <a:lnTo>
                        <a:pt x="589" y="110"/>
                      </a:lnTo>
                      <a:lnTo>
                        <a:pt x="556" y="108"/>
                      </a:lnTo>
                      <a:lnTo>
                        <a:pt x="522" y="106"/>
                      </a:lnTo>
                      <a:lnTo>
                        <a:pt x="491" y="105"/>
                      </a:lnTo>
                      <a:lnTo>
                        <a:pt x="476" y="107"/>
                      </a:lnTo>
                      <a:lnTo>
                        <a:pt x="449" y="111"/>
                      </a:lnTo>
                      <a:lnTo>
                        <a:pt x="414" y="115"/>
                      </a:lnTo>
                      <a:lnTo>
                        <a:pt x="376" y="119"/>
                      </a:lnTo>
                      <a:lnTo>
                        <a:pt x="355" y="120"/>
                      </a:lnTo>
                      <a:lnTo>
                        <a:pt x="333" y="119"/>
                      </a:lnTo>
                      <a:lnTo>
                        <a:pt x="312" y="116"/>
                      </a:lnTo>
                      <a:lnTo>
                        <a:pt x="291" y="113"/>
                      </a:lnTo>
                      <a:lnTo>
                        <a:pt x="281" y="111"/>
                      </a:lnTo>
                      <a:lnTo>
                        <a:pt x="271" y="108"/>
                      </a:lnTo>
                      <a:lnTo>
                        <a:pt x="261" y="105"/>
                      </a:lnTo>
                      <a:lnTo>
                        <a:pt x="253" y="101"/>
                      </a:lnTo>
                      <a:lnTo>
                        <a:pt x="244" y="97"/>
                      </a:lnTo>
                      <a:lnTo>
                        <a:pt x="235" y="92"/>
                      </a:lnTo>
                      <a:lnTo>
                        <a:pt x="226" y="87"/>
                      </a:lnTo>
                      <a:lnTo>
                        <a:pt x="219" y="81"/>
                      </a:lnTo>
                      <a:lnTo>
                        <a:pt x="219" y="80"/>
                      </a:lnTo>
                      <a:lnTo>
                        <a:pt x="221" y="79"/>
                      </a:lnTo>
                      <a:lnTo>
                        <a:pt x="223" y="78"/>
                      </a:lnTo>
                      <a:lnTo>
                        <a:pt x="227" y="76"/>
                      </a:lnTo>
                      <a:lnTo>
                        <a:pt x="238" y="74"/>
                      </a:lnTo>
                      <a:lnTo>
                        <a:pt x="253" y="71"/>
                      </a:lnTo>
                      <a:lnTo>
                        <a:pt x="290" y="66"/>
                      </a:lnTo>
                      <a:lnTo>
                        <a:pt x="334" y="60"/>
                      </a:lnTo>
                      <a:lnTo>
                        <a:pt x="378" y="55"/>
                      </a:lnTo>
                      <a:lnTo>
                        <a:pt x="417" y="50"/>
                      </a:lnTo>
                      <a:lnTo>
                        <a:pt x="446" y="47"/>
                      </a:lnTo>
                      <a:lnTo>
                        <a:pt x="458" y="44"/>
                      </a:lnTo>
                      <a:lnTo>
                        <a:pt x="545" y="44"/>
                      </a:lnTo>
                      <a:lnTo>
                        <a:pt x="591" y="32"/>
                      </a:lnTo>
                      <a:lnTo>
                        <a:pt x="605" y="33"/>
                      </a:lnTo>
                      <a:lnTo>
                        <a:pt x="618" y="32"/>
                      </a:lnTo>
                      <a:lnTo>
                        <a:pt x="631" y="31"/>
                      </a:lnTo>
                      <a:lnTo>
                        <a:pt x="642" y="28"/>
                      </a:lnTo>
                      <a:lnTo>
                        <a:pt x="653" y="25"/>
                      </a:lnTo>
                      <a:lnTo>
                        <a:pt x="664" y="22"/>
                      </a:lnTo>
                      <a:lnTo>
                        <a:pt x="674" y="20"/>
                      </a:lnTo>
                      <a:lnTo>
                        <a:pt x="684" y="20"/>
                      </a:lnTo>
                      <a:lnTo>
                        <a:pt x="707" y="21"/>
                      </a:lnTo>
                      <a:lnTo>
                        <a:pt x="723" y="23"/>
                      </a:lnTo>
                      <a:lnTo>
                        <a:pt x="737" y="25"/>
                      </a:lnTo>
                      <a:lnTo>
                        <a:pt x="757" y="26"/>
                      </a:lnTo>
                      <a:lnTo>
                        <a:pt x="764" y="2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5" name="Freeform 418"/>
                <p:cNvSpPr>
                  <a:spLocks/>
                </p:cNvSpPr>
                <p:nvPr/>
              </p:nvSpPr>
              <p:spPr bwMode="auto">
                <a:xfrm>
                  <a:off x="553" y="1660"/>
                  <a:ext cx="51" cy="38"/>
                </a:xfrm>
                <a:custGeom>
                  <a:avLst/>
                  <a:gdLst>
                    <a:gd name="T0" fmla="*/ 0 w 160"/>
                    <a:gd name="T1" fmla="*/ 0 h 117"/>
                    <a:gd name="T2" fmla="*/ 1 w 160"/>
                    <a:gd name="T3" fmla="*/ 10 h 117"/>
                    <a:gd name="T4" fmla="*/ 4 w 160"/>
                    <a:gd name="T5" fmla="*/ 19 h 117"/>
                    <a:gd name="T6" fmla="*/ 9 w 160"/>
                    <a:gd name="T7" fmla="*/ 29 h 117"/>
                    <a:gd name="T8" fmla="*/ 15 w 160"/>
                    <a:gd name="T9" fmla="*/ 39 h 117"/>
                    <a:gd name="T10" fmla="*/ 22 w 160"/>
                    <a:gd name="T11" fmla="*/ 48 h 117"/>
                    <a:gd name="T12" fmla="*/ 31 w 160"/>
                    <a:gd name="T13" fmla="*/ 59 h 117"/>
                    <a:gd name="T14" fmla="*/ 41 w 160"/>
                    <a:gd name="T15" fmla="*/ 68 h 117"/>
                    <a:gd name="T16" fmla="*/ 51 w 160"/>
                    <a:gd name="T17" fmla="*/ 77 h 117"/>
                    <a:gd name="T18" fmla="*/ 62 w 160"/>
                    <a:gd name="T19" fmla="*/ 85 h 117"/>
                    <a:gd name="T20" fmla="*/ 73 w 160"/>
                    <a:gd name="T21" fmla="*/ 93 h 117"/>
                    <a:gd name="T22" fmla="*/ 84 w 160"/>
                    <a:gd name="T23" fmla="*/ 99 h 117"/>
                    <a:gd name="T24" fmla="*/ 95 w 160"/>
                    <a:gd name="T25" fmla="*/ 105 h 117"/>
                    <a:gd name="T26" fmla="*/ 106 w 160"/>
                    <a:gd name="T27" fmla="*/ 111 h 117"/>
                    <a:gd name="T28" fmla="*/ 116 w 160"/>
                    <a:gd name="T29" fmla="*/ 114 h 117"/>
                    <a:gd name="T30" fmla="*/ 124 w 160"/>
                    <a:gd name="T31" fmla="*/ 117 h 117"/>
                    <a:gd name="T32" fmla="*/ 133 w 160"/>
                    <a:gd name="T33" fmla="*/ 117 h 117"/>
                    <a:gd name="T34" fmla="*/ 139 w 160"/>
                    <a:gd name="T35" fmla="*/ 116 h 117"/>
                    <a:gd name="T36" fmla="*/ 146 w 160"/>
                    <a:gd name="T37" fmla="*/ 113 h 117"/>
                    <a:gd name="T38" fmla="*/ 153 w 160"/>
                    <a:gd name="T39" fmla="*/ 110 h 117"/>
                    <a:gd name="T40" fmla="*/ 160 w 160"/>
                    <a:gd name="T41" fmla="*/ 104 h 117"/>
                    <a:gd name="T42" fmla="*/ 150 w 160"/>
                    <a:gd name="T43" fmla="*/ 91 h 117"/>
                    <a:gd name="T44" fmla="*/ 141 w 160"/>
                    <a:gd name="T45" fmla="*/ 79 h 117"/>
                    <a:gd name="T46" fmla="*/ 138 w 160"/>
                    <a:gd name="T47" fmla="*/ 73 h 117"/>
                    <a:gd name="T48" fmla="*/ 135 w 160"/>
                    <a:gd name="T49" fmla="*/ 66 h 117"/>
                    <a:gd name="T50" fmla="*/ 133 w 160"/>
                    <a:gd name="T51" fmla="*/ 58 h 117"/>
                    <a:gd name="T52" fmla="*/ 133 w 160"/>
                    <a:gd name="T53" fmla="*/ 49 h 117"/>
                    <a:gd name="T54" fmla="*/ 127 w 160"/>
                    <a:gd name="T55" fmla="*/ 48 h 117"/>
                    <a:gd name="T56" fmla="*/ 118 w 160"/>
                    <a:gd name="T57" fmla="*/ 45 h 117"/>
                    <a:gd name="T58" fmla="*/ 108 w 160"/>
                    <a:gd name="T59" fmla="*/ 40 h 117"/>
                    <a:gd name="T60" fmla="*/ 97 w 160"/>
                    <a:gd name="T61" fmla="*/ 34 h 117"/>
                    <a:gd name="T62" fmla="*/ 87 w 160"/>
                    <a:gd name="T63" fmla="*/ 28 h 117"/>
                    <a:gd name="T64" fmla="*/ 77 w 160"/>
                    <a:gd name="T65" fmla="*/ 21 h 117"/>
                    <a:gd name="T66" fmla="*/ 74 w 160"/>
                    <a:gd name="T67" fmla="*/ 17 h 117"/>
                    <a:gd name="T68" fmla="*/ 71 w 160"/>
                    <a:gd name="T69" fmla="*/ 13 h 117"/>
                    <a:gd name="T70" fmla="*/ 68 w 160"/>
                    <a:gd name="T71" fmla="*/ 10 h 117"/>
                    <a:gd name="T72" fmla="*/ 66 w 160"/>
                    <a:gd name="T73" fmla="*/ 6 h 117"/>
                    <a:gd name="T74" fmla="*/ 60 w 160"/>
                    <a:gd name="T75" fmla="*/ 6 h 117"/>
                    <a:gd name="T76" fmla="*/ 52 w 160"/>
                    <a:gd name="T77" fmla="*/ 6 h 117"/>
                    <a:gd name="T78" fmla="*/ 43 w 160"/>
                    <a:gd name="T79" fmla="*/ 4 h 117"/>
                    <a:gd name="T80" fmla="*/ 33 w 160"/>
                    <a:gd name="T81" fmla="*/ 0 h 117"/>
                    <a:gd name="T82" fmla="*/ 0 w 160"/>
                    <a:gd name="T83" fmla="*/ 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60" h="117">
                      <a:moveTo>
                        <a:pt x="0" y="0"/>
                      </a:moveTo>
                      <a:lnTo>
                        <a:pt x="1" y="10"/>
                      </a:lnTo>
                      <a:lnTo>
                        <a:pt x="4" y="19"/>
                      </a:lnTo>
                      <a:lnTo>
                        <a:pt x="9" y="29"/>
                      </a:lnTo>
                      <a:lnTo>
                        <a:pt x="15" y="39"/>
                      </a:lnTo>
                      <a:lnTo>
                        <a:pt x="22" y="48"/>
                      </a:lnTo>
                      <a:lnTo>
                        <a:pt x="31" y="59"/>
                      </a:lnTo>
                      <a:lnTo>
                        <a:pt x="41" y="68"/>
                      </a:lnTo>
                      <a:lnTo>
                        <a:pt x="51" y="77"/>
                      </a:lnTo>
                      <a:lnTo>
                        <a:pt x="62" y="85"/>
                      </a:lnTo>
                      <a:lnTo>
                        <a:pt x="73" y="93"/>
                      </a:lnTo>
                      <a:lnTo>
                        <a:pt x="84" y="99"/>
                      </a:lnTo>
                      <a:lnTo>
                        <a:pt x="95" y="105"/>
                      </a:lnTo>
                      <a:lnTo>
                        <a:pt x="106" y="111"/>
                      </a:lnTo>
                      <a:lnTo>
                        <a:pt x="116" y="114"/>
                      </a:lnTo>
                      <a:lnTo>
                        <a:pt x="124" y="117"/>
                      </a:lnTo>
                      <a:lnTo>
                        <a:pt x="133" y="117"/>
                      </a:lnTo>
                      <a:lnTo>
                        <a:pt x="139" y="116"/>
                      </a:lnTo>
                      <a:lnTo>
                        <a:pt x="146" y="113"/>
                      </a:lnTo>
                      <a:lnTo>
                        <a:pt x="153" y="110"/>
                      </a:lnTo>
                      <a:lnTo>
                        <a:pt x="160" y="104"/>
                      </a:lnTo>
                      <a:lnTo>
                        <a:pt x="150" y="91"/>
                      </a:lnTo>
                      <a:lnTo>
                        <a:pt x="141" y="79"/>
                      </a:lnTo>
                      <a:lnTo>
                        <a:pt x="138" y="73"/>
                      </a:lnTo>
                      <a:lnTo>
                        <a:pt x="135" y="66"/>
                      </a:lnTo>
                      <a:lnTo>
                        <a:pt x="133" y="58"/>
                      </a:lnTo>
                      <a:lnTo>
                        <a:pt x="133" y="49"/>
                      </a:lnTo>
                      <a:lnTo>
                        <a:pt x="127" y="48"/>
                      </a:lnTo>
                      <a:lnTo>
                        <a:pt x="118" y="45"/>
                      </a:lnTo>
                      <a:lnTo>
                        <a:pt x="108" y="40"/>
                      </a:lnTo>
                      <a:lnTo>
                        <a:pt x="97" y="34"/>
                      </a:lnTo>
                      <a:lnTo>
                        <a:pt x="87" y="28"/>
                      </a:lnTo>
                      <a:lnTo>
                        <a:pt x="77" y="21"/>
                      </a:lnTo>
                      <a:lnTo>
                        <a:pt x="74" y="17"/>
                      </a:lnTo>
                      <a:lnTo>
                        <a:pt x="71" y="13"/>
                      </a:lnTo>
                      <a:lnTo>
                        <a:pt x="68" y="10"/>
                      </a:lnTo>
                      <a:lnTo>
                        <a:pt x="66" y="6"/>
                      </a:lnTo>
                      <a:lnTo>
                        <a:pt x="60" y="6"/>
                      </a:lnTo>
                      <a:lnTo>
                        <a:pt x="52" y="6"/>
                      </a:lnTo>
                      <a:lnTo>
                        <a:pt x="43" y="4"/>
                      </a:lnTo>
                      <a:lnTo>
                        <a:pt x="33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6" name="Freeform 419"/>
                <p:cNvSpPr>
                  <a:spLocks/>
                </p:cNvSpPr>
                <p:nvPr/>
              </p:nvSpPr>
              <p:spPr bwMode="auto">
                <a:xfrm>
                  <a:off x="527" y="1592"/>
                  <a:ext cx="26" cy="46"/>
                </a:xfrm>
                <a:custGeom>
                  <a:avLst/>
                  <a:gdLst>
                    <a:gd name="T0" fmla="*/ 40 w 80"/>
                    <a:gd name="T1" fmla="*/ 123 h 141"/>
                    <a:gd name="T2" fmla="*/ 80 w 80"/>
                    <a:gd name="T3" fmla="*/ 36 h 141"/>
                    <a:gd name="T4" fmla="*/ 80 w 80"/>
                    <a:gd name="T5" fmla="*/ 18 h 141"/>
                    <a:gd name="T6" fmla="*/ 68 w 80"/>
                    <a:gd name="T7" fmla="*/ 17 h 141"/>
                    <a:gd name="T8" fmla="*/ 59 w 80"/>
                    <a:gd name="T9" fmla="*/ 16 h 141"/>
                    <a:gd name="T10" fmla="*/ 53 w 80"/>
                    <a:gd name="T11" fmla="*/ 14 h 141"/>
                    <a:gd name="T12" fmla="*/ 47 w 80"/>
                    <a:gd name="T13" fmla="*/ 11 h 141"/>
                    <a:gd name="T14" fmla="*/ 44 w 80"/>
                    <a:gd name="T15" fmla="*/ 8 h 141"/>
                    <a:gd name="T16" fmla="*/ 42 w 80"/>
                    <a:gd name="T17" fmla="*/ 5 h 141"/>
                    <a:gd name="T18" fmla="*/ 41 w 80"/>
                    <a:gd name="T19" fmla="*/ 2 h 141"/>
                    <a:gd name="T20" fmla="*/ 40 w 80"/>
                    <a:gd name="T21" fmla="*/ 0 h 141"/>
                    <a:gd name="T22" fmla="*/ 0 w 80"/>
                    <a:gd name="T23" fmla="*/ 0 h 141"/>
                    <a:gd name="T24" fmla="*/ 0 w 80"/>
                    <a:gd name="T25" fmla="*/ 23 h 141"/>
                    <a:gd name="T26" fmla="*/ 0 w 80"/>
                    <a:gd name="T27" fmla="*/ 40 h 141"/>
                    <a:gd name="T28" fmla="*/ 0 w 80"/>
                    <a:gd name="T29" fmla="*/ 52 h 141"/>
                    <a:gd name="T30" fmla="*/ 0 w 80"/>
                    <a:gd name="T31" fmla="*/ 61 h 141"/>
                    <a:gd name="T32" fmla="*/ 1 w 80"/>
                    <a:gd name="T33" fmla="*/ 69 h 141"/>
                    <a:gd name="T34" fmla="*/ 3 w 80"/>
                    <a:gd name="T35" fmla="*/ 78 h 141"/>
                    <a:gd name="T36" fmla="*/ 7 w 80"/>
                    <a:gd name="T37" fmla="*/ 88 h 141"/>
                    <a:gd name="T38" fmla="*/ 11 w 80"/>
                    <a:gd name="T39" fmla="*/ 99 h 141"/>
                    <a:gd name="T40" fmla="*/ 20 w 80"/>
                    <a:gd name="T41" fmla="*/ 121 h 141"/>
                    <a:gd name="T42" fmla="*/ 27 w 80"/>
                    <a:gd name="T43" fmla="*/ 141 h 141"/>
                    <a:gd name="T44" fmla="*/ 31 w 80"/>
                    <a:gd name="T45" fmla="*/ 135 h 141"/>
                    <a:gd name="T46" fmla="*/ 33 w 80"/>
                    <a:gd name="T47" fmla="*/ 129 h 141"/>
                    <a:gd name="T48" fmla="*/ 34 w 80"/>
                    <a:gd name="T49" fmla="*/ 127 h 141"/>
                    <a:gd name="T50" fmla="*/ 36 w 80"/>
                    <a:gd name="T51" fmla="*/ 125 h 141"/>
                    <a:gd name="T52" fmla="*/ 38 w 80"/>
                    <a:gd name="T53" fmla="*/ 123 h 141"/>
                    <a:gd name="T54" fmla="*/ 40 w 80"/>
                    <a:gd name="T55" fmla="*/ 123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0" h="141">
                      <a:moveTo>
                        <a:pt x="40" y="123"/>
                      </a:moveTo>
                      <a:lnTo>
                        <a:pt x="80" y="36"/>
                      </a:lnTo>
                      <a:lnTo>
                        <a:pt x="80" y="18"/>
                      </a:lnTo>
                      <a:lnTo>
                        <a:pt x="68" y="17"/>
                      </a:lnTo>
                      <a:lnTo>
                        <a:pt x="59" y="16"/>
                      </a:lnTo>
                      <a:lnTo>
                        <a:pt x="53" y="14"/>
                      </a:lnTo>
                      <a:lnTo>
                        <a:pt x="47" y="11"/>
                      </a:lnTo>
                      <a:lnTo>
                        <a:pt x="44" y="8"/>
                      </a:lnTo>
                      <a:lnTo>
                        <a:pt x="42" y="5"/>
                      </a:lnTo>
                      <a:lnTo>
                        <a:pt x="41" y="2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0" y="40"/>
                      </a:lnTo>
                      <a:lnTo>
                        <a:pt x="0" y="52"/>
                      </a:lnTo>
                      <a:lnTo>
                        <a:pt x="0" y="61"/>
                      </a:lnTo>
                      <a:lnTo>
                        <a:pt x="1" y="69"/>
                      </a:lnTo>
                      <a:lnTo>
                        <a:pt x="3" y="78"/>
                      </a:lnTo>
                      <a:lnTo>
                        <a:pt x="7" y="88"/>
                      </a:lnTo>
                      <a:lnTo>
                        <a:pt x="11" y="99"/>
                      </a:lnTo>
                      <a:lnTo>
                        <a:pt x="20" y="121"/>
                      </a:lnTo>
                      <a:lnTo>
                        <a:pt x="27" y="141"/>
                      </a:lnTo>
                      <a:lnTo>
                        <a:pt x="31" y="135"/>
                      </a:lnTo>
                      <a:lnTo>
                        <a:pt x="33" y="129"/>
                      </a:lnTo>
                      <a:lnTo>
                        <a:pt x="34" y="127"/>
                      </a:lnTo>
                      <a:lnTo>
                        <a:pt x="36" y="125"/>
                      </a:lnTo>
                      <a:lnTo>
                        <a:pt x="38" y="123"/>
                      </a:lnTo>
                      <a:lnTo>
                        <a:pt x="40" y="12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7" name="Freeform 420"/>
                <p:cNvSpPr>
                  <a:spLocks/>
                </p:cNvSpPr>
                <p:nvPr/>
              </p:nvSpPr>
              <p:spPr bwMode="auto">
                <a:xfrm>
                  <a:off x="1379" y="1383"/>
                  <a:ext cx="83" cy="41"/>
                </a:xfrm>
                <a:custGeom>
                  <a:avLst/>
                  <a:gdLst>
                    <a:gd name="T0" fmla="*/ 0 w 259"/>
                    <a:gd name="T1" fmla="*/ 93 h 124"/>
                    <a:gd name="T2" fmla="*/ 0 w 259"/>
                    <a:gd name="T3" fmla="*/ 96 h 124"/>
                    <a:gd name="T4" fmla="*/ 2 w 259"/>
                    <a:gd name="T5" fmla="*/ 100 h 124"/>
                    <a:gd name="T6" fmla="*/ 4 w 259"/>
                    <a:gd name="T7" fmla="*/ 103 h 124"/>
                    <a:gd name="T8" fmla="*/ 6 w 259"/>
                    <a:gd name="T9" fmla="*/ 106 h 124"/>
                    <a:gd name="T10" fmla="*/ 14 w 259"/>
                    <a:gd name="T11" fmla="*/ 111 h 124"/>
                    <a:gd name="T12" fmla="*/ 23 w 259"/>
                    <a:gd name="T13" fmla="*/ 115 h 124"/>
                    <a:gd name="T14" fmla="*/ 31 w 259"/>
                    <a:gd name="T15" fmla="*/ 120 h 124"/>
                    <a:gd name="T16" fmla="*/ 41 w 259"/>
                    <a:gd name="T17" fmla="*/ 122 h 124"/>
                    <a:gd name="T18" fmla="*/ 51 w 259"/>
                    <a:gd name="T19" fmla="*/ 124 h 124"/>
                    <a:gd name="T20" fmla="*/ 60 w 259"/>
                    <a:gd name="T21" fmla="*/ 124 h 124"/>
                    <a:gd name="T22" fmla="*/ 68 w 259"/>
                    <a:gd name="T23" fmla="*/ 124 h 124"/>
                    <a:gd name="T24" fmla="*/ 75 w 259"/>
                    <a:gd name="T25" fmla="*/ 123 h 124"/>
                    <a:gd name="T26" fmla="*/ 81 w 259"/>
                    <a:gd name="T27" fmla="*/ 122 h 124"/>
                    <a:gd name="T28" fmla="*/ 87 w 259"/>
                    <a:gd name="T29" fmla="*/ 120 h 124"/>
                    <a:gd name="T30" fmla="*/ 97 w 259"/>
                    <a:gd name="T31" fmla="*/ 114 h 124"/>
                    <a:gd name="T32" fmla="*/ 106 w 259"/>
                    <a:gd name="T33" fmla="*/ 108 h 124"/>
                    <a:gd name="T34" fmla="*/ 115 w 259"/>
                    <a:gd name="T35" fmla="*/ 103 h 124"/>
                    <a:gd name="T36" fmla="*/ 125 w 259"/>
                    <a:gd name="T37" fmla="*/ 98 h 124"/>
                    <a:gd name="T38" fmla="*/ 130 w 259"/>
                    <a:gd name="T39" fmla="*/ 96 h 124"/>
                    <a:gd name="T40" fmla="*/ 137 w 259"/>
                    <a:gd name="T41" fmla="*/ 94 h 124"/>
                    <a:gd name="T42" fmla="*/ 145 w 259"/>
                    <a:gd name="T43" fmla="*/ 93 h 124"/>
                    <a:gd name="T44" fmla="*/ 152 w 259"/>
                    <a:gd name="T45" fmla="*/ 93 h 124"/>
                    <a:gd name="T46" fmla="*/ 162 w 259"/>
                    <a:gd name="T47" fmla="*/ 94 h 124"/>
                    <a:gd name="T48" fmla="*/ 171 w 259"/>
                    <a:gd name="T49" fmla="*/ 96 h 124"/>
                    <a:gd name="T50" fmla="*/ 180 w 259"/>
                    <a:gd name="T51" fmla="*/ 99 h 124"/>
                    <a:gd name="T52" fmla="*/ 188 w 259"/>
                    <a:gd name="T53" fmla="*/ 103 h 124"/>
                    <a:gd name="T54" fmla="*/ 204 w 259"/>
                    <a:gd name="T55" fmla="*/ 111 h 124"/>
                    <a:gd name="T56" fmla="*/ 219 w 259"/>
                    <a:gd name="T57" fmla="*/ 117 h 124"/>
                    <a:gd name="T58" fmla="*/ 259 w 259"/>
                    <a:gd name="T59" fmla="*/ 117 h 124"/>
                    <a:gd name="T60" fmla="*/ 259 w 259"/>
                    <a:gd name="T61" fmla="*/ 99 h 124"/>
                    <a:gd name="T62" fmla="*/ 252 w 259"/>
                    <a:gd name="T63" fmla="*/ 98 h 124"/>
                    <a:gd name="T64" fmla="*/ 244 w 259"/>
                    <a:gd name="T65" fmla="*/ 96 h 124"/>
                    <a:gd name="T66" fmla="*/ 236 w 259"/>
                    <a:gd name="T67" fmla="*/ 94 h 124"/>
                    <a:gd name="T68" fmla="*/ 226 w 259"/>
                    <a:gd name="T69" fmla="*/ 93 h 124"/>
                    <a:gd name="T70" fmla="*/ 230 w 259"/>
                    <a:gd name="T71" fmla="*/ 85 h 124"/>
                    <a:gd name="T72" fmla="*/ 236 w 259"/>
                    <a:gd name="T73" fmla="*/ 79 h 124"/>
                    <a:gd name="T74" fmla="*/ 240 w 259"/>
                    <a:gd name="T75" fmla="*/ 74 h 124"/>
                    <a:gd name="T76" fmla="*/ 246 w 259"/>
                    <a:gd name="T77" fmla="*/ 69 h 124"/>
                    <a:gd name="T78" fmla="*/ 238 w 259"/>
                    <a:gd name="T79" fmla="*/ 61 h 124"/>
                    <a:gd name="T80" fmla="*/ 230 w 259"/>
                    <a:gd name="T81" fmla="*/ 56 h 124"/>
                    <a:gd name="T82" fmla="*/ 222 w 259"/>
                    <a:gd name="T83" fmla="*/ 50 h 124"/>
                    <a:gd name="T84" fmla="*/ 214 w 259"/>
                    <a:gd name="T85" fmla="*/ 46 h 124"/>
                    <a:gd name="T86" fmla="*/ 197 w 259"/>
                    <a:gd name="T87" fmla="*/ 37 h 124"/>
                    <a:gd name="T88" fmla="*/ 182 w 259"/>
                    <a:gd name="T89" fmla="*/ 30 h 124"/>
                    <a:gd name="T90" fmla="*/ 166 w 259"/>
                    <a:gd name="T91" fmla="*/ 23 h 124"/>
                    <a:gd name="T92" fmla="*/ 153 w 259"/>
                    <a:gd name="T93" fmla="*/ 17 h 124"/>
                    <a:gd name="T94" fmla="*/ 147 w 259"/>
                    <a:gd name="T95" fmla="*/ 13 h 124"/>
                    <a:gd name="T96" fmla="*/ 141 w 259"/>
                    <a:gd name="T97" fmla="*/ 10 h 124"/>
                    <a:gd name="T98" fmla="*/ 137 w 259"/>
                    <a:gd name="T99" fmla="*/ 5 h 124"/>
                    <a:gd name="T100" fmla="*/ 132 w 259"/>
                    <a:gd name="T101" fmla="*/ 0 h 124"/>
                    <a:gd name="T102" fmla="*/ 124 w 259"/>
                    <a:gd name="T103" fmla="*/ 3 h 124"/>
                    <a:gd name="T104" fmla="*/ 114 w 259"/>
                    <a:gd name="T105" fmla="*/ 7 h 124"/>
                    <a:gd name="T106" fmla="*/ 105 w 259"/>
                    <a:gd name="T107" fmla="*/ 12 h 124"/>
                    <a:gd name="T108" fmla="*/ 95 w 259"/>
                    <a:gd name="T109" fmla="*/ 17 h 124"/>
                    <a:gd name="T110" fmla="*/ 75 w 259"/>
                    <a:gd name="T111" fmla="*/ 29 h 124"/>
                    <a:gd name="T112" fmla="*/ 57 w 259"/>
                    <a:gd name="T113" fmla="*/ 42 h 124"/>
                    <a:gd name="T114" fmla="*/ 38 w 259"/>
                    <a:gd name="T115" fmla="*/ 56 h 124"/>
                    <a:gd name="T116" fmla="*/ 23 w 259"/>
                    <a:gd name="T117" fmla="*/ 70 h 124"/>
                    <a:gd name="T118" fmla="*/ 9 w 259"/>
                    <a:gd name="T119" fmla="*/ 83 h 124"/>
                    <a:gd name="T120" fmla="*/ 0 w 259"/>
                    <a:gd name="T121" fmla="*/ 93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59" h="124">
                      <a:moveTo>
                        <a:pt x="0" y="93"/>
                      </a:move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4" y="103"/>
                      </a:lnTo>
                      <a:lnTo>
                        <a:pt x="6" y="106"/>
                      </a:lnTo>
                      <a:lnTo>
                        <a:pt x="14" y="111"/>
                      </a:lnTo>
                      <a:lnTo>
                        <a:pt x="23" y="115"/>
                      </a:lnTo>
                      <a:lnTo>
                        <a:pt x="31" y="120"/>
                      </a:lnTo>
                      <a:lnTo>
                        <a:pt x="41" y="122"/>
                      </a:lnTo>
                      <a:lnTo>
                        <a:pt x="51" y="124"/>
                      </a:lnTo>
                      <a:lnTo>
                        <a:pt x="60" y="124"/>
                      </a:lnTo>
                      <a:lnTo>
                        <a:pt x="68" y="124"/>
                      </a:lnTo>
                      <a:lnTo>
                        <a:pt x="75" y="123"/>
                      </a:lnTo>
                      <a:lnTo>
                        <a:pt x="81" y="122"/>
                      </a:lnTo>
                      <a:lnTo>
                        <a:pt x="87" y="120"/>
                      </a:lnTo>
                      <a:lnTo>
                        <a:pt x="97" y="114"/>
                      </a:lnTo>
                      <a:lnTo>
                        <a:pt x="106" y="108"/>
                      </a:lnTo>
                      <a:lnTo>
                        <a:pt x="115" y="103"/>
                      </a:lnTo>
                      <a:lnTo>
                        <a:pt x="125" y="98"/>
                      </a:lnTo>
                      <a:lnTo>
                        <a:pt x="130" y="96"/>
                      </a:lnTo>
                      <a:lnTo>
                        <a:pt x="137" y="94"/>
                      </a:lnTo>
                      <a:lnTo>
                        <a:pt x="145" y="93"/>
                      </a:lnTo>
                      <a:lnTo>
                        <a:pt x="152" y="93"/>
                      </a:lnTo>
                      <a:lnTo>
                        <a:pt x="162" y="94"/>
                      </a:lnTo>
                      <a:lnTo>
                        <a:pt x="171" y="96"/>
                      </a:lnTo>
                      <a:lnTo>
                        <a:pt x="180" y="99"/>
                      </a:lnTo>
                      <a:lnTo>
                        <a:pt x="188" y="103"/>
                      </a:lnTo>
                      <a:lnTo>
                        <a:pt x="204" y="111"/>
                      </a:lnTo>
                      <a:lnTo>
                        <a:pt x="219" y="117"/>
                      </a:lnTo>
                      <a:lnTo>
                        <a:pt x="259" y="117"/>
                      </a:lnTo>
                      <a:lnTo>
                        <a:pt x="259" y="99"/>
                      </a:lnTo>
                      <a:lnTo>
                        <a:pt x="252" y="98"/>
                      </a:lnTo>
                      <a:lnTo>
                        <a:pt x="244" y="96"/>
                      </a:lnTo>
                      <a:lnTo>
                        <a:pt x="236" y="94"/>
                      </a:lnTo>
                      <a:lnTo>
                        <a:pt x="226" y="93"/>
                      </a:lnTo>
                      <a:lnTo>
                        <a:pt x="230" y="85"/>
                      </a:lnTo>
                      <a:lnTo>
                        <a:pt x="236" y="79"/>
                      </a:lnTo>
                      <a:lnTo>
                        <a:pt x="240" y="74"/>
                      </a:lnTo>
                      <a:lnTo>
                        <a:pt x="246" y="69"/>
                      </a:lnTo>
                      <a:lnTo>
                        <a:pt x="238" y="61"/>
                      </a:lnTo>
                      <a:lnTo>
                        <a:pt x="230" y="56"/>
                      </a:lnTo>
                      <a:lnTo>
                        <a:pt x="222" y="50"/>
                      </a:lnTo>
                      <a:lnTo>
                        <a:pt x="214" y="46"/>
                      </a:lnTo>
                      <a:lnTo>
                        <a:pt x="197" y="37"/>
                      </a:lnTo>
                      <a:lnTo>
                        <a:pt x="182" y="30"/>
                      </a:lnTo>
                      <a:lnTo>
                        <a:pt x="166" y="23"/>
                      </a:lnTo>
                      <a:lnTo>
                        <a:pt x="153" y="17"/>
                      </a:lnTo>
                      <a:lnTo>
                        <a:pt x="147" y="13"/>
                      </a:lnTo>
                      <a:lnTo>
                        <a:pt x="141" y="10"/>
                      </a:lnTo>
                      <a:lnTo>
                        <a:pt x="137" y="5"/>
                      </a:lnTo>
                      <a:lnTo>
                        <a:pt x="132" y="0"/>
                      </a:lnTo>
                      <a:lnTo>
                        <a:pt x="124" y="3"/>
                      </a:lnTo>
                      <a:lnTo>
                        <a:pt x="114" y="7"/>
                      </a:lnTo>
                      <a:lnTo>
                        <a:pt x="105" y="12"/>
                      </a:lnTo>
                      <a:lnTo>
                        <a:pt x="95" y="17"/>
                      </a:lnTo>
                      <a:lnTo>
                        <a:pt x="75" y="29"/>
                      </a:lnTo>
                      <a:lnTo>
                        <a:pt x="57" y="42"/>
                      </a:lnTo>
                      <a:lnTo>
                        <a:pt x="38" y="56"/>
                      </a:lnTo>
                      <a:lnTo>
                        <a:pt x="23" y="70"/>
                      </a:lnTo>
                      <a:lnTo>
                        <a:pt x="9" y="83"/>
                      </a:lnTo>
                      <a:lnTo>
                        <a:pt x="0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8" name="Freeform 421"/>
                <p:cNvSpPr>
                  <a:spLocks/>
                </p:cNvSpPr>
                <p:nvPr/>
              </p:nvSpPr>
              <p:spPr bwMode="auto">
                <a:xfrm>
                  <a:off x="1509" y="1389"/>
                  <a:ext cx="38" cy="19"/>
                </a:xfrm>
                <a:custGeom>
                  <a:avLst/>
                  <a:gdLst>
                    <a:gd name="T0" fmla="*/ 0 w 119"/>
                    <a:gd name="T1" fmla="*/ 32 h 57"/>
                    <a:gd name="T2" fmla="*/ 7 w 119"/>
                    <a:gd name="T3" fmla="*/ 35 h 57"/>
                    <a:gd name="T4" fmla="*/ 14 w 119"/>
                    <a:gd name="T5" fmla="*/ 38 h 57"/>
                    <a:gd name="T6" fmla="*/ 20 w 119"/>
                    <a:gd name="T7" fmla="*/ 42 h 57"/>
                    <a:gd name="T8" fmla="*/ 26 w 119"/>
                    <a:gd name="T9" fmla="*/ 47 h 57"/>
                    <a:gd name="T10" fmla="*/ 32 w 119"/>
                    <a:gd name="T11" fmla="*/ 51 h 57"/>
                    <a:gd name="T12" fmla="*/ 36 w 119"/>
                    <a:gd name="T13" fmla="*/ 54 h 57"/>
                    <a:gd name="T14" fmla="*/ 41 w 119"/>
                    <a:gd name="T15" fmla="*/ 56 h 57"/>
                    <a:gd name="T16" fmla="*/ 47 w 119"/>
                    <a:gd name="T17" fmla="*/ 57 h 57"/>
                    <a:gd name="T18" fmla="*/ 55 w 119"/>
                    <a:gd name="T19" fmla="*/ 57 h 57"/>
                    <a:gd name="T20" fmla="*/ 62 w 119"/>
                    <a:gd name="T21" fmla="*/ 56 h 57"/>
                    <a:gd name="T22" fmla="*/ 70 w 119"/>
                    <a:gd name="T23" fmla="*/ 55 h 57"/>
                    <a:gd name="T24" fmla="*/ 77 w 119"/>
                    <a:gd name="T25" fmla="*/ 53 h 57"/>
                    <a:gd name="T26" fmla="*/ 83 w 119"/>
                    <a:gd name="T27" fmla="*/ 50 h 57"/>
                    <a:gd name="T28" fmla="*/ 89 w 119"/>
                    <a:gd name="T29" fmla="*/ 48 h 57"/>
                    <a:gd name="T30" fmla="*/ 93 w 119"/>
                    <a:gd name="T31" fmla="*/ 44 h 57"/>
                    <a:gd name="T32" fmla="*/ 97 w 119"/>
                    <a:gd name="T33" fmla="*/ 40 h 57"/>
                    <a:gd name="T34" fmla="*/ 106 w 119"/>
                    <a:gd name="T35" fmla="*/ 32 h 57"/>
                    <a:gd name="T36" fmla="*/ 112 w 119"/>
                    <a:gd name="T37" fmla="*/ 23 h 57"/>
                    <a:gd name="T38" fmla="*/ 116 w 119"/>
                    <a:gd name="T39" fmla="*/ 13 h 57"/>
                    <a:gd name="T40" fmla="*/ 119 w 119"/>
                    <a:gd name="T41" fmla="*/ 1 h 57"/>
                    <a:gd name="T42" fmla="*/ 101 w 119"/>
                    <a:gd name="T43" fmla="*/ 0 h 57"/>
                    <a:gd name="T44" fmla="*/ 82 w 119"/>
                    <a:gd name="T45" fmla="*/ 0 h 57"/>
                    <a:gd name="T46" fmla="*/ 63 w 119"/>
                    <a:gd name="T47" fmla="*/ 2 h 57"/>
                    <a:gd name="T48" fmla="*/ 45 w 119"/>
                    <a:gd name="T49" fmla="*/ 5 h 57"/>
                    <a:gd name="T50" fmla="*/ 36 w 119"/>
                    <a:gd name="T51" fmla="*/ 7 h 57"/>
                    <a:gd name="T52" fmla="*/ 28 w 119"/>
                    <a:gd name="T53" fmla="*/ 10 h 57"/>
                    <a:gd name="T54" fmla="*/ 22 w 119"/>
                    <a:gd name="T55" fmla="*/ 13 h 57"/>
                    <a:gd name="T56" fmla="*/ 15 w 119"/>
                    <a:gd name="T57" fmla="*/ 16 h 57"/>
                    <a:gd name="T58" fmla="*/ 10 w 119"/>
                    <a:gd name="T59" fmla="*/ 19 h 57"/>
                    <a:gd name="T60" fmla="*/ 5 w 119"/>
                    <a:gd name="T61" fmla="*/ 23 h 57"/>
                    <a:gd name="T62" fmla="*/ 2 w 119"/>
                    <a:gd name="T63" fmla="*/ 27 h 57"/>
                    <a:gd name="T64" fmla="*/ 0 w 119"/>
                    <a:gd name="T65" fmla="*/ 32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9" h="57">
                      <a:moveTo>
                        <a:pt x="0" y="32"/>
                      </a:moveTo>
                      <a:lnTo>
                        <a:pt x="7" y="35"/>
                      </a:ln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6" y="47"/>
                      </a:lnTo>
                      <a:lnTo>
                        <a:pt x="32" y="51"/>
                      </a:lnTo>
                      <a:lnTo>
                        <a:pt x="36" y="54"/>
                      </a:lnTo>
                      <a:lnTo>
                        <a:pt x="41" y="56"/>
                      </a:lnTo>
                      <a:lnTo>
                        <a:pt x="47" y="57"/>
                      </a:lnTo>
                      <a:lnTo>
                        <a:pt x="55" y="57"/>
                      </a:lnTo>
                      <a:lnTo>
                        <a:pt x="62" y="56"/>
                      </a:lnTo>
                      <a:lnTo>
                        <a:pt x="70" y="55"/>
                      </a:lnTo>
                      <a:lnTo>
                        <a:pt x="77" y="53"/>
                      </a:lnTo>
                      <a:lnTo>
                        <a:pt x="83" y="50"/>
                      </a:lnTo>
                      <a:lnTo>
                        <a:pt x="89" y="48"/>
                      </a:lnTo>
                      <a:lnTo>
                        <a:pt x="93" y="44"/>
                      </a:lnTo>
                      <a:lnTo>
                        <a:pt x="97" y="40"/>
                      </a:lnTo>
                      <a:lnTo>
                        <a:pt x="106" y="32"/>
                      </a:lnTo>
                      <a:lnTo>
                        <a:pt x="112" y="23"/>
                      </a:lnTo>
                      <a:lnTo>
                        <a:pt x="116" y="13"/>
                      </a:lnTo>
                      <a:lnTo>
                        <a:pt x="119" y="1"/>
                      </a:lnTo>
                      <a:lnTo>
                        <a:pt x="101" y="0"/>
                      </a:lnTo>
                      <a:lnTo>
                        <a:pt x="82" y="0"/>
                      </a:lnTo>
                      <a:lnTo>
                        <a:pt x="63" y="2"/>
                      </a:lnTo>
                      <a:lnTo>
                        <a:pt x="45" y="5"/>
                      </a:lnTo>
                      <a:lnTo>
                        <a:pt x="36" y="7"/>
                      </a:lnTo>
                      <a:lnTo>
                        <a:pt x="28" y="10"/>
                      </a:lnTo>
                      <a:lnTo>
                        <a:pt x="22" y="13"/>
                      </a:lnTo>
                      <a:lnTo>
                        <a:pt x="15" y="16"/>
                      </a:lnTo>
                      <a:lnTo>
                        <a:pt x="10" y="19"/>
                      </a:lnTo>
                      <a:lnTo>
                        <a:pt x="5" y="23"/>
                      </a:lnTo>
                      <a:lnTo>
                        <a:pt x="2" y="27"/>
                      </a:lnTo>
                      <a:lnTo>
                        <a:pt x="0" y="3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9" name="Freeform 422"/>
                <p:cNvSpPr>
                  <a:spLocks/>
                </p:cNvSpPr>
                <p:nvPr/>
              </p:nvSpPr>
              <p:spPr bwMode="auto">
                <a:xfrm>
                  <a:off x="1554" y="1335"/>
                  <a:ext cx="34" cy="17"/>
                </a:xfrm>
                <a:custGeom>
                  <a:avLst/>
                  <a:gdLst>
                    <a:gd name="T0" fmla="*/ 0 w 107"/>
                    <a:gd name="T1" fmla="*/ 50 h 52"/>
                    <a:gd name="T2" fmla="*/ 6 w 107"/>
                    <a:gd name="T3" fmla="*/ 51 h 52"/>
                    <a:gd name="T4" fmla="*/ 9 w 107"/>
                    <a:gd name="T5" fmla="*/ 52 h 52"/>
                    <a:gd name="T6" fmla="*/ 13 w 107"/>
                    <a:gd name="T7" fmla="*/ 52 h 52"/>
                    <a:gd name="T8" fmla="*/ 17 w 107"/>
                    <a:gd name="T9" fmla="*/ 52 h 52"/>
                    <a:gd name="T10" fmla="*/ 24 w 107"/>
                    <a:gd name="T11" fmla="*/ 50 h 52"/>
                    <a:gd name="T12" fmla="*/ 34 w 107"/>
                    <a:gd name="T13" fmla="*/ 50 h 52"/>
                    <a:gd name="T14" fmla="*/ 43 w 107"/>
                    <a:gd name="T15" fmla="*/ 49 h 52"/>
                    <a:gd name="T16" fmla="*/ 53 w 107"/>
                    <a:gd name="T17" fmla="*/ 48 h 52"/>
                    <a:gd name="T18" fmla="*/ 62 w 107"/>
                    <a:gd name="T19" fmla="*/ 47 h 52"/>
                    <a:gd name="T20" fmla="*/ 70 w 107"/>
                    <a:gd name="T21" fmla="*/ 43 h 52"/>
                    <a:gd name="T22" fmla="*/ 79 w 107"/>
                    <a:gd name="T23" fmla="*/ 40 h 52"/>
                    <a:gd name="T24" fmla="*/ 88 w 107"/>
                    <a:gd name="T25" fmla="*/ 36 h 52"/>
                    <a:gd name="T26" fmla="*/ 97 w 107"/>
                    <a:gd name="T27" fmla="*/ 31 h 52"/>
                    <a:gd name="T28" fmla="*/ 107 w 107"/>
                    <a:gd name="T29" fmla="*/ 24 h 52"/>
                    <a:gd name="T30" fmla="*/ 107 w 107"/>
                    <a:gd name="T31" fmla="*/ 0 h 52"/>
                    <a:gd name="T32" fmla="*/ 98 w 107"/>
                    <a:gd name="T33" fmla="*/ 1 h 52"/>
                    <a:gd name="T34" fmla="*/ 86 w 107"/>
                    <a:gd name="T35" fmla="*/ 3 h 52"/>
                    <a:gd name="T36" fmla="*/ 72 w 107"/>
                    <a:gd name="T37" fmla="*/ 7 h 52"/>
                    <a:gd name="T38" fmla="*/ 56 w 107"/>
                    <a:gd name="T39" fmla="*/ 13 h 52"/>
                    <a:gd name="T40" fmla="*/ 41 w 107"/>
                    <a:gd name="T41" fmla="*/ 20 h 52"/>
                    <a:gd name="T42" fmla="*/ 25 w 107"/>
                    <a:gd name="T43" fmla="*/ 28 h 52"/>
                    <a:gd name="T44" fmla="*/ 19 w 107"/>
                    <a:gd name="T45" fmla="*/ 33 h 52"/>
                    <a:gd name="T46" fmla="*/ 12 w 107"/>
                    <a:gd name="T47" fmla="*/ 38 h 52"/>
                    <a:gd name="T48" fmla="*/ 6 w 107"/>
                    <a:gd name="T49" fmla="*/ 43 h 52"/>
                    <a:gd name="T50" fmla="*/ 0 w 107"/>
                    <a:gd name="T51" fmla="*/ 5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7" h="52">
                      <a:moveTo>
                        <a:pt x="0" y="50"/>
                      </a:moveTo>
                      <a:lnTo>
                        <a:pt x="6" y="51"/>
                      </a:lnTo>
                      <a:lnTo>
                        <a:pt x="9" y="52"/>
                      </a:lnTo>
                      <a:lnTo>
                        <a:pt x="13" y="52"/>
                      </a:lnTo>
                      <a:lnTo>
                        <a:pt x="17" y="52"/>
                      </a:lnTo>
                      <a:lnTo>
                        <a:pt x="24" y="50"/>
                      </a:lnTo>
                      <a:lnTo>
                        <a:pt x="34" y="50"/>
                      </a:lnTo>
                      <a:lnTo>
                        <a:pt x="43" y="49"/>
                      </a:lnTo>
                      <a:lnTo>
                        <a:pt x="53" y="48"/>
                      </a:lnTo>
                      <a:lnTo>
                        <a:pt x="62" y="47"/>
                      </a:lnTo>
                      <a:lnTo>
                        <a:pt x="70" y="43"/>
                      </a:lnTo>
                      <a:lnTo>
                        <a:pt x="79" y="40"/>
                      </a:lnTo>
                      <a:lnTo>
                        <a:pt x="88" y="36"/>
                      </a:lnTo>
                      <a:lnTo>
                        <a:pt x="97" y="31"/>
                      </a:lnTo>
                      <a:lnTo>
                        <a:pt x="107" y="24"/>
                      </a:lnTo>
                      <a:lnTo>
                        <a:pt x="107" y="0"/>
                      </a:lnTo>
                      <a:lnTo>
                        <a:pt x="98" y="1"/>
                      </a:lnTo>
                      <a:lnTo>
                        <a:pt x="86" y="3"/>
                      </a:lnTo>
                      <a:lnTo>
                        <a:pt x="72" y="7"/>
                      </a:lnTo>
                      <a:lnTo>
                        <a:pt x="56" y="13"/>
                      </a:lnTo>
                      <a:lnTo>
                        <a:pt x="41" y="20"/>
                      </a:lnTo>
                      <a:lnTo>
                        <a:pt x="25" y="28"/>
                      </a:lnTo>
                      <a:lnTo>
                        <a:pt x="19" y="33"/>
                      </a:lnTo>
                      <a:lnTo>
                        <a:pt x="12" y="38"/>
                      </a:lnTo>
                      <a:lnTo>
                        <a:pt x="6" y="43"/>
                      </a:lnTo>
                      <a:lnTo>
                        <a:pt x="0" y="5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0" name="Freeform 423"/>
                <p:cNvSpPr>
                  <a:spLocks/>
                </p:cNvSpPr>
                <p:nvPr/>
              </p:nvSpPr>
              <p:spPr bwMode="auto">
                <a:xfrm>
                  <a:off x="1381" y="1244"/>
                  <a:ext cx="79" cy="32"/>
                </a:xfrm>
                <a:custGeom>
                  <a:avLst/>
                  <a:gdLst>
                    <a:gd name="T0" fmla="*/ 27 w 246"/>
                    <a:gd name="T1" fmla="*/ 99 h 99"/>
                    <a:gd name="T2" fmla="*/ 22 w 246"/>
                    <a:gd name="T3" fmla="*/ 97 h 99"/>
                    <a:gd name="T4" fmla="*/ 17 w 246"/>
                    <a:gd name="T5" fmla="*/ 96 h 99"/>
                    <a:gd name="T6" fmla="*/ 12 w 246"/>
                    <a:gd name="T7" fmla="*/ 93 h 99"/>
                    <a:gd name="T8" fmla="*/ 9 w 246"/>
                    <a:gd name="T9" fmla="*/ 90 h 99"/>
                    <a:gd name="T10" fmla="*/ 6 w 246"/>
                    <a:gd name="T11" fmla="*/ 86 h 99"/>
                    <a:gd name="T12" fmla="*/ 2 w 246"/>
                    <a:gd name="T13" fmla="*/ 82 h 99"/>
                    <a:gd name="T14" fmla="*/ 1 w 246"/>
                    <a:gd name="T15" fmla="*/ 78 h 99"/>
                    <a:gd name="T16" fmla="*/ 0 w 246"/>
                    <a:gd name="T17" fmla="*/ 73 h 99"/>
                    <a:gd name="T18" fmla="*/ 0 w 246"/>
                    <a:gd name="T19" fmla="*/ 69 h 99"/>
                    <a:gd name="T20" fmla="*/ 1 w 246"/>
                    <a:gd name="T21" fmla="*/ 65 h 99"/>
                    <a:gd name="T22" fmla="*/ 3 w 246"/>
                    <a:gd name="T23" fmla="*/ 60 h 99"/>
                    <a:gd name="T24" fmla="*/ 5 w 246"/>
                    <a:gd name="T25" fmla="*/ 56 h 99"/>
                    <a:gd name="T26" fmla="*/ 10 w 246"/>
                    <a:gd name="T27" fmla="*/ 49 h 99"/>
                    <a:gd name="T28" fmla="*/ 18 w 246"/>
                    <a:gd name="T29" fmla="*/ 41 h 99"/>
                    <a:gd name="T30" fmla="*/ 25 w 246"/>
                    <a:gd name="T31" fmla="*/ 34 h 99"/>
                    <a:gd name="T32" fmla="*/ 35 w 246"/>
                    <a:gd name="T33" fmla="*/ 28 h 99"/>
                    <a:gd name="T34" fmla="*/ 46 w 246"/>
                    <a:gd name="T35" fmla="*/ 23 h 99"/>
                    <a:gd name="T36" fmla="*/ 57 w 246"/>
                    <a:gd name="T37" fmla="*/ 18 h 99"/>
                    <a:gd name="T38" fmla="*/ 69 w 246"/>
                    <a:gd name="T39" fmla="*/ 14 h 99"/>
                    <a:gd name="T40" fmla="*/ 81 w 246"/>
                    <a:gd name="T41" fmla="*/ 10 h 99"/>
                    <a:gd name="T42" fmla="*/ 92 w 246"/>
                    <a:gd name="T43" fmla="*/ 7 h 99"/>
                    <a:gd name="T44" fmla="*/ 104 w 246"/>
                    <a:gd name="T45" fmla="*/ 4 h 99"/>
                    <a:gd name="T46" fmla="*/ 124 w 246"/>
                    <a:gd name="T47" fmla="*/ 1 h 99"/>
                    <a:gd name="T48" fmla="*/ 140 w 246"/>
                    <a:gd name="T49" fmla="*/ 0 h 99"/>
                    <a:gd name="T50" fmla="*/ 168 w 246"/>
                    <a:gd name="T51" fmla="*/ 0 h 99"/>
                    <a:gd name="T52" fmla="*/ 193 w 246"/>
                    <a:gd name="T53" fmla="*/ 1 h 99"/>
                    <a:gd name="T54" fmla="*/ 219 w 246"/>
                    <a:gd name="T55" fmla="*/ 2 h 99"/>
                    <a:gd name="T56" fmla="*/ 246 w 246"/>
                    <a:gd name="T57" fmla="*/ 6 h 99"/>
                    <a:gd name="T58" fmla="*/ 244 w 246"/>
                    <a:gd name="T59" fmla="*/ 11 h 99"/>
                    <a:gd name="T60" fmla="*/ 241 w 246"/>
                    <a:gd name="T61" fmla="*/ 15 h 99"/>
                    <a:gd name="T62" fmla="*/ 236 w 246"/>
                    <a:gd name="T63" fmla="*/ 20 h 99"/>
                    <a:gd name="T64" fmla="*/ 231 w 246"/>
                    <a:gd name="T65" fmla="*/ 26 h 99"/>
                    <a:gd name="T66" fmla="*/ 215 w 246"/>
                    <a:gd name="T67" fmla="*/ 36 h 99"/>
                    <a:gd name="T68" fmla="*/ 199 w 246"/>
                    <a:gd name="T69" fmla="*/ 46 h 99"/>
                    <a:gd name="T70" fmla="*/ 180 w 246"/>
                    <a:gd name="T71" fmla="*/ 55 h 99"/>
                    <a:gd name="T72" fmla="*/ 162 w 246"/>
                    <a:gd name="T73" fmla="*/ 61 h 99"/>
                    <a:gd name="T74" fmla="*/ 152 w 246"/>
                    <a:gd name="T75" fmla="*/ 64 h 99"/>
                    <a:gd name="T76" fmla="*/ 143 w 246"/>
                    <a:gd name="T77" fmla="*/ 66 h 99"/>
                    <a:gd name="T78" fmla="*/ 134 w 246"/>
                    <a:gd name="T79" fmla="*/ 67 h 99"/>
                    <a:gd name="T80" fmla="*/ 126 w 246"/>
                    <a:gd name="T81" fmla="*/ 67 h 99"/>
                    <a:gd name="T82" fmla="*/ 120 w 246"/>
                    <a:gd name="T83" fmla="*/ 67 h 99"/>
                    <a:gd name="T84" fmla="*/ 110 w 246"/>
                    <a:gd name="T85" fmla="*/ 67 h 99"/>
                    <a:gd name="T86" fmla="*/ 100 w 246"/>
                    <a:gd name="T87" fmla="*/ 67 h 99"/>
                    <a:gd name="T88" fmla="*/ 93 w 246"/>
                    <a:gd name="T89" fmla="*/ 67 h 99"/>
                    <a:gd name="T90" fmla="*/ 88 w 246"/>
                    <a:gd name="T91" fmla="*/ 69 h 99"/>
                    <a:gd name="T92" fmla="*/ 80 w 246"/>
                    <a:gd name="T93" fmla="*/ 72 h 99"/>
                    <a:gd name="T94" fmla="*/ 72 w 246"/>
                    <a:gd name="T95" fmla="*/ 77 h 99"/>
                    <a:gd name="T96" fmla="*/ 63 w 246"/>
                    <a:gd name="T97" fmla="*/ 83 h 99"/>
                    <a:gd name="T98" fmla="*/ 53 w 246"/>
                    <a:gd name="T99" fmla="*/ 88 h 99"/>
                    <a:gd name="T100" fmla="*/ 44 w 246"/>
                    <a:gd name="T101" fmla="*/ 93 h 99"/>
                    <a:gd name="T102" fmla="*/ 35 w 246"/>
                    <a:gd name="T103" fmla="*/ 96 h 99"/>
                    <a:gd name="T104" fmla="*/ 27 w 246"/>
                    <a:gd name="T105" fmla="*/ 99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6" h="99">
                      <a:moveTo>
                        <a:pt x="27" y="99"/>
                      </a:moveTo>
                      <a:lnTo>
                        <a:pt x="22" y="97"/>
                      </a:lnTo>
                      <a:lnTo>
                        <a:pt x="17" y="96"/>
                      </a:lnTo>
                      <a:lnTo>
                        <a:pt x="12" y="93"/>
                      </a:lnTo>
                      <a:lnTo>
                        <a:pt x="9" y="90"/>
                      </a:lnTo>
                      <a:lnTo>
                        <a:pt x="6" y="86"/>
                      </a:lnTo>
                      <a:lnTo>
                        <a:pt x="2" y="82"/>
                      </a:lnTo>
                      <a:lnTo>
                        <a:pt x="1" y="78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1" y="65"/>
                      </a:lnTo>
                      <a:lnTo>
                        <a:pt x="3" y="60"/>
                      </a:lnTo>
                      <a:lnTo>
                        <a:pt x="5" y="56"/>
                      </a:lnTo>
                      <a:lnTo>
                        <a:pt x="10" y="49"/>
                      </a:lnTo>
                      <a:lnTo>
                        <a:pt x="18" y="41"/>
                      </a:lnTo>
                      <a:lnTo>
                        <a:pt x="25" y="34"/>
                      </a:lnTo>
                      <a:lnTo>
                        <a:pt x="35" y="28"/>
                      </a:lnTo>
                      <a:lnTo>
                        <a:pt x="46" y="23"/>
                      </a:lnTo>
                      <a:lnTo>
                        <a:pt x="57" y="18"/>
                      </a:lnTo>
                      <a:lnTo>
                        <a:pt x="69" y="14"/>
                      </a:lnTo>
                      <a:lnTo>
                        <a:pt x="81" y="10"/>
                      </a:lnTo>
                      <a:lnTo>
                        <a:pt x="92" y="7"/>
                      </a:lnTo>
                      <a:lnTo>
                        <a:pt x="104" y="4"/>
                      </a:lnTo>
                      <a:lnTo>
                        <a:pt x="124" y="1"/>
                      </a:lnTo>
                      <a:lnTo>
                        <a:pt x="140" y="0"/>
                      </a:lnTo>
                      <a:lnTo>
                        <a:pt x="168" y="0"/>
                      </a:lnTo>
                      <a:lnTo>
                        <a:pt x="193" y="1"/>
                      </a:lnTo>
                      <a:lnTo>
                        <a:pt x="219" y="2"/>
                      </a:lnTo>
                      <a:lnTo>
                        <a:pt x="246" y="6"/>
                      </a:lnTo>
                      <a:lnTo>
                        <a:pt x="244" y="11"/>
                      </a:lnTo>
                      <a:lnTo>
                        <a:pt x="241" y="15"/>
                      </a:lnTo>
                      <a:lnTo>
                        <a:pt x="236" y="20"/>
                      </a:lnTo>
                      <a:lnTo>
                        <a:pt x="231" y="26"/>
                      </a:lnTo>
                      <a:lnTo>
                        <a:pt x="215" y="36"/>
                      </a:lnTo>
                      <a:lnTo>
                        <a:pt x="199" y="46"/>
                      </a:lnTo>
                      <a:lnTo>
                        <a:pt x="180" y="55"/>
                      </a:lnTo>
                      <a:lnTo>
                        <a:pt x="162" y="61"/>
                      </a:lnTo>
                      <a:lnTo>
                        <a:pt x="152" y="64"/>
                      </a:lnTo>
                      <a:lnTo>
                        <a:pt x="143" y="66"/>
                      </a:lnTo>
                      <a:lnTo>
                        <a:pt x="134" y="67"/>
                      </a:lnTo>
                      <a:lnTo>
                        <a:pt x="126" y="67"/>
                      </a:lnTo>
                      <a:lnTo>
                        <a:pt x="120" y="67"/>
                      </a:lnTo>
                      <a:lnTo>
                        <a:pt x="110" y="67"/>
                      </a:lnTo>
                      <a:lnTo>
                        <a:pt x="100" y="67"/>
                      </a:lnTo>
                      <a:lnTo>
                        <a:pt x="93" y="67"/>
                      </a:lnTo>
                      <a:lnTo>
                        <a:pt x="88" y="69"/>
                      </a:lnTo>
                      <a:lnTo>
                        <a:pt x="80" y="72"/>
                      </a:lnTo>
                      <a:lnTo>
                        <a:pt x="72" y="77"/>
                      </a:lnTo>
                      <a:lnTo>
                        <a:pt x="63" y="83"/>
                      </a:lnTo>
                      <a:lnTo>
                        <a:pt x="53" y="88"/>
                      </a:lnTo>
                      <a:lnTo>
                        <a:pt x="44" y="93"/>
                      </a:lnTo>
                      <a:lnTo>
                        <a:pt x="35" y="96"/>
                      </a:lnTo>
                      <a:lnTo>
                        <a:pt x="27" y="9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1" name="Freeform 424"/>
                <p:cNvSpPr>
                  <a:spLocks/>
                </p:cNvSpPr>
                <p:nvPr/>
              </p:nvSpPr>
              <p:spPr bwMode="auto">
                <a:xfrm>
                  <a:off x="1294" y="1248"/>
                  <a:ext cx="76" cy="40"/>
                </a:xfrm>
                <a:custGeom>
                  <a:avLst/>
                  <a:gdLst>
                    <a:gd name="T0" fmla="*/ 33 w 233"/>
                    <a:gd name="T1" fmla="*/ 88 h 123"/>
                    <a:gd name="T2" fmla="*/ 10 w 233"/>
                    <a:gd name="T3" fmla="*/ 78 h 123"/>
                    <a:gd name="T4" fmla="*/ 0 w 233"/>
                    <a:gd name="T5" fmla="*/ 55 h 123"/>
                    <a:gd name="T6" fmla="*/ 20 w 233"/>
                    <a:gd name="T7" fmla="*/ 37 h 123"/>
                    <a:gd name="T8" fmla="*/ 40 w 233"/>
                    <a:gd name="T9" fmla="*/ 37 h 123"/>
                    <a:gd name="T10" fmla="*/ 61 w 233"/>
                    <a:gd name="T11" fmla="*/ 37 h 123"/>
                    <a:gd name="T12" fmla="*/ 72 w 233"/>
                    <a:gd name="T13" fmla="*/ 36 h 123"/>
                    <a:gd name="T14" fmla="*/ 83 w 233"/>
                    <a:gd name="T15" fmla="*/ 33 h 123"/>
                    <a:gd name="T16" fmla="*/ 104 w 233"/>
                    <a:gd name="T17" fmla="*/ 23 h 123"/>
                    <a:gd name="T18" fmla="*/ 123 w 233"/>
                    <a:gd name="T19" fmla="*/ 11 h 123"/>
                    <a:gd name="T20" fmla="*/ 146 w 233"/>
                    <a:gd name="T21" fmla="*/ 0 h 123"/>
                    <a:gd name="T22" fmla="*/ 161 w 233"/>
                    <a:gd name="T23" fmla="*/ 8 h 123"/>
                    <a:gd name="T24" fmla="*/ 181 w 233"/>
                    <a:gd name="T25" fmla="*/ 12 h 123"/>
                    <a:gd name="T26" fmla="*/ 190 w 233"/>
                    <a:gd name="T27" fmla="*/ 10 h 123"/>
                    <a:gd name="T28" fmla="*/ 201 w 233"/>
                    <a:gd name="T29" fmla="*/ 6 h 123"/>
                    <a:gd name="T30" fmla="*/ 213 w 233"/>
                    <a:gd name="T31" fmla="*/ 0 h 123"/>
                    <a:gd name="T32" fmla="*/ 232 w 233"/>
                    <a:gd name="T33" fmla="*/ 6 h 123"/>
                    <a:gd name="T34" fmla="*/ 228 w 233"/>
                    <a:gd name="T35" fmla="*/ 18 h 123"/>
                    <a:gd name="T36" fmla="*/ 219 w 233"/>
                    <a:gd name="T37" fmla="*/ 25 h 123"/>
                    <a:gd name="T38" fmla="*/ 207 w 233"/>
                    <a:gd name="T39" fmla="*/ 30 h 123"/>
                    <a:gd name="T40" fmla="*/ 201 w 233"/>
                    <a:gd name="T41" fmla="*/ 43 h 123"/>
                    <a:gd name="T42" fmla="*/ 206 w 233"/>
                    <a:gd name="T43" fmla="*/ 62 h 123"/>
                    <a:gd name="T44" fmla="*/ 185 w 233"/>
                    <a:gd name="T45" fmla="*/ 85 h 123"/>
                    <a:gd name="T46" fmla="*/ 157 w 233"/>
                    <a:gd name="T47" fmla="*/ 96 h 123"/>
                    <a:gd name="T48" fmla="*/ 139 w 233"/>
                    <a:gd name="T49" fmla="*/ 98 h 123"/>
                    <a:gd name="T50" fmla="*/ 116 w 233"/>
                    <a:gd name="T51" fmla="*/ 100 h 123"/>
                    <a:gd name="T52" fmla="*/ 96 w 233"/>
                    <a:gd name="T53" fmla="*/ 106 h 123"/>
                    <a:gd name="T54" fmla="*/ 82 w 233"/>
                    <a:gd name="T55" fmla="*/ 115 h 123"/>
                    <a:gd name="T56" fmla="*/ 67 w 233"/>
                    <a:gd name="T57" fmla="*/ 122 h 123"/>
                    <a:gd name="T58" fmla="*/ 58 w 233"/>
                    <a:gd name="T59" fmla="*/ 122 h 123"/>
                    <a:gd name="T60" fmla="*/ 53 w 233"/>
                    <a:gd name="T61" fmla="*/ 115 h 123"/>
                    <a:gd name="T62" fmla="*/ 48 w 233"/>
                    <a:gd name="T63" fmla="*/ 10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33" h="123">
                      <a:moveTo>
                        <a:pt x="47" y="93"/>
                      </a:moveTo>
                      <a:lnTo>
                        <a:pt x="33" y="88"/>
                      </a:lnTo>
                      <a:lnTo>
                        <a:pt x="21" y="83"/>
                      </a:lnTo>
                      <a:lnTo>
                        <a:pt x="10" y="78"/>
                      </a:lnTo>
                      <a:lnTo>
                        <a:pt x="0" y="74"/>
                      </a:lnTo>
                      <a:lnTo>
                        <a:pt x="0" y="55"/>
                      </a:lnTo>
                      <a:lnTo>
                        <a:pt x="10" y="46"/>
                      </a:lnTo>
                      <a:lnTo>
                        <a:pt x="20" y="37"/>
                      </a:lnTo>
                      <a:lnTo>
                        <a:pt x="30" y="37"/>
                      </a:lnTo>
                      <a:lnTo>
                        <a:pt x="40" y="37"/>
                      </a:lnTo>
                      <a:lnTo>
                        <a:pt x="51" y="37"/>
                      </a:lnTo>
                      <a:lnTo>
                        <a:pt x="61" y="37"/>
                      </a:lnTo>
                      <a:lnTo>
                        <a:pt x="66" y="37"/>
                      </a:lnTo>
                      <a:lnTo>
                        <a:pt x="72" y="36"/>
                      </a:lnTo>
                      <a:lnTo>
                        <a:pt x="77" y="35"/>
                      </a:lnTo>
                      <a:lnTo>
                        <a:pt x="83" y="33"/>
                      </a:lnTo>
                      <a:lnTo>
                        <a:pt x="94" y="28"/>
                      </a:lnTo>
                      <a:lnTo>
                        <a:pt x="104" y="23"/>
                      </a:lnTo>
                      <a:lnTo>
                        <a:pt x="114" y="17"/>
                      </a:lnTo>
                      <a:lnTo>
                        <a:pt x="123" y="11"/>
                      </a:lnTo>
                      <a:lnTo>
                        <a:pt x="134" y="5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61" y="8"/>
                      </a:lnTo>
                      <a:lnTo>
                        <a:pt x="171" y="11"/>
                      </a:lnTo>
                      <a:lnTo>
                        <a:pt x="181" y="12"/>
                      </a:lnTo>
                      <a:lnTo>
                        <a:pt x="185" y="12"/>
                      </a:lnTo>
                      <a:lnTo>
                        <a:pt x="190" y="10"/>
                      </a:lnTo>
                      <a:lnTo>
                        <a:pt x="196" y="8"/>
                      </a:lnTo>
                      <a:lnTo>
                        <a:pt x="201" y="6"/>
                      </a:lnTo>
                      <a:lnTo>
                        <a:pt x="210" y="2"/>
                      </a:lnTo>
                      <a:lnTo>
                        <a:pt x="213" y="0"/>
                      </a:lnTo>
                      <a:lnTo>
                        <a:pt x="233" y="0"/>
                      </a:lnTo>
                      <a:lnTo>
                        <a:pt x="232" y="6"/>
                      </a:lnTo>
                      <a:lnTo>
                        <a:pt x="231" y="12"/>
                      </a:lnTo>
                      <a:lnTo>
                        <a:pt x="228" y="18"/>
                      </a:lnTo>
                      <a:lnTo>
                        <a:pt x="224" y="22"/>
                      </a:lnTo>
                      <a:lnTo>
                        <a:pt x="219" y="25"/>
                      </a:lnTo>
                      <a:lnTo>
                        <a:pt x="213" y="28"/>
                      </a:lnTo>
                      <a:lnTo>
                        <a:pt x="207" y="30"/>
                      </a:lnTo>
                      <a:lnTo>
                        <a:pt x="200" y="30"/>
                      </a:lnTo>
                      <a:lnTo>
                        <a:pt x="201" y="43"/>
                      </a:lnTo>
                      <a:lnTo>
                        <a:pt x="204" y="52"/>
                      </a:lnTo>
                      <a:lnTo>
                        <a:pt x="206" y="62"/>
                      </a:lnTo>
                      <a:lnTo>
                        <a:pt x="207" y="74"/>
                      </a:lnTo>
                      <a:lnTo>
                        <a:pt x="185" y="85"/>
                      </a:lnTo>
                      <a:lnTo>
                        <a:pt x="166" y="93"/>
                      </a:lnTo>
                      <a:lnTo>
                        <a:pt x="157" y="96"/>
                      </a:lnTo>
                      <a:lnTo>
                        <a:pt x="149" y="98"/>
                      </a:lnTo>
                      <a:lnTo>
                        <a:pt x="139" y="98"/>
                      </a:lnTo>
                      <a:lnTo>
                        <a:pt x="127" y="99"/>
                      </a:lnTo>
                      <a:lnTo>
                        <a:pt x="116" y="100"/>
                      </a:lnTo>
                      <a:lnTo>
                        <a:pt x="105" y="103"/>
                      </a:lnTo>
                      <a:lnTo>
                        <a:pt x="96" y="106"/>
                      </a:lnTo>
                      <a:lnTo>
                        <a:pt x="88" y="111"/>
                      </a:lnTo>
                      <a:lnTo>
                        <a:pt x="82" y="115"/>
                      </a:lnTo>
                      <a:lnTo>
                        <a:pt x="74" y="119"/>
                      </a:lnTo>
                      <a:lnTo>
                        <a:pt x="67" y="122"/>
                      </a:lnTo>
                      <a:lnTo>
                        <a:pt x="61" y="123"/>
                      </a:lnTo>
                      <a:lnTo>
                        <a:pt x="58" y="122"/>
                      </a:lnTo>
                      <a:lnTo>
                        <a:pt x="55" y="119"/>
                      </a:lnTo>
                      <a:lnTo>
                        <a:pt x="53" y="115"/>
                      </a:lnTo>
                      <a:lnTo>
                        <a:pt x="51" y="110"/>
                      </a:lnTo>
                      <a:lnTo>
                        <a:pt x="48" y="100"/>
                      </a:lnTo>
                      <a:lnTo>
                        <a:pt x="47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2" name="Freeform 425"/>
                <p:cNvSpPr>
                  <a:spLocks/>
                </p:cNvSpPr>
                <p:nvPr/>
              </p:nvSpPr>
              <p:spPr bwMode="auto">
                <a:xfrm>
                  <a:off x="983" y="1236"/>
                  <a:ext cx="157" cy="56"/>
                </a:xfrm>
                <a:custGeom>
                  <a:avLst/>
                  <a:gdLst>
                    <a:gd name="T0" fmla="*/ 0 w 484"/>
                    <a:gd name="T1" fmla="*/ 147 h 172"/>
                    <a:gd name="T2" fmla="*/ 3 w 484"/>
                    <a:gd name="T3" fmla="*/ 156 h 172"/>
                    <a:gd name="T4" fmla="*/ 9 w 484"/>
                    <a:gd name="T5" fmla="*/ 162 h 172"/>
                    <a:gd name="T6" fmla="*/ 17 w 484"/>
                    <a:gd name="T7" fmla="*/ 167 h 172"/>
                    <a:gd name="T8" fmla="*/ 31 w 484"/>
                    <a:gd name="T9" fmla="*/ 170 h 172"/>
                    <a:gd name="T10" fmla="*/ 51 w 484"/>
                    <a:gd name="T11" fmla="*/ 172 h 172"/>
                    <a:gd name="T12" fmla="*/ 73 w 484"/>
                    <a:gd name="T13" fmla="*/ 172 h 172"/>
                    <a:gd name="T14" fmla="*/ 99 w 484"/>
                    <a:gd name="T15" fmla="*/ 167 h 172"/>
                    <a:gd name="T16" fmla="*/ 139 w 484"/>
                    <a:gd name="T17" fmla="*/ 156 h 172"/>
                    <a:gd name="T18" fmla="*/ 189 w 484"/>
                    <a:gd name="T19" fmla="*/ 135 h 172"/>
                    <a:gd name="T20" fmla="*/ 240 w 484"/>
                    <a:gd name="T21" fmla="*/ 113 h 172"/>
                    <a:gd name="T22" fmla="*/ 287 w 484"/>
                    <a:gd name="T23" fmla="*/ 100 h 172"/>
                    <a:gd name="T24" fmla="*/ 350 w 484"/>
                    <a:gd name="T25" fmla="*/ 87 h 172"/>
                    <a:gd name="T26" fmla="*/ 401 w 484"/>
                    <a:gd name="T27" fmla="*/ 75 h 172"/>
                    <a:gd name="T28" fmla="*/ 434 w 484"/>
                    <a:gd name="T29" fmla="*/ 64 h 172"/>
                    <a:gd name="T30" fmla="*/ 461 w 484"/>
                    <a:gd name="T31" fmla="*/ 52 h 172"/>
                    <a:gd name="T32" fmla="*/ 475 w 484"/>
                    <a:gd name="T33" fmla="*/ 42 h 172"/>
                    <a:gd name="T34" fmla="*/ 482 w 484"/>
                    <a:gd name="T35" fmla="*/ 35 h 172"/>
                    <a:gd name="T36" fmla="*/ 449 w 484"/>
                    <a:gd name="T37" fmla="*/ 26 h 172"/>
                    <a:gd name="T38" fmla="*/ 387 w 484"/>
                    <a:gd name="T39" fmla="*/ 16 h 172"/>
                    <a:gd name="T40" fmla="*/ 331 w 484"/>
                    <a:gd name="T41" fmla="*/ 6 h 172"/>
                    <a:gd name="T42" fmla="*/ 272 w 484"/>
                    <a:gd name="T43" fmla="*/ 0 h 172"/>
                    <a:gd name="T44" fmla="*/ 225 w 484"/>
                    <a:gd name="T45" fmla="*/ 0 h 172"/>
                    <a:gd name="T46" fmla="*/ 203 w 484"/>
                    <a:gd name="T47" fmla="*/ 4 h 172"/>
                    <a:gd name="T48" fmla="*/ 186 w 484"/>
                    <a:gd name="T49" fmla="*/ 8 h 172"/>
                    <a:gd name="T50" fmla="*/ 176 w 484"/>
                    <a:gd name="T51" fmla="*/ 6 h 172"/>
                    <a:gd name="T52" fmla="*/ 169 w 484"/>
                    <a:gd name="T53" fmla="*/ 3 h 172"/>
                    <a:gd name="T54" fmla="*/ 165 w 484"/>
                    <a:gd name="T55" fmla="*/ 8 h 172"/>
                    <a:gd name="T56" fmla="*/ 161 w 484"/>
                    <a:gd name="T57" fmla="*/ 24 h 172"/>
                    <a:gd name="T58" fmla="*/ 154 w 484"/>
                    <a:gd name="T59" fmla="*/ 36 h 172"/>
                    <a:gd name="T60" fmla="*/ 144 w 484"/>
                    <a:gd name="T61" fmla="*/ 46 h 172"/>
                    <a:gd name="T62" fmla="*/ 127 w 484"/>
                    <a:gd name="T63" fmla="*/ 58 h 172"/>
                    <a:gd name="T64" fmla="*/ 97 w 484"/>
                    <a:gd name="T65" fmla="*/ 69 h 172"/>
                    <a:gd name="T66" fmla="*/ 66 w 484"/>
                    <a:gd name="T67" fmla="*/ 78 h 172"/>
                    <a:gd name="T68" fmla="*/ 38 w 484"/>
                    <a:gd name="T69" fmla="*/ 88 h 172"/>
                    <a:gd name="T70" fmla="*/ 19 w 484"/>
                    <a:gd name="T71" fmla="*/ 98 h 172"/>
                    <a:gd name="T72" fmla="*/ 10 w 484"/>
                    <a:gd name="T73" fmla="*/ 107 h 172"/>
                    <a:gd name="T74" fmla="*/ 3 w 484"/>
                    <a:gd name="T75" fmla="*/ 119 h 172"/>
                    <a:gd name="T76" fmla="*/ 0 w 484"/>
                    <a:gd name="T77" fmla="*/ 134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84" h="172">
                      <a:moveTo>
                        <a:pt x="0" y="142"/>
                      </a:moveTo>
                      <a:lnTo>
                        <a:pt x="0" y="147"/>
                      </a:lnTo>
                      <a:lnTo>
                        <a:pt x="1" y="152"/>
                      </a:lnTo>
                      <a:lnTo>
                        <a:pt x="3" y="156"/>
                      </a:lnTo>
                      <a:lnTo>
                        <a:pt x="6" y="159"/>
                      </a:lnTo>
                      <a:lnTo>
                        <a:pt x="9" y="162"/>
                      </a:lnTo>
                      <a:lnTo>
                        <a:pt x="13" y="165"/>
                      </a:lnTo>
                      <a:lnTo>
                        <a:pt x="17" y="167"/>
                      </a:lnTo>
                      <a:lnTo>
                        <a:pt x="21" y="168"/>
                      </a:lnTo>
                      <a:lnTo>
                        <a:pt x="31" y="170"/>
                      </a:lnTo>
                      <a:lnTo>
                        <a:pt x="41" y="172"/>
                      </a:lnTo>
                      <a:lnTo>
                        <a:pt x="51" y="172"/>
                      </a:lnTo>
                      <a:lnTo>
                        <a:pt x="59" y="172"/>
                      </a:lnTo>
                      <a:lnTo>
                        <a:pt x="73" y="172"/>
                      </a:lnTo>
                      <a:lnTo>
                        <a:pt x="86" y="170"/>
                      </a:lnTo>
                      <a:lnTo>
                        <a:pt x="99" y="167"/>
                      </a:lnTo>
                      <a:lnTo>
                        <a:pt x="113" y="164"/>
                      </a:lnTo>
                      <a:lnTo>
                        <a:pt x="139" y="156"/>
                      </a:lnTo>
                      <a:lnTo>
                        <a:pt x="164" y="146"/>
                      </a:lnTo>
                      <a:lnTo>
                        <a:pt x="189" y="135"/>
                      </a:lnTo>
                      <a:lnTo>
                        <a:pt x="215" y="124"/>
                      </a:lnTo>
                      <a:lnTo>
                        <a:pt x="240" y="113"/>
                      </a:lnTo>
                      <a:lnTo>
                        <a:pt x="265" y="104"/>
                      </a:lnTo>
                      <a:lnTo>
                        <a:pt x="287" y="100"/>
                      </a:lnTo>
                      <a:lnTo>
                        <a:pt x="316" y="94"/>
                      </a:lnTo>
                      <a:lnTo>
                        <a:pt x="350" y="87"/>
                      </a:lnTo>
                      <a:lnTo>
                        <a:pt x="385" y="80"/>
                      </a:lnTo>
                      <a:lnTo>
                        <a:pt x="401" y="75"/>
                      </a:lnTo>
                      <a:lnTo>
                        <a:pt x="418" y="70"/>
                      </a:lnTo>
                      <a:lnTo>
                        <a:pt x="434" y="64"/>
                      </a:lnTo>
                      <a:lnTo>
                        <a:pt x="449" y="58"/>
                      </a:lnTo>
                      <a:lnTo>
                        <a:pt x="461" y="52"/>
                      </a:lnTo>
                      <a:lnTo>
                        <a:pt x="471" y="46"/>
                      </a:lnTo>
                      <a:lnTo>
                        <a:pt x="475" y="42"/>
                      </a:lnTo>
                      <a:lnTo>
                        <a:pt x="479" y="39"/>
                      </a:lnTo>
                      <a:lnTo>
                        <a:pt x="482" y="35"/>
                      </a:lnTo>
                      <a:lnTo>
                        <a:pt x="484" y="31"/>
                      </a:lnTo>
                      <a:lnTo>
                        <a:pt x="449" y="26"/>
                      </a:lnTo>
                      <a:lnTo>
                        <a:pt x="417" y="21"/>
                      </a:lnTo>
                      <a:lnTo>
                        <a:pt x="387" y="16"/>
                      </a:lnTo>
                      <a:lnTo>
                        <a:pt x="359" y="10"/>
                      </a:lnTo>
                      <a:lnTo>
                        <a:pt x="331" y="6"/>
                      </a:lnTo>
                      <a:lnTo>
                        <a:pt x="303" y="3"/>
                      </a:lnTo>
                      <a:lnTo>
                        <a:pt x="272" y="0"/>
                      </a:lnTo>
                      <a:lnTo>
                        <a:pt x="239" y="0"/>
                      </a:lnTo>
                      <a:lnTo>
                        <a:pt x="225" y="0"/>
                      </a:lnTo>
                      <a:lnTo>
                        <a:pt x="213" y="2"/>
                      </a:lnTo>
                      <a:lnTo>
                        <a:pt x="203" y="4"/>
                      </a:lnTo>
                      <a:lnTo>
                        <a:pt x="195" y="6"/>
                      </a:lnTo>
                      <a:lnTo>
                        <a:pt x="186" y="8"/>
                      </a:lnTo>
                      <a:lnTo>
                        <a:pt x="180" y="7"/>
                      </a:lnTo>
                      <a:lnTo>
                        <a:pt x="176" y="6"/>
                      </a:lnTo>
                      <a:lnTo>
                        <a:pt x="173" y="5"/>
                      </a:lnTo>
                      <a:lnTo>
                        <a:pt x="169" y="3"/>
                      </a:lnTo>
                      <a:lnTo>
                        <a:pt x="165" y="0"/>
                      </a:lnTo>
                      <a:lnTo>
                        <a:pt x="165" y="8"/>
                      </a:lnTo>
                      <a:lnTo>
                        <a:pt x="163" y="17"/>
                      </a:lnTo>
                      <a:lnTo>
                        <a:pt x="161" y="24"/>
                      </a:lnTo>
                      <a:lnTo>
                        <a:pt x="159" y="31"/>
                      </a:lnTo>
                      <a:lnTo>
                        <a:pt x="154" y="36"/>
                      </a:lnTo>
                      <a:lnTo>
                        <a:pt x="150" y="42"/>
                      </a:lnTo>
                      <a:lnTo>
                        <a:pt x="144" y="46"/>
                      </a:lnTo>
                      <a:lnTo>
                        <a:pt x="139" y="50"/>
                      </a:lnTo>
                      <a:lnTo>
                        <a:pt x="127" y="58"/>
                      </a:lnTo>
                      <a:lnTo>
                        <a:pt x="113" y="63"/>
                      </a:lnTo>
                      <a:lnTo>
                        <a:pt x="97" y="69"/>
                      </a:lnTo>
                      <a:lnTo>
                        <a:pt x="82" y="73"/>
                      </a:lnTo>
                      <a:lnTo>
                        <a:pt x="66" y="78"/>
                      </a:lnTo>
                      <a:lnTo>
                        <a:pt x="52" y="82"/>
                      </a:lnTo>
                      <a:lnTo>
                        <a:pt x="38" y="88"/>
                      </a:lnTo>
                      <a:lnTo>
                        <a:pt x="25" y="94"/>
                      </a:lnTo>
                      <a:lnTo>
                        <a:pt x="19" y="98"/>
                      </a:lnTo>
                      <a:lnTo>
                        <a:pt x="15" y="103"/>
                      </a:lnTo>
                      <a:lnTo>
                        <a:pt x="10" y="107"/>
                      </a:lnTo>
                      <a:lnTo>
                        <a:pt x="6" y="113"/>
                      </a:lnTo>
                      <a:lnTo>
                        <a:pt x="3" y="119"/>
                      </a:lnTo>
                      <a:lnTo>
                        <a:pt x="1" y="126"/>
                      </a:lnTo>
                      <a:lnTo>
                        <a:pt x="0" y="134"/>
                      </a:lnTo>
                      <a:lnTo>
                        <a:pt x="0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3" name="Freeform 426"/>
                <p:cNvSpPr>
                  <a:spLocks/>
                </p:cNvSpPr>
                <p:nvPr/>
              </p:nvSpPr>
              <p:spPr bwMode="auto">
                <a:xfrm>
                  <a:off x="1043" y="1255"/>
                  <a:ext cx="221" cy="79"/>
                </a:xfrm>
                <a:custGeom>
                  <a:avLst/>
                  <a:gdLst>
                    <a:gd name="T0" fmla="*/ 317 w 684"/>
                    <a:gd name="T1" fmla="*/ 5 h 240"/>
                    <a:gd name="T2" fmla="*/ 304 w 684"/>
                    <a:gd name="T3" fmla="*/ 27 h 240"/>
                    <a:gd name="T4" fmla="*/ 297 w 684"/>
                    <a:gd name="T5" fmla="*/ 41 h 240"/>
                    <a:gd name="T6" fmla="*/ 299 w 684"/>
                    <a:gd name="T7" fmla="*/ 43 h 240"/>
                    <a:gd name="T8" fmla="*/ 337 w 684"/>
                    <a:gd name="T9" fmla="*/ 39 h 240"/>
                    <a:gd name="T10" fmla="*/ 372 w 684"/>
                    <a:gd name="T11" fmla="*/ 19 h 240"/>
                    <a:gd name="T12" fmla="*/ 379 w 684"/>
                    <a:gd name="T13" fmla="*/ 38 h 240"/>
                    <a:gd name="T14" fmla="*/ 377 w 684"/>
                    <a:gd name="T15" fmla="*/ 55 h 240"/>
                    <a:gd name="T16" fmla="*/ 405 w 684"/>
                    <a:gd name="T17" fmla="*/ 69 h 240"/>
                    <a:gd name="T18" fmla="*/ 511 w 684"/>
                    <a:gd name="T19" fmla="*/ 51 h 240"/>
                    <a:gd name="T20" fmla="*/ 514 w 684"/>
                    <a:gd name="T21" fmla="*/ 70 h 240"/>
                    <a:gd name="T22" fmla="*/ 541 w 684"/>
                    <a:gd name="T23" fmla="*/ 63 h 240"/>
                    <a:gd name="T24" fmla="*/ 557 w 684"/>
                    <a:gd name="T25" fmla="*/ 45 h 240"/>
                    <a:gd name="T26" fmla="*/ 558 w 684"/>
                    <a:gd name="T27" fmla="*/ 19 h 240"/>
                    <a:gd name="T28" fmla="*/ 563 w 684"/>
                    <a:gd name="T29" fmla="*/ 8 h 240"/>
                    <a:gd name="T30" fmla="*/ 579 w 684"/>
                    <a:gd name="T31" fmla="*/ 0 h 240"/>
                    <a:gd name="T32" fmla="*/ 624 w 684"/>
                    <a:gd name="T33" fmla="*/ 3 h 240"/>
                    <a:gd name="T34" fmla="*/ 645 w 684"/>
                    <a:gd name="T35" fmla="*/ 0 h 240"/>
                    <a:gd name="T36" fmla="*/ 657 w 684"/>
                    <a:gd name="T37" fmla="*/ 39 h 240"/>
                    <a:gd name="T38" fmla="*/ 653 w 684"/>
                    <a:gd name="T39" fmla="*/ 70 h 240"/>
                    <a:gd name="T40" fmla="*/ 637 w 684"/>
                    <a:gd name="T41" fmla="*/ 101 h 240"/>
                    <a:gd name="T42" fmla="*/ 618 w 684"/>
                    <a:gd name="T43" fmla="*/ 124 h 240"/>
                    <a:gd name="T44" fmla="*/ 648 w 684"/>
                    <a:gd name="T45" fmla="*/ 137 h 240"/>
                    <a:gd name="T46" fmla="*/ 672 w 684"/>
                    <a:gd name="T47" fmla="*/ 145 h 240"/>
                    <a:gd name="T48" fmla="*/ 684 w 684"/>
                    <a:gd name="T49" fmla="*/ 180 h 240"/>
                    <a:gd name="T50" fmla="*/ 639 w 684"/>
                    <a:gd name="T51" fmla="*/ 185 h 240"/>
                    <a:gd name="T52" fmla="*/ 608 w 684"/>
                    <a:gd name="T53" fmla="*/ 181 h 240"/>
                    <a:gd name="T54" fmla="*/ 574 w 684"/>
                    <a:gd name="T55" fmla="*/ 180 h 240"/>
                    <a:gd name="T56" fmla="*/ 564 w 684"/>
                    <a:gd name="T57" fmla="*/ 184 h 240"/>
                    <a:gd name="T58" fmla="*/ 542 w 684"/>
                    <a:gd name="T59" fmla="*/ 200 h 240"/>
                    <a:gd name="T60" fmla="*/ 524 w 684"/>
                    <a:gd name="T61" fmla="*/ 209 h 240"/>
                    <a:gd name="T62" fmla="*/ 493 w 684"/>
                    <a:gd name="T63" fmla="*/ 209 h 240"/>
                    <a:gd name="T64" fmla="*/ 452 w 684"/>
                    <a:gd name="T65" fmla="*/ 204 h 240"/>
                    <a:gd name="T66" fmla="*/ 422 w 684"/>
                    <a:gd name="T67" fmla="*/ 198 h 240"/>
                    <a:gd name="T68" fmla="*/ 337 w 684"/>
                    <a:gd name="T69" fmla="*/ 211 h 240"/>
                    <a:gd name="T70" fmla="*/ 231 w 684"/>
                    <a:gd name="T71" fmla="*/ 230 h 240"/>
                    <a:gd name="T72" fmla="*/ 169 w 684"/>
                    <a:gd name="T73" fmla="*/ 238 h 240"/>
                    <a:gd name="T74" fmla="*/ 124 w 684"/>
                    <a:gd name="T75" fmla="*/ 238 h 240"/>
                    <a:gd name="T76" fmla="*/ 100 w 684"/>
                    <a:gd name="T77" fmla="*/ 228 h 240"/>
                    <a:gd name="T78" fmla="*/ 67 w 684"/>
                    <a:gd name="T79" fmla="*/ 208 h 240"/>
                    <a:gd name="T80" fmla="*/ 29 w 684"/>
                    <a:gd name="T81" fmla="*/ 196 h 240"/>
                    <a:gd name="T82" fmla="*/ 0 w 684"/>
                    <a:gd name="T83" fmla="*/ 173 h 240"/>
                    <a:gd name="T84" fmla="*/ 64 w 684"/>
                    <a:gd name="T85" fmla="*/ 159 h 240"/>
                    <a:gd name="T86" fmla="*/ 100 w 684"/>
                    <a:gd name="T87" fmla="*/ 154 h 240"/>
                    <a:gd name="T88" fmla="*/ 156 w 684"/>
                    <a:gd name="T89" fmla="*/ 160 h 240"/>
                    <a:gd name="T90" fmla="*/ 201 w 684"/>
                    <a:gd name="T91" fmla="*/ 165 h 240"/>
                    <a:gd name="T92" fmla="*/ 224 w 684"/>
                    <a:gd name="T93" fmla="*/ 162 h 240"/>
                    <a:gd name="T94" fmla="*/ 26 w 684"/>
                    <a:gd name="T95" fmla="*/ 136 h 240"/>
                    <a:gd name="T96" fmla="*/ 52 w 684"/>
                    <a:gd name="T97" fmla="*/ 128 h 240"/>
                    <a:gd name="T98" fmla="*/ 109 w 684"/>
                    <a:gd name="T99" fmla="*/ 117 h 240"/>
                    <a:gd name="T100" fmla="*/ 165 w 684"/>
                    <a:gd name="T101" fmla="*/ 108 h 240"/>
                    <a:gd name="T102" fmla="*/ 187 w 684"/>
                    <a:gd name="T103" fmla="*/ 99 h 240"/>
                    <a:gd name="T104" fmla="*/ 166 w 684"/>
                    <a:gd name="T105" fmla="*/ 93 h 240"/>
                    <a:gd name="T106" fmla="*/ 125 w 684"/>
                    <a:gd name="T107" fmla="*/ 98 h 240"/>
                    <a:gd name="T108" fmla="*/ 71 w 684"/>
                    <a:gd name="T109" fmla="*/ 110 h 240"/>
                    <a:gd name="T110" fmla="*/ 52 w 684"/>
                    <a:gd name="T111" fmla="*/ 106 h 240"/>
                    <a:gd name="T112" fmla="*/ 55 w 684"/>
                    <a:gd name="T113" fmla="*/ 90 h 240"/>
                    <a:gd name="T114" fmla="*/ 54 w 684"/>
                    <a:gd name="T115" fmla="*/ 81 h 240"/>
                    <a:gd name="T116" fmla="*/ 59 w 684"/>
                    <a:gd name="T117" fmla="*/ 78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84" h="240">
                      <a:moveTo>
                        <a:pt x="60" y="75"/>
                      </a:moveTo>
                      <a:lnTo>
                        <a:pt x="320" y="0"/>
                      </a:lnTo>
                      <a:lnTo>
                        <a:pt x="317" y="5"/>
                      </a:lnTo>
                      <a:lnTo>
                        <a:pt x="314" y="13"/>
                      </a:lnTo>
                      <a:lnTo>
                        <a:pt x="310" y="20"/>
                      </a:lnTo>
                      <a:lnTo>
                        <a:pt x="304" y="27"/>
                      </a:lnTo>
                      <a:lnTo>
                        <a:pt x="300" y="33"/>
                      </a:lnTo>
                      <a:lnTo>
                        <a:pt x="297" y="39"/>
                      </a:lnTo>
                      <a:lnTo>
                        <a:pt x="297" y="41"/>
                      </a:lnTo>
                      <a:lnTo>
                        <a:pt x="297" y="42"/>
                      </a:lnTo>
                      <a:lnTo>
                        <a:pt x="298" y="43"/>
                      </a:lnTo>
                      <a:lnTo>
                        <a:pt x="299" y="43"/>
                      </a:lnTo>
                      <a:lnTo>
                        <a:pt x="315" y="43"/>
                      </a:lnTo>
                      <a:lnTo>
                        <a:pt x="327" y="41"/>
                      </a:lnTo>
                      <a:lnTo>
                        <a:pt x="337" y="39"/>
                      </a:lnTo>
                      <a:lnTo>
                        <a:pt x="346" y="36"/>
                      </a:lnTo>
                      <a:lnTo>
                        <a:pt x="359" y="28"/>
                      </a:lnTo>
                      <a:lnTo>
                        <a:pt x="372" y="19"/>
                      </a:lnTo>
                      <a:lnTo>
                        <a:pt x="376" y="26"/>
                      </a:lnTo>
                      <a:lnTo>
                        <a:pt x="378" y="32"/>
                      </a:lnTo>
                      <a:lnTo>
                        <a:pt x="379" y="38"/>
                      </a:lnTo>
                      <a:lnTo>
                        <a:pt x="378" y="44"/>
                      </a:lnTo>
                      <a:lnTo>
                        <a:pt x="378" y="49"/>
                      </a:lnTo>
                      <a:lnTo>
                        <a:pt x="377" y="55"/>
                      </a:lnTo>
                      <a:lnTo>
                        <a:pt x="378" y="61"/>
                      </a:lnTo>
                      <a:lnTo>
                        <a:pt x="379" y="69"/>
                      </a:lnTo>
                      <a:lnTo>
                        <a:pt x="405" y="69"/>
                      </a:lnTo>
                      <a:lnTo>
                        <a:pt x="512" y="19"/>
                      </a:lnTo>
                      <a:lnTo>
                        <a:pt x="511" y="36"/>
                      </a:lnTo>
                      <a:lnTo>
                        <a:pt x="511" y="51"/>
                      </a:lnTo>
                      <a:lnTo>
                        <a:pt x="511" y="58"/>
                      </a:lnTo>
                      <a:lnTo>
                        <a:pt x="512" y="65"/>
                      </a:lnTo>
                      <a:lnTo>
                        <a:pt x="514" y="70"/>
                      </a:lnTo>
                      <a:lnTo>
                        <a:pt x="518" y="75"/>
                      </a:lnTo>
                      <a:lnTo>
                        <a:pt x="531" y="68"/>
                      </a:lnTo>
                      <a:lnTo>
                        <a:pt x="541" y="63"/>
                      </a:lnTo>
                      <a:lnTo>
                        <a:pt x="549" y="57"/>
                      </a:lnTo>
                      <a:lnTo>
                        <a:pt x="553" y="51"/>
                      </a:lnTo>
                      <a:lnTo>
                        <a:pt x="557" y="45"/>
                      </a:lnTo>
                      <a:lnTo>
                        <a:pt x="558" y="38"/>
                      </a:lnTo>
                      <a:lnTo>
                        <a:pt x="558" y="30"/>
                      </a:lnTo>
                      <a:lnTo>
                        <a:pt x="558" y="19"/>
                      </a:lnTo>
                      <a:lnTo>
                        <a:pt x="559" y="15"/>
                      </a:lnTo>
                      <a:lnTo>
                        <a:pt x="560" y="11"/>
                      </a:lnTo>
                      <a:lnTo>
                        <a:pt x="563" y="8"/>
                      </a:lnTo>
                      <a:lnTo>
                        <a:pt x="566" y="5"/>
                      </a:lnTo>
                      <a:lnTo>
                        <a:pt x="572" y="1"/>
                      </a:lnTo>
                      <a:lnTo>
                        <a:pt x="579" y="0"/>
                      </a:lnTo>
                      <a:lnTo>
                        <a:pt x="600" y="1"/>
                      </a:lnTo>
                      <a:lnTo>
                        <a:pt x="616" y="2"/>
                      </a:lnTo>
                      <a:lnTo>
                        <a:pt x="624" y="3"/>
                      </a:lnTo>
                      <a:lnTo>
                        <a:pt x="630" y="3"/>
                      </a:lnTo>
                      <a:lnTo>
                        <a:pt x="637" y="2"/>
                      </a:lnTo>
                      <a:lnTo>
                        <a:pt x="645" y="0"/>
                      </a:lnTo>
                      <a:lnTo>
                        <a:pt x="650" y="15"/>
                      </a:lnTo>
                      <a:lnTo>
                        <a:pt x="653" y="28"/>
                      </a:lnTo>
                      <a:lnTo>
                        <a:pt x="657" y="39"/>
                      </a:lnTo>
                      <a:lnTo>
                        <a:pt x="658" y="50"/>
                      </a:lnTo>
                      <a:lnTo>
                        <a:pt x="657" y="59"/>
                      </a:lnTo>
                      <a:lnTo>
                        <a:pt x="653" y="70"/>
                      </a:lnTo>
                      <a:lnTo>
                        <a:pt x="649" y="81"/>
                      </a:lnTo>
                      <a:lnTo>
                        <a:pt x="643" y="91"/>
                      </a:lnTo>
                      <a:lnTo>
                        <a:pt x="637" y="101"/>
                      </a:lnTo>
                      <a:lnTo>
                        <a:pt x="630" y="110"/>
                      </a:lnTo>
                      <a:lnTo>
                        <a:pt x="624" y="119"/>
                      </a:lnTo>
                      <a:lnTo>
                        <a:pt x="618" y="124"/>
                      </a:lnTo>
                      <a:lnTo>
                        <a:pt x="628" y="130"/>
                      </a:lnTo>
                      <a:lnTo>
                        <a:pt x="638" y="134"/>
                      </a:lnTo>
                      <a:lnTo>
                        <a:pt x="648" y="137"/>
                      </a:lnTo>
                      <a:lnTo>
                        <a:pt x="657" y="139"/>
                      </a:lnTo>
                      <a:lnTo>
                        <a:pt x="664" y="142"/>
                      </a:lnTo>
                      <a:lnTo>
                        <a:pt x="672" y="145"/>
                      </a:lnTo>
                      <a:lnTo>
                        <a:pt x="679" y="149"/>
                      </a:lnTo>
                      <a:lnTo>
                        <a:pt x="684" y="154"/>
                      </a:lnTo>
                      <a:lnTo>
                        <a:pt x="684" y="180"/>
                      </a:lnTo>
                      <a:lnTo>
                        <a:pt x="665" y="183"/>
                      </a:lnTo>
                      <a:lnTo>
                        <a:pt x="650" y="185"/>
                      </a:lnTo>
                      <a:lnTo>
                        <a:pt x="639" y="185"/>
                      </a:lnTo>
                      <a:lnTo>
                        <a:pt x="629" y="184"/>
                      </a:lnTo>
                      <a:lnTo>
                        <a:pt x="619" y="183"/>
                      </a:lnTo>
                      <a:lnTo>
                        <a:pt x="608" y="181"/>
                      </a:lnTo>
                      <a:lnTo>
                        <a:pt x="595" y="180"/>
                      </a:lnTo>
                      <a:lnTo>
                        <a:pt x="579" y="180"/>
                      </a:lnTo>
                      <a:lnTo>
                        <a:pt x="574" y="180"/>
                      </a:lnTo>
                      <a:lnTo>
                        <a:pt x="571" y="181"/>
                      </a:lnTo>
                      <a:lnTo>
                        <a:pt x="568" y="182"/>
                      </a:lnTo>
                      <a:lnTo>
                        <a:pt x="564" y="184"/>
                      </a:lnTo>
                      <a:lnTo>
                        <a:pt x="557" y="189"/>
                      </a:lnTo>
                      <a:lnTo>
                        <a:pt x="550" y="195"/>
                      </a:lnTo>
                      <a:lnTo>
                        <a:pt x="542" y="200"/>
                      </a:lnTo>
                      <a:lnTo>
                        <a:pt x="534" y="205"/>
                      </a:lnTo>
                      <a:lnTo>
                        <a:pt x="528" y="207"/>
                      </a:lnTo>
                      <a:lnTo>
                        <a:pt x="524" y="209"/>
                      </a:lnTo>
                      <a:lnTo>
                        <a:pt x="518" y="210"/>
                      </a:lnTo>
                      <a:lnTo>
                        <a:pt x="512" y="210"/>
                      </a:lnTo>
                      <a:lnTo>
                        <a:pt x="493" y="209"/>
                      </a:lnTo>
                      <a:lnTo>
                        <a:pt x="478" y="208"/>
                      </a:lnTo>
                      <a:lnTo>
                        <a:pt x="463" y="206"/>
                      </a:lnTo>
                      <a:lnTo>
                        <a:pt x="452" y="204"/>
                      </a:lnTo>
                      <a:lnTo>
                        <a:pt x="441" y="202"/>
                      </a:lnTo>
                      <a:lnTo>
                        <a:pt x="432" y="200"/>
                      </a:lnTo>
                      <a:lnTo>
                        <a:pt x="422" y="198"/>
                      </a:lnTo>
                      <a:lnTo>
                        <a:pt x="412" y="198"/>
                      </a:lnTo>
                      <a:lnTo>
                        <a:pt x="389" y="202"/>
                      </a:lnTo>
                      <a:lnTo>
                        <a:pt x="337" y="211"/>
                      </a:lnTo>
                      <a:lnTo>
                        <a:pt x="283" y="221"/>
                      </a:lnTo>
                      <a:lnTo>
                        <a:pt x="253" y="228"/>
                      </a:lnTo>
                      <a:lnTo>
                        <a:pt x="231" y="230"/>
                      </a:lnTo>
                      <a:lnTo>
                        <a:pt x="209" y="232"/>
                      </a:lnTo>
                      <a:lnTo>
                        <a:pt x="189" y="235"/>
                      </a:lnTo>
                      <a:lnTo>
                        <a:pt x="169" y="238"/>
                      </a:lnTo>
                      <a:lnTo>
                        <a:pt x="150" y="240"/>
                      </a:lnTo>
                      <a:lnTo>
                        <a:pt x="132" y="239"/>
                      </a:lnTo>
                      <a:lnTo>
                        <a:pt x="124" y="238"/>
                      </a:lnTo>
                      <a:lnTo>
                        <a:pt x="115" y="236"/>
                      </a:lnTo>
                      <a:lnTo>
                        <a:pt x="108" y="233"/>
                      </a:lnTo>
                      <a:lnTo>
                        <a:pt x="100" y="228"/>
                      </a:lnTo>
                      <a:lnTo>
                        <a:pt x="100" y="210"/>
                      </a:lnTo>
                      <a:lnTo>
                        <a:pt x="84" y="209"/>
                      </a:lnTo>
                      <a:lnTo>
                        <a:pt x="67" y="208"/>
                      </a:lnTo>
                      <a:lnTo>
                        <a:pt x="53" y="205"/>
                      </a:lnTo>
                      <a:lnTo>
                        <a:pt x="41" y="201"/>
                      </a:lnTo>
                      <a:lnTo>
                        <a:pt x="29" y="196"/>
                      </a:lnTo>
                      <a:lnTo>
                        <a:pt x="18" y="189"/>
                      </a:lnTo>
                      <a:lnTo>
                        <a:pt x="9" y="182"/>
                      </a:lnTo>
                      <a:lnTo>
                        <a:pt x="0" y="173"/>
                      </a:lnTo>
                      <a:lnTo>
                        <a:pt x="28" y="167"/>
                      </a:lnTo>
                      <a:lnTo>
                        <a:pt x="53" y="161"/>
                      </a:lnTo>
                      <a:lnTo>
                        <a:pt x="64" y="159"/>
                      </a:lnTo>
                      <a:lnTo>
                        <a:pt x="76" y="156"/>
                      </a:lnTo>
                      <a:lnTo>
                        <a:pt x="88" y="155"/>
                      </a:lnTo>
                      <a:lnTo>
                        <a:pt x="100" y="154"/>
                      </a:lnTo>
                      <a:lnTo>
                        <a:pt x="121" y="155"/>
                      </a:lnTo>
                      <a:lnTo>
                        <a:pt x="140" y="157"/>
                      </a:lnTo>
                      <a:lnTo>
                        <a:pt x="156" y="160"/>
                      </a:lnTo>
                      <a:lnTo>
                        <a:pt x="171" y="162"/>
                      </a:lnTo>
                      <a:lnTo>
                        <a:pt x="186" y="164"/>
                      </a:lnTo>
                      <a:lnTo>
                        <a:pt x="201" y="165"/>
                      </a:lnTo>
                      <a:lnTo>
                        <a:pt x="209" y="164"/>
                      </a:lnTo>
                      <a:lnTo>
                        <a:pt x="216" y="164"/>
                      </a:lnTo>
                      <a:lnTo>
                        <a:pt x="224" y="162"/>
                      </a:lnTo>
                      <a:lnTo>
                        <a:pt x="233" y="160"/>
                      </a:lnTo>
                      <a:lnTo>
                        <a:pt x="126" y="142"/>
                      </a:lnTo>
                      <a:lnTo>
                        <a:pt x="26" y="136"/>
                      </a:lnTo>
                      <a:lnTo>
                        <a:pt x="34" y="133"/>
                      </a:lnTo>
                      <a:lnTo>
                        <a:pt x="42" y="130"/>
                      </a:lnTo>
                      <a:lnTo>
                        <a:pt x="52" y="128"/>
                      </a:lnTo>
                      <a:lnTo>
                        <a:pt x="62" y="125"/>
                      </a:lnTo>
                      <a:lnTo>
                        <a:pt x="85" y="122"/>
                      </a:lnTo>
                      <a:lnTo>
                        <a:pt x="109" y="117"/>
                      </a:lnTo>
                      <a:lnTo>
                        <a:pt x="133" y="114"/>
                      </a:lnTo>
                      <a:lnTo>
                        <a:pt x="155" y="110"/>
                      </a:lnTo>
                      <a:lnTo>
                        <a:pt x="165" y="108"/>
                      </a:lnTo>
                      <a:lnTo>
                        <a:pt x="174" y="105"/>
                      </a:lnTo>
                      <a:lnTo>
                        <a:pt x="180" y="102"/>
                      </a:lnTo>
                      <a:lnTo>
                        <a:pt x="187" y="99"/>
                      </a:lnTo>
                      <a:lnTo>
                        <a:pt x="180" y="96"/>
                      </a:lnTo>
                      <a:lnTo>
                        <a:pt x="172" y="94"/>
                      </a:lnTo>
                      <a:lnTo>
                        <a:pt x="166" y="93"/>
                      </a:lnTo>
                      <a:lnTo>
                        <a:pt x="158" y="93"/>
                      </a:lnTo>
                      <a:lnTo>
                        <a:pt x="142" y="95"/>
                      </a:lnTo>
                      <a:lnTo>
                        <a:pt x="125" y="98"/>
                      </a:lnTo>
                      <a:lnTo>
                        <a:pt x="107" y="102"/>
                      </a:lnTo>
                      <a:lnTo>
                        <a:pt x="89" y="107"/>
                      </a:lnTo>
                      <a:lnTo>
                        <a:pt x="71" y="110"/>
                      </a:lnTo>
                      <a:lnTo>
                        <a:pt x="54" y="111"/>
                      </a:lnTo>
                      <a:lnTo>
                        <a:pt x="52" y="110"/>
                      </a:lnTo>
                      <a:lnTo>
                        <a:pt x="52" y="106"/>
                      </a:lnTo>
                      <a:lnTo>
                        <a:pt x="53" y="102"/>
                      </a:lnTo>
                      <a:lnTo>
                        <a:pt x="54" y="96"/>
                      </a:lnTo>
                      <a:lnTo>
                        <a:pt x="55" y="90"/>
                      </a:lnTo>
                      <a:lnTo>
                        <a:pt x="55" y="86"/>
                      </a:lnTo>
                      <a:lnTo>
                        <a:pt x="55" y="82"/>
                      </a:lnTo>
                      <a:lnTo>
                        <a:pt x="54" y="81"/>
                      </a:lnTo>
                      <a:lnTo>
                        <a:pt x="55" y="81"/>
                      </a:lnTo>
                      <a:lnTo>
                        <a:pt x="57" y="80"/>
                      </a:lnTo>
                      <a:lnTo>
                        <a:pt x="59" y="78"/>
                      </a:lnTo>
                      <a:lnTo>
                        <a:pt x="60" y="7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4" name="Freeform 427"/>
                <p:cNvSpPr>
                  <a:spLocks/>
                </p:cNvSpPr>
                <p:nvPr/>
              </p:nvSpPr>
              <p:spPr bwMode="auto">
                <a:xfrm>
                  <a:off x="1645" y="1643"/>
                  <a:ext cx="108" cy="93"/>
                </a:xfrm>
                <a:custGeom>
                  <a:avLst/>
                  <a:gdLst>
                    <a:gd name="T0" fmla="*/ 180 w 332"/>
                    <a:gd name="T1" fmla="*/ 38 h 287"/>
                    <a:gd name="T2" fmla="*/ 202 w 332"/>
                    <a:gd name="T3" fmla="*/ 24 h 287"/>
                    <a:gd name="T4" fmla="*/ 226 w 332"/>
                    <a:gd name="T5" fmla="*/ 7 h 287"/>
                    <a:gd name="T6" fmla="*/ 240 w 332"/>
                    <a:gd name="T7" fmla="*/ 1 h 287"/>
                    <a:gd name="T8" fmla="*/ 246 w 332"/>
                    <a:gd name="T9" fmla="*/ 1 h 287"/>
                    <a:gd name="T10" fmla="*/ 245 w 332"/>
                    <a:gd name="T11" fmla="*/ 12 h 287"/>
                    <a:gd name="T12" fmla="*/ 234 w 332"/>
                    <a:gd name="T13" fmla="*/ 33 h 287"/>
                    <a:gd name="T14" fmla="*/ 217 w 332"/>
                    <a:gd name="T15" fmla="*/ 55 h 287"/>
                    <a:gd name="T16" fmla="*/ 202 w 332"/>
                    <a:gd name="T17" fmla="*/ 67 h 287"/>
                    <a:gd name="T18" fmla="*/ 191 w 332"/>
                    <a:gd name="T19" fmla="*/ 71 h 287"/>
                    <a:gd name="T20" fmla="*/ 191 w 332"/>
                    <a:gd name="T21" fmla="*/ 73 h 287"/>
                    <a:gd name="T22" fmla="*/ 201 w 332"/>
                    <a:gd name="T23" fmla="*/ 74 h 287"/>
                    <a:gd name="T24" fmla="*/ 216 w 332"/>
                    <a:gd name="T25" fmla="*/ 72 h 287"/>
                    <a:gd name="T26" fmla="*/ 224 w 332"/>
                    <a:gd name="T27" fmla="*/ 77 h 287"/>
                    <a:gd name="T28" fmla="*/ 217 w 332"/>
                    <a:gd name="T29" fmla="*/ 88 h 287"/>
                    <a:gd name="T30" fmla="*/ 214 w 332"/>
                    <a:gd name="T31" fmla="*/ 97 h 287"/>
                    <a:gd name="T32" fmla="*/ 217 w 332"/>
                    <a:gd name="T33" fmla="*/ 105 h 287"/>
                    <a:gd name="T34" fmla="*/ 249 w 332"/>
                    <a:gd name="T35" fmla="*/ 113 h 287"/>
                    <a:gd name="T36" fmla="*/ 308 w 332"/>
                    <a:gd name="T37" fmla="*/ 124 h 287"/>
                    <a:gd name="T38" fmla="*/ 322 w 332"/>
                    <a:gd name="T39" fmla="*/ 131 h 287"/>
                    <a:gd name="T40" fmla="*/ 315 w 332"/>
                    <a:gd name="T41" fmla="*/ 140 h 287"/>
                    <a:gd name="T42" fmla="*/ 303 w 332"/>
                    <a:gd name="T43" fmla="*/ 149 h 287"/>
                    <a:gd name="T44" fmla="*/ 299 w 332"/>
                    <a:gd name="T45" fmla="*/ 154 h 287"/>
                    <a:gd name="T46" fmla="*/ 302 w 332"/>
                    <a:gd name="T47" fmla="*/ 160 h 287"/>
                    <a:gd name="T48" fmla="*/ 308 w 332"/>
                    <a:gd name="T49" fmla="*/ 168 h 287"/>
                    <a:gd name="T50" fmla="*/ 319 w 332"/>
                    <a:gd name="T51" fmla="*/ 176 h 287"/>
                    <a:gd name="T52" fmla="*/ 329 w 332"/>
                    <a:gd name="T53" fmla="*/ 184 h 287"/>
                    <a:gd name="T54" fmla="*/ 290 w 332"/>
                    <a:gd name="T55" fmla="*/ 211 h 287"/>
                    <a:gd name="T56" fmla="*/ 241 w 332"/>
                    <a:gd name="T57" fmla="*/ 241 h 287"/>
                    <a:gd name="T58" fmla="*/ 207 w 332"/>
                    <a:gd name="T59" fmla="*/ 268 h 287"/>
                    <a:gd name="T60" fmla="*/ 173 w 332"/>
                    <a:gd name="T61" fmla="*/ 244 h 287"/>
                    <a:gd name="T62" fmla="*/ 182 w 332"/>
                    <a:gd name="T63" fmla="*/ 243 h 287"/>
                    <a:gd name="T64" fmla="*/ 189 w 332"/>
                    <a:gd name="T65" fmla="*/ 240 h 287"/>
                    <a:gd name="T66" fmla="*/ 200 w 332"/>
                    <a:gd name="T67" fmla="*/ 232 h 287"/>
                    <a:gd name="T68" fmla="*/ 149 w 332"/>
                    <a:gd name="T69" fmla="*/ 232 h 287"/>
                    <a:gd name="T70" fmla="*/ 101 w 332"/>
                    <a:gd name="T71" fmla="*/ 232 h 287"/>
                    <a:gd name="T72" fmla="*/ 58 w 332"/>
                    <a:gd name="T73" fmla="*/ 232 h 287"/>
                    <a:gd name="T74" fmla="*/ 27 w 332"/>
                    <a:gd name="T75" fmla="*/ 232 h 287"/>
                    <a:gd name="T76" fmla="*/ 11 w 332"/>
                    <a:gd name="T77" fmla="*/ 227 h 287"/>
                    <a:gd name="T78" fmla="*/ 3 w 332"/>
                    <a:gd name="T79" fmla="*/ 222 h 287"/>
                    <a:gd name="T80" fmla="*/ 0 w 332"/>
                    <a:gd name="T81" fmla="*/ 213 h 287"/>
                    <a:gd name="T82" fmla="*/ 4 w 332"/>
                    <a:gd name="T83" fmla="*/ 205 h 287"/>
                    <a:gd name="T84" fmla="*/ 13 w 332"/>
                    <a:gd name="T85" fmla="*/ 197 h 287"/>
                    <a:gd name="T86" fmla="*/ 41 w 332"/>
                    <a:gd name="T87" fmla="*/ 179 h 287"/>
                    <a:gd name="T88" fmla="*/ 73 w 332"/>
                    <a:gd name="T89" fmla="*/ 162 h 287"/>
                    <a:gd name="T90" fmla="*/ 85 w 332"/>
                    <a:gd name="T91" fmla="*/ 152 h 287"/>
                    <a:gd name="T92" fmla="*/ 93 w 332"/>
                    <a:gd name="T93" fmla="*/ 145 h 287"/>
                    <a:gd name="T94" fmla="*/ 106 w 332"/>
                    <a:gd name="T95" fmla="*/ 130 h 287"/>
                    <a:gd name="T96" fmla="*/ 116 w 332"/>
                    <a:gd name="T97" fmla="*/ 114 h 287"/>
                    <a:gd name="T98" fmla="*/ 130 w 332"/>
                    <a:gd name="T99" fmla="*/ 79 h 287"/>
                    <a:gd name="T100" fmla="*/ 138 w 332"/>
                    <a:gd name="T101" fmla="*/ 64 h 287"/>
                    <a:gd name="T102" fmla="*/ 147 w 332"/>
                    <a:gd name="T103" fmla="*/ 52 h 287"/>
                    <a:gd name="T104" fmla="*/ 158 w 332"/>
                    <a:gd name="T105" fmla="*/ 43 h 287"/>
                    <a:gd name="T106" fmla="*/ 173 w 332"/>
                    <a:gd name="T107" fmla="*/ 4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32" h="287">
                      <a:moveTo>
                        <a:pt x="173" y="40"/>
                      </a:moveTo>
                      <a:lnTo>
                        <a:pt x="180" y="38"/>
                      </a:lnTo>
                      <a:lnTo>
                        <a:pt x="190" y="32"/>
                      </a:lnTo>
                      <a:lnTo>
                        <a:pt x="202" y="24"/>
                      </a:lnTo>
                      <a:lnTo>
                        <a:pt x="215" y="15"/>
                      </a:lnTo>
                      <a:lnTo>
                        <a:pt x="226" y="7"/>
                      </a:lnTo>
                      <a:lnTo>
                        <a:pt x="237" y="2"/>
                      </a:lnTo>
                      <a:lnTo>
                        <a:pt x="240" y="1"/>
                      </a:lnTo>
                      <a:lnTo>
                        <a:pt x="243" y="0"/>
                      </a:lnTo>
                      <a:lnTo>
                        <a:pt x="246" y="1"/>
                      </a:lnTo>
                      <a:lnTo>
                        <a:pt x="246" y="4"/>
                      </a:lnTo>
                      <a:lnTo>
                        <a:pt x="245" y="12"/>
                      </a:lnTo>
                      <a:lnTo>
                        <a:pt x="240" y="22"/>
                      </a:lnTo>
                      <a:lnTo>
                        <a:pt x="234" y="33"/>
                      </a:lnTo>
                      <a:lnTo>
                        <a:pt x="226" y="44"/>
                      </a:lnTo>
                      <a:lnTo>
                        <a:pt x="217" y="55"/>
                      </a:lnTo>
                      <a:lnTo>
                        <a:pt x="207" y="64"/>
                      </a:lnTo>
                      <a:lnTo>
                        <a:pt x="202" y="67"/>
                      </a:lnTo>
                      <a:lnTo>
                        <a:pt x="196" y="69"/>
                      </a:lnTo>
                      <a:lnTo>
                        <a:pt x="191" y="71"/>
                      </a:lnTo>
                      <a:lnTo>
                        <a:pt x="186" y="71"/>
                      </a:lnTo>
                      <a:lnTo>
                        <a:pt x="191" y="73"/>
                      </a:lnTo>
                      <a:lnTo>
                        <a:pt x="196" y="74"/>
                      </a:lnTo>
                      <a:lnTo>
                        <a:pt x="201" y="74"/>
                      </a:lnTo>
                      <a:lnTo>
                        <a:pt x="206" y="74"/>
                      </a:lnTo>
                      <a:lnTo>
                        <a:pt x="216" y="72"/>
                      </a:lnTo>
                      <a:lnTo>
                        <a:pt x="226" y="71"/>
                      </a:lnTo>
                      <a:lnTo>
                        <a:pt x="224" y="77"/>
                      </a:lnTo>
                      <a:lnTo>
                        <a:pt x="219" y="84"/>
                      </a:lnTo>
                      <a:lnTo>
                        <a:pt x="217" y="88"/>
                      </a:lnTo>
                      <a:lnTo>
                        <a:pt x="215" y="93"/>
                      </a:lnTo>
                      <a:lnTo>
                        <a:pt x="214" y="97"/>
                      </a:lnTo>
                      <a:lnTo>
                        <a:pt x="213" y="102"/>
                      </a:lnTo>
                      <a:lnTo>
                        <a:pt x="217" y="105"/>
                      </a:lnTo>
                      <a:lnTo>
                        <a:pt x="230" y="109"/>
                      </a:lnTo>
                      <a:lnTo>
                        <a:pt x="249" y="113"/>
                      </a:lnTo>
                      <a:lnTo>
                        <a:pt x="269" y="117"/>
                      </a:lnTo>
                      <a:lnTo>
                        <a:pt x="308" y="124"/>
                      </a:lnTo>
                      <a:lnTo>
                        <a:pt x="326" y="127"/>
                      </a:lnTo>
                      <a:lnTo>
                        <a:pt x="322" y="131"/>
                      </a:lnTo>
                      <a:lnTo>
                        <a:pt x="319" y="136"/>
                      </a:lnTo>
                      <a:lnTo>
                        <a:pt x="315" y="140"/>
                      </a:lnTo>
                      <a:lnTo>
                        <a:pt x="310" y="144"/>
                      </a:lnTo>
                      <a:lnTo>
                        <a:pt x="303" y="149"/>
                      </a:lnTo>
                      <a:lnTo>
                        <a:pt x="299" y="151"/>
                      </a:lnTo>
                      <a:lnTo>
                        <a:pt x="299" y="154"/>
                      </a:lnTo>
                      <a:lnTo>
                        <a:pt x="301" y="157"/>
                      </a:lnTo>
                      <a:lnTo>
                        <a:pt x="302" y="160"/>
                      </a:lnTo>
                      <a:lnTo>
                        <a:pt x="304" y="164"/>
                      </a:lnTo>
                      <a:lnTo>
                        <a:pt x="308" y="168"/>
                      </a:lnTo>
                      <a:lnTo>
                        <a:pt x="314" y="173"/>
                      </a:lnTo>
                      <a:lnTo>
                        <a:pt x="319" y="176"/>
                      </a:lnTo>
                      <a:lnTo>
                        <a:pt x="325" y="180"/>
                      </a:lnTo>
                      <a:lnTo>
                        <a:pt x="329" y="184"/>
                      </a:lnTo>
                      <a:lnTo>
                        <a:pt x="332" y="188"/>
                      </a:lnTo>
                      <a:lnTo>
                        <a:pt x="290" y="211"/>
                      </a:lnTo>
                      <a:lnTo>
                        <a:pt x="257" y="231"/>
                      </a:lnTo>
                      <a:lnTo>
                        <a:pt x="241" y="241"/>
                      </a:lnTo>
                      <a:lnTo>
                        <a:pt x="225" y="253"/>
                      </a:lnTo>
                      <a:lnTo>
                        <a:pt x="207" y="268"/>
                      </a:lnTo>
                      <a:lnTo>
                        <a:pt x="186" y="287"/>
                      </a:lnTo>
                      <a:lnTo>
                        <a:pt x="173" y="244"/>
                      </a:lnTo>
                      <a:lnTo>
                        <a:pt x="178" y="244"/>
                      </a:lnTo>
                      <a:lnTo>
                        <a:pt x="182" y="243"/>
                      </a:lnTo>
                      <a:lnTo>
                        <a:pt x="185" y="242"/>
                      </a:lnTo>
                      <a:lnTo>
                        <a:pt x="189" y="240"/>
                      </a:lnTo>
                      <a:lnTo>
                        <a:pt x="194" y="236"/>
                      </a:lnTo>
                      <a:lnTo>
                        <a:pt x="200" y="232"/>
                      </a:lnTo>
                      <a:lnTo>
                        <a:pt x="174" y="232"/>
                      </a:lnTo>
                      <a:lnTo>
                        <a:pt x="149" y="232"/>
                      </a:lnTo>
                      <a:lnTo>
                        <a:pt x="125" y="232"/>
                      </a:lnTo>
                      <a:lnTo>
                        <a:pt x="101" y="232"/>
                      </a:lnTo>
                      <a:lnTo>
                        <a:pt x="79" y="232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27" y="232"/>
                      </a:lnTo>
                      <a:lnTo>
                        <a:pt x="19" y="231"/>
                      </a:lnTo>
                      <a:lnTo>
                        <a:pt x="11" y="227"/>
                      </a:lnTo>
                      <a:lnTo>
                        <a:pt x="6" y="225"/>
                      </a:lnTo>
                      <a:lnTo>
                        <a:pt x="3" y="222"/>
                      </a:lnTo>
                      <a:lnTo>
                        <a:pt x="1" y="218"/>
                      </a:lnTo>
                      <a:lnTo>
                        <a:pt x="0" y="213"/>
                      </a:lnTo>
                      <a:lnTo>
                        <a:pt x="1" y="209"/>
                      </a:lnTo>
                      <a:lnTo>
                        <a:pt x="4" y="205"/>
                      </a:lnTo>
                      <a:lnTo>
                        <a:pt x="7" y="201"/>
                      </a:lnTo>
                      <a:lnTo>
                        <a:pt x="13" y="197"/>
                      </a:lnTo>
                      <a:lnTo>
                        <a:pt x="26" y="188"/>
                      </a:lnTo>
                      <a:lnTo>
                        <a:pt x="41" y="179"/>
                      </a:lnTo>
                      <a:lnTo>
                        <a:pt x="58" y="170"/>
                      </a:lnTo>
                      <a:lnTo>
                        <a:pt x="73" y="162"/>
                      </a:lnTo>
                      <a:lnTo>
                        <a:pt x="80" y="156"/>
                      </a:lnTo>
                      <a:lnTo>
                        <a:pt x="85" y="152"/>
                      </a:lnTo>
                      <a:lnTo>
                        <a:pt x="90" y="149"/>
                      </a:lnTo>
                      <a:lnTo>
                        <a:pt x="93" y="145"/>
                      </a:lnTo>
                      <a:lnTo>
                        <a:pt x="100" y="138"/>
                      </a:lnTo>
                      <a:lnTo>
                        <a:pt x="106" y="130"/>
                      </a:lnTo>
                      <a:lnTo>
                        <a:pt x="112" y="122"/>
                      </a:lnTo>
                      <a:lnTo>
                        <a:pt x="116" y="114"/>
                      </a:lnTo>
                      <a:lnTo>
                        <a:pt x="124" y="96"/>
                      </a:lnTo>
                      <a:lnTo>
                        <a:pt x="130" y="79"/>
                      </a:lnTo>
                      <a:lnTo>
                        <a:pt x="134" y="71"/>
                      </a:lnTo>
                      <a:lnTo>
                        <a:pt x="138" y="64"/>
                      </a:lnTo>
                      <a:lnTo>
                        <a:pt x="141" y="58"/>
                      </a:lnTo>
                      <a:lnTo>
                        <a:pt x="147" y="52"/>
                      </a:lnTo>
                      <a:lnTo>
                        <a:pt x="151" y="47"/>
                      </a:lnTo>
                      <a:lnTo>
                        <a:pt x="158" y="43"/>
                      </a:lnTo>
                      <a:lnTo>
                        <a:pt x="164" y="41"/>
                      </a:lnTo>
                      <a:lnTo>
                        <a:pt x="173" y="4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5" name="Freeform 428"/>
                <p:cNvSpPr>
                  <a:spLocks/>
                </p:cNvSpPr>
                <p:nvPr/>
              </p:nvSpPr>
              <p:spPr bwMode="auto">
                <a:xfrm>
                  <a:off x="1102" y="1190"/>
                  <a:ext cx="111" cy="27"/>
                </a:xfrm>
                <a:custGeom>
                  <a:avLst/>
                  <a:gdLst>
                    <a:gd name="T0" fmla="*/ 106 w 345"/>
                    <a:gd name="T1" fmla="*/ 86 h 86"/>
                    <a:gd name="T2" fmla="*/ 119 w 345"/>
                    <a:gd name="T3" fmla="*/ 81 h 86"/>
                    <a:gd name="T4" fmla="*/ 133 w 345"/>
                    <a:gd name="T5" fmla="*/ 76 h 86"/>
                    <a:gd name="T6" fmla="*/ 148 w 345"/>
                    <a:gd name="T7" fmla="*/ 72 h 86"/>
                    <a:gd name="T8" fmla="*/ 164 w 345"/>
                    <a:gd name="T9" fmla="*/ 69 h 86"/>
                    <a:gd name="T10" fmla="*/ 197 w 345"/>
                    <a:gd name="T11" fmla="*/ 63 h 86"/>
                    <a:gd name="T12" fmla="*/ 231 w 345"/>
                    <a:gd name="T13" fmla="*/ 57 h 86"/>
                    <a:gd name="T14" fmla="*/ 247 w 345"/>
                    <a:gd name="T15" fmla="*/ 53 h 86"/>
                    <a:gd name="T16" fmla="*/ 264 w 345"/>
                    <a:gd name="T17" fmla="*/ 50 h 86"/>
                    <a:gd name="T18" fmla="*/ 279 w 345"/>
                    <a:gd name="T19" fmla="*/ 46 h 86"/>
                    <a:gd name="T20" fmla="*/ 294 w 345"/>
                    <a:gd name="T21" fmla="*/ 40 h 86"/>
                    <a:gd name="T22" fmla="*/ 309 w 345"/>
                    <a:gd name="T23" fmla="*/ 35 h 86"/>
                    <a:gd name="T24" fmla="*/ 322 w 345"/>
                    <a:gd name="T25" fmla="*/ 28 h 86"/>
                    <a:gd name="T26" fmla="*/ 334 w 345"/>
                    <a:gd name="T27" fmla="*/ 21 h 86"/>
                    <a:gd name="T28" fmla="*/ 345 w 345"/>
                    <a:gd name="T29" fmla="*/ 13 h 86"/>
                    <a:gd name="T30" fmla="*/ 335 w 345"/>
                    <a:gd name="T31" fmla="*/ 12 h 86"/>
                    <a:gd name="T32" fmla="*/ 326 w 345"/>
                    <a:gd name="T33" fmla="*/ 11 h 86"/>
                    <a:gd name="T34" fmla="*/ 317 w 345"/>
                    <a:gd name="T35" fmla="*/ 9 h 86"/>
                    <a:gd name="T36" fmla="*/ 309 w 345"/>
                    <a:gd name="T37" fmla="*/ 6 h 86"/>
                    <a:gd name="T38" fmla="*/ 300 w 345"/>
                    <a:gd name="T39" fmla="*/ 4 h 86"/>
                    <a:gd name="T40" fmla="*/ 291 w 345"/>
                    <a:gd name="T41" fmla="*/ 2 h 86"/>
                    <a:gd name="T42" fmla="*/ 281 w 345"/>
                    <a:gd name="T43" fmla="*/ 1 h 86"/>
                    <a:gd name="T44" fmla="*/ 272 w 345"/>
                    <a:gd name="T45" fmla="*/ 0 h 86"/>
                    <a:gd name="T46" fmla="*/ 259 w 345"/>
                    <a:gd name="T47" fmla="*/ 1 h 86"/>
                    <a:gd name="T48" fmla="*/ 245 w 345"/>
                    <a:gd name="T49" fmla="*/ 3 h 86"/>
                    <a:gd name="T50" fmla="*/ 227 w 345"/>
                    <a:gd name="T51" fmla="*/ 5 h 86"/>
                    <a:gd name="T52" fmla="*/ 209 w 345"/>
                    <a:gd name="T53" fmla="*/ 9 h 86"/>
                    <a:gd name="T54" fmla="*/ 168 w 345"/>
                    <a:gd name="T55" fmla="*/ 18 h 86"/>
                    <a:gd name="T56" fmla="*/ 126 w 345"/>
                    <a:gd name="T57" fmla="*/ 29 h 86"/>
                    <a:gd name="T58" fmla="*/ 104 w 345"/>
                    <a:gd name="T59" fmla="*/ 36 h 86"/>
                    <a:gd name="T60" fmla="*/ 85 w 345"/>
                    <a:gd name="T61" fmla="*/ 42 h 86"/>
                    <a:gd name="T62" fmla="*/ 66 w 345"/>
                    <a:gd name="T63" fmla="*/ 50 h 86"/>
                    <a:gd name="T64" fmla="*/ 47 w 345"/>
                    <a:gd name="T65" fmla="*/ 58 h 86"/>
                    <a:gd name="T66" fmla="*/ 32 w 345"/>
                    <a:gd name="T67" fmla="*/ 65 h 86"/>
                    <a:gd name="T68" fmla="*/ 19 w 345"/>
                    <a:gd name="T69" fmla="*/ 72 h 86"/>
                    <a:gd name="T70" fmla="*/ 8 w 345"/>
                    <a:gd name="T71" fmla="*/ 79 h 86"/>
                    <a:gd name="T72" fmla="*/ 0 w 345"/>
                    <a:gd name="T73" fmla="*/ 86 h 86"/>
                    <a:gd name="T74" fmla="*/ 106 w 345"/>
                    <a:gd name="T7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45" h="86">
                      <a:moveTo>
                        <a:pt x="106" y="86"/>
                      </a:moveTo>
                      <a:lnTo>
                        <a:pt x="119" y="81"/>
                      </a:lnTo>
                      <a:lnTo>
                        <a:pt x="133" y="76"/>
                      </a:lnTo>
                      <a:lnTo>
                        <a:pt x="148" y="72"/>
                      </a:lnTo>
                      <a:lnTo>
                        <a:pt x="164" y="69"/>
                      </a:lnTo>
                      <a:lnTo>
                        <a:pt x="197" y="63"/>
                      </a:lnTo>
                      <a:lnTo>
                        <a:pt x="231" y="57"/>
                      </a:lnTo>
                      <a:lnTo>
                        <a:pt x="247" y="53"/>
                      </a:lnTo>
                      <a:lnTo>
                        <a:pt x="264" y="50"/>
                      </a:lnTo>
                      <a:lnTo>
                        <a:pt x="279" y="46"/>
                      </a:lnTo>
                      <a:lnTo>
                        <a:pt x="294" y="40"/>
                      </a:lnTo>
                      <a:lnTo>
                        <a:pt x="309" y="35"/>
                      </a:lnTo>
                      <a:lnTo>
                        <a:pt x="322" y="28"/>
                      </a:lnTo>
                      <a:lnTo>
                        <a:pt x="334" y="21"/>
                      </a:lnTo>
                      <a:lnTo>
                        <a:pt x="345" y="13"/>
                      </a:lnTo>
                      <a:lnTo>
                        <a:pt x="335" y="12"/>
                      </a:lnTo>
                      <a:lnTo>
                        <a:pt x="326" y="11"/>
                      </a:lnTo>
                      <a:lnTo>
                        <a:pt x="317" y="9"/>
                      </a:lnTo>
                      <a:lnTo>
                        <a:pt x="309" y="6"/>
                      </a:lnTo>
                      <a:lnTo>
                        <a:pt x="300" y="4"/>
                      </a:lnTo>
                      <a:lnTo>
                        <a:pt x="291" y="2"/>
                      </a:lnTo>
                      <a:lnTo>
                        <a:pt x="281" y="1"/>
                      </a:lnTo>
                      <a:lnTo>
                        <a:pt x="272" y="0"/>
                      </a:lnTo>
                      <a:lnTo>
                        <a:pt x="259" y="1"/>
                      </a:lnTo>
                      <a:lnTo>
                        <a:pt x="245" y="3"/>
                      </a:lnTo>
                      <a:lnTo>
                        <a:pt x="227" y="5"/>
                      </a:lnTo>
                      <a:lnTo>
                        <a:pt x="209" y="9"/>
                      </a:lnTo>
                      <a:lnTo>
                        <a:pt x="168" y="18"/>
                      </a:lnTo>
                      <a:lnTo>
                        <a:pt x="126" y="29"/>
                      </a:lnTo>
                      <a:lnTo>
                        <a:pt x="104" y="36"/>
                      </a:lnTo>
                      <a:lnTo>
                        <a:pt x="85" y="42"/>
                      </a:lnTo>
                      <a:lnTo>
                        <a:pt x="66" y="50"/>
                      </a:lnTo>
                      <a:lnTo>
                        <a:pt x="47" y="58"/>
                      </a:lnTo>
                      <a:lnTo>
                        <a:pt x="32" y="65"/>
                      </a:lnTo>
                      <a:lnTo>
                        <a:pt x="19" y="72"/>
                      </a:lnTo>
                      <a:lnTo>
                        <a:pt x="8" y="79"/>
                      </a:lnTo>
                      <a:lnTo>
                        <a:pt x="0" y="86"/>
                      </a:lnTo>
                      <a:lnTo>
                        <a:pt x="106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6" name="Freeform 429"/>
                <p:cNvSpPr>
                  <a:spLocks/>
                </p:cNvSpPr>
                <p:nvPr/>
              </p:nvSpPr>
              <p:spPr bwMode="auto">
                <a:xfrm>
                  <a:off x="1158" y="1199"/>
                  <a:ext cx="149" cy="43"/>
                </a:xfrm>
                <a:custGeom>
                  <a:avLst/>
                  <a:gdLst>
                    <a:gd name="T0" fmla="*/ 19 w 464"/>
                    <a:gd name="T1" fmla="*/ 86 h 130"/>
                    <a:gd name="T2" fmla="*/ 77 w 464"/>
                    <a:gd name="T3" fmla="*/ 81 h 130"/>
                    <a:gd name="T4" fmla="*/ 103 w 464"/>
                    <a:gd name="T5" fmla="*/ 81 h 130"/>
                    <a:gd name="T6" fmla="*/ 92 w 464"/>
                    <a:gd name="T7" fmla="*/ 89 h 130"/>
                    <a:gd name="T8" fmla="*/ 81 w 464"/>
                    <a:gd name="T9" fmla="*/ 100 h 130"/>
                    <a:gd name="T10" fmla="*/ 73 w 464"/>
                    <a:gd name="T11" fmla="*/ 112 h 130"/>
                    <a:gd name="T12" fmla="*/ 73 w 464"/>
                    <a:gd name="T13" fmla="*/ 119 h 130"/>
                    <a:gd name="T14" fmla="*/ 79 w 464"/>
                    <a:gd name="T15" fmla="*/ 124 h 130"/>
                    <a:gd name="T16" fmla="*/ 92 w 464"/>
                    <a:gd name="T17" fmla="*/ 129 h 130"/>
                    <a:gd name="T18" fmla="*/ 109 w 464"/>
                    <a:gd name="T19" fmla="*/ 129 h 130"/>
                    <a:gd name="T20" fmla="*/ 128 w 464"/>
                    <a:gd name="T21" fmla="*/ 127 h 130"/>
                    <a:gd name="T22" fmla="*/ 157 w 464"/>
                    <a:gd name="T23" fmla="*/ 119 h 130"/>
                    <a:gd name="T24" fmla="*/ 196 w 464"/>
                    <a:gd name="T25" fmla="*/ 108 h 130"/>
                    <a:gd name="T26" fmla="*/ 226 w 464"/>
                    <a:gd name="T27" fmla="*/ 101 h 130"/>
                    <a:gd name="T28" fmla="*/ 248 w 464"/>
                    <a:gd name="T29" fmla="*/ 99 h 130"/>
                    <a:gd name="T30" fmla="*/ 266 w 464"/>
                    <a:gd name="T31" fmla="*/ 99 h 130"/>
                    <a:gd name="T32" fmla="*/ 304 w 464"/>
                    <a:gd name="T33" fmla="*/ 99 h 130"/>
                    <a:gd name="T34" fmla="*/ 333 w 464"/>
                    <a:gd name="T35" fmla="*/ 98 h 130"/>
                    <a:gd name="T36" fmla="*/ 376 w 464"/>
                    <a:gd name="T37" fmla="*/ 93 h 130"/>
                    <a:gd name="T38" fmla="*/ 415 w 464"/>
                    <a:gd name="T39" fmla="*/ 83 h 130"/>
                    <a:gd name="T40" fmla="*/ 449 w 464"/>
                    <a:gd name="T41" fmla="*/ 66 h 130"/>
                    <a:gd name="T42" fmla="*/ 455 w 464"/>
                    <a:gd name="T43" fmla="*/ 51 h 130"/>
                    <a:gd name="T44" fmla="*/ 439 w 464"/>
                    <a:gd name="T45" fmla="*/ 48 h 130"/>
                    <a:gd name="T46" fmla="*/ 413 w 464"/>
                    <a:gd name="T47" fmla="*/ 48 h 130"/>
                    <a:gd name="T48" fmla="*/ 396 w 464"/>
                    <a:gd name="T49" fmla="*/ 46 h 130"/>
                    <a:gd name="T50" fmla="*/ 406 w 464"/>
                    <a:gd name="T51" fmla="*/ 36 h 130"/>
                    <a:gd name="T52" fmla="*/ 413 w 464"/>
                    <a:gd name="T53" fmla="*/ 22 h 130"/>
                    <a:gd name="T54" fmla="*/ 418 w 464"/>
                    <a:gd name="T55" fmla="*/ 7 h 130"/>
                    <a:gd name="T56" fmla="*/ 378 w 464"/>
                    <a:gd name="T57" fmla="*/ 0 h 130"/>
                    <a:gd name="T58" fmla="*/ 360 w 464"/>
                    <a:gd name="T59" fmla="*/ 19 h 130"/>
                    <a:gd name="T60" fmla="*/ 343 w 464"/>
                    <a:gd name="T61" fmla="*/ 41 h 130"/>
                    <a:gd name="T62" fmla="*/ 323 w 464"/>
                    <a:gd name="T63" fmla="*/ 59 h 130"/>
                    <a:gd name="T64" fmla="*/ 312 w 464"/>
                    <a:gd name="T65" fmla="*/ 65 h 130"/>
                    <a:gd name="T66" fmla="*/ 298 w 464"/>
                    <a:gd name="T67" fmla="*/ 68 h 130"/>
                    <a:gd name="T68" fmla="*/ 278 w 464"/>
                    <a:gd name="T69" fmla="*/ 66 h 130"/>
                    <a:gd name="T70" fmla="*/ 262 w 464"/>
                    <a:gd name="T71" fmla="*/ 63 h 130"/>
                    <a:gd name="T72" fmla="*/ 239 w 464"/>
                    <a:gd name="T73" fmla="*/ 54 h 130"/>
                    <a:gd name="T74" fmla="*/ 205 w 464"/>
                    <a:gd name="T75" fmla="*/ 31 h 130"/>
                    <a:gd name="T76" fmla="*/ 180 w 464"/>
                    <a:gd name="T77" fmla="*/ 29 h 130"/>
                    <a:gd name="T78" fmla="*/ 150 w 464"/>
                    <a:gd name="T79" fmla="*/ 31 h 130"/>
                    <a:gd name="T80" fmla="*/ 117 w 464"/>
                    <a:gd name="T81" fmla="*/ 37 h 130"/>
                    <a:gd name="T82" fmla="*/ 85 w 464"/>
                    <a:gd name="T83" fmla="*/ 45 h 130"/>
                    <a:gd name="T84" fmla="*/ 54 w 464"/>
                    <a:gd name="T85" fmla="*/ 54 h 130"/>
                    <a:gd name="T86" fmla="*/ 29 w 464"/>
                    <a:gd name="T87" fmla="*/ 65 h 130"/>
                    <a:gd name="T88" fmla="*/ 9 w 464"/>
                    <a:gd name="T89" fmla="*/ 77 h 130"/>
                    <a:gd name="T90" fmla="*/ 0 w 464"/>
                    <a:gd name="T91" fmla="*/ 86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64" h="130">
                      <a:moveTo>
                        <a:pt x="0" y="86"/>
                      </a:moveTo>
                      <a:lnTo>
                        <a:pt x="19" y="86"/>
                      </a:lnTo>
                      <a:lnTo>
                        <a:pt x="48" y="83"/>
                      </a:lnTo>
                      <a:lnTo>
                        <a:pt x="77" y="81"/>
                      </a:lnTo>
                      <a:lnTo>
                        <a:pt x="106" y="80"/>
                      </a:lnTo>
                      <a:lnTo>
                        <a:pt x="103" y="81"/>
                      </a:lnTo>
                      <a:lnTo>
                        <a:pt x="97" y="84"/>
                      </a:lnTo>
                      <a:lnTo>
                        <a:pt x="92" y="89"/>
                      </a:lnTo>
                      <a:lnTo>
                        <a:pt x="86" y="94"/>
                      </a:lnTo>
                      <a:lnTo>
                        <a:pt x="81" y="100"/>
                      </a:lnTo>
                      <a:lnTo>
                        <a:pt x="76" y="106"/>
                      </a:lnTo>
                      <a:lnTo>
                        <a:pt x="73" y="112"/>
                      </a:lnTo>
                      <a:lnTo>
                        <a:pt x="72" y="117"/>
                      </a:lnTo>
                      <a:lnTo>
                        <a:pt x="73" y="119"/>
                      </a:lnTo>
                      <a:lnTo>
                        <a:pt x="75" y="121"/>
                      </a:lnTo>
                      <a:lnTo>
                        <a:pt x="79" y="124"/>
                      </a:lnTo>
                      <a:lnTo>
                        <a:pt x="83" y="126"/>
                      </a:lnTo>
                      <a:lnTo>
                        <a:pt x="92" y="129"/>
                      </a:lnTo>
                      <a:lnTo>
                        <a:pt x="99" y="130"/>
                      </a:lnTo>
                      <a:lnTo>
                        <a:pt x="109" y="129"/>
                      </a:lnTo>
                      <a:lnTo>
                        <a:pt x="119" y="129"/>
                      </a:lnTo>
                      <a:lnTo>
                        <a:pt x="128" y="127"/>
                      </a:lnTo>
                      <a:lnTo>
                        <a:pt x="138" y="125"/>
                      </a:lnTo>
                      <a:lnTo>
                        <a:pt x="157" y="119"/>
                      </a:lnTo>
                      <a:lnTo>
                        <a:pt x="176" y="114"/>
                      </a:lnTo>
                      <a:lnTo>
                        <a:pt x="196" y="108"/>
                      </a:lnTo>
                      <a:lnTo>
                        <a:pt x="216" y="103"/>
                      </a:lnTo>
                      <a:lnTo>
                        <a:pt x="226" y="101"/>
                      </a:lnTo>
                      <a:lnTo>
                        <a:pt x="237" y="100"/>
                      </a:lnTo>
                      <a:lnTo>
                        <a:pt x="248" y="99"/>
                      </a:lnTo>
                      <a:lnTo>
                        <a:pt x="259" y="99"/>
                      </a:lnTo>
                      <a:lnTo>
                        <a:pt x="266" y="99"/>
                      </a:lnTo>
                      <a:lnTo>
                        <a:pt x="285" y="99"/>
                      </a:lnTo>
                      <a:lnTo>
                        <a:pt x="304" y="99"/>
                      </a:lnTo>
                      <a:lnTo>
                        <a:pt x="311" y="99"/>
                      </a:lnTo>
                      <a:lnTo>
                        <a:pt x="333" y="98"/>
                      </a:lnTo>
                      <a:lnTo>
                        <a:pt x="355" y="96"/>
                      </a:lnTo>
                      <a:lnTo>
                        <a:pt x="376" y="93"/>
                      </a:lnTo>
                      <a:lnTo>
                        <a:pt x="396" y="89"/>
                      </a:lnTo>
                      <a:lnTo>
                        <a:pt x="415" y="83"/>
                      </a:lnTo>
                      <a:lnTo>
                        <a:pt x="432" y="76"/>
                      </a:lnTo>
                      <a:lnTo>
                        <a:pt x="449" y="66"/>
                      </a:lnTo>
                      <a:lnTo>
                        <a:pt x="464" y="55"/>
                      </a:lnTo>
                      <a:lnTo>
                        <a:pt x="455" y="51"/>
                      </a:lnTo>
                      <a:lnTo>
                        <a:pt x="446" y="49"/>
                      </a:lnTo>
                      <a:lnTo>
                        <a:pt x="439" y="48"/>
                      </a:lnTo>
                      <a:lnTo>
                        <a:pt x="430" y="48"/>
                      </a:lnTo>
                      <a:lnTo>
                        <a:pt x="413" y="48"/>
                      </a:lnTo>
                      <a:lnTo>
                        <a:pt x="392" y="49"/>
                      </a:lnTo>
                      <a:lnTo>
                        <a:pt x="396" y="46"/>
                      </a:lnTo>
                      <a:lnTo>
                        <a:pt x="401" y="42"/>
                      </a:lnTo>
                      <a:lnTo>
                        <a:pt x="406" y="36"/>
                      </a:lnTo>
                      <a:lnTo>
                        <a:pt x="410" y="29"/>
                      </a:lnTo>
                      <a:lnTo>
                        <a:pt x="413" y="22"/>
                      </a:lnTo>
                      <a:lnTo>
                        <a:pt x="416" y="15"/>
                      </a:lnTo>
                      <a:lnTo>
                        <a:pt x="418" y="7"/>
                      </a:lnTo>
                      <a:lnTo>
                        <a:pt x="418" y="0"/>
                      </a:lnTo>
                      <a:lnTo>
                        <a:pt x="378" y="0"/>
                      </a:lnTo>
                      <a:lnTo>
                        <a:pt x="368" y="8"/>
                      </a:lnTo>
                      <a:lnTo>
                        <a:pt x="360" y="19"/>
                      </a:lnTo>
                      <a:lnTo>
                        <a:pt x="352" y="30"/>
                      </a:lnTo>
                      <a:lnTo>
                        <a:pt x="343" y="41"/>
                      </a:lnTo>
                      <a:lnTo>
                        <a:pt x="334" y="51"/>
                      </a:lnTo>
                      <a:lnTo>
                        <a:pt x="323" y="59"/>
                      </a:lnTo>
                      <a:lnTo>
                        <a:pt x="318" y="63"/>
                      </a:lnTo>
                      <a:lnTo>
                        <a:pt x="312" y="65"/>
                      </a:lnTo>
                      <a:lnTo>
                        <a:pt x="306" y="68"/>
                      </a:lnTo>
                      <a:lnTo>
                        <a:pt x="298" y="68"/>
                      </a:lnTo>
                      <a:lnTo>
                        <a:pt x="287" y="68"/>
                      </a:lnTo>
                      <a:lnTo>
                        <a:pt x="278" y="66"/>
                      </a:lnTo>
                      <a:lnTo>
                        <a:pt x="270" y="65"/>
                      </a:lnTo>
                      <a:lnTo>
                        <a:pt x="262" y="63"/>
                      </a:lnTo>
                      <a:lnTo>
                        <a:pt x="250" y="59"/>
                      </a:lnTo>
                      <a:lnTo>
                        <a:pt x="239" y="54"/>
                      </a:lnTo>
                      <a:lnTo>
                        <a:pt x="222" y="42"/>
                      </a:lnTo>
                      <a:lnTo>
                        <a:pt x="205" y="31"/>
                      </a:lnTo>
                      <a:lnTo>
                        <a:pt x="193" y="29"/>
                      </a:lnTo>
                      <a:lnTo>
                        <a:pt x="180" y="29"/>
                      </a:lnTo>
                      <a:lnTo>
                        <a:pt x="165" y="29"/>
                      </a:lnTo>
                      <a:lnTo>
                        <a:pt x="150" y="31"/>
                      </a:lnTo>
                      <a:lnTo>
                        <a:pt x="133" y="33"/>
                      </a:lnTo>
                      <a:lnTo>
                        <a:pt x="117" y="37"/>
                      </a:lnTo>
                      <a:lnTo>
                        <a:pt x="101" y="40"/>
                      </a:lnTo>
                      <a:lnTo>
                        <a:pt x="85" y="45"/>
                      </a:lnTo>
                      <a:lnTo>
                        <a:pt x="70" y="49"/>
                      </a:lnTo>
                      <a:lnTo>
                        <a:pt x="54" y="54"/>
                      </a:lnTo>
                      <a:lnTo>
                        <a:pt x="41" y="60"/>
                      </a:lnTo>
                      <a:lnTo>
                        <a:pt x="29" y="65"/>
                      </a:lnTo>
                      <a:lnTo>
                        <a:pt x="18" y="71"/>
                      </a:lnTo>
                      <a:lnTo>
                        <a:pt x="9" y="77"/>
                      </a:lnTo>
                      <a:lnTo>
                        <a:pt x="3" y="82"/>
                      </a:lnTo>
                      <a:lnTo>
                        <a:pt x="0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7" name="Freeform 430"/>
                <p:cNvSpPr>
                  <a:spLocks/>
                </p:cNvSpPr>
                <p:nvPr/>
              </p:nvSpPr>
              <p:spPr bwMode="auto">
                <a:xfrm>
                  <a:off x="1472" y="1205"/>
                  <a:ext cx="153" cy="31"/>
                </a:xfrm>
                <a:custGeom>
                  <a:avLst/>
                  <a:gdLst>
                    <a:gd name="T0" fmla="*/ 63 w 472"/>
                    <a:gd name="T1" fmla="*/ 0 h 92"/>
                    <a:gd name="T2" fmla="*/ 44 w 472"/>
                    <a:gd name="T3" fmla="*/ 0 h 92"/>
                    <a:gd name="T4" fmla="*/ 24 w 472"/>
                    <a:gd name="T5" fmla="*/ 0 h 92"/>
                    <a:gd name="T6" fmla="*/ 12 w 472"/>
                    <a:gd name="T7" fmla="*/ 3 h 92"/>
                    <a:gd name="T8" fmla="*/ 7 w 472"/>
                    <a:gd name="T9" fmla="*/ 8 h 92"/>
                    <a:gd name="T10" fmla="*/ 7 w 472"/>
                    <a:gd name="T11" fmla="*/ 16 h 92"/>
                    <a:gd name="T12" fmla="*/ 10 w 472"/>
                    <a:gd name="T13" fmla="*/ 23 h 92"/>
                    <a:gd name="T14" fmla="*/ 15 w 472"/>
                    <a:gd name="T15" fmla="*/ 32 h 92"/>
                    <a:gd name="T16" fmla="*/ 14 w 472"/>
                    <a:gd name="T17" fmla="*/ 41 h 92"/>
                    <a:gd name="T18" fmla="*/ 4 w 472"/>
                    <a:gd name="T19" fmla="*/ 50 h 92"/>
                    <a:gd name="T20" fmla="*/ 1 w 472"/>
                    <a:gd name="T21" fmla="*/ 57 h 92"/>
                    <a:gd name="T22" fmla="*/ 2 w 472"/>
                    <a:gd name="T23" fmla="*/ 64 h 92"/>
                    <a:gd name="T24" fmla="*/ 14 w 472"/>
                    <a:gd name="T25" fmla="*/ 69 h 92"/>
                    <a:gd name="T26" fmla="*/ 48 w 472"/>
                    <a:gd name="T27" fmla="*/ 76 h 92"/>
                    <a:gd name="T28" fmla="*/ 109 w 472"/>
                    <a:gd name="T29" fmla="*/ 85 h 92"/>
                    <a:gd name="T30" fmla="*/ 167 w 472"/>
                    <a:gd name="T31" fmla="*/ 91 h 92"/>
                    <a:gd name="T32" fmla="*/ 365 w 472"/>
                    <a:gd name="T33" fmla="*/ 92 h 92"/>
                    <a:gd name="T34" fmla="*/ 374 w 472"/>
                    <a:gd name="T35" fmla="*/ 81 h 92"/>
                    <a:gd name="T36" fmla="*/ 385 w 472"/>
                    <a:gd name="T37" fmla="*/ 75 h 92"/>
                    <a:gd name="T38" fmla="*/ 397 w 472"/>
                    <a:gd name="T39" fmla="*/ 73 h 92"/>
                    <a:gd name="T40" fmla="*/ 411 w 472"/>
                    <a:gd name="T41" fmla="*/ 73 h 92"/>
                    <a:gd name="T42" fmla="*/ 441 w 472"/>
                    <a:gd name="T43" fmla="*/ 76 h 92"/>
                    <a:gd name="T44" fmla="*/ 456 w 472"/>
                    <a:gd name="T45" fmla="*/ 76 h 92"/>
                    <a:gd name="T46" fmla="*/ 472 w 472"/>
                    <a:gd name="T47" fmla="*/ 73 h 92"/>
                    <a:gd name="T48" fmla="*/ 465 w 472"/>
                    <a:gd name="T49" fmla="*/ 33 h 92"/>
                    <a:gd name="T50" fmla="*/ 453 w 472"/>
                    <a:gd name="T51" fmla="*/ 26 h 92"/>
                    <a:gd name="T52" fmla="*/ 443 w 472"/>
                    <a:gd name="T53" fmla="*/ 18 h 92"/>
                    <a:gd name="T54" fmla="*/ 432 w 472"/>
                    <a:gd name="T55" fmla="*/ 13 h 92"/>
                    <a:gd name="T56" fmla="*/ 416 w 472"/>
                    <a:gd name="T57" fmla="*/ 12 h 92"/>
                    <a:gd name="T58" fmla="*/ 396 w 472"/>
                    <a:gd name="T59" fmla="*/ 15 h 92"/>
                    <a:gd name="T60" fmla="*/ 367 w 472"/>
                    <a:gd name="T61" fmla="*/ 22 h 92"/>
                    <a:gd name="T62" fmla="*/ 328 w 472"/>
                    <a:gd name="T63" fmla="*/ 33 h 92"/>
                    <a:gd name="T64" fmla="*/ 298 w 472"/>
                    <a:gd name="T65" fmla="*/ 39 h 92"/>
                    <a:gd name="T66" fmla="*/ 276 w 472"/>
                    <a:gd name="T67" fmla="*/ 42 h 92"/>
                    <a:gd name="T68" fmla="*/ 236 w 472"/>
                    <a:gd name="T69" fmla="*/ 42 h 92"/>
                    <a:gd name="T70" fmla="*/ 191 w 472"/>
                    <a:gd name="T71" fmla="*/ 42 h 92"/>
                    <a:gd name="T72" fmla="*/ 156 w 472"/>
                    <a:gd name="T73" fmla="*/ 42 h 92"/>
                    <a:gd name="T74" fmla="*/ 120 w 472"/>
                    <a:gd name="T75" fmla="*/ 42 h 92"/>
                    <a:gd name="T76" fmla="*/ 91 w 472"/>
                    <a:gd name="T77" fmla="*/ 41 h 92"/>
                    <a:gd name="T78" fmla="*/ 78 w 472"/>
                    <a:gd name="T79" fmla="*/ 36 h 92"/>
                    <a:gd name="T80" fmla="*/ 70 w 472"/>
                    <a:gd name="T81" fmla="*/ 27 h 92"/>
                    <a:gd name="T82" fmla="*/ 67 w 472"/>
                    <a:gd name="T83" fmla="*/ 17 h 92"/>
                    <a:gd name="T84" fmla="*/ 69 w 472"/>
                    <a:gd name="T85" fmla="*/ 8 h 92"/>
                    <a:gd name="T86" fmla="*/ 74 w 472"/>
                    <a:gd name="T87" fmla="*/ 2 h 92"/>
                    <a:gd name="T88" fmla="*/ 74 w 472"/>
                    <a:gd name="T89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72" h="92">
                      <a:moveTo>
                        <a:pt x="73" y="0"/>
                      </a:moveTo>
                      <a:lnTo>
                        <a:pt x="63" y="0"/>
                      </a:lnTo>
                      <a:lnTo>
                        <a:pt x="53" y="0"/>
                      </a:lnTo>
                      <a:lnTo>
                        <a:pt x="44" y="0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5" y="1"/>
                      </a:lnTo>
                      <a:lnTo>
                        <a:pt x="12" y="3"/>
                      </a:lnTo>
                      <a:lnTo>
                        <a:pt x="8" y="5"/>
                      </a:lnTo>
                      <a:lnTo>
                        <a:pt x="7" y="8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10" y="23"/>
                      </a:lnTo>
                      <a:lnTo>
                        <a:pt x="11" y="26"/>
                      </a:lnTo>
                      <a:lnTo>
                        <a:pt x="15" y="32"/>
                      </a:lnTo>
                      <a:lnTo>
                        <a:pt x="19" y="36"/>
                      </a:lnTo>
                      <a:lnTo>
                        <a:pt x="14" y="41"/>
                      </a:lnTo>
                      <a:lnTo>
                        <a:pt x="7" y="46"/>
                      </a:lnTo>
                      <a:lnTo>
                        <a:pt x="4" y="50"/>
                      </a:lnTo>
                      <a:lnTo>
                        <a:pt x="2" y="53"/>
                      </a:lnTo>
                      <a:lnTo>
                        <a:pt x="1" y="57"/>
                      </a:lnTo>
                      <a:lnTo>
                        <a:pt x="0" y="61"/>
                      </a:lnTo>
                      <a:lnTo>
                        <a:pt x="2" y="64"/>
                      </a:lnTo>
                      <a:lnTo>
                        <a:pt x="6" y="66"/>
                      </a:lnTo>
                      <a:lnTo>
                        <a:pt x="14" y="69"/>
                      </a:lnTo>
                      <a:lnTo>
                        <a:pt x="24" y="71"/>
                      </a:lnTo>
                      <a:lnTo>
                        <a:pt x="48" y="76"/>
                      </a:lnTo>
                      <a:lnTo>
                        <a:pt x="78" y="81"/>
                      </a:lnTo>
                      <a:lnTo>
                        <a:pt x="109" y="85"/>
                      </a:lnTo>
                      <a:lnTo>
                        <a:pt x="140" y="89"/>
                      </a:lnTo>
                      <a:lnTo>
                        <a:pt x="167" y="91"/>
                      </a:lnTo>
                      <a:lnTo>
                        <a:pt x="186" y="92"/>
                      </a:lnTo>
                      <a:lnTo>
                        <a:pt x="365" y="92"/>
                      </a:lnTo>
                      <a:lnTo>
                        <a:pt x="370" y="86"/>
                      </a:lnTo>
                      <a:lnTo>
                        <a:pt x="374" y="81"/>
                      </a:lnTo>
                      <a:lnTo>
                        <a:pt x="380" y="78"/>
                      </a:lnTo>
                      <a:lnTo>
                        <a:pt x="385" y="75"/>
                      </a:lnTo>
                      <a:lnTo>
                        <a:pt x="391" y="74"/>
                      </a:lnTo>
                      <a:lnTo>
                        <a:pt x="397" y="73"/>
                      </a:lnTo>
                      <a:lnTo>
                        <a:pt x="404" y="73"/>
                      </a:lnTo>
                      <a:lnTo>
                        <a:pt x="411" y="73"/>
                      </a:lnTo>
                      <a:lnTo>
                        <a:pt x="426" y="75"/>
                      </a:lnTo>
                      <a:lnTo>
                        <a:pt x="441" y="76"/>
                      </a:lnTo>
                      <a:lnTo>
                        <a:pt x="449" y="77"/>
                      </a:lnTo>
                      <a:lnTo>
                        <a:pt x="456" y="76"/>
                      </a:lnTo>
                      <a:lnTo>
                        <a:pt x="464" y="75"/>
                      </a:lnTo>
                      <a:lnTo>
                        <a:pt x="472" y="73"/>
                      </a:lnTo>
                      <a:lnTo>
                        <a:pt x="472" y="36"/>
                      </a:lnTo>
                      <a:lnTo>
                        <a:pt x="465" y="33"/>
                      </a:lnTo>
                      <a:lnTo>
                        <a:pt x="459" y="30"/>
                      </a:lnTo>
                      <a:lnTo>
                        <a:pt x="453" y="26"/>
                      </a:lnTo>
                      <a:lnTo>
                        <a:pt x="449" y="22"/>
                      </a:lnTo>
                      <a:lnTo>
                        <a:pt x="443" y="18"/>
                      </a:lnTo>
                      <a:lnTo>
                        <a:pt x="438" y="15"/>
                      </a:lnTo>
                      <a:lnTo>
                        <a:pt x="432" y="13"/>
                      </a:lnTo>
                      <a:lnTo>
                        <a:pt x="426" y="12"/>
                      </a:lnTo>
                      <a:lnTo>
                        <a:pt x="416" y="12"/>
                      </a:lnTo>
                      <a:lnTo>
                        <a:pt x="406" y="13"/>
                      </a:lnTo>
                      <a:lnTo>
                        <a:pt x="396" y="15"/>
                      </a:lnTo>
                      <a:lnTo>
                        <a:pt x="386" y="17"/>
                      </a:lnTo>
                      <a:lnTo>
                        <a:pt x="367" y="22"/>
                      </a:lnTo>
                      <a:lnTo>
                        <a:pt x="348" y="27"/>
                      </a:lnTo>
                      <a:lnTo>
                        <a:pt x="328" y="33"/>
                      </a:lnTo>
                      <a:lnTo>
                        <a:pt x="308" y="38"/>
                      </a:lnTo>
                      <a:lnTo>
                        <a:pt x="298" y="39"/>
                      </a:lnTo>
                      <a:lnTo>
                        <a:pt x="287" y="41"/>
                      </a:lnTo>
                      <a:lnTo>
                        <a:pt x="276" y="42"/>
                      </a:lnTo>
                      <a:lnTo>
                        <a:pt x="265" y="42"/>
                      </a:lnTo>
                      <a:lnTo>
                        <a:pt x="236" y="42"/>
                      </a:lnTo>
                      <a:lnTo>
                        <a:pt x="212" y="42"/>
                      </a:lnTo>
                      <a:lnTo>
                        <a:pt x="191" y="42"/>
                      </a:lnTo>
                      <a:lnTo>
                        <a:pt x="173" y="42"/>
                      </a:lnTo>
                      <a:lnTo>
                        <a:pt x="156" y="42"/>
                      </a:lnTo>
                      <a:lnTo>
                        <a:pt x="139" y="42"/>
                      </a:lnTo>
                      <a:lnTo>
                        <a:pt x="120" y="42"/>
                      </a:lnTo>
                      <a:lnTo>
                        <a:pt x="100" y="42"/>
                      </a:lnTo>
                      <a:lnTo>
                        <a:pt x="91" y="41"/>
                      </a:lnTo>
                      <a:lnTo>
                        <a:pt x="83" y="39"/>
                      </a:lnTo>
                      <a:lnTo>
                        <a:pt x="78" y="36"/>
                      </a:lnTo>
                      <a:lnTo>
                        <a:pt x="73" y="32"/>
                      </a:lnTo>
                      <a:lnTo>
                        <a:pt x="70" y="27"/>
                      </a:lnTo>
                      <a:lnTo>
                        <a:pt x="68" y="22"/>
                      </a:lnTo>
                      <a:lnTo>
                        <a:pt x="67" y="17"/>
                      </a:lnTo>
                      <a:lnTo>
                        <a:pt x="67" y="12"/>
                      </a:lnTo>
                      <a:lnTo>
                        <a:pt x="69" y="8"/>
                      </a:lnTo>
                      <a:lnTo>
                        <a:pt x="72" y="4"/>
                      </a:lnTo>
                      <a:lnTo>
                        <a:pt x="74" y="2"/>
                      </a:lnTo>
                      <a:lnTo>
                        <a:pt x="75" y="1"/>
                      </a:lnTo>
                      <a:lnTo>
                        <a:pt x="74" y="0"/>
                      </a:lnTo>
                      <a:lnTo>
                        <a:pt x="7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8" name="Freeform 431"/>
                <p:cNvSpPr>
                  <a:spLocks/>
                </p:cNvSpPr>
                <p:nvPr/>
              </p:nvSpPr>
              <p:spPr bwMode="auto">
                <a:xfrm>
                  <a:off x="1513" y="1136"/>
                  <a:ext cx="106" cy="45"/>
                </a:xfrm>
                <a:custGeom>
                  <a:avLst/>
                  <a:gdLst>
                    <a:gd name="T0" fmla="*/ 145 w 326"/>
                    <a:gd name="T1" fmla="*/ 107 h 135"/>
                    <a:gd name="T2" fmla="*/ 203 w 326"/>
                    <a:gd name="T3" fmla="*/ 97 h 135"/>
                    <a:gd name="T4" fmla="*/ 262 w 326"/>
                    <a:gd name="T5" fmla="*/ 84 h 135"/>
                    <a:gd name="T6" fmla="*/ 300 w 326"/>
                    <a:gd name="T7" fmla="*/ 74 h 135"/>
                    <a:gd name="T8" fmla="*/ 318 w 326"/>
                    <a:gd name="T9" fmla="*/ 66 h 135"/>
                    <a:gd name="T10" fmla="*/ 322 w 326"/>
                    <a:gd name="T11" fmla="*/ 56 h 135"/>
                    <a:gd name="T12" fmla="*/ 312 w 326"/>
                    <a:gd name="T13" fmla="*/ 48 h 135"/>
                    <a:gd name="T14" fmla="*/ 300 w 326"/>
                    <a:gd name="T15" fmla="*/ 41 h 135"/>
                    <a:gd name="T16" fmla="*/ 286 w 326"/>
                    <a:gd name="T17" fmla="*/ 37 h 135"/>
                    <a:gd name="T18" fmla="*/ 263 w 326"/>
                    <a:gd name="T19" fmla="*/ 32 h 135"/>
                    <a:gd name="T20" fmla="*/ 230 w 326"/>
                    <a:gd name="T21" fmla="*/ 30 h 135"/>
                    <a:gd name="T22" fmla="*/ 209 w 326"/>
                    <a:gd name="T23" fmla="*/ 30 h 135"/>
                    <a:gd name="T24" fmla="*/ 202 w 326"/>
                    <a:gd name="T25" fmla="*/ 24 h 135"/>
                    <a:gd name="T26" fmla="*/ 196 w 326"/>
                    <a:gd name="T27" fmla="*/ 17 h 135"/>
                    <a:gd name="T28" fmla="*/ 191 w 326"/>
                    <a:gd name="T29" fmla="*/ 9 h 135"/>
                    <a:gd name="T30" fmla="*/ 180 w 326"/>
                    <a:gd name="T31" fmla="*/ 5 h 135"/>
                    <a:gd name="T32" fmla="*/ 162 w 326"/>
                    <a:gd name="T33" fmla="*/ 1 h 135"/>
                    <a:gd name="T34" fmla="*/ 135 w 326"/>
                    <a:gd name="T35" fmla="*/ 1 h 135"/>
                    <a:gd name="T36" fmla="*/ 87 w 326"/>
                    <a:gd name="T37" fmla="*/ 8 h 135"/>
                    <a:gd name="T38" fmla="*/ 49 w 326"/>
                    <a:gd name="T39" fmla="*/ 17 h 135"/>
                    <a:gd name="T40" fmla="*/ 27 w 326"/>
                    <a:gd name="T41" fmla="*/ 26 h 135"/>
                    <a:gd name="T42" fmla="*/ 11 w 326"/>
                    <a:gd name="T43" fmla="*/ 37 h 135"/>
                    <a:gd name="T44" fmla="*/ 3 w 326"/>
                    <a:gd name="T45" fmla="*/ 46 h 135"/>
                    <a:gd name="T46" fmla="*/ 1 w 326"/>
                    <a:gd name="T47" fmla="*/ 52 h 135"/>
                    <a:gd name="T48" fmla="*/ 34 w 326"/>
                    <a:gd name="T49" fmla="*/ 74 h 135"/>
                    <a:gd name="T50" fmla="*/ 56 w 326"/>
                    <a:gd name="T51" fmla="*/ 81 h 135"/>
                    <a:gd name="T52" fmla="*/ 41 w 326"/>
                    <a:gd name="T53" fmla="*/ 90 h 135"/>
                    <a:gd name="T54" fmla="*/ 38 w 326"/>
                    <a:gd name="T55" fmla="*/ 99 h 135"/>
                    <a:gd name="T56" fmla="*/ 44 w 326"/>
                    <a:gd name="T57" fmla="*/ 114 h 135"/>
                    <a:gd name="T58" fmla="*/ 48 w 326"/>
                    <a:gd name="T59" fmla="*/ 128 h 135"/>
                    <a:gd name="T60" fmla="*/ 55 w 326"/>
                    <a:gd name="T61" fmla="*/ 134 h 135"/>
                    <a:gd name="T62" fmla="*/ 69 w 326"/>
                    <a:gd name="T63" fmla="*/ 135 h 135"/>
                    <a:gd name="T64" fmla="*/ 86 w 326"/>
                    <a:gd name="T65" fmla="*/ 131 h 135"/>
                    <a:gd name="T66" fmla="*/ 101 w 326"/>
                    <a:gd name="T67" fmla="*/ 127 h 135"/>
                    <a:gd name="T68" fmla="*/ 117 w 326"/>
                    <a:gd name="T69" fmla="*/ 124 h 135"/>
                    <a:gd name="T70" fmla="*/ 120 w 326"/>
                    <a:gd name="T71" fmla="*/ 111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26" h="135">
                      <a:moveTo>
                        <a:pt x="120" y="111"/>
                      </a:moveTo>
                      <a:lnTo>
                        <a:pt x="145" y="107"/>
                      </a:lnTo>
                      <a:lnTo>
                        <a:pt x="172" y="102"/>
                      </a:lnTo>
                      <a:lnTo>
                        <a:pt x="203" y="97"/>
                      </a:lnTo>
                      <a:lnTo>
                        <a:pt x="233" y="90"/>
                      </a:lnTo>
                      <a:lnTo>
                        <a:pt x="262" y="84"/>
                      </a:lnTo>
                      <a:lnTo>
                        <a:pt x="288" y="78"/>
                      </a:lnTo>
                      <a:lnTo>
                        <a:pt x="300" y="74"/>
                      </a:lnTo>
                      <a:lnTo>
                        <a:pt x="310" y="70"/>
                      </a:lnTo>
                      <a:lnTo>
                        <a:pt x="318" y="66"/>
                      </a:lnTo>
                      <a:lnTo>
                        <a:pt x="326" y="62"/>
                      </a:lnTo>
                      <a:lnTo>
                        <a:pt x="322" y="56"/>
                      </a:lnTo>
                      <a:lnTo>
                        <a:pt x="317" y="52"/>
                      </a:lnTo>
                      <a:lnTo>
                        <a:pt x="312" y="48"/>
                      </a:lnTo>
                      <a:lnTo>
                        <a:pt x="306" y="44"/>
                      </a:lnTo>
                      <a:lnTo>
                        <a:pt x="300" y="41"/>
                      </a:lnTo>
                      <a:lnTo>
                        <a:pt x="293" y="39"/>
                      </a:lnTo>
                      <a:lnTo>
                        <a:pt x="286" y="37"/>
                      </a:lnTo>
                      <a:lnTo>
                        <a:pt x="279" y="34"/>
                      </a:lnTo>
                      <a:lnTo>
                        <a:pt x="263" y="32"/>
                      </a:lnTo>
                      <a:lnTo>
                        <a:pt x="247" y="31"/>
                      </a:lnTo>
                      <a:lnTo>
                        <a:pt x="230" y="30"/>
                      </a:lnTo>
                      <a:lnTo>
                        <a:pt x="213" y="30"/>
                      </a:lnTo>
                      <a:lnTo>
                        <a:pt x="209" y="30"/>
                      </a:lnTo>
                      <a:lnTo>
                        <a:pt x="205" y="27"/>
                      </a:lnTo>
                      <a:lnTo>
                        <a:pt x="202" y="24"/>
                      </a:lnTo>
                      <a:lnTo>
                        <a:pt x="200" y="21"/>
                      </a:lnTo>
                      <a:lnTo>
                        <a:pt x="196" y="17"/>
                      </a:lnTo>
                      <a:lnTo>
                        <a:pt x="194" y="13"/>
                      </a:lnTo>
                      <a:lnTo>
                        <a:pt x="191" y="9"/>
                      </a:lnTo>
                      <a:lnTo>
                        <a:pt x="187" y="6"/>
                      </a:lnTo>
                      <a:lnTo>
                        <a:pt x="180" y="5"/>
                      </a:lnTo>
                      <a:lnTo>
                        <a:pt x="172" y="3"/>
                      </a:lnTo>
                      <a:lnTo>
                        <a:pt x="162" y="1"/>
                      </a:lnTo>
                      <a:lnTo>
                        <a:pt x="153" y="0"/>
                      </a:lnTo>
                      <a:lnTo>
                        <a:pt x="135" y="1"/>
                      </a:lnTo>
                      <a:lnTo>
                        <a:pt x="112" y="4"/>
                      </a:lnTo>
                      <a:lnTo>
                        <a:pt x="87" y="8"/>
                      </a:lnTo>
                      <a:lnTo>
                        <a:pt x="61" y="14"/>
                      </a:lnTo>
                      <a:lnTo>
                        <a:pt x="49" y="17"/>
                      </a:lnTo>
                      <a:lnTo>
                        <a:pt x="38" y="21"/>
                      </a:lnTo>
                      <a:lnTo>
                        <a:pt x="27" y="26"/>
                      </a:lnTo>
                      <a:lnTo>
                        <a:pt x="19" y="31"/>
                      </a:lnTo>
                      <a:lnTo>
                        <a:pt x="11" y="37"/>
                      </a:lnTo>
                      <a:lnTo>
                        <a:pt x="5" y="43"/>
                      </a:lnTo>
                      <a:lnTo>
                        <a:pt x="3" y="46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0" y="56"/>
                      </a:lnTo>
                      <a:lnTo>
                        <a:pt x="34" y="74"/>
                      </a:lnTo>
                      <a:lnTo>
                        <a:pt x="73" y="74"/>
                      </a:lnTo>
                      <a:lnTo>
                        <a:pt x="56" y="81"/>
                      </a:lnTo>
                      <a:lnTo>
                        <a:pt x="44" y="87"/>
                      </a:lnTo>
                      <a:lnTo>
                        <a:pt x="41" y="90"/>
                      </a:lnTo>
                      <a:lnTo>
                        <a:pt x="38" y="94"/>
                      </a:lnTo>
                      <a:lnTo>
                        <a:pt x="38" y="99"/>
                      </a:lnTo>
                      <a:lnTo>
                        <a:pt x="41" y="105"/>
                      </a:lnTo>
                      <a:lnTo>
                        <a:pt x="44" y="114"/>
                      </a:lnTo>
                      <a:lnTo>
                        <a:pt x="47" y="123"/>
                      </a:lnTo>
                      <a:lnTo>
                        <a:pt x="48" y="128"/>
                      </a:lnTo>
                      <a:lnTo>
                        <a:pt x="50" y="131"/>
                      </a:lnTo>
                      <a:lnTo>
                        <a:pt x="55" y="134"/>
                      </a:lnTo>
                      <a:lnTo>
                        <a:pt x="60" y="135"/>
                      </a:lnTo>
                      <a:lnTo>
                        <a:pt x="69" y="135"/>
                      </a:lnTo>
                      <a:lnTo>
                        <a:pt x="78" y="133"/>
                      </a:lnTo>
                      <a:lnTo>
                        <a:pt x="86" y="131"/>
                      </a:lnTo>
                      <a:lnTo>
                        <a:pt x="93" y="129"/>
                      </a:lnTo>
                      <a:lnTo>
                        <a:pt x="101" y="127"/>
                      </a:lnTo>
                      <a:lnTo>
                        <a:pt x="109" y="125"/>
                      </a:lnTo>
                      <a:lnTo>
                        <a:pt x="117" y="124"/>
                      </a:lnTo>
                      <a:lnTo>
                        <a:pt x="126" y="123"/>
                      </a:lnTo>
                      <a:lnTo>
                        <a:pt x="120" y="11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9" name="Freeform 432"/>
                <p:cNvSpPr>
                  <a:spLocks/>
                </p:cNvSpPr>
                <p:nvPr/>
              </p:nvSpPr>
              <p:spPr bwMode="auto">
                <a:xfrm>
                  <a:off x="1584" y="1245"/>
                  <a:ext cx="51" cy="18"/>
                </a:xfrm>
                <a:custGeom>
                  <a:avLst/>
                  <a:gdLst>
                    <a:gd name="T0" fmla="*/ 46 w 159"/>
                    <a:gd name="T1" fmla="*/ 53 h 56"/>
                    <a:gd name="T2" fmla="*/ 40 w 159"/>
                    <a:gd name="T3" fmla="*/ 52 h 56"/>
                    <a:gd name="T4" fmla="*/ 34 w 159"/>
                    <a:gd name="T5" fmla="*/ 49 h 56"/>
                    <a:gd name="T6" fmla="*/ 26 w 159"/>
                    <a:gd name="T7" fmla="*/ 45 h 56"/>
                    <a:gd name="T8" fmla="*/ 18 w 159"/>
                    <a:gd name="T9" fmla="*/ 38 h 56"/>
                    <a:gd name="T10" fmla="*/ 10 w 159"/>
                    <a:gd name="T11" fmla="*/ 31 h 56"/>
                    <a:gd name="T12" fmla="*/ 5 w 159"/>
                    <a:gd name="T13" fmla="*/ 24 h 56"/>
                    <a:gd name="T14" fmla="*/ 3 w 159"/>
                    <a:gd name="T15" fmla="*/ 21 h 56"/>
                    <a:gd name="T16" fmla="*/ 1 w 159"/>
                    <a:gd name="T17" fmla="*/ 17 h 56"/>
                    <a:gd name="T18" fmla="*/ 0 w 159"/>
                    <a:gd name="T19" fmla="*/ 13 h 56"/>
                    <a:gd name="T20" fmla="*/ 0 w 159"/>
                    <a:gd name="T21" fmla="*/ 10 h 56"/>
                    <a:gd name="T22" fmla="*/ 21 w 159"/>
                    <a:gd name="T23" fmla="*/ 10 h 56"/>
                    <a:gd name="T24" fmla="*/ 39 w 159"/>
                    <a:gd name="T25" fmla="*/ 10 h 56"/>
                    <a:gd name="T26" fmla="*/ 52 w 159"/>
                    <a:gd name="T27" fmla="*/ 10 h 56"/>
                    <a:gd name="T28" fmla="*/ 59 w 159"/>
                    <a:gd name="T29" fmla="*/ 10 h 56"/>
                    <a:gd name="T30" fmla="*/ 83 w 159"/>
                    <a:gd name="T31" fmla="*/ 6 h 56"/>
                    <a:gd name="T32" fmla="*/ 117 w 159"/>
                    <a:gd name="T33" fmla="*/ 0 h 56"/>
                    <a:gd name="T34" fmla="*/ 125 w 159"/>
                    <a:gd name="T35" fmla="*/ 0 h 56"/>
                    <a:gd name="T36" fmla="*/ 132 w 159"/>
                    <a:gd name="T37" fmla="*/ 0 h 56"/>
                    <a:gd name="T38" fmla="*/ 140 w 159"/>
                    <a:gd name="T39" fmla="*/ 0 h 56"/>
                    <a:gd name="T40" fmla="*/ 147 w 159"/>
                    <a:gd name="T41" fmla="*/ 2 h 56"/>
                    <a:gd name="T42" fmla="*/ 151 w 159"/>
                    <a:gd name="T43" fmla="*/ 5 h 56"/>
                    <a:gd name="T44" fmla="*/ 155 w 159"/>
                    <a:gd name="T45" fmla="*/ 9 h 56"/>
                    <a:gd name="T46" fmla="*/ 158 w 159"/>
                    <a:gd name="T47" fmla="*/ 15 h 56"/>
                    <a:gd name="T48" fmla="*/ 159 w 159"/>
                    <a:gd name="T49" fmla="*/ 22 h 56"/>
                    <a:gd name="T50" fmla="*/ 158 w 159"/>
                    <a:gd name="T51" fmla="*/ 30 h 56"/>
                    <a:gd name="T52" fmla="*/ 155 w 159"/>
                    <a:gd name="T53" fmla="*/ 37 h 56"/>
                    <a:gd name="T54" fmla="*/ 151 w 159"/>
                    <a:gd name="T55" fmla="*/ 44 h 56"/>
                    <a:gd name="T56" fmla="*/ 146 w 159"/>
                    <a:gd name="T57" fmla="*/ 48 h 56"/>
                    <a:gd name="T58" fmla="*/ 139 w 159"/>
                    <a:gd name="T59" fmla="*/ 52 h 56"/>
                    <a:gd name="T60" fmla="*/ 132 w 159"/>
                    <a:gd name="T61" fmla="*/ 54 h 56"/>
                    <a:gd name="T62" fmla="*/ 124 w 159"/>
                    <a:gd name="T63" fmla="*/ 55 h 56"/>
                    <a:gd name="T64" fmla="*/ 115 w 159"/>
                    <a:gd name="T65" fmla="*/ 56 h 56"/>
                    <a:gd name="T66" fmla="*/ 77 w 159"/>
                    <a:gd name="T67" fmla="*/ 55 h 56"/>
                    <a:gd name="T68" fmla="*/ 46 w 159"/>
                    <a:gd name="T69" fmla="*/ 53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9" h="56">
                      <a:moveTo>
                        <a:pt x="46" y="53"/>
                      </a:moveTo>
                      <a:lnTo>
                        <a:pt x="40" y="52"/>
                      </a:lnTo>
                      <a:lnTo>
                        <a:pt x="34" y="49"/>
                      </a:lnTo>
                      <a:lnTo>
                        <a:pt x="26" y="45"/>
                      </a:lnTo>
                      <a:lnTo>
                        <a:pt x="18" y="38"/>
                      </a:lnTo>
                      <a:lnTo>
                        <a:pt x="10" y="31"/>
                      </a:lnTo>
                      <a:lnTo>
                        <a:pt x="5" y="24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1" y="10"/>
                      </a:lnTo>
                      <a:lnTo>
                        <a:pt x="39" y="10"/>
                      </a:lnTo>
                      <a:lnTo>
                        <a:pt x="52" y="10"/>
                      </a:lnTo>
                      <a:lnTo>
                        <a:pt x="59" y="10"/>
                      </a:lnTo>
                      <a:lnTo>
                        <a:pt x="83" y="6"/>
                      </a:lnTo>
                      <a:lnTo>
                        <a:pt x="117" y="0"/>
                      </a:lnTo>
                      <a:lnTo>
                        <a:pt x="125" y="0"/>
                      </a:lnTo>
                      <a:lnTo>
                        <a:pt x="132" y="0"/>
                      </a:lnTo>
                      <a:lnTo>
                        <a:pt x="140" y="0"/>
                      </a:lnTo>
                      <a:lnTo>
                        <a:pt x="147" y="2"/>
                      </a:lnTo>
                      <a:lnTo>
                        <a:pt x="151" y="5"/>
                      </a:lnTo>
                      <a:lnTo>
                        <a:pt x="155" y="9"/>
                      </a:lnTo>
                      <a:lnTo>
                        <a:pt x="158" y="15"/>
                      </a:lnTo>
                      <a:lnTo>
                        <a:pt x="159" y="22"/>
                      </a:lnTo>
                      <a:lnTo>
                        <a:pt x="158" y="30"/>
                      </a:lnTo>
                      <a:lnTo>
                        <a:pt x="155" y="37"/>
                      </a:lnTo>
                      <a:lnTo>
                        <a:pt x="151" y="44"/>
                      </a:lnTo>
                      <a:lnTo>
                        <a:pt x="146" y="48"/>
                      </a:lnTo>
                      <a:lnTo>
                        <a:pt x="139" y="52"/>
                      </a:lnTo>
                      <a:lnTo>
                        <a:pt x="132" y="54"/>
                      </a:lnTo>
                      <a:lnTo>
                        <a:pt x="124" y="55"/>
                      </a:lnTo>
                      <a:lnTo>
                        <a:pt x="115" y="56"/>
                      </a:lnTo>
                      <a:lnTo>
                        <a:pt x="77" y="55"/>
                      </a:lnTo>
                      <a:lnTo>
                        <a:pt x="46" y="5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10" name="Freeform 433"/>
                <p:cNvSpPr>
                  <a:spLocks/>
                </p:cNvSpPr>
                <p:nvPr/>
              </p:nvSpPr>
              <p:spPr bwMode="auto">
                <a:xfrm>
                  <a:off x="534" y="1280"/>
                  <a:ext cx="1205" cy="539"/>
                </a:xfrm>
                <a:custGeom>
                  <a:avLst/>
                  <a:gdLst>
                    <a:gd name="T0" fmla="*/ 2931 w 3734"/>
                    <a:gd name="T1" fmla="*/ 1362 h 1644"/>
                    <a:gd name="T2" fmla="*/ 2556 w 3734"/>
                    <a:gd name="T3" fmla="*/ 1522 h 1644"/>
                    <a:gd name="T4" fmla="*/ 2312 w 3734"/>
                    <a:gd name="T5" fmla="*/ 1592 h 1644"/>
                    <a:gd name="T6" fmla="*/ 2294 w 3734"/>
                    <a:gd name="T7" fmla="*/ 1634 h 1644"/>
                    <a:gd name="T8" fmla="*/ 2177 w 3734"/>
                    <a:gd name="T9" fmla="*/ 1607 h 1644"/>
                    <a:gd name="T10" fmla="*/ 2279 w 3734"/>
                    <a:gd name="T11" fmla="*/ 1512 h 1644"/>
                    <a:gd name="T12" fmla="*/ 2166 w 3734"/>
                    <a:gd name="T13" fmla="*/ 1416 h 1644"/>
                    <a:gd name="T14" fmla="*/ 2094 w 3734"/>
                    <a:gd name="T15" fmla="*/ 1295 h 1644"/>
                    <a:gd name="T16" fmla="*/ 1947 w 3734"/>
                    <a:gd name="T17" fmla="*/ 1317 h 1644"/>
                    <a:gd name="T18" fmla="*/ 1771 w 3734"/>
                    <a:gd name="T19" fmla="*/ 1281 h 1644"/>
                    <a:gd name="T20" fmla="*/ 261 w 3734"/>
                    <a:gd name="T21" fmla="*/ 1235 h 1644"/>
                    <a:gd name="T22" fmla="*/ 127 w 3734"/>
                    <a:gd name="T23" fmla="*/ 1125 h 1644"/>
                    <a:gd name="T24" fmla="*/ 151 w 3734"/>
                    <a:gd name="T25" fmla="*/ 1040 h 1644"/>
                    <a:gd name="T26" fmla="*/ 147 w 3734"/>
                    <a:gd name="T27" fmla="*/ 927 h 1644"/>
                    <a:gd name="T28" fmla="*/ 259 w 3734"/>
                    <a:gd name="T29" fmla="*/ 859 h 1644"/>
                    <a:gd name="T30" fmla="*/ 250 w 3734"/>
                    <a:gd name="T31" fmla="*/ 747 h 1644"/>
                    <a:gd name="T32" fmla="*/ 128 w 3734"/>
                    <a:gd name="T33" fmla="*/ 665 h 1644"/>
                    <a:gd name="T34" fmla="*/ 602 w 3734"/>
                    <a:gd name="T35" fmla="*/ 114 h 1644"/>
                    <a:gd name="T36" fmla="*/ 1146 w 3734"/>
                    <a:gd name="T37" fmla="*/ 105 h 1644"/>
                    <a:gd name="T38" fmla="*/ 1296 w 3734"/>
                    <a:gd name="T39" fmla="*/ 117 h 1644"/>
                    <a:gd name="T40" fmla="*/ 1641 w 3734"/>
                    <a:gd name="T41" fmla="*/ 166 h 1644"/>
                    <a:gd name="T42" fmla="*/ 1771 w 3734"/>
                    <a:gd name="T43" fmla="*/ 206 h 1644"/>
                    <a:gd name="T44" fmla="*/ 2076 w 3734"/>
                    <a:gd name="T45" fmla="*/ 193 h 1644"/>
                    <a:gd name="T46" fmla="*/ 2286 w 3734"/>
                    <a:gd name="T47" fmla="*/ 216 h 1644"/>
                    <a:gd name="T48" fmla="*/ 2365 w 3734"/>
                    <a:gd name="T49" fmla="*/ 216 h 1644"/>
                    <a:gd name="T50" fmla="*/ 2518 w 3734"/>
                    <a:gd name="T51" fmla="*/ 123 h 1644"/>
                    <a:gd name="T52" fmla="*/ 2587 w 3734"/>
                    <a:gd name="T53" fmla="*/ 2 h 1644"/>
                    <a:gd name="T54" fmla="*/ 2644 w 3734"/>
                    <a:gd name="T55" fmla="*/ 105 h 1644"/>
                    <a:gd name="T56" fmla="*/ 2664 w 3734"/>
                    <a:gd name="T57" fmla="*/ 166 h 1644"/>
                    <a:gd name="T58" fmla="*/ 2716 w 3734"/>
                    <a:gd name="T59" fmla="*/ 196 h 1644"/>
                    <a:gd name="T60" fmla="*/ 2891 w 3734"/>
                    <a:gd name="T61" fmla="*/ 121 h 1644"/>
                    <a:gd name="T62" fmla="*/ 3036 w 3734"/>
                    <a:gd name="T63" fmla="*/ 135 h 1644"/>
                    <a:gd name="T64" fmla="*/ 2883 w 3734"/>
                    <a:gd name="T65" fmla="*/ 271 h 1644"/>
                    <a:gd name="T66" fmla="*/ 2790 w 3734"/>
                    <a:gd name="T67" fmla="*/ 289 h 1644"/>
                    <a:gd name="T68" fmla="*/ 2569 w 3734"/>
                    <a:gd name="T69" fmla="*/ 304 h 1644"/>
                    <a:gd name="T70" fmla="*/ 2501 w 3734"/>
                    <a:gd name="T71" fmla="*/ 402 h 1644"/>
                    <a:gd name="T72" fmla="*/ 2333 w 3734"/>
                    <a:gd name="T73" fmla="*/ 471 h 1644"/>
                    <a:gd name="T74" fmla="*/ 2087 w 3734"/>
                    <a:gd name="T75" fmla="*/ 625 h 1644"/>
                    <a:gd name="T76" fmla="*/ 2106 w 3734"/>
                    <a:gd name="T77" fmla="*/ 793 h 1644"/>
                    <a:gd name="T78" fmla="*/ 2360 w 3734"/>
                    <a:gd name="T79" fmla="*/ 907 h 1644"/>
                    <a:gd name="T80" fmla="*/ 2443 w 3734"/>
                    <a:gd name="T81" fmla="*/ 1059 h 1644"/>
                    <a:gd name="T82" fmla="*/ 2614 w 3734"/>
                    <a:gd name="T83" fmla="*/ 987 h 1644"/>
                    <a:gd name="T84" fmla="*/ 2848 w 3734"/>
                    <a:gd name="T85" fmla="*/ 785 h 1644"/>
                    <a:gd name="T86" fmla="*/ 2896 w 3734"/>
                    <a:gd name="T87" fmla="*/ 597 h 1644"/>
                    <a:gd name="T88" fmla="*/ 3156 w 3734"/>
                    <a:gd name="T89" fmla="*/ 500 h 1644"/>
                    <a:gd name="T90" fmla="*/ 3276 w 3734"/>
                    <a:gd name="T91" fmla="*/ 592 h 1644"/>
                    <a:gd name="T92" fmla="*/ 3226 w 3734"/>
                    <a:gd name="T93" fmla="*/ 736 h 1644"/>
                    <a:gd name="T94" fmla="*/ 3492 w 3734"/>
                    <a:gd name="T95" fmla="*/ 613 h 1644"/>
                    <a:gd name="T96" fmla="*/ 3545 w 3734"/>
                    <a:gd name="T97" fmla="*/ 774 h 1644"/>
                    <a:gd name="T98" fmla="*/ 3662 w 3734"/>
                    <a:gd name="T99" fmla="*/ 924 h 1644"/>
                    <a:gd name="T100" fmla="*/ 3616 w 3734"/>
                    <a:gd name="T101" fmla="*/ 961 h 1644"/>
                    <a:gd name="T102" fmla="*/ 3694 w 3734"/>
                    <a:gd name="T103" fmla="*/ 1028 h 1644"/>
                    <a:gd name="T104" fmla="*/ 3556 w 3734"/>
                    <a:gd name="T105" fmla="*/ 1108 h 1644"/>
                    <a:gd name="T106" fmla="*/ 3151 w 3734"/>
                    <a:gd name="T107" fmla="*/ 1168 h 1644"/>
                    <a:gd name="T108" fmla="*/ 2853 w 3734"/>
                    <a:gd name="T109" fmla="*/ 1335 h 1644"/>
                    <a:gd name="T110" fmla="*/ 2905 w 3734"/>
                    <a:gd name="T111" fmla="*/ 1337 h 1644"/>
                    <a:gd name="T112" fmla="*/ 3216 w 3734"/>
                    <a:gd name="T113" fmla="*/ 1256 h 1644"/>
                    <a:gd name="T114" fmla="*/ 3066 w 3734"/>
                    <a:gd name="T115" fmla="*/ 1298 h 1644"/>
                    <a:gd name="T116" fmla="*/ 3138 w 3734"/>
                    <a:gd name="T117" fmla="*/ 1391 h 1644"/>
                    <a:gd name="T118" fmla="*/ 3248 w 3734"/>
                    <a:gd name="T119" fmla="*/ 1473 h 1644"/>
                    <a:gd name="T120" fmla="*/ 3018 w 3734"/>
                    <a:gd name="T121" fmla="*/ 1564 h 1644"/>
                    <a:gd name="T122" fmla="*/ 3189 w 3734"/>
                    <a:gd name="T123" fmla="*/ 1466 h 1644"/>
                    <a:gd name="T124" fmla="*/ 3016 w 3734"/>
                    <a:gd name="T125" fmla="*/ 1484 h 1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34" h="1644">
                      <a:moveTo>
                        <a:pt x="3010" y="1478"/>
                      </a:moveTo>
                      <a:lnTo>
                        <a:pt x="3010" y="1410"/>
                      </a:lnTo>
                      <a:lnTo>
                        <a:pt x="3013" y="1407"/>
                      </a:lnTo>
                      <a:lnTo>
                        <a:pt x="3016" y="1400"/>
                      </a:lnTo>
                      <a:lnTo>
                        <a:pt x="3021" y="1391"/>
                      </a:lnTo>
                      <a:lnTo>
                        <a:pt x="3025" y="1382"/>
                      </a:lnTo>
                      <a:lnTo>
                        <a:pt x="3029" y="1370"/>
                      </a:lnTo>
                      <a:lnTo>
                        <a:pt x="3033" y="1360"/>
                      </a:lnTo>
                      <a:lnTo>
                        <a:pt x="3036" y="1351"/>
                      </a:lnTo>
                      <a:lnTo>
                        <a:pt x="3036" y="1343"/>
                      </a:lnTo>
                      <a:lnTo>
                        <a:pt x="3032" y="1345"/>
                      </a:lnTo>
                      <a:lnTo>
                        <a:pt x="3026" y="1345"/>
                      </a:lnTo>
                      <a:lnTo>
                        <a:pt x="3021" y="1346"/>
                      </a:lnTo>
                      <a:lnTo>
                        <a:pt x="3014" y="1345"/>
                      </a:lnTo>
                      <a:lnTo>
                        <a:pt x="2997" y="1344"/>
                      </a:lnTo>
                      <a:lnTo>
                        <a:pt x="2977" y="1343"/>
                      </a:lnTo>
                      <a:lnTo>
                        <a:pt x="2967" y="1343"/>
                      </a:lnTo>
                      <a:lnTo>
                        <a:pt x="2958" y="1345"/>
                      </a:lnTo>
                      <a:lnTo>
                        <a:pt x="2950" y="1348"/>
                      </a:lnTo>
                      <a:lnTo>
                        <a:pt x="2943" y="1352"/>
                      </a:lnTo>
                      <a:lnTo>
                        <a:pt x="2936" y="1356"/>
                      </a:lnTo>
                      <a:lnTo>
                        <a:pt x="2931" y="1362"/>
                      </a:lnTo>
                      <a:lnTo>
                        <a:pt x="2925" y="1368"/>
                      </a:lnTo>
                      <a:lnTo>
                        <a:pt x="2920" y="1374"/>
                      </a:lnTo>
                      <a:lnTo>
                        <a:pt x="2909" y="1388"/>
                      </a:lnTo>
                      <a:lnTo>
                        <a:pt x="2899" y="1403"/>
                      </a:lnTo>
                      <a:lnTo>
                        <a:pt x="2889" y="1416"/>
                      </a:lnTo>
                      <a:lnTo>
                        <a:pt x="2877" y="1429"/>
                      </a:lnTo>
                      <a:lnTo>
                        <a:pt x="2867" y="1438"/>
                      </a:lnTo>
                      <a:lnTo>
                        <a:pt x="2857" y="1445"/>
                      </a:lnTo>
                      <a:lnTo>
                        <a:pt x="2847" y="1451"/>
                      </a:lnTo>
                      <a:lnTo>
                        <a:pt x="2836" y="1456"/>
                      </a:lnTo>
                      <a:lnTo>
                        <a:pt x="2826" y="1460"/>
                      </a:lnTo>
                      <a:lnTo>
                        <a:pt x="2815" y="1463"/>
                      </a:lnTo>
                      <a:lnTo>
                        <a:pt x="2803" y="1465"/>
                      </a:lnTo>
                      <a:lnTo>
                        <a:pt x="2792" y="1467"/>
                      </a:lnTo>
                      <a:lnTo>
                        <a:pt x="2767" y="1470"/>
                      </a:lnTo>
                      <a:lnTo>
                        <a:pt x="2741" y="1472"/>
                      </a:lnTo>
                      <a:lnTo>
                        <a:pt x="2711" y="1474"/>
                      </a:lnTo>
                      <a:lnTo>
                        <a:pt x="2678" y="1478"/>
                      </a:lnTo>
                      <a:lnTo>
                        <a:pt x="2591" y="1478"/>
                      </a:lnTo>
                      <a:lnTo>
                        <a:pt x="2580" y="1494"/>
                      </a:lnTo>
                      <a:lnTo>
                        <a:pt x="2569" y="1508"/>
                      </a:lnTo>
                      <a:lnTo>
                        <a:pt x="2556" y="1522"/>
                      </a:lnTo>
                      <a:lnTo>
                        <a:pt x="2543" y="1534"/>
                      </a:lnTo>
                      <a:lnTo>
                        <a:pt x="2530" y="1547"/>
                      </a:lnTo>
                      <a:lnTo>
                        <a:pt x="2514" y="1558"/>
                      </a:lnTo>
                      <a:lnTo>
                        <a:pt x="2500" y="1568"/>
                      </a:lnTo>
                      <a:lnTo>
                        <a:pt x="2485" y="1577"/>
                      </a:lnTo>
                      <a:lnTo>
                        <a:pt x="2492" y="1571"/>
                      </a:lnTo>
                      <a:lnTo>
                        <a:pt x="2498" y="1565"/>
                      </a:lnTo>
                      <a:lnTo>
                        <a:pt x="2502" y="1559"/>
                      </a:lnTo>
                      <a:lnTo>
                        <a:pt x="2504" y="1553"/>
                      </a:lnTo>
                      <a:lnTo>
                        <a:pt x="2478" y="1546"/>
                      </a:lnTo>
                      <a:lnTo>
                        <a:pt x="2445" y="1559"/>
                      </a:lnTo>
                      <a:lnTo>
                        <a:pt x="2408" y="1562"/>
                      </a:lnTo>
                      <a:lnTo>
                        <a:pt x="2364" y="1565"/>
                      </a:lnTo>
                      <a:lnTo>
                        <a:pt x="2353" y="1567"/>
                      </a:lnTo>
                      <a:lnTo>
                        <a:pt x="2343" y="1569"/>
                      </a:lnTo>
                      <a:lnTo>
                        <a:pt x="2334" y="1572"/>
                      </a:lnTo>
                      <a:lnTo>
                        <a:pt x="2328" y="1575"/>
                      </a:lnTo>
                      <a:lnTo>
                        <a:pt x="2321" y="1579"/>
                      </a:lnTo>
                      <a:lnTo>
                        <a:pt x="2316" y="1583"/>
                      </a:lnTo>
                      <a:lnTo>
                        <a:pt x="2315" y="1586"/>
                      </a:lnTo>
                      <a:lnTo>
                        <a:pt x="2313" y="1589"/>
                      </a:lnTo>
                      <a:lnTo>
                        <a:pt x="2312" y="1592"/>
                      </a:lnTo>
                      <a:lnTo>
                        <a:pt x="2312" y="1595"/>
                      </a:lnTo>
                      <a:lnTo>
                        <a:pt x="2312" y="1598"/>
                      </a:lnTo>
                      <a:lnTo>
                        <a:pt x="2313" y="1602"/>
                      </a:lnTo>
                      <a:lnTo>
                        <a:pt x="2316" y="1604"/>
                      </a:lnTo>
                      <a:lnTo>
                        <a:pt x="2318" y="1605"/>
                      </a:lnTo>
                      <a:lnTo>
                        <a:pt x="2324" y="1608"/>
                      </a:lnTo>
                      <a:lnTo>
                        <a:pt x="2332" y="1609"/>
                      </a:lnTo>
                      <a:lnTo>
                        <a:pt x="2351" y="1609"/>
                      </a:lnTo>
                      <a:lnTo>
                        <a:pt x="2372" y="1608"/>
                      </a:lnTo>
                      <a:lnTo>
                        <a:pt x="2388" y="1607"/>
                      </a:lnTo>
                      <a:lnTo>
                        <a:pt x="2405" y="1605"/>
                      </a:lnTo>
                      <a:lnTo>
                        <a:pt x="2421" y="1602"/>
                      </a:lnTo>
                      <a:lnTo>
                        <a:pt x="2438" y="1597"/>
                      </a:lnTo>
                      <a:lnTo>
                        <a:pt x="2425" y="1602"/>
                      </a:lnTo>
                      <a:lnTo>
                        <a:pt x="2414" y="1605"/>
                      </a:lnTo>
                      <a:lnTo>
                        <a:pt x="2402" y="1607"/>
                      </a:lnTo>
                      <a:lnTo>
                        <a:pt x="2391" y="1608"/>
                      </a:lnTo>
                      <a:lnTo>
                        <a:pt x="2319" y="1626"/>
                      </a:lnTo>
                      <a:lnTo>
                        <a:pt x="2313" y="1629"/>
                      </a:lnTo>
                      <a:lnTo>
                        <a:pt x="2307" y="1631"/>
                      </a:lnTo>
                      <a:lnTo>
                        <a:pt x="2300" y="1633"/>
                      </a:lnTo>
                      <a:lnTo>
                        <a:pt x="2294" y="1634"/>
                      </a:lnTo>
                      <a:lnTo>
                        <a:pt x="2296" y="1633"/>
                      </a:lnTo>
                      <a:lnTo>
                        <a:pt x="2299" y="1632"/>
                      </a:lnTo>
                      <a:lnTo>
                        <a:pt x="2290" y="1625"/>
                      </a:lnTo>
                      <a:lnTo>
                        <a:pt x="2283" y="1620"/>
                      </a:lnTo>
                      <a:lnTo>
                        <a:pt x="2273" y="1617"/>
                      </a:lnTo>
                      <a:lnTo>
                        <a:pt x="2263" y="1614"/>
                      </a:lnTo>
                      <a:lnTo>
                        <a:pt x="2253" y="1613"/>
                      </a:lnTo>
                      <a:lnTo>
                        <a:pt x="2243" y="1614"/>
                      </a:lnTo>
                      <a:lnTo>
                        <a:pt x="2233" y="1615"/>
                      </a:lnTo>
                      <a:lnTo>
                        <a:pt x="2224" y="1616"/>
                      </a:lnTo>
                      <a:lnTo>
                        <a:pt x="2207" y="1621"/>
                      </a:lnTo>
                      <a:lnTo>
                        <a:pt x="2193" y="1626"/>
                      </a:lnTo>
                      <a:lnTo>
                        <a:pt x="2183" y="1630"/>
                      </a:lnTo>
                      <a:lnTo>
                        <a:pt x="2179" y="1632"/>
                      </a:lnTo>
                      <a:lnTo>
                        <a:pt x="2172" y="1634"/>
                      </a:lnTo>
                      <a:lnTo>
                        <a:pt x="2162" y="1637"/>
                      </a:lnTo>
                      <a:lnTo>
                        <a:pt x="2150" y="1641"/>
                      </a:lnTo>
                      <a:lnTo>
                        <a:pt x="2137" y="1644"/>
                      </a:lnTo>
                      <a:lnTo>
                        <a:pt x="2147" y="1632"/>
                      </a:lnTo>
                      <a:lnTo>
                        <a:pt x="2156" y="1623"/>
                      </a:lnTo>
                      <a:lnTo>
                        <a:pt x="2167" y="1614"/>
                      </a:lnTo>
                      <a:lnTo>
                        <a:pt x="2177" y="1607"/>
                      </a:lnTo>
                      <a:lnTo>
                        <a:pt x="2187" y="1599"/>
                      </a:lnTo>
                      <a:lnTo>
                        <a:pt x="2196" y="1592"/>
                      </a:lnTo>
                      <a:lnTo>
                        <a:pt x="2200" y="1587"/>
                      </a:lnTo>
                      <a:lnTo>
                        <a:pt x="2205" y="1582"/>
                      </a:lnTo>
                      <a:lnTo>
                        <a:pt x="2209" y="1577"/>
                      </a:lnTo>
                      <a:lnTo>
                        <a:pt x="2212" y="1571"/>
                      </a:lnTo>
                      <a:lnTo>
                        <a:pt x="2219" y="1558"/>
                      </a:lnTo>
                      <a:lnTo>
                        <a:pt x="2222" y="1544"/>
                      </a:lnTo>
                      <a:lnTo>
                        <a:pt x="2224" y="1533"/>
                      </a:lnTo>
                      <a:lnTo>
                        <a:pt x="2228" y="1522"/>
                      </a:lnTo>
                      <a:lnTo>
                        <a:pt x="2230" y="1511"/>
                      </a:lnTo>
                      <a:lnTo>
                        <a:pt x="2234" y="1501"/>
                      </a:lnTo>
                      <a:lnTo>
                        <a:pt x="2238" y="1495"/>
                      </a:lnTo>
                      <a:lnTo>
                        <a:pt x="2242" y="1490"/>
                      </a:lnTo>
                      <a:lnTo>
                        <a:pt x="2246" y="1484"/>
                      </a:lnTo>
                      <a:lnTo>
                        <a:pt x="2252" y="1478"/>
                      </a:lnTo>
                      <a:lnTo>
                        <a:pt x="2265" y="1478"/>
                      </a:lnTo>
                      <a:lnTo>
                        <a:pt x="2266" y="1485"/>
                      </a:lnTo>
                      <a:lnTo>
                        <a:pt x="2267" y="1492"/>
                      </a:lnTo>
                      <a:lnTo>
                        <a:pt x="2271" y="1497"/>
                      </a:lnTo>
                      <a:lnTo>
                        <a:pt x="2273" y="1502"/>
                      </a:lnTo>
                      <a:lnTo>
                        <a:pt x="2279" y="1512"/>
                      </a:lnTo>
                      <a:lnTo>
                        <a:pt x="2286" y="1521"/>
                      </a:lnTo>
                      <a:lnTo>
                        <a:pt x="2298" y="1517"/>
                      </a:lnTo>
                      <a:lnTo>
                        <a:pt x="2310" y="1512"/>
                      </a:lnTo>
                      <a:lnTo>
                        <a:pt x="2324" y="1508"/>
                      </a:lnTo>
                      <a:lnTo>
                        <a:pt x="2345" y="1503"/>
                      </a:lnTo>
                      <a:lnTo>
                        <a:pt x="2345" y="1478"/>
                      </a:lnTo>
                      <a:lnTo>
                        <a:pt x="2331" y="1462"/>
                      </a:lnTo>
                      <a:lnTo>
                        <a:pt x="2317" y="1444"/>
                      </a:lnTo>
                      <a:lnTo>
                        <a:pt x="2309" y="1436"/>
                      </a:lnTo>
                      <a:lnTo>
                        <a:pt x="2300" y="1428"/>
                      </a:lnTo>
                      <a:lnTo>
                        <a:pt x="2296" y="1426"/>
                      </a:lnTo>
                      <a:lnTo>
                        <a:pt x="2290" y="1424"/>
                      </a:lnTo>
                      <a:lnTo>
                        <a:pt x="2285" y="1423"/>
                      </a:lnTo>
                      <a:lnTo>
                        <a:pt x="2279" y="1422"/>
                      </a:lnTo>
                      <a:lnTo>
                        <a:pt x="2249" y="1423"/>
                      </a:lnTo>
                      <a:lnTo>
                        <a:pt x="2215" y="1424"/>
                      </a:lnTo>
                      <a:lnTo>
                        <a:pt x="2199" y="1424"/>
                      </a:lnTo>
                      <a:lnTo>
                        <a:pt x="2185" y="1423"/>
                      </a:lnTo>
                      <a:lnTo>
                        <a:pt x="2178" y="1422"/>
                      </a:lnTo>
                      <a:lnTo>
                        <a:pt x="2173" y="1420"/>
                      </a:lnTo>
                      <a:lnTo>
                        <a:pt x="2168" y="1419"/>
                      </a:lnTo>
                      <a:lnTo>
                        <a:pt x="2166" y="1416"/>
                      </a:lnTo>
                      <a:lnTo>
                        <a:pt x="2163" y="1413"/>
                      </a:lnTo>
                      <a:lnTo>
                        <a:pt x="2161" y="1409"/>
                      </a:lnTo>
                      <a:lnTo>
                        <a:pt x="2159" y="1405"/>
                      </a:lnTo>
                      <a:lnTo>
                        <a:pt x="2159" y="1401"/>
                      </a:lnTo>
                      <a:lnTo>
                        <a:pt x="2159" y="1392"/>
                      </a:lnTo>
                      <a:lnTo>
                        <a:pt x="2160" y="1382"/>
                      </a:lnTo>
                      <a:lnTo>
                        <a:pt x="2161" y="1372"/>
                      </a:lnTo>
                      <a:lnTo>
                        <a:pt x="2161" y="1362"/>
                      </a:lnTo>
                      <a:lnTo>
                        <a:pt x="2160" y="1357"/>
                      </a:lnTo>
                      <a:lnTo>
                        <a:pt x="2159" y="1352"/>
                      </a:lnTo>
                      <a:lnTo>
                        <a:pt x="2155" y="1347"/>
                      </a:lnTo>
                      <a:lnTo>
                        <a:pt x="2153" y="1343"/>
                      </a:lnTo>
                      <a:lnTo>
                        <a:pt x="2149" y="1339"/>
                      </a:lnTo>
                      <a:lnTo>
                        <a:pt x="2144" y="1335"/>
                      </a:lnTo>
                      <a:lnTo>
                        <a:pt x="2139" y="1332"/>
                      </a:lnTo>
                      <a:lnTo>
                        <a:pt x="2133" y="1329"/>
                      </a:lnTo>
                      <a:lnTo>
                        <a:pt x="2122" y="1323"/>
                      </a:lnTo>
                      <a:lnTo>
                        <a:pt x="2111" y="1315"/>
                      </a:lnTo>
                      <a:lnTo>
                        <a:pt x="2107" y="1311"/>
                      </a:lnTo>
                      <a:lnTo>
                        <a:pt x="2102" y="1307"/>
                      </a:lnTo>
                      <a:lnTo>
                        <a:pt x="2097" y="1301"/>
                      </a:lnTo>
                      <a:lnTo>
                        <a:pt x="2094" y="1295"/>
                      </a:lnTo>
                      <a:lnTo>
                        <a:pt x="2091" y="1288"/>
                      </a:lnTo>
                      <a:lnTo>
                        <a:pt x="2088" y="1279"/>
                      </a:lnTo>
                      <a:lnTo>
                        <a:pt x="2087" y="1269"/>
                      </a:lnTo>
                      <a:lnTo>
                        <a:pt x="2086" y="1256"/>
                      </a:lnTo>
                      <a:lnTo>
                        <a:pt x="2060" y="1256"/>
                      </a:lnTo>
                      <a:lnTo>
                        <a:pt x="2046" y="1259"/>
                      </a:lnTo>
                      <a:lnTo>
                        <a:pt x="2027" y="1261"/>
                      </a:lnTo>
                      <a:lnTo>
                        <a:pt x="2017" y="1262"/>
                      </a:lnTo>
                      <a:lnTo>
                        <a:pt x="2007" y="1265"/>
                      </a:lnTo>
                      <a:lnTo>
                        <a:pt x="2003" y="1267"/>
                      </a:lnTo>
                      <a:lnTo>
                        <a:pt x="1999" y="1270"/>
                      </a:lnTo>
                      <a:lnTo>
                        <a:pt x="1996" y="1272"/>
                      </a:lnTo>
                      <a:lnTo>
                        <a:pt x="1993" y="1275"/>
                      </a:lnTo>
                      <a:lnTo>
                        <a:pt x="1985" y="1287"/>
                      </a:lnTo>
                      <a:lnTo>
                        <a:pt x="1976" y="1301"/>
                      </a:lnTo>
                      <a:lnTo>
                        <a:pt x="1974" y="1304"/>
                      </a:lnTo>
                      <a:lnTo>
                        <a:pt x="1971" y="1307"/>
                      </a:lnTo>
                      <a:lnTo>
                        <a:pt x="1968" y="1310"/>
                      </a:lnTo>
                      <a:lnTo>
                        <a:pt x="1963" y="1313"/>
                      </a:lnTo>
                      <a:lnTo>
                        <a:pt x="1959" y="1315"/>
                      </a:lnTo>
                      <a:lnTo>
                        <a:pt x="1953" y="1316"/>
                      </a:lnTo>
                      <a:lnTo>
                        <a:pt x="1947" y="1317"/>
                      </a:lnTo>
                      <a:lnTo>
                        <a:pt x="1940" y="1318"/>
                      </a:lnTo>
                      <a:lnTo>
                        <a:pt x="1930" y="1317"/>
                      </a:lnTo>
                      <a:lnTo>
                        <a:pt x="1920" y="1315"/>
                      </a:lnTo>
                      <a:lnTo>
                        <a:pt x="1910" y="1313"/>
                      </a:lnTo>
                      <a:lnTo>
                        <a:pt x="1901" y="1309"/>
                      </a:lnTo>
                      <a:lnTo>
                        <a:pt x="1892" y="1305"/>
                      </a:lnTo>
                      <a:lnTo>
                        <a:pt x="1883" y="1300"/>
                      </a:lnTo>
                      <a:lnTo>
                        <a:pt x="1874" y="1294"/>
                      </a:lnTo>
                      <a:lnTo>
                        <a:pt x="1867" y="1287"/>
                      </a:lnTo>
                      <a:lnTo>
                        <a:pt x="1864" y="1289"/>
                      </a:lnTo>
                      <a:lnTo>
                        <a:pt x="1860" y="1293"/>
                      </a:lnTo>
                      <a:lnTo>
                        <a:pt x="1853" y="1298"/>
                      </a:lnTo>
                      <a:lnTo>
                        <a:pt x="1847" y="1299"/>
                      </a:lnTo>
                      <a:lnTo>
                        <a:pt x="1840" y="1299"/>
                      </a:lnTo>
                      <a:lnTo>
                        <a:pt x="1833" y="1297"/>
                      </a:lnTo>
                      <a:lnTo>
                        <a:pt x="1826" y="1294"/>
                      </a:lnTo>
                      <a:lnTo>
                        <a:pt x="1819" y="1290"/>
                      </a:lnTo>
                      <a:lnTo>
                        <a:pt x="1813" y="1287"/>
                      </a:lnTo>
                      <a:lnTo>
                        <a:pt x="1805" y="1284"/>
                      </a:lnTo>
                      <a:lnTo>
                        <a:pt x="1796" y="1282"/>
                      </a:lnTo>
                      <a:lnTo>
                        <a:pt x="1787" y="1281"/>
                      </a:lnTo>
                      <a:lnTo>
                        <a:pt x="1771" y="1281"/>
                      </a:lnTo>
                      <a:lnTo>
                        <a:pt x="1761" y="1281"/>
                      </a:lnTo>
                      <a:lnTo>
                        <a:pt x="1756" y="1281"/>
                      </a:lnTo>
                      <a:lnTo>
                        <a:pt x="1751" y="1280"/>
                      </a:lnTo>
                      <a:lnTo>
                        <a:pt x="1747" y="1279"/>
                      </a:lnTo>
                      <a:lnTo>
                        <a:pt x="1742" y="1277"/>
                      </a:lnTo>
                      <a:lnTo>
                        <a:pt x="1734" y="1272"/>
                      </a:lnTo>
                      <a:lnTo>
                        <a:pt x="1727" y="1264"/>
                      </a:lnTo>
                      <a:lnTo>
                        <a:pt x="1722" y="1256"/>
                      </a:lnTo>
                      <a:lnTo>
                        <a:pt x="1717" y="1247"/>
                      </a:lnTo>
                      <a:lnTo>
                        <a:pt x="1715" y="1237"/>
                      </a:lnTo>
                      <a:lnTo>
                        <a:pt x="1714" y="1226"/>
                      </a:lnTo>
                      <a:lnTo>
                        <a:pt x="1681" y="1226"/>
                      </a:lnTo>
                      <a:lnTo>
                        <a:pt x="1682" y="1231"/>
                      </a:lnTo>
                      <a:lnTo>
                        <a:pt x="1684" y="1239"/>
                      </a:lnTo>
                      <a:lnTo>
                        <a:pt x="1686" y="1247"/>
                      </a:lnTo>
                      <a:lnTo>
                        <a:pt x="1688" y="1256"/>
                      </a:lnTo>
                      <a:lnTo>
                        <a:pt x="259" y="1256"/>
                      </a:lnTo>
                      <a:lnTo>
                        <a:pt x="263" y="1245"/>
                      </a:lnTo>
                      <a:lnTo>
                        <a:pt x="265" y="1239"/>
                      </a:lnTo>
                      <a:lnTo>
                        <a:pt x="265" y="1237"/>
                      </a:lnTo>
                      <a:lnTo>
                        <a:pt x="263" y="1236"/>
                      </a:lnTo>
                      <a:lnTo>
                        <a:pt x="261" y="1235"/>
                      </a:lnTo>
                      <a:lnTo>
                        <a:pt x="258" y="1233"/>
                      </a:lnTo>
                      <a:lnTo>
                        <a:pt x="256" y="1229"/>
                      </a:lnTo>
                      <a:lnTo>
                        <a:pt x="252" y="1220"/>
                      </a:lnTo>
                      <a:lnTo>
                        <a:pt x="247" y="1214"/>
                      </a:lnTo>
                      <a:lnTo>
                        <a:pt x="240" y="1207"/>
                      </a:lnTo>
                      <a:lnTo>
                        <a:pt x="235" y="1200"/>
                      </a:lnTo>
                      <a:lnTo>
                        <a:pt x="233" y="1195"/>
                      </a:lnTo>
                      <a:lnTo>
                        <a:pt x="226" y="1194"/>
                      </a:lnTo>
                      <a:lnTo>
                        <a:pt x="217" y="1190"/>
                      </a:lnTo>
                      <a:lnTo>
                        <a:pt x="213" y="1188"/>
                      </a:lnTo>
                      <a:lnTo>
                        <a:pt x="210" y="1184"/>
                      </a:lnTo>
                      <a:lnTo>
                        <a:pt x="206" y="1181"/>
                      </a:lnTo>
                      <a:lnTo>
                        <a:pt x="206" y="1176"/>
                      </a:lnTo>
                      <a:lnTo>
                        <a:pt x="195" y="1173"/>
                      </a:lnTo>
                      <a:lnTo>
                        <a:pt x="182" y="1168"/>
                      </a:lnTo>
                      <a:lnTo>
                        <a:pt x="169" y="1161"/>
                      </a:lnTo>
                      <a:lnTo>
                        <a:pt x="156" y="1153"/>
                      </a:lnTo>
                      <a:lnTo>
                        <a:pt x="145" y="1145"/>
                      </a:lnTo>
                      <a:lnTo>
                        <a:pt x="135" y="1136"/>
                      </a:lnTo>
                      <a:lnTo>
                        <a:pt x="132" y="1132"/>
                      </a:lnTo>
                      <a:lnTo>
                        <a:pt x="128" y="1128"/>
                      </a:lnTo>
                      <a:lnTo>
                        <a:pt x="127" y="1125"/>
                      </a:lnTo>
                      <a:lnTo>
                        <a:pt x="126" y="1121"/>
                      </a:lnTo>
                      <a:lnTo>
                        <a:pt x="127" y="1116"/>
                      </a:lnTo>
                      <a:lnTo>
                        <a:pt x="128" y="1111"/>
                      </a:lnTo>
                      <a:lnTo>
                        <a:pt x="132" y="1106"/>
                      </a:lnTo>
                      <a:lnTo>
                        <a:pt x="136" y="1102"/>
                      </a:lnTo>
                      <a:lnTo>
                        <a:pt x="146" y="1094"/>
                      </a:lnTo>
                      <a:lnTo>
                        <a:pt x="157" y="1088"/>
                      </a:lnTo>
                      <a:lnTo>
                        <a:pt x="169" y="1083"/>
                      </a:lnTo>
                      <a:lnTo>
                        <a:pt x="180" y="1077"/>
                      </a:lnTo>
                      <a:lnTo>
                        <a:pt x="184" y="1075"/>
                      </a:lnTo>
                      <a:lnTo>
                        <a:pt x="188" y="1072"/>
                      </a:lnTo>
                      <a:lnTo>
                        <a:pt x="191" y="1069"/>
                      </a:lnTo>
                      <a:lnTo>
                        <a:pt x="193" y="1066"/>
                      </a:lnTo>
                      <a:lnTo>
                        <a:pt x="183" y="1065"/>
                      </a:lnTo>
                      <a:lnTo>
                        <a:pt x="170" y="1064"/>
                      </a:lnTo>
                      <a:lnTo>
                        <a:pt x="164" y="1063"/>
                      </a:lnTo>
                      <a:lnTo>
                        <a:pt x="158" y="1060"/>
                      </a:lnTo>
                      <a:lnTo>
                        <a:pt x="156" y="1059"/>
                      </a:lnTo>
                      <a:lnTo>
                        <a:pt x="155" y="1057"/>
                      </a:lnTo>
                      <a:lnTo>
                        <a:pt x="154" y="1056"/>
                      </a:lnTo>
                      <a:lnTo>
                        <a:pt x="153" y="1053"/>
                      </a:lnTo>
                      <a:lnTo>
                        <a:pt x="151" y="1040"/>
                      </a:lnTo>
                      <a:lnTo>
                        <a:pt x="148" y="1029"/>
                      </a:lnTo>
                      <a:lnTo>
                        <a:pt x="147" y="1024"/>
                      </a:lnTo>
                      <a:lnTo>
                        <a:pt x="147" y="1019"/>
                      </a:lnTo>
                      <a:lnTo>
                        <a:pt x="149" y="1015"/>
                      </a:lnTo>
                      <a:lnTo>
                        <a:pt x="153" y="1010"/>
                      </a:lnTo>
                      <a:lnTo>
                        <a:pt x="126" y="1010"/>
                      </a:lnTo>
                      <a:lnTo>
                        <a:pt x="133" y="992"/>
                      </a:lnTo>
                      <a:lnTo>
                        <a:pt x="120" y="989"/>
                      </a:lnTo>
                      <a:lnTo>
                        <a:pt x="106" y="985"/>
                      </a:lnTo>
                      <a:lnTo>
                        <a:pt x="108" y="979"/>
                      </a:lnTo>
                      <a:lnTo>
                        <a:pt x="110" y="973"/>
                      </a:lnTo>
                      <a:lnTo>
                        <a:pt x="112" y="969"/>
                      </a:lnTo>
                      <a:lnTo>
                        <a:pt x="114" y="965"/>
                      </a:lnTo>
                      <a:lnTo>
                        <a:pt x="121" y="958"/>
                      </a:lnTo>
                      <a:lnTo>
                        <a:pt x="127" y="954"/>
                      </a:lnTo>
                      <a:lnTo>
                        <a:pt x="134" y="950"/>
                      </a:lnTo>
                      <a:lnTo>
                        <a:pt x="140" y="947"/>
                      </a:lnTo>
                      <a:lnTo>
                        <a:pt x="147" y="942"/>
                      </a:lnTo>
                      <a:lnTo>
                        <a:pt x="153" y="936"/>
                      </a:lnTo>
                      <a:lnTo>
                        <a:pt x="149" y="932"/>
                      </a:lnTo>
                      <a:lnTo>
                        <a:pt x="148" y="929"/>
                      </a:lnTo>
                      <a:lnTo>
                        <a:pt x="147" y="927"/>
                      </a:lnTo>
                      <a:lnTo>
                        <a:pt x="147" y="925"/>
                      </a:lnTo>
                      <a:lnTo>
                        <a:pt x="148" y="923"/>
                      </a:lnTo>
                      <a:lnTo>
                        <a:pt x="149" y="921"/>
                      </a:lnTo>
                      <a:lnTo>
                        <a:pt x="151" y="919"/>
                      </a:lnTo>
                      <a:lnTo>
                        <a:pt x="155" y="917"/>
                      </a:lnTo>
                      <a:lnTo>
                        <a:pt x="161" y="914"/>
                      </a:lnTo>
                      <a:lnTo>
                        <a:pt x="170" y="910"/>
                      </a:lnTo>
                      <a:lnTo>
                        <a:pt x="178" y="905"/>
                      </a:lnTo>
                      <a:lnTo>
                        <a:pt x="187" y="899"/>
                      </a:lnTo>
                      <a:lnTo>
                        <a:pt x="191" y="901"/>
                      </a:lnTo>
                      <a:lnTo>
                        <a:pt x="196" y="902"/>
                      </a:lnTo>
                      <a:lnTo>
                        <a:pt x="203" y="901"/>
                      </a:lnTo>
                      <a:lnTo>
                        <a:pt x="209" y="900"/>
                      </a:lnTo>
                      <a:lnTo>
                        <a:pt x="215" y="898"/>
                      </a:lnTo>
                      <a:lnTo>
                        <a:pt x="221" y="896"/>
                      </a:lnTo>
                      <a:lnTo>
                        <a:pt x="227" y="893"/>
                      </a:lnTo>
                      <a:lnTo>
                        <a:pt x="233" y="889"/>
                      </a:lnTo>
                      <a:lnTo>
                        <a:pt x="243" y="881"/>
                      </a:lnTo>
                      <a:lnTo>
                        <a:pt x="251" y="872"/>
                      </a:lnTo>
                      <a:lnTo>
                        <a:pt x="255" y="868"/>
                      </a:lnTo>
                      <a:lnTo>
                        <a:pt x="257" y="863"/>
                      </a:lnTo>
                      <a:lnTo>
                        <a:pt x="259" y="859"/>
                      </a:lnTo>
                      <a:lnTo>
                        <a:pt x="259" y="856"/>
                      </a:lnTo>
                      <a:lnTo>
                        <a:pt x="259" y="851"/>
                      </a:lnTo>
                      <a:lnTo>
                        <a:pt x="258" y="847"/>
                      </a:lnTo>
                      <a:lnTo>
                        <a:pt x="256" y="843"/>
                      </a:lnTo>
                      <a:lnTo>
                        <a:pt x="254" y="840"/>
                      </a:lnTo>
                      <a:lnTo>
                        <a:pt x="248" y="832"/>
                      </a:lnTo>
                      <a:lnTo>
                        <a:pt x="243" y="826"/>
                      </a:lnTo>
                      <a:lnTo>
                        <a:pt x="236" y="818"/>
                      </a:lnTo>
                      <a:lnTo>
                        <a:pt x="232" y="811"/>
                      </a:lnTo>
                      <a:lnTo>
                        <a:pt x="229" y="807"/>
                      </a:lnTo>
                      <a:lnTo>
                        <a:pt x="227" y="803"/>
                      </a:lnTo>
                      <a:lnTo>
                        <a:pt x="226" y="799"/>
                      </a:lnTo>
                      <a:lnTo>
                        <a:pt x="226" y="794"/>
                      </a:lnTo>
                      <a:lnTo>
                        <a:pt x="226" y="789"/>
                      </a:lnTo>
                      <a:lnTo>
                        <a:pt x="227" y="784"/>
                      </a:lnTo>
                      <a:lnTo>
                        <a:pt x="228" y="780"/>
                      </a:lnTo>
                      <a:lnTo>
                        <a:pt x="231" y="776"/>
                      </a:lnTo>
                      <a:lnTo>
                        <a:pt x="234" y="770"/>
                      </a:lnTo>
                      <a:lnTo>
                        <a:pt x="239" y="763"/>
                      </a:lnTo>
                      <a:lnTo>
                        <a:pt x="244" y="757"/>
                      </a:lnTo>
                      <a:lnTo>
                        <a:pt x="248" y="751"/>
                      </a:lnTo>
                      <a:lnTo>
                        <a:pt x="250" y="747"/>
                      </a:lnTo>
                      <a:lnTo>
                        <a:pt x="251" y="743"/>
                      </a:lnTo>
                      <a:lnTo>
                        <a:pt x="252" y="738"/>
                      </a:lnTo>
                      <a:lnTo>
                        <a:pt x="252" y="733"/>
                      </a:lnTo>
                      <a:lnTo>
                        <a:pt x="252" y="724"/>
                      </a:lnTo>
                      <a:lnTo>
                        <a:pt x="251" y="716"/>
                      </a:lnTo>
                      <a:lnTo>
                        <a:pt x="249" y="707"/>
                      </a:lnTo>
                      <a:lnTo>
                        <a:pt x="247" y="700"/>
                      </a:lnTo>
                      <a:lnTo>
                        <a:pt x="242" y="686"/>
                      </a:lnTo>
                      <a:lnTo>
                        <a:pt x="234" y="674"/>
                      </a:lnTo>
                      <a:lnTo>
                        <a:pt x="218" y="653"/>
                      </a:lnTo>
                      <a:lnTo>
                        <a:pt x="206" y="634"/>
                      </a:lnTo>
                      <a:lnTo>
                        <a:pt x="200" y="634"/>
                      </a:lnTo>
                      <a:lnTo>
                        <a:pt x="194" y="635"/>
                      </a:lnTo>
                      <a:lnTo>
                        <a:pt x="190" y="637"/>
                      </a:lnTo>
                      <a:lnTo>
                        <a:pt x="186" y="639"/>
                      </a:lnTo>
                      <a:lnTo>
                        <a:pt x="177" y="644"/>
                      </a:lnTo>
                      <a:lnTo>
                        <a:pt x="168" y="649"/>
                      </a:lnTo>
                      <a:lnTo>
                        <a:pt x="159" y="656"/>
                      </a:lnTo>
                      <a:lnTo>
                        <a:pt x="148" y="661"/>
                      </a:lnTo>
                      <a:lnTo>
                        <a:pt x="142" y="662"/>
                      </a:lnTo>
                      <a:lnTo>
                        <a:pt x="135" y="664"/>
                      </a:lnTo>
                      <a:lnTo>
                        <a:pt x="128" y="665"/>
                      </a:lnTo>
                      <a:lnTo>
                        <a:pt x="120" y="665"/>
                      </a:lnTo>
                      <a:lnTo>
                        <a:pt x="113" y="663"/>
                      </a:lnTo>
                      <a:lnTo>
                        <a:pt x="104" y="658"/>
                      </a:lnTo>
                      <a:lnTo>
                        <a:pt x="100" y="656"/>
                      </a:lnTo>
                      <a:lnTo>
                        <a:pt x="97" y="652"/>
                      </a:lnTo>
                      <a:lnTo>
                        <a:pt x="94" y="649"/>
                      </a:lnTo>
                      <a:lnTo>
                        <a:pt x="93" y="646"/>
                      </a:lnTo>
                      <a:lnTo>
                        <a:pt x="93" y="640"/>
                      </a:lnTo>
                      <a:lnTo>
                        <a:pt x="95" y="633"/>
                      </a:lnTo>
                      <a:lnTo>
                        <a:pt x="98" y="628"/>
                      </a:lnTo>
                      <a:lnTo>
                        <a:pt x="100" y="622"/>
                      </a:lnTo>
                      <a:lnTo>
                        <a:pt x="102" y="616"/>
                      </a:lnTo>
                      <a:lnTo>
                        <a:pt x="104" y="610"/>
                      </a:lnTo>
                      <a:lnTo>
                        <a:pt x="105" y="604"/>
                      </a:lnTo>
                      <a:lnTo>
                        <a:pt x="106" y="597"/>
                      </a:lnTo>
                      <a:lnTo>
                        <a:pt x="86" y="597"/>
                      </a:lnTo>
                      <a:lnTo>
                        <a:pt x="64" y="597"/>
                      </a:lnTo>
                      <a:lnTo>
                        <a:pt x="35" y="597"/>
                      </a:lnTo>
                      <a:lnTo>
                        <a:pt x="0" y="597"/>
                      </a:lnTo>
                      <a:lnTo>
                        <a:pt x="585" y="117"/>
                      </a:lnTo>
                      <a:lnTo>
                        <a:pt x="594" y="116"/>
                      </a:lnTo>
                      <a:lnTo>
                        <a:pt x="602" y="114"/>
                      </a:lnTo>
                      <a:lnTo>
                        <a:pt x="612" y="112"/>
                      </a:lnTo>
                      <a:lnTo>
                        <a:pt x="625" y="111"/>
                      </a:lnTo>
                      <a:lnTo>
                        <a:pt x="635" y="111"/>
                      </a:lnTo>
                      <a:lnTo>
                        <a:pt x="643" y="113"/>
                      </a:lnTo>
                      <a:lnTo>
                        <a:pt x="651" y="116"/>
                      </a:lnTo>
                      <a:lnTo>
                        <a:pt x="659" y="119"/>
                      </a:lnTo>
                      <a:lnTo>
                        <a:pt x="674" y="128"/>
                      </a:lnTo>
                      <a:lnTo>
                        <a:pt x="687" y="138"/>
                      </a:lnTo>
                      <a:lnTo>
                        <a:pt x="702" y="148"/>
                      </a:lnTo>
                      <a:lnTo>
                        <a:pt x="716" y="158"/>
                      </a:lnTo>
                      <a:lnTo>
                        <a:pt x="724" y="161"/>
                      </a:lnTo>
                      <a:lnTo>
                        <a:pt x="732" y="164"/>
                      </a:lnTo>
                      <a:lnTo>
                        <a:pt x="741" y="166"/>
                      </a:lnTo>
                      <a:lnTo>
                        <a:pt x="751" y="166"/>
                      </a:lnTo>
                      <a:lnTo>
                        <a:pt x="943" y="111"/>
                      </a:lnTo>
                      <a:lnTo>
                        <a:pt x="1096" y="111"/>
                      </a:lnTo>
                      <a:lnTo>
                        <a:pt x="1103" y="112"/>
                      </a:lnTo>
                      <a:lnTo>
                        <a:pt x="1110" y="113"/>
                      </a:lnTo>
                      <a:lnTo>
                        <a:pt x="1117" y="113"/>
                      </a:lnTo>
                      <a:lnTo>
                        <a:pt x="1123" y="113"/>
                      </a:lnTo>
                      <a:lnTo>
                        <a:pt x="1135" y="110"/>
                      </a:lnTo>
                      <a:lnTo>
                        <a:pt x="1146" y="105"/>
                      </a:lnTo>
                      <a:lnTo>
                        <a:pt x="1157" y="100"/>
                      </a:lnTo>
                      <a:lnTo>
                        <a:pt x="1169" y="93"/>
                      </a:lnTo>
                      <a:lnTo>
                        <a:pt x="1181" y="89"/>
                      </a:lnTo>
                      <a:lnTo>
                        <a:pt x="1196" y="85"/>
                      </a:lnTo>
                      <a:lnTo>
                        <a:pt x="1195" y="90"/>
                      </a:lnTo>
                      <a:lnTo>
                        <a:pt x="1195" y="94"/>
                      </a:lnTo>
                      <a:lnTo>
                        <a:pt x="1195" y="100"/>
                      </a:lnTo>
                      <a:lnTo>
                        <a:pt x="1196" y="104"/>
                      </a:lnTo>
                      <a:lnTo>
                        <a:pt x="1198" y="112"/>
                      </a:lnTo>
                      <a:lnTo>
                        <a:pt x="1202" y="120"/>
                      </a:lnTo>
                      <a:lnTo>
                        <a:pt x="1208" y="126"/>
                      </a:lnTo>
                      <a:lnTo>
                        <a:pt x="1214" y="131"/>
                      </a:lnTo>
                      <a:lnTo>
                        <a:pt x="1218" y="132"/>
                      </a:lnTo>
                      <a:lnTo>
                        <a:pt x="1222" y="134"/>
                      </a:lnTo>
                      <a:lnTo>
                        <a:pt x="1225" y="135"/>
                      </a:lnTo>
                      <a:lnTo>
                        <a:pt x="1230" y="135"/>
                      </a:lnTo>
                      <a:lnTo>
                        <a:pt x="1238" y="134"/>
                      </a:lnTo>
                      <a:lnTo>
                        <a:pt x="1247" y="133"/>
                      </a:lnTo>
                      <a:lnTo>
                        <a:pt x="1255" y="131"/>
                      </a:lnTo>
                      <a:lnTo>
                        <a:pt x="1263" y="128"/>
                      </a:lnTo>
                      <a:lnTo>
                        <a:pt x="1278" y="122"/>
                      </a:lnTo>
                      <a:lnTo>
                        <a:pt x="1296" y="117"/>
                      </a:lnTo>
                      <a:lnTo>
                        <a:pt x="1298" y="119"/>
                      </a:lnTo>
                      <a:lnTo>
                        <a:pt x="1300" y="120"/>
                      </a:lnTo>
                      <a:lnTo>
                        <a:pt x="1303" y="122"/>
                      </a:lnTo>
                      <a:lnTo>
                        <a:pt x="1308" y="123"/>
                      </a:lnTo>
                      <a:lnTo>
                        <a:pt x="1319" y="124"/>
                      </a:lnTo>
                      <a:lnTo>
                        <a:pt x="1331" y="124"/>
                      </a:lnTo>
                      <a:lnTo>
                        <a:pt x="1343" y="123"/>
                      </a:lnTo>
                      <a:lnTo>
                        <a:pt x="1355" y="121"/>
                      </a:lnTo>
                      <a:lnTo>
                        <a:pt x="1367" y="119"/>
                      </a:lnTo>
                      <a:lnTo>
                        <a:pt x="1376" y="117"/>
                      </a:lnTo>
                      <a:lnTo>
                        <a:pt x="1386" y="116"/>
                      </a:lnTo>
                      <a:lnTo>
                        <a:pt x="1397" y="114"/>
                      </a:lnTo>
                      <a:lnTo>
                        <a:pt x="1405" y="112"/>
                      </a:lnTo>
                      <a:lnTo>
                        <a:pt x="1409" y="111"/>
                      </a:lnTo>
                      <a:lnTo>
                        <a:pt x="1424" y="112"/>
                      </a:lnTo>
                      <a:lnTo>
                        <a:pt x="1450" y="117"/>
                      </a:lnTo>
                      <a:lnTo>
                        <a:pt x="1483" y="123"/>
                      </a:lnTo>
                      <a:lnTo>
                        <a:pt x="1520" y="131"/>
                      </a:lnTo>
                      <a:lnTo>
                        <a:pt x="1557" y="140"/>
                      </a:lnTo>
                      <a:lnTo>
                        <a:pt x="1592" y="149"/>
                      </a:lnTo>
                      <a:lnTo>
                        <a:pt x="1621" y="159"/>
                      </a:lnTo>
                      <a:lnTo>
                        <a:pt x="1641" y="166"/>
                      </a:lnTo>
                      <a:lnTo>
                        <a:pt x="1632" y="174"/>
                      </a:lnTo>
                      <a:lnTo>
                        <a:pt x="1623" y="179"/>
                      </a:lnTo>
                      <a:lnTo>
                        <a:pt x="1615" y="183"/>
                      </a:lnTo>
                      <a:lnTo>
                        <a:pt x="1607" y="187"/>
                      </a:lnTo>
                      <a:lnTo>
                        <a:pt x="1601" y="189"/>
                      </a:lnTo>
                      <a:lnTo>
                        <a:pt x="1592" y="193"/>
                      </a:lnTo>
                      <a:lnTo>
                        <a:pt x="1584" y="197"/>
                      </a:lnTo>
                      <a:lnTo>
                        <a:pt x="1574" y="202"/>
                      </a:lnTo>
                      <a:lnTo>
                        <a:pt x="1591" y="209"/>
                      </a:lnTo>
                      <a:lnTo>
                        <a:pt x="1606" y="215"/>
                      </a:lnTo>
                      <a:lnTo>
                        <a:pt x="1621" y="219"/>
                      </a:lnTo>
                      <a:lnTo>
                        <a:pt x="1635" y="222"/>
                      </a:lnTo>
                      <a:lnTo>
                        <a:pt x="1648" y="225"/>
                      </a:lnTo>
                      <a:lnTo>
                        <a:pt x="1662" y="226"/>
                      </a:lnTo>
                      <a:lnTo>
                        <a:pt x="1678" y="227"/>
                      </a:lnTo>
                      <a:lnTo>
                        <a:pt x="1694" y="228"/>
                      </a:lnTo>
                      <a:lnTo>
                        <a:pt x="1711" y="227"/>
                      </a:lnTo>
                      <a:lnTo>
                        <a:pt x="1725" y="224"/>
                      </a:lnTo>
                      <a:lnTo>
                        <a:pt x="1737" y="220"/>
                      </a:lnTo>
                      <a:lnTo>
                        <a:pt x="1749" y="216"/>
                      </a:lnTo>
                      <a:lnTo>
                        <a:pt x="1760" y="211"/>
                      </a:lnTo>
                      <a:lnTo>
                        <a:pt x="1771" y="206"/>
                      </a:lnTo>
                      <a:lnTo>
                        <a:pt x="1782" y="203"/>
                      </a:lnTo>
                      <a:lnTo>
                        <a:pt x="1794" y="202"/>
                      </a:lnTo>
                      <a:lnTo>
                        <a:pt x="1800" y="203"/>
                      </a:lnTo>
                      <a:lnTo>
                        <a:pt x="1805" y="204"/>
                      </a:lnTo>
                      <a:lnTo>
                        <a:pt x="1811" y="206"/>
                      </a:lnTo>
                      <a:lnTo>
                        <a:pt x="1816" y="209"/>
                      </a:lnTo>
                      <a:lnTo>
                        <a:pt x="1825" y="217"/>
                      </a:lnTo>
                      <a:lnTo>
                        <a:pt x="1833" y="225"/>
                      </a:lnTo>
                      <a:lnTo>
                        <a:pt x="1841" y="232"/>
                      </a:lnTo>
                      <a:lnTo>
                        <a:pt x="1849" y="239"/>
                      </a:lnTo>
                      <a:lnTo>
                        <a:pt x="1853" y="242"/>
                      </a:lnTo>
                      <a:lnTo>
                        <a:pt x="1858" y="244"/>
                      </a:lnTo>
                      <a:lnTo>
                        <a:pt x="1862" y="245"/>
                      </a:lnTo>
                      <a:lnTo>
                        <a:pt x="1867" y="246"/>
                      </a:lnTo>
                      <a:lnTo>
                        <a:pt x="1880" y="202"/>
                      </a:lnTo>
                      <a:lnTo>
                        <a:pt x="2006" y="178"/>
                      </a:lnTo>
                      <a:lnTo>
                        <a:pt x="2016" y="179"/>
                      </a:lnTo>
                      <a:lnTo>
                        <a:pt x="2026" y="180"/>
                      </a:lnTo>
                      <a:lnTo>
                        <a:pt x="2035" y="181"/>
                      </a:lnTo>
                      <a:lnTo>
                        <a:pt x="2043" y="183"/>
                      </a:lnTo>
                      <a:lnTo>
                        <a:pt x="2060" y="188"/>
                      </a:lnTo>
                      <a:lnTo>
                        <a:pt x="2076" y="193"/>
                      </a:lnTo>
                      <a:lnTo>
                        <a:pt x="2093" y="199"/>
                      </a:lnTo>
                      <a:lnTo>
                        <a:pt x="2109" y="204"/>
                      </a:lnTo>
                      <a:lnTo>
                        <a:pt x="2118" y="206"/>
                      </a:lnTo>
                      <a:lnTo>
                        <a:pt x="2127" y="207"/>
                      </a:lnTo>
                      <a:lnTo>
                        <a:pt x="2137" y="208"/>
                      </a:lnTo>
                      <a:lnTo>
                        <a:pt x="2147" y="208"/>
                      </a:lnTo>
                      <a:lnTo>
                        <a:pt x="2162" y="208"/>
                      </a:lnTo>
                      <a:lnTo>
                        <a:pt x="2173" y="207"/>
                      </a:lnTo>
                      <a:lnTo>
                        <a:pt x="2183" y="205"/>
                      </a:lnTo>
                      <a:lnTo>
                        <a:pt x="2190" y="202"/>
                      </a:lnTo>
                      <a:lnTo>
                        <a:pt x="2198" y="200"/>
                      </a:lnTo>
                      <a:lnTo>
                        <a:pt x="2206" y="198"/>
                      </a:lnTo>
                      <a:lnTo>
                        <a:pt x="2215" y="197"/>
                      </a:lnTo>
                      <a:lnTo>
                        <a:pt x="2226" y="196"/>
                      </a:lnTo>
                      <a:lnTo>
                        <a:pt x="2235" y="197"/>
                      </a:lnTo>
                      <a:lnTo>
                        <a:pt x="2244" y="199"/>
                      </a:lnTo>
                      <a:lnTo>
                        <a:pt x="2253" y="202"/>
                      </a:lnTo>
                      <a:lnTo>
                        <a:pt x="2261" y="205"/>
                      </a:lnTo>
                      <a:lnTo>
                        <a:pt x="2267" y="209"/>
                      </a:lnTo>
                      <a:lnTo>
                        <a:pt x="2274" y="213"/>
                      </a:lnTo>
                      <a:lnTo>
                        <a:pt x="2280" y="215"/>
                      </a:lnTo>
                      <a:lnTo>
                        <a:pt x="2286" y="216"/>
                      </a:lnTo>
                      <a:lnTo>
                        <a:pt x="2290" y="215"/>
                      </a:lnTo>
                      <a:lnTo>
                        <a:pt x="2296" y="213"/>
                      </a:lnTo>
                      <a:lnTo>
                        <a:pt x="2300" y="211"/>
                      </a:lnTo>
                      <a:lnTo>
                        <a:pt x="2305" y="206"/>
                      </a:lnTo>
                      <a:lnTo>
                        <a:pt x="2309" y="202"/>
                      </a:lnTo>
                      <a:lnTo>
                        <a:pt x="2312" y="197"/>
                      </a:lnTo>
                      <a:lnTo>
                        <a:pt x="2316" y="191"/>
                      </a:lnTo>
                      <a:lnTo>
                        <a:pt x="2319" y="184"/>
                      </a:lnTo>
                      <a:lnTo>
                        <a:pt x="2326" y="183"/>
                      </a:lnTo>
                      <a:lnTo>
                        <a:pt x="2334" y="180"/>
                      </a:lnTo>
                      <a:lnTo>
                        <a:pt x="2339" y="179"/>
                      </a:lnTo>
                      <a:lnTo>
                        <a:pt x="2342" y="177"/>
                      </a:lnTo>
                      <a:lnTo>
                        <a:pt x="2344" y="174"/>
                      </a:lnTo>
                      <a:lnTo>
                        <a:pt x="2345" y="172"/>
                      </a:lnTo>
                      <a:lnTo>
                        <a:pt x="2378" y="172"/>
                      </a:lnTo>
                      <a:lnTo>
                        <a:pt x="2376" y="178"/>
                      </a:lnTo>
                      <a:lnTo>
                        <a:pt x="2372" y="185"/>
                      </a:lnTo>
                      <a:lnTo>
                        <a:pt x="2369" y="189"/>
                      </a:lnTo>
                      <a:lnTo>
                        <a:pt x="2367" y="193"/>
                      </a:lnTo>
                      <a:lnTo>
                        <a:pt x="2366" y="198"/>
                      </a:lnTo>
                      <a:lnTo>
                        <a:pt x="2365" y="202"/>
                      </a:lnTo>
                      <a:lnTo>
                        <a:pt x="2365" y="216"/>
                      </a:lnTo>
                      <a:lnTo>
                        <a:pt x="2365" y="228"/>
                      </a:lnTo>
                      <a:lnTo>
                        <a:pt x="2405" y="228"/>
                      </a:lnTo>
                      <a:lnTo>
                        <a:pt x="2401" y="213"/>
                      </a:lnTo>
                      <a:lnTo>
                        <a:pt x="2400" y="203"/>
                      </a:lnTo>
                      <a:lnTo>
                        <a:pt x="2401" y="195"/>
                      </a:lnTo>
                      <a:lnTo>
                        <a:pt x="2405" y="184"/>
                      </a:lnTo>
                      <a:lnTo>
                        <a:pt x="2430" y="184"/>
                      </a:lnTo>
                      <a:lnTo>
                        <a:pt x="2454" y="182"/>
                      </a:lnTo>
                      <a:lnTo>
                        <a:pt x="2465" y="180"/>
                      </a:lnTo>
                      <a:lnTo>
                        <a:pt x="2476" y="178"/>
                      </a:lnTo>
                      <a:lnTo>
                        <a:pt x="2487" y="175"/>
                      </a:lnTo>
                      <a:lnTo>
                        <a:pt x="2497" y="172"/>
                      </a:lnTo>
                      <a:lnTo>
                        <a:pt x="2506" y="168"/>
                      </a:lnTo>
                      <a:lnTo>
                        <a:pt x="2513" y="164"/>
                      </a:lnTo>
                      <a:lnTo>
                        <a:pt x="2521" y="159"/>
                      </a:lnTo>
                      <a:lnTo>
                        <a:pt x="2526" y="153"/>
                      </a:lnTo>
                      <a:lnTo>
                        <a:pt x="2532" y="146"/>
                      </a:lnTo>
                      <a:lnTo>
                        <a:pt x="2535" y="139"/>
                      </a:lnTo>
                      <a:lnTo>
                        <a:pt x="2537" y="131"/>
                      </a:lnTo>
                      <a:lnTo>
                        <a:pt x="2539" y="123"/>
                      </a:lnTo>
                      <a:lnTo>
                        <a:pt x="2532" y="123"/>
                      </a:lnTo>
                      <a:lnTo>
                        <a:pt x="2518" y="123"/>
                      </a:lnTo>
                      <a:lnTo>
                        <a:pt x="2501" y="123"/>
                      </a:lnTo>
                      <a:lnTo>
                        <a:pt x="2491" y="123"/>
                      </a:lnTo>
                      <a:lnTo>
                        <a:pt x="2487" y="120"/>
                      </a:lnTo>
                      <a:lnTo>
                        <a:pt x="2483" y="115"/>
                      </a:lnTo>
                      <a:lnTo>
                        <a:pt x="2479" y="110"/>
                      </a:lnTo>
                      <a:lnTo>
                        <a:pt x="2477" y="105"/>
                      </a:lnTo>
                      <a:lnTo>
                        <a:pt x="2473" y="93"/>
                      </a:lnTo>
                      <a:lnTo>
                        <a:pt x="2472" y="85"/>
                      </a:lnTo>
                      <a:lnTo>
                        <a:pt x="2473" y="81"/>
                      </a:lnTo>
                      <a:lnTo>
                        <a:pt x="2476" y="75"/>
                      </a:lnTo>
                      <a:lnTo>
                        <a:pt x="2480" y="69"/>
                      </a:lnTo>
                      <a:lnTo>
                        <a:pt x="2487" y="62"/>
                      </a:lnTo>
                      <a:lnTo>
                        <a:pt x="2495" y="55"/>
                      </a:lnTo>
                      <a:lnTo>
                        <a:pt x="2503" y="48"/>
                      </a:lnTo>
                      <a:lnTo>
                        <a:pt x="2512" y="40"/>
                      </a:lnTo>
                      <a:lnTo>
                        <a:pt x="2523" y="33"/>
                      </a:lnTo>
                      <a:lnTo>
                        <a:pt x="2534" y="26"/>
                      </a:lnTo>
                      <a:lnTo>
                        <a:pt x="2545" y="20"/>
                      </a:lnTo>
                      <a:lnTo>
                        <a:pt x="2556" y="15"/>
                      </a:lnTo>
                      <a:lnTo>
                        <a:pt x="2567" y="10"/>
                      </a:lnTo>
                      <a:lnTo>
                        <a:pt x="2577" y="6"/>
                      </a:lnTo>
                      <a:lnTo>
                        <a:pt x="2587" y="2"/>
                      </a:lnTo>
                      <a:lnTo>
                        <a:pt x="2597" y="0"/>
                      </a:lnTo>
                      <a:lnTo>
                        <a:pt x="2604" y="0"/>
                      </a:lnTo>
                      <a:lnTo>
                        <a:pt x="2611" y="0"/>
                      </a:lnTo>
                      <a:lnTo>
                        <a:pt x="2621" y="0"/>
                      </a:lnTo>
                      <a:lnTo>
                        <a:pt x="2631" y="0"/>
                      </a:lnTo>
                      <a:lnTo>
                        <a:pt x="2637" y="0"/>
                      </a:lnTo>
                      <a:lnTo>
                        <a:pt x="2638" y="8"/>
                      </a:lnTo>
                      <a:lnTo>
                        <a:pt x="2638" y="16"/>
                      </a:lnTo>
                      <a:lnTo>
                        <a:pt x="2640" y="24"/>
                      </a:lnTo>
                      <a:lnTo>
                        <a:pt x="2642" y="30"/>
                      </a:lnTo>
                      <a:lnTo>
                        <a:pt x="2646" y="42"/>
                      </a:lnTo>
                      <a:lnTo>
                        <a:pt x="2651" y="53"/>
                      </a:lnTo>
                      <a:lnTo>
                        <a:pt x="2656" y="62"/>
                      </a:lnTo>
                      <a:lnTo>
                        <a:pt x="2660" y="71"/>
                      </a:lnTo>
                      <a:lnTo>
                        <a:pt x="2663" y="81"/>
                      </a:lnTo>
                      <a:lnTo>
                        <a:pt x="2664" y="91"/>
                      </a:lnTo>
                      <a:lnTo>
                        <a:pt x="2664" y="95"/>
                      </a:lnTo>
                      <a:lnTo>
                        <a:pt x="2663" y="97"/>
                      </a:lnTo>
                      <a:lnTo>
                        <a:pt x="2660" y="100"/>
                      </a:lnTo>
                      <a:lnTo>
                        <a:pt x="2658" y="101"/>
                      </a:lnTo>
                      <a:lnTo>
                        <a:pt x="2652" y="103"/>
                      </a:lnTo>
                      <a:lnTo>
                        <a:pt x="2644" y="105"/>
                      </a:lnTo>
                      <a:lnTo>
                        <a:pt x="2635" y="106"/>
                      </a:lnTo>
                      <a:lnTo>
                        <a:pt x="2627" y="108"/>
                      </a:lnTo>
                      <a:lnTo>
                        <a:pt x="2624" y="109"/>
                      </a:lnTo>
                      <a:lnTo>
                        <a:pt x="2622" y="111"/>
                      </a:lnTo>
                      <a:lnTo>
                        <a:pt x="2620" y="114"/>
                      </a:lnTo>
                      <a:lnTo>
                        <a:pt x="2618" y="117"/>
                      </a:lnTo>
                      <a:lnTo>
                        <a:pt x="2627" y="118"/>
                      </a:lnTo>
                      <a:lnTo>
                        <a:pt x="2637" y="120"/>
                      </a:lnTo>
                      <a:lnTo>
                        <a:pt x="2647" y="122"/>
                      </a:lnTo>
                      <a:lnTo>
                        <a:pt x="2657" y="123"/>
                      </a:lnTo>
                      <a:lnTo>
                        <a:pt x="2653" y="127"/>
                      </a:lnTo>
                      <a:lnTo>
                        <a:pt x="2649" y="132"/>
                      </a:lnTo>
                      <a:lnTo>
                        <a:pt x="2647" y="137"/>
                      </a:lnTo>
                      <a:lnTo>
                        <a:pt x="2646" y="142"/>
                      </a:lnTo>
                      <a:lnTo>
                        <a:pt x="2644" y="153"/>
                      </a:lnTo>
                      <a:lnTo>
                        <a:pt x="2644" y="166"/>
                      </a:lnTo>
                      <a:lnTo>
                        <a:pt x="2645" y="168"/>
                      </a:lnTo>
                      <a:lnTo>
                        <a:pt x="2646" y="169"/>
                      </a:lnTo>
                      <a:lnTo>
                        <a:pt x="2648" y="169"/>
                      </a:lnTo>
                      <a:lnTo>
                        <a:pt x="2652" y="168"/>
                      </a:lnTo>
                      <a:lnTo>
                        <a:pt x="2658" y="167"/>
                      </a:lnTo>
                      <a:lnTo>
                        <a:pt x="2664" y="166"/>
                      </a:lnTo>
                      <a:lnTo>
                        <a:pt x="2664" y="160"/>
                      </a:lnTo>
                      <a:lnTo>
                        <a:pt x="2664" y="153"/>
                      </a:lnTo>
                      <a:lnTo>
                        <a:pt x="2672" y="151"/>
                      </a:lnTo>
                      <a:lnTo>
                        <a:pt x="2680" y="148"/>
                      </a:lnTo>
                      <a:lnTo>
                        <a:pt x="2685" y="145"/>
                      </a:lnTo>
                      <a:lnTo>
                        <a:pt x="2689" y="142"/>
                      </a:lnTo>
                      <a:lnTo>
                        <a:pt x="2692" y="139"/>
                      </a:lnTo>
                      <a:lnTo>
                        <a:pt x="2696" y="137"/>
                      </a:lnTo>
                      <a:lnTo>
                        <a:pt x="2700" y="135"/>
                      </a:lnTo>
                      <a:lnTo>
                        <a:pt x="2704" y="135"/>
                      </a:lnTo>
                      <a:lnTo>
                        <a:pt x="2709" y="137"/>
                      </a:lnTo>
                      <a:lnTo>
                        <a:pt x="2715" y="138"/>
                      </a:lnTo>
                      <a:lnTo>
                        <a:pt x="2724" y="139"/>
                      </a:lnTo>
                      <a:lnTo>
                        <a:pt x="2733" y="140"/>
                      </a:lnTo>
                      <a:lnTo>
                        <a:pt x="2749" y="141"/>
                      </a:lnTo>
                      <a:lnTo>
                        <a:pt x="2757" y="141"/>
                      </a:lnTo>
                      <a:lnTo>
                        <a:pt x="2752" y="153"/>
                      </a:lnTo>
                      <a:lnTo>
                        <a:pt x="2745" y="164"/>
                      </a:lnTo>
                      <a:lnTo>
                        <a:pt x="2738" y="173"/>
                      </a:lnTo>
                      <a:lnTo>
                        <a:pt x="2731" y="180"/>
                      </a:lnTo>
                      <a:lnTo>
                        <a:pt x="2723" y="188"/>
                      </a:lnTo>
                      <a:lnTo>
                        <a:pt x="2716" y="196"/>
                      </a:lnTo>
                      <a:lnTo>
                        <a:pt x="2710" y="204"/>
                      </a:lnTo>
                      <a:lnTo>
                        <a:pt x="2704" y="216"/>
                      </a:lnTo>
                      <a:lnTo>
                        <a:pt x="2712" y="217"/>
                      </a:lnTo>
                      <a:lnTo>
                        <a:pt x="2719" y="218"/>
                      </a:lnTo>
                      <a:lnTo>
                        <a:pt x="2725" y="218"/>
                      </a:lnTo>
                      <a:lnTo>
                        <a:pt x="2732" y="218"/>
                      </a:lnTo>
                      <a:lnTo>
                        <a:pt x="2744" y="216"/>
                      </a:lnTo>
                      <a:lnTo>
                        <a:pt x="2750" y="216"/>
                      </a:lnTo>
                      <a:lnTo>
                        <a:pt x="2780" y="194"/>
                      </a:lnTo>
                      <a:lnTo>
                        <a:pt x="2810" y="172"/>
                      </a:lnTo>
                      <a:lnTo>
                        <a:pt x="2817" y="167"/>
                      </a:lnTo>
                      <a:lnTo>
                        <a:pt x="2825" y="163"/>
                      </a:lnTo>
                      <a:lnTo>
                        <a:pt x="2834" y="159"/>
                      </a:lnTo>
                      <a:lnTo>
                        <a:pt x="2843" y="155"/>
                      </a:lnTo>
                      <a:lnTo>
                        <a:pt x="2853" y="151"/>
                      </a:lnTo>
                      <a:lnTo>
                        <a:pt x="2862" y="149"/>
                      </a:lnTo>
                      <a:lnTo>
                        <a:pt x="2872" y="147"/>
                      </a:lnTo>
                      <a:lnTo>
                        <a:pt x="2883" y="147"/>
                      </a:lnTo>
                      <a:lnTo>
                        <a:pt x="2884" y="139"/>
                      </a:lnTo>
                      <a:lnTo>
                        <a:pt x="2885" y="132"/>
                      </a:lnTo>
                      <a:lnTo>
                        <a:pt x="2888" y="126"/>
                      </a:lnTo>
                      <a:lnTo>
                        <a:pt x="2891" y="121"/>
                      </a:lnTo>
                      <a:lnTo>
                        <a:pt x="2895" y="116"/>
                      </a:lnTo>
                      <a:lnTo>
                        <a:pt x="2900" y="111"/>
                      </a:lnTo>
                      <a:lnTo>
                        <a:pt x="2905" y="107"/>
                      </a:lnTo>
                      <a:lnTo>
                        <a:pt x="2912" y="104"/>
                      </a:lnTo>
                      <a:lnTo>
                        <a:pt x="2918" y="101"/>
                      </a:lnTo>
                      <a:lnTo>
                        <a:pt x="2925" y="98"/>
                      </a:lnTo>
                      <a:lnTo>
                        <a:pt x="2932" y="96"/>
                      </a:lnTo>
                      <a:lnTo>
                        <a:pt x="2939" y="94"/>
                      </a:lnTo>
                      <a:lnTo>
                        <a:pt x="2955" y="92"/>
                      </a:lnTo>
                      <a:lnTo>
                        <a:pt x="2970" y="91"/>
                      </a:lnTo>
                      <a:lnTo>
                        <a:pt x="2978" y="92"/>
                      </a:lnTo>
                      <a:lnTo>
                        <a:pt x="2984" y="93"/>
                      </a:lnTo>
                      <a:lnTo>
                        <a:pt x="2993" y="95"/>
                      </a:lnTo>
                      <a:lnTo>
                        <a:pt x="3001" y="98"/>
                      </a:lnTo>
                      <a:lnTo>
                        <a:pt x="3008" y="101"/>
                      </a:lnTo>
                      <a:lnTo>
                        <a:pt x="3017" y="103"/>
                      </a:lnTo>
                      <a:lnTo>
                        <a:pt x="3026" y="104"/>
                      </a:lnTo>
                      <a:lnTo>
                        <a:pt x="3036" y="105"/>
                      </a:lnTo>
                      <a:lnTo>
                        <a:pt x="3036" y="110"/>
                      </a:lnTo>
                      <a:lnTo>
                        <a:pt x="3036" y="117"/>
                      </a:lnTo>
                      <a:lnTo>
                        <a:pt x="3036" y="126"/>
                      </a:lnTo>
                      <a:lnTo>
                        <a:pt x="3036" y="135"/>
                      </a:lnTo>
                      <a:lnTo>
                        <a:pt x="3036" y="139"/>
                      </a:lnTo>
                      <a:lnTo>
                        <a:pt x="3035" y="143"/>
                      </a:lnTo>
                      <a:lnTo>
                        <a:pt x="3033" y="147"/>
                      </a:lnTo>
                      <a:lnTo>
                        <a:pt x="3030" y="150"/>
                      </a:lnTo>
                      <a:lnTo>
                        <a:pt x="3025" y="157"/>
                      </a:lnTo>
                      <a:lnTo>
                        <a:pt x="3018" y="162"/>
                      </a:lnTo>
                      <a:lnTo>
                        <a:pt x="3003" y="170"/>
                      </a:lnTo>
                      <a:lnTo>
                        <a:pt x="2990" y="178"/>
                      </a:lnTo>
                      <a:lnTo>
                        <a:pt x="2982" y="196"/>
                      </a:lnTo>
                      <a:lnTo>
                        <a:pt x="2973" y="214"/>
                      </a:lnTo>
                      <a:lnTo>
                        <a:pt x="2968" y="222"/>
                      </a:lnTo>
                      <a:lnTo>
                        <a:pt x="2963" y="229"/>
                      </a:lnTo>
                      <a:lnTo>
                        <a:pt x="2958" y="236"/>
                      </a:lnTo>
                      <a:lnTo>
                        <a:pt x="2951" y="243"/>
                      </a:lnTo>
                      <a:lnTo>
                        <a:pt x="2945" y="249"/>
                      </a:lnTo>
                      <a:lnTo>
                        <a:pt x="2938" y="254"/>
                      </a:lnTo>
                      <a:lnTo>
                        <a:pt x="2931" y="259"/>
                      </a:lnTo>
                      <a:lnTo>
                        <a:pt x="2923" y="263"/>
                      </a:lnTo>
                      <a:lnTo>
                        <a:pt x="2914" y="267"/>
                      </a:lnTo>
                      <a:lnTo>
                        <a:pt x="2904" y="269"/>
                      </a:lnTo>
                      <a:lnTo>
                        <a:pt x="2894" y="271"/>
                      </a:lnTo>
                      <a:lnTo>
                        <a:pt x="2883" y="271"/>
                      </a:lnTo>
                      <a:lnTo>
                        <a:pt x="2878" y="271"/>
                      </a:lnTo>
                      <a:lnTo>
                        <a:pt x="2872" y="270"/>
                      </a:lnTo>
                      <a:lnTo>
                        <a:pt x="2867" y="268"/>
                      </a:lnTo>
                      <a:lnTo>
                        <a:pt x="2861" y="266"/>
                      </a:lnTo>
                      <a:lnTo>
                        <a:pt x="2856" y="263"/>
                      </a:lnTo>
                      <a:lnTo>
                        <a:pt x="2850" y="260"/>
                      </a:lnTo>
                      <a:lnTo>
                        <a:pt x="2847" y="256"/>
                      </a:lnTo>
                      <a:lnTo>
                        <a:pt x="2844" y="252"/>
                      </a:lnTo>
                      <a:lnTo>
                        <a:pt x="2838" y="257"/>
                      </a:lnTo>
                      <a:lnTo>
                        <a:pt x="2835" y="264"/>
                      </a:lnTo>
                      <a:lnTo>
                        <a:pt x="2834" y="268"/>
                      </a:lnTo>
                      <a:lnTo>
                        <a:pt x="2834" y="272"/>
                      </a:lnTo>
                      <a:lnTo>
                        <a:pt x="2835" y="275"/>
                      </a:lnTo>
                      <a:lnTo>
                        <a:pt x="2837" y="277"/>
                      </a:lnTo>
                      <a:lnTo>
                        <a:pt x="2829" y="278"/>
                      </a:lnTo>
                      <a:lnTo>
                        <a:pt x="2823" y="279"/>
                      </a:lnTo>
                      <a:lnTo>
                        <a:pt x="2817" y="281"/>
                      </a:lnTo>
                      <a:lnTo>
                        <a:pt x="2811" y="283"/>
                      </a:lnTo>
                      <a:lnTo>
                        <a:pt x="2805" y="285"/>
                      </a:lnTo>
                      <a:lnTo>
                        <a:pt x="2801" y="287"/>
                      </a:lnTo>
                      <a:lnTo>
                        <a:pt x="2795" y="289"/>
                      </a:lnTo>
                      <a:lnTo>
                        <a:pt x="2790" y="289"/>
                      </a:lnTo>
                      <a:lnTo>
                        <a:pt x="2783" y="288"/>
                      </a:lnTo>
                      <a:lnTo>
                        <a:pt x="2777" y="286"/>
                      </a:lnTo>
                      <a:lnTo>
                        <a:pt x="2770" y="283"/>
                      </a:lnTo>
                      <a:lnTo>
                        <a:pt x="2765" y="279"/>
                      </a:lnTo>
                      <a:lnTo>
                        <a:pt x="2754" y="271"/>
                      </a:lnTo>
                      <a:lnTo>
                        <a:pt x="2744" y="264"/>
                      </a:lnTo>
                      <a:lnTo>
                        <a:pt x="2730" y="272"/>
                      </a:lnTo>
                      <a:lnTo>
                        <a:pt x="2717" y="281"/>
                      </a:lnTo>
                      <a:lnTo>
                        <a:pt x="2707" y="290"/>
                      </a:lnTo>
                      <a:lnTo>
                        <a:pt x="2696" y="299"/>
                      </a:lnTo>
                      <a:lnTo>
                        <a:pt x="2685" y="307"/>
                      </a:lnTo>
                      <a:lnTo>
                        <a:pt x="2671" y="313"/>
                      </a:lnTo>
                      <a:lnTo>
                        <a:pt x="2664" y="316"/>
                      </a:lnTo>
                      <a:lnTo>
                        <a:pt x="2656" y="318"/>
                      </a:lnTo>
                      <a:lnTo>
                        <a:pt x="2647" y="319"/>
                      </a:lnTo>
                      <a:lnTo>
                        <a:pt x="2637" y="319"/>
                      </a:lnTo>
                      <a:lnTo>
                        <a:pt x="2626" y="319"/>
                      </a:lnTo>
                      <a:lnTo>
                        <a:pt x="2615" y="317"/>
                      </a:lnTo>
                      <a:lnTo>
                        <a:pt x="2602" y="315"/>
                      </a:lnTo>
                      <a:lnTo>
                        <a:pt x="2590" y="312"/>
                      </a:lnTo>
                      <a:lnTo>
                        <a:pt x="2579" y="308"/>
                      </a:lnTo>
                      <a:lnTo>
                        <a:pt x="2569" y="304"/>
                      </a:lnTo>
                      <a:lnTo>
                        <a:pt x="2562" y="300"/>
                      </a:lnTo>
                      <a:lnTo>
                        <a:pt x="2558" y="295"/>
                      </a:lnTo>
                      <a:lnTo>
                        <a:pt x="2518" y="295"/>
                      </a:lnTo>
                      <a:lnTo>
                        <a:pt x="2521" y="303"/>
                      </a:lnTo>
                      <a:lnTo>
                        <a:pt x="2525" y="309"/>
                      </a:lnTo>
                      <a:lnTo>
                        <a:pt x="2530" y="314"/>
                      </a:lnTo>
                      <a:lnTo>
                        <a:pt x="2536" y="318"/>
                      </a:lnTo>
                      <a:lnTo>
                        <a:pt x="2542" y="322"/>
                      </a:lnTo>
                      <a:lnTo>
                        <a:pt x="2550" y="324"/>
                      </a:lnTo>
                      <a:lnTo>
                        <a:pt x="2557" y="326"/>
                      </a:lnTo>
                      <a:lnTo>
                        <a:pt x="2565" y="327"/>
                      </a:lnTo>
                      <a:lnTo>
                        <a:pt x="2601" y="328"/>
                      </a:lnTo>
                      <a:lnTo>
                        <a:pt x="2637" y="326"/>
                      </a:lnTo>
                      <a:lnTo>
                        <a:pt x="2637" y="335"/>
                      </a:lnTo>
                      <a:lnTo>
                        <a:pt x="2638" y="342"/>
                      </a:lnTo>
                      <a:lnTo>
                        <a:pt x="2641" y="349"/>
                      </a:lnTo>
                      <a:lnTo>
                        <a:pt x="2644" y="357"/>
                      </a:lnTo>
                      <a:lnTo>
                        <a:pt x="2619" y="363"/>
                      </a:lnTo>
                      <a:lnTo>
                        <a:pt x="2590" y="371"/>
                      </a:lnTo>
                      <a:lnTo>
                        <a:pt x="2562" y="382"/>
                      </a:lnTo>
                      <a:lnTo>
                        <a:pt x="2531" y="392"/>
                      </a:lnTo>
                      <a:lnTo>
                        <a:pt x="2501" y="402"/>
                      </a:lnTo>
                      <a:lnTo>
                        <a:pt x="2473" y="410"/>
                      </a:lnTo>
                      <a:lnTo>
                        <a:pt x="2458" y="414"/>
                      </a:lnTo>
                      <a:lnTo>
                        <a:pt x="2444" y="416"/>
                      </a:lnTo>
                      <a:lnTo>
                        <a:pt x="2431" y="418"/>
                      </a:lnTo>
                      <a:lnTo>
                        <a:pt x="2419" y="418"/>
                      </a:lnTo>
                      <a:lnTo>
                        <a:pt x="2339" y="400"/>
                      </a:lnTo>
                      <a:lnTo>
                        <a:pt x="2319" y="400"/>
                      </a:lnTo>
                      <a:lnTo>
                        <a:pt x="2340" y="408"/>
                      </a:lnTo>
                      <a:lnTo>
                        <a:pt x="2361" y="416"/>
                      </a:lnTo>
                      <a:lnTo>
                        <a:pt x="2372" y="420"/>
                      </a:lnTo>
                      <a:lnTo>
                        <a:pt x="2382" y="425"/>
                      </a:lnTo>
                      <a:lnTo>
                        <a:pt x="2390" y="430"/>
                      </a:lnTo>
                      <a:lnTo>
                        <a:pt x="2398" y="437"/>
                      </a:lnTo>
                      <a:lnTo>
                        <a:pt x="2394" y="444"/>
                      </a:lnTo>
                      <a:lnTo>
                        <a:pt x="2388" y="449"/>
                      </a:lnTo>
                      <a:lnTo>
                        <a:pt x="2384" y="454"/>
                      </a:lnTo>
                      <a:lnTo>
                        <a:pt x="2378" y="457"/>
                      </a:lnTo>
                      <a:lnTo>
                        <a:pt x="2373" y="461"/>
                      </a:lnTo>
                      <a:lnTo>
                        <a:pt x="2368" y="463"/>
                      </a:lnTo>
                      <a:lnTo>
                        <a:pt x="2363" y="465"/>
                      </a:lnTo>
                      <a:lnTo>
                        <a:pt x="2357" y="467"/>
                      </a:lnTo>
                      <a:lnTo>
                        <a:pt x="2333" y="471"/>
                      </a:lnTo>
                      <a:lnTo>
                        <a:pt x="2306" y="474"/>
                      </a:lnTo>
                      <a:lnTo>
                        <a:pt x="2296" y="477"/>
                      </a:lnTo>
                      <a:lnTo>
                        <a:pt x="2286" y="481"/>
                      </a:lnTo>
                      <a:lnTo>
                        <a:pt x="2277" y="486"/>
                      </a:lnTo>
                      <a:lnTo>
                        <a:pt x="2268" y="492"/>
                      </a:lnTo>
                      <a:lnTo>
                        <a:pt x="2260" y="497"/>
                      </a:lnTo>
                      <a:lnTo>
                        <a:pt x="2251" y="501"/>
                      </a:lnTo>
                      <a:lnTo>
                        <a:pt x="2242" y="504"/>
                      </a:lnTo>
                      <a:lnTo>
                        <a:pt x="2232" y="505"/>
                      </a:lnTo>
                      <a:lnTo>
                        <a:pt x="2232" y="517"/>
                      </a:lnTo>
                      <a:lnTo>
                        <a:pt x="2232" y="529"/>
                      </a:lnTo>
                      <a:lnTo>
                        <a:pt x="2220" y="532"/>
                      </a:lnTo>
                      <a:lnTo>
                        <a:pt x="2208" y="537"/>
                      </a:lnTo>
                      <a:lnTo>
                        <a:pt x="2194" y="542"/>
                      </a:lnTo>
                      <a:lnTo>
                        <a:pt x="2181" y="550"/>
                      </a:lnTo>
                      <a:lnTo>
                        <a:pt x="2166" y="559"/>
                      </a:lnTo>
                      <a:lnTo>
                        <a:pt x="2151" y="568"/>
                      </a:lnTo>
                      <a:lnTo>
                        <a:pt x="2138" y="578"/>
                      </a:lnTo>
                      <a:lnTo>
                        <a:pt x="2123" y="588"/>
                      </a:lnTo>
                      <a:lnTo>
                        <a:pt x="2110" y="601"/>
                      </a:lnTo>
                      <a:lnTo>
                        <a:pt x="2098" y="613"/>
                      </a:lnTo>
                      <a:lnTo>
                        <a:pt x="2087" y="625"/>
                      </a:lnTo>
                      <a:lnTo>
                        <a:pt x="2078" y="637"/>
                      </a:lnTo>
                      <a:lnTo>
                        <a:pt x="2071" y="650"/>
                      </a:lnTo>
                      <a:lnTo>
                        <a:pt x="2064" y="664"/>
                      </a:lnTo>
                      <a:lnTo>
                        <a:pt x="2062" y="670"/>
                      </a:lnTo>
                      <a:lnTo>
                        <a:pt x="2061" y="677"/>
                      </a:lnTo>
                      <a:lnTo>
                        <a:pt x="2060" y="683"/>
                      </a:lnTo>
                      <a:lnTo>
                        <a:pt x="2060" y="689"/>
                      </a:lnTo>
                      <a:lnTo>
                        <a:pt x="2106" y="689"/>
                      </a:lnTo>
                      <a:lnTo>
                        <a:pt x="2104" y="714"/>
                      </a:lnTo>
                      <a:lnTo>
                        <a:pt x="2102" y="736"/>
                      </a:lnTo>
                      <a:lnTo>
                        <a:pt x="2100" y="745"/>
                      </a:lnTo>
                      <a:lnTo>
                        <a:pt x="2100" y="753"/>
                      </a:lnTo>
                      <a:lnTo>
                        <a:pt x="2102" y="757"/>
                      </a:lnTo>
                      <a:lnTo>
                        <a:pt x="2103" y="759"/>
                      </a:lnTo>
                      <a:lnTo>
                        <a:pt x="2104" y="762"/>
                      </a:lnTo>
                      <a:lnTo>
                        <a:pt x="2106" y="763"/>
                      </a:lnTo>
                      <a:lnTo>
                        <a:pt x="2086" y="776"/>
                      </a:lnTo>
                      <a:lnTo>
                        <a:pt x="2087" y="780"/>
                      </a:lnTo>
                      <a:lnTo>
                        <a:pt x="2089" y="784"/>
                      </a:lnTo>
                      <a:lnTo>
                        <a:pt x="2093" y="787"/>
                      </a:lnTo>
                      <a:lnTo>
                        <a:pt x="2097" y="790"/>
                      </a:lnTo>
                      <a:lnTo>
                        <a:pt x="2106" y="793"/>
                      </a:lnTo>
                      <a:lnTo>
                        <a:pt x="2112" y="794"/>
                      </a:lnTo>
                      <a:lnTo>
                        <a:pt x="2193" y="776"/>
                      </a:lnTo>
                      <a:lnTo>
                        <a:pt x="2204" y="782"/>
                      </a:lnTo>
                      <a:lnTo>
                        <a:pt x="2214" y="789"/>
                      </a:lnTo>
                      <a:lnTo>
                        <a:pt x="2223" y="796"/>
                      </a:lnTo>
                      <a:lnTo>
                        <a:pt x="2232" y="803"/>
                      </a:lnTo>
                      <a:lnTo>
                        <a:pt x="2250" y="819"/>
                      </a:lnTo>
                      <a:lnTo>
                        <a:pt x="2266" y="836"/>
                      </a:lnTo>
                      <a:lnTo>
                        <a:pt x="2284" y="852"/>
                      </a:lnTo>
                      <a:lnTo>
                        <a:pt x="2301" y="866"/>
                      </a:lnTo>
                      <a:lnTo>
                        <a:pt x="2311" y="872"/>
                      </a:lnTo>
                      <a:lnTo>
                        <a:pt x="2322" y="878"/>
                      </a:lnTo>
                      <a:lnTo>
                        <a:pt x="2333" y="883"/>
                      </a:lnTo>
                      <a:lnTo>
                        <a:pt x="2345" y="887"/>
                      </a:lnTo>
                      <a:lnTo>
                        <a:pt x="2345" y="891"/>
                      </a:lnTo>
                      <a:lnTo>
                        <a:pt x="2346" y="895"/>
                      </a:lnTo>
                      <a:lnTo>
                        <a:pt x="2347" y="898"/>
                      </a:lnTo>
                      <a:lnTo>
                        <a:pt x="2350" y="901"/>
                      </a:lnTo>
                      <a:lnTo>
                        <a:pt x="2352" y="903"/>
                      </a:lnTo>
                      <a:lnTo>
                        <a:pt x="2354" y="905"/>
                      </a:lnTo>
                      <a:lnTo>
                        <a:pt x="2356" y="906"/>
                      </a:lnTo>
                      <a:lnTo>
                        <a:pt x="2360" y="907"/>
                      </a:lnTo>
                      <a:lnTo>
                        <a:pt x="2367" y="909"/>
                      </a:lnTo>
                      <a:lnTo>
                        <a:pt x="2375" y="908"/>
                      </a:lnTo>
                      <a:lnTo>
                        <a:pt x="2383" y="907"/>
                      </a:lnTo>
                      <a:lnTo>
                        <a:pt x="2391" y="905"/>
                      </a:lnTo>
                      <a:lnTo>
                        <a:pt x="2409" y="900"/>
                      </a:lnTo>
                      <a:lnTo>
                        <a:pt x="2423" y="894"/>
                      </a:lnTo>
                      <a:lnTo>
                        <a:pt x="2434" y="889"/>
                      </a:lnTo>
                      <a:lnTo>
                        <a:pt x="2439" y="887"/>
                      </a:lnTo>
                      <a:lnTo>
                        <a:pt x="2485" y="905"/>
                      </a:lnTo>
                      <a:lnTo>
                        <a:pt x="2479" y="917"/>
                      </a:lnTo>
                      <a:lnTo>
                        <a:pt x="2474" y="925"/>
                      </a:lnTo>
                      <a:lnTo>
                        <a:pt x="2467" y="931"/>
                      </a:lnTo>
                      <a:lnTo>
                        <a:pt x="2458" y="936"/>
                      </a:lnTo>
                      <a:lnTo>
                        <a:pt x="2472" y="949"/>
                      </a:lnTo>
                      <a:lnTo>
                        <a:pt x="2461" y="971"/>
                      </a:lnTo>
                      <a:lnTo>
                        <a:pt x="2450" y="995"/>
                      </a:lnTo>
                      <a:lnTo>
                        <a:pt x="2445" y="1006"/>
                      </a:lnTo>
                      <a:lnTo>
                        <a:pt x="2442" y="1018"/>
                      </a:lnTo>
                      <a:lnTo>
                        <a:pt x="2440" y="1029"/>
                      </a:lnTo>
                      <a:lnTo>
                        <a:pt x="2439" y="1040"/>
                      </a:lnTo>
                      <a:lnTo>
                        <a:pt x="2440" y="1049"/>
                      </a:lnTo>
                      <a:lnTo>
                        <a:pt x="2443" y="1059"/>
                      </a:lnTo>
                      <a:lnTo>
                        <a:pt x="2447" y="1070"/>
                      </a:lnTo>
                      <a:lnTo>
                        <a:pt x="2454" y="1081"/>
                      </a:lnTo>
                      <a:lnTo>
                        <a:pt x="2462" y="1092"/>
                      </a:lnTo>
                      <a:lnTo>
                        <a:pt x="2469" y="1101"/>
                      </a:lnTo>
                      <a:lnTo>
                        <a:pt x="2473" y="1104"/>
                      </a:lnTo>
                      <a:lnTo>
                        <a:pt x="2477" y="1107"/>
                      </a:lnTo>
                      <a:lnTo>
                        <a:pt x="2481" y="1108"/>
                      </a:lnTo>
                      <a:lnTo>
                        <a:pt x="2485" y="1109"/>
                      </a:lnTo>
                      <a:lnTo>
                        <a:pt x="2487" y="1114"/>
                      </a:lnTo>
                      <a:lnTo>
                        <a:pt x="2492" y="1121"/>
                      </a:lnTo>
                      <a:lnTo>
                        <a:pt x="2499" y="1128"/>
                      </a:lnTo>
                      <a:lnTo>
                        <a:pt x="2504" y="1133"/>
                      </a:lnTo>
                      <a:lnTo>
                        <a:pt x="2528" y="1113"/>
                      </a:lnTo>
                      <a:lnTo>
                        <a:pt x="2548" y="1091"/>
                      </a:lnTo>
                      <a:lnTo>
                        <a:pt x="2559" y="1080"/>
                      </a:lnTo>
                      <a:lnTo>
                        <a:pt x="2569" y="1068"/>
                      </a:lnTo>
                      <a:lnTo>
                        <a:pt x="2578" y="1057"/>
                      </a:lnTo>
                      <a:lnTo>
                        <a:pt x="2587" y="1043"/>
                      </a:lnTo>
                      <a:lnTo>
                        <a:pt x="2595" y="1031"/>
                      </a:lnTo>
                      <a:lnTo>
                        <a:pt x="2602" y="1017"/>
                      </a:lnTo>
                      <a:lnTo>
                        <a:pt x="2609" y="1003"/>
                      </a:lnTo>
                      <a:lnTo>
                        <a:pt x="2614" y="987"/>
                      </a:lnTo>
                      <a:lnTo>
                        <a:pt x="2619" y="971"/>
                      </a:lnTo>
                      <a:lnTo>
                        <a:pt x="2622" y="955"/>
                      </a:lnTo>
                      <a:lnTo>
                        <a:pt x="2624" y="937"/>
                      </a:lnTo>
                      <a:lnTo>
                        <a:pt x="2624" y="917"/>
                      </a:lnTo>
                      <a:lnTo>
                        <a:pt x="2638" y="917"/>
                      </a:lnTo>
                      <a:lnTo>
                        <a:pt x="2655" y="914"/>
                      </a:lnTo>
                      <a:lnTo>
                        <a:pt x="2672" y="911"/>
                      </a:lnTo>
                      <a:lnTo>
                        <a:pt x="2690" y="906"/>
                      </a:lnTo>
                      <a:lnTo>
                        <a:pt x="2709" y="900"/>
                      </a:lnTo>
                      <a:lnTo>
                        <a:pt x="2727" y="892"/>
                      </a:lnTo>
                      <a:lnTo>
                        <a:pt x="2746" y="884"/>
                      </a:lnTo>
                      <a:lnTo>
                        <a:pt x="2765" y="873"/>
                      </a:lnTo>
                      <a:lnTo>
                        <a:pt x="2782" y="863"/>
                      </a:lnTo>
                      <a:lnTo>
                        <a:pt x="2798" y="852"/>
                      </a:lnTo>
                      <a:lnTo>
                        <a:pt x="2813" y="840"/>
                      </a:lnTo>
                      <a:lnTo>
                        <a:pt x="2825" y="827"/>
                      </a:lnTo>
                      <a:lnTo>
                        <a:pt x="2831" y="819"/>
                      </a:lnTo>
                      <a:lnTo>
                        <a:pt x="2836" y="813"/>
                      </a:lnTo>
                      <a:lnTo>
                        <a:pt x="2839" y="806"/>
                      </a:lnTo>
                      <a:lnTo>
                        <a:pt x="2844" y="799"/>
                      </a:lnTo>
                      <a:lnTo>
                        <a:pt x="2846" y="792"/>
                      </a:lnTo>
                      <a:lnTo>
                        <a:pt x="2848" y="785"/>
                      </a:lnTo>
                      <a:lnTo>
                        <a:pt x="2849" y="777"/>
                      </a:lnTo>
                      <a:lnTo>
                        <a:pt x="2850" y="770"/>
                      </a:lnTo>
                      <a:lnTo>
                        <a:pt x="2849" y="763"/>
                      </a:lnTo>
                      <a:lnTo>
                        <a:pt x="2848" y="757"/>
                      </a:lnTo>
                      <a:lnTo>
                        <a:pt x="2846" y="752"/>
                      </a:lnTo>
                      <a:lnTo>
                        <a:pt x="2843" y="747"/>
                      </a:lnTo>
                      <a:lnTo>
                        <a:pt x="2835" y="738"/>
                      </a:lnTo>
                      <a:lnTo>
                        <a:pt x="2827" y="731"/>
                      </a:lnTo>
                      <a:lnTo>
                        <a:pt x="2819" y="725"/>
                      </a:lnTo>
                      <a:lnTo>
                        <a:pt x="2811" y="718"/>
                      </a:lnTo>
                      <a:lnTo>
                        <a:pt x="2808" y="715"/>
                      </a:lnTo>
                      <a:lnTo>
                        <a:pt x="2805" y="711"/>
                      </a:lnTo>
                      <a:lnTo>
                        <a:pt x="2804" y="706"/>
                      </a:lnTo>
                      <a:lnTo>
                        <a:pt x="2804" y="702"/>
                      </a:lnTo>
                      <a:lnTo>
                        <a:pt x="2804" y="698"/>
                      </a:lnTo>
                      <a:lnTo>
                        <a:pt x="2808" y="694"/>
                      </a:lnTo>
                      <a:lnTo>
                        <a:pt x="2812" y="688"/>
                      </a:lnTo>
                      <a:lnTo>
                        <a:pt x="2819" y="680"/>
                      </a:lnTo>
                      <a:lnTo>
                        <a:pt x="2833" y="664"/>
                      </a:lnTo>
                      <a:lnTo>
                        <a:pt x="2850" y="645"/>
                      </a:lnTo>
                      <a:lnTo>
                        <a:pt x="2882" y="612"/>
                      </a:lnTo>
                      <a:lnTo>
                        <a:pt x="2896" y="597"/>
                      </a:lnTo>
                      <a:lnTo>
                        <a:pt x="2894" y="593"/>
                      </a:lnTo>
                      <a:lnTo>
                        <a:pt x="2892" y="589"/>
                      </a:lnTo>
                      <a:lnTo>
                        <a:pt x="2891" y="585"/>
                      </a:lnTo>
                      <a:lnTo>
                        <a:pt x="2890" y="581"/>
                      </a:lnTo>
                      <a:lnTo>
                        <a:pt x="2890" y="573"/>
                      </a:lnTo>
                      <a:lnTo>
                        <a:pt x="2892" y="566"/>
                      </a:lnTo>
                      <a:lnTo>
                        <a:pt x="2896" y="558"/>
                      </a:lnTo>
                      <a:lnTo>
                        <a:pt x="2902" y="551"/>
                      </a:lnTo>
                      <a:lnTo>
                        <a:pt x="2909" y="544"/>
                      </a:lnTo>
                      <a:lnTo>
                        <a:pt x="2916" y="535"/>
                      </a:lnTo>
                      <a:lnTo>
                        <a:pt x="2934" y="520"/>
                      </a:lnTo>
                      <a:lnTo>
                        <a:pt x="2951" y="505"/>
                      </a:lnTo>
                      <a:lnTo>
                        <a:pt x="2959" y="498"/>
                      </a:lnTo>
                      <a:lnTo>
                        <a:pt x="2966" y="490"/>
                      </a:lnTo>
                      <a:lnTo>
                        <a:pt x="2972" y="482"/>
                      </a:lnTo>
                      <a:lnTo>
                        <a:pt x="2977" y="474"/>
                      </a:lnTo>
                      <a:lnTo>
                        <a:pt x="3149" y="480"/>
                      </a:lnTo>
                      <a:lnTo>
                        <a:pt x="3149" y="485"/>
                      </a:lnTo>
                      <a:lnTo>
                        <a:pt x="3150" y="490"/>
                      </a:lnTo>
                      <a:lnTo>
                        <a:pt x="3151" y="494"/>
                      </a:lnTo>
                      <a:lnTo>
                        <a:pt x="3153" y="497"/>
                      </a:lnTo>
                      <a:lnTo>
                        <a:pt x="3156" y="500"/>
                      </a:lnTo>
                      <a:lnTo>
                        <a:pt x="3159" y="502"/>
                      </a:lnTo>
                      <a:lnTo>
                        <a:pt x="3161" y="503"/>
                      </a:lnTo>
                      <a:lnTo>
                        <a:pt x="3165" y="504"/>
                      </a:lnTo>
                      <a:lnTo>
                        <a:pt x="3180" y="505"/>
                      </a:lnTo>
                      <a:lnTo>
                        <a:pt x="3196" y="505"/>
                      </a:lnTo>
                      <a:lnTo>
                        <a:pt x="3201" y="509"/>
                      </a:lnTo>
                      <a:lnTo>
                        <a:pt x="3204" y="514"/>
                      </a:lnTo>
                      <a:lnTo>
                        <a:pt x="3208" y="521"/>
                      </a:lnTo>
                      <a:lnTo>
                        <a:pt x="3210" y="529"/>
                      </a:lnTo>
                      <a:lnTo>
                        <a:pt x="3215" y="545"/>
                      </a:lnTo>
                      <a:lnTo>
                        <a:pt x="3216" y="554"/>
                      </a:lnTo>
                      <a:lnTo>
                        <a:pt x="3221" y="556"/>
                      </a:lnTo>
                      <a:lnTo>
                        <a:pt x="3229" y="557"/>
                      </a:lnTo>
                      <a:lnTo>
                        <a:pt x="3238" y="557"/>
                      </a:lnTo>
                      <a:lnTo>
                        <a:pt x="3247" y="557"/>
                      </a:lnTo>
                      <a:lnTo>
                        <a:pt x="3268" y="555"/>
                      </a:lnTo>
                      <a:lnTo>
                        <a:pt x="3288" y="554"/>
                      </a:lnTo>
                      <a:lnTo>
                        <a:pt x="3292" y="566"/>
                      </a:lnTo>
                      <a:lnTo>
                        <a:pt x="3295" y="572"/>
                      </a:lnTo>
                      <a:lnTo>
                        <a:pt x="3288" y="579"/>
                      </a:lnTo>
                      <a:lnTo>
                        <a:pt x="3282" y="585"/>
                      </a:lnTo>
                      <a:lnTo>
                        <a:pt x="3276" y="592"/>
                      </a:lnTo>
                      <a:lnTo>
                        <a:pt x="3272" y="601"/>
                      </a:lnTo>
                      <a:lnTo>
                        <a:pt x="3264" y="616"/>
                      </a:lnTo>
                      <a:lnTo>
                        <a:pt x="3257" y="632"/>
                      </a:lnTo>
                      <a:lnTo>
                        <a:pt x="3251" y="646"/>
                      </a:lnTo>
                      <a:lnTo>
                        <a:pt x="3245" y="660"/>
                      </a:lnTo>
                      <a:lnTo>
                        <a:pt x="3241" y="666"/>
                      </a:lnTo>
                      <a:lnTo>
                        <a:pt x="3238" y="671"/>
                      </a:lnTo>
                      <a:lnTo>
                        <a:pt x="3234" y="675"/>
                      </a:lnTo>
                      <a:lnTo>
                        <a:pt x="3229" y="677"/>
                      </a:lnTo>
                      <a:lnTo>
                        <a:pt x="3238" y="677"/>
                      </a:lnTo>
                      <a:lnTo>
                        <a:pt x="3246" y="677"/>
                      </a:lnTo>
                      <a:lnTo>
                        <a:pt x="3253" y="677"/>
                      </a:lnTo>
                      <a:lnTo>
                        <a:pt x="3262" y="677"/>
                      </a:lnTo>
                      <a:lnTo>
                        <a:pt x="3262" y="683"/>
                      </a:lnTo>
                      <a:lnTo>
                        <a:pt x="3261" y="688"/>
                      </a:lnTo>
                      <a:lnTo>
                        <a:pt x="3259" y="693"/>
                      </a:lnTo>
                      <a:lnTo>
                        <a:pt x="3257" y="697"/>
                      </a:lnTo>
                      <a:lnTo>
                        <a:pt x="3251" y="705"/>
                      </a:lnTo>
                      <a:lnTo>
                        <a:pt x="3245" y="714"/>
                      </a:lnTo>
                      <a:lnTo>
                        <a:pt x="3238" y="721"/>
                      </a:lnTo>
                      <a:lnTo>
                        <a:pt x="3231" y="729"/>
                      </a:lnTo>
                      <a:lnTo>
                        <a:pt x="3226" y="736"/>
                      </a:lnTo>
                      <a:lnTo>
                        <a:pt x="3223" y="745"/>
                      </a:lnTo>
                      <a:lnTo>
                        <a:pt x="3229" y="742"/>
                      </a:lnTo>
                      <a:lnTo>
                        <a:pt x="3237" y="738"/>
                      </a:lnTo>
                      <a:lnTo>
                        <a:pt x="3245" y="734"/>
                      </a:lnTo>
                      <a:lnTo>
                        <a:pt x="3251" y="730"/>
                      </a:lnTo>
                      <a:lnTo>
                        <a:pt x="3264" y="721"/>
                      </a:lnTo>
                      <a:lnTo>
                        <a:pt x="3275" y="715"/>
                      </a:lnTo>
                      <a:lnTo>
                        <a:pt x="3280" y="717"/>
                      </a:lnTo>
                      <a:lnTo>
                        <a:pt x="3284" y="718"/>
                      </a:lnTo>
                      <a:lnTo>
                        <a:pt x="3290" y="718"/>
                      </a:lnTo>
                      <a:lnTo>
                        <a:pt x="3295" y="718"/>
                      </a:lnTo>
                      <a:lnTo>
                        <a:pt x="3307" y="715"/>
                      </a:lnTo>
                      <a:lnTo>
                        <a:pt x="3320" y="709"/>
                      </a:lnTo>
                      <a:lnTo>
                        <a:pt x="3336" y="703"/>
                      </a:lnTo>
                      <a:lnTo>
                        <a:pt x="3351" y="695"/>
                      </a:lnTo>
                      <a:lnTo>
                        <a:pt x="3368" y="685"/>
                      </a:lnTo>
                      <a:lnTo>
                        <a:pt x="3384" y="675"/>
                      </a:lnTo>
                      <a:lnTo>
                        <a:pt x="3417" y="653"/>
                      </a:lnTo>
                      <a:lnTo>
                        <a:pt x="3447" y="632"/>
                      </a:lnTo>
                      <a:lnTo>
                        <a:pt x="3471" y="615"/>
                      </a:lnTo>
                      <a:lnTo>
                        <a:pt x="3488" y="604"/>
                      </a:lnTo>
                      <a:lnTo>
                        <a:pt x="3492" y="613"/>
                      </a:lnTo>
                      <a:lnTo>
                        <a:pt x="3495" y="621"/>
                      </a:lnTo>
                      <a:lnTo>
                        <a:pt x="3496" y="629"/>
                      </a:lnTo>
                      <a:lnTo>
                        <a:pt x="3496" y="637"/>
                      </a:lnTo>
                      <a:lnTo>
                        <a:pt x="3496" y="653"/>
                      </a:lnTo>
                      <a:lnTo>
                        <a:pt x="3495" y="671"/>
                      </a:lnTo>
                      <a:lnTo>
                        <a:pt x="3521" y="671"/>
                      </a:lnTo>
                      <a:lnTo>
                        <a:pt x="3522" y="680"/>
                      </a:lnTo>
                      <a:lnTo>
                        <a:pt x="3523" y="687"/>
                      </a:lnTo>
                      <a:lnTo>
                        <a:pt x="3521" y="692"/>
                      </a:lnTo>
                      <a:lnTo>
                        <a:pt x="3519" y="698"/>
                      </a:lnTo>
                      <a:lnTo>
                        <a:pt x="3514" y="708"/>
                      </a:lnTo>
                      <a:lnTo>
                        <a:pt x="3508" y="721"/>
                      </a:lnTo>
                      <a:lnTo>
                        <a:pt x="3521" y="721"/>
                      </a:lnTo>
                      <a:lnTo>
                        <a:pt x="3534" y="721"/>
                      </a:lnTo>
                      <a:lnTo>
                        <a:pt x="3534" y="732"/>
                      </a:lnTo>
                      <a:lnTo>
                        <a:pt x="3534" y="741"/>
                      </a:lnTo>
                      <a:lnTo>
                        <a:pt x="3534" y="749"/>
                      </a:lnTo>
                      <a:lnTo>
                        <a:pt x="3534" y="757"/>
                      </a:lnTo>
                      <a:lnTo>
                        <a:pt x="3536" y="762"/>
                      </a:lnTo>
                      <a:lnTo>
                        <a:pt x="3540" y="769"/>
                      </a:lnTo>
                      <a:lnTo>
                        <a:pt x="3542" y="772"/>
                      </a:lnTo>
                      <a:lnTo>
                        <a:pt x="3545" y="774"/>
                      </a:lnTo>
                      <a:lnTo>
                        <a:pt x="3550" y="776"/>
                      </a:lnTo>
                      <a:lnTo>
                        <a:pt x="3554" y="776"/>
                      </a:lnTo>
                      <a:lnTo>
                        <a:pt x="3551" y="786"/>
                      </a:lnTo>
                      <a:lnTo>
                        <a:pt x="3548" y="794"/>
                      </a:lnTo>
                      <a:lnTo>
                        <a:pt x="3542" y="800"/>
                      </a:lnTo>
                      <a:lnTo>
                        <a:pt x="3537" y="804"/>
                      </a:lnTo>
                      <a:lnTo>
                        <a:pt x="3526" y="811"/>
                      </a:lnTo>
                      <a:lnTo>
                        <a:pt x="3515" y="818"/>
                      </a:lnTo>
                      <a:lnTo>
                        <a:pt x="3522" y="828"/>
                      </a:lnTo>
                      <a:lnTo>
                        <a:pt x="3530" y="836"/>
                      </a:lnTo>
                      <a:lnTo>
                        <a:pt x="3539" y="844"/>
                      </a:lnTo>
                      <a:lnTo>
                        <a:pt x="3546" y="851"/>
                      </a:lnTo>
                      <a:lnTo>
                        <a:pt x="3556" y="857"/>
                      </a:lnTo>
                      <a:lnTo>
                        <a:pt x="3565" y="863"/>
                      </a:lnTo>
                      <a:lnTo>
                        <a:pt x="3575" y="869"/>
                      </a:lnTo>
                      <a:lnTo>
                        <a:pt x="3584" y="874"/>
                      </a:lnTo>
                      <a:lnTo>
                        <a:pt x="3605" y="885"/>
                      </a:lnTo>
                      <a:lnTo>
                        <a:pt x="3627" y="894"/>
                      </a:lnTo>
                      <a:lnTo>
                        <a:pt x="3650" y="902"/>
                      </a:lnTo>
                      <a:lnTo>
                        <a:pt x="3674" y="911"/>
                      </a:lnTo>
                      <a:lnTo>
                        <a:pt x="3668" y="918"/>
                      </a:lnTo>
                      <a:lnTo>
                        <a:pt x="3662" y="924"/>
                      </a:lnTo>
                      <a:lnTo>
                        <a:pt x="3652" y="930"/>
                      </a:lnTo>
                      <a:lnTo>
                        <a:pt x="3640" y="936"/>
                      </a:lnTo>
                      <a:lnTo>
                        <a:pt x="3615" y="946"/>
                      </a:lnTo>
                      <a:lnTo>
                        <a:pt x="3588" y="954"/>
                      </a:lnTo>
                      <a:lnTo>
                        <a:pt x="3563" y="961"/>
                      </a:lnTo>
                      <a:lnTo>
                        <a:pt x="3545" y="966"/>
                      </a:lnTo>
                      <a:lnTo>
                        <a:pt x="3540" y="968"/>
                      </a:lnTo>
                      <a:lnTo>
                        <a:pt x="3537" y="970"/>
                      </a:lnTo>
                      <a:lnTo>
                        <a:pt x="3537" y="971"/>
                      </a:lnTo>
                      <a:lnTo>
                        <a:pt x="3537" y="972"/>
                      </a:lnTo>
                      <a:lnTo>
                        <a:pt x="3539" y="972"/>
                      </a:lnTo>
                      <a:lnTo>
                        <a:pt x="3541" y="973"/>
                      </a:lnTo>
                      <a:lnTo>
                        <a:pt x="3548" y="974"/>
                      </a:lnTo>
                      <a:lnTo>
                        <a:pt x="3554" y="974"/>
                      </a:lnTo>
                      <a:lnTo>
                        <a:pt x="3560" y="974"/>
                      </a:lnTo>
                      <a:lnTo>
                        <a:pt x="3564" y="972"/>
                      </a:lnTo>
                      <a:lnTo>
                        <a:pt x="3570" y="970"/>
                      </a:lnTo>
                      <a:lnTo>
                        <a:pt x="3575" y="969"/>
                      </a:lnTo>
                      <a:lnTo>
                        <a:pt x="3581" y="967"/>
                      </a:lnTo>
                      <a:lnTo>
                        <a:pt x="3588" y="967"/>
                      </a:lnTo>
                      <a:lnTo>
                        <a:pt x="3598" y="965"/>
                      </a:lnTo>
                      <a:lnTo>
                        <a:pt x="3616" y="961"/>
                      </a:lnTo>
                      <a:lnTo>
                        <a:pt x="3637" y="957"/>
                      </a:lnTo>
                      <a:lnTo>
                        <a:pt x="3654" y="955"/>
                      </a:lnTo>
                      <a:lnTo>
                        <a:pt x="3673" y="955"/>
                      </a:lnTo>
                      <a:lnTo>
                        <a:pt x="3686" y="956"/>
                      </a:lnTo>
                      <a:lnTo>
                        <a:pt x="3695" y="958"/>
                      </a:lnTo>
                      <a:lnTo>
                        <a:pt x="3701" y="959"/>
                      </a:lnTo>
                      <a:lnTo>
                        <a:pt x="3707" y="960"/>
                      </a:lnTo>
                      <a:lnTo>
                        <a:pt x="3713" y="960"/>
                      </a:lnTo>
                      <a:lnTo>
                        <a:pt x="3721" y="958"/>
                      </a:lnTo>
                      <a:lnTo>
                        <a:pt x="3734" y="955"/>
                      </a:lnTo>
                      <a:lnTo>
                        <a:pt x="3734" y="964"/>
                      </a:lnTo>
                      <a:lnTo>
                        <a:pt x="3734" y="972"/>
                      </a:lnTo>
                      <a:lnTo>
                        <a:pt x="3734" y="979"/>
                      </a:lnTo>
                      <a:lnTo>
                        <a:pt x="3734" y="985"/>
                      </a:lnTo>
                      <a:lnTo>
                        <a:pt x="3734" y="998"/>
                      </a:lnTo>
                      <a:lnTo>
                        <a:pt x="3733" y="1007"/>
                      </a:lnTo>
                      <a:lnTo>
                        <a:pt x="3732" y="1014"/>
                      </a:lnTo>
                      <a:lnTo>
                        <a:pt x="3729" y="1018"/>
                      </a:lnTo>
                      <a:lnTo>
                        <a:pt x="3724" y="1022"/>
                      </a:lnTo>
                      <a:lnTo>
                        <a:pt x="3717" y="1024"/>
                      </a:lnTo>
                      <a:lnTo>
                        <a:pt x="3707" y="1026"/>
                      </a:lnTo>
                      <a:lnTo>
                        <a:pt x="3694" y="1028"/>
                      </a:lnTo>
                      <a:lnTo>
                        <a:pt x="3699" y="1037"/>
                      </a:lnTo>
                      <a:lnTo>
                        <a:pt x="3704" y="1047"/>
                      </a:lnTo>
                      <a:lnTo>
                        <a:pt x="3709" y="1054"/>
                      </a:lnTo>
                      <a:lnTo>
                        <a:pt x="3713" y="1059"/>
                      </a:lnTo>
                      <a:lnTo>
                        <a:pt x="3706" y="1068"/>
                      </a:lnTo>
                      <a:lnTo>
                        <a:pt x="3697" y="1076"/>
                      </a:lnTo>
                      <a:lnTo>
                        <a:pt x="3687" y="1083"/>
                      </a:lnTo>
                      <a:lnTo>
                        <a:pt x="3676" y="1087"/>
                      </a:lnTo>
                      <a:lnTo>
                        <a:pt x="3672" y="1089"/>
                      </a:lnTo>
                      <a:lnTo>
                        <a:pt x="3666" y="1090"/>
                      </a:lnTo>
                      <a:lnTo>
                        <a:pt x="3661" y="1091"/>
                      </a:lnTo>
                      <a:lnTo>
                        <a:pt x="3655" y="1091"/>
                      </a:lnTo>
                      <a:lnTo>
                        <a:pt x="3650" y="1090"/>
                      </a:lnTo>
                      <a:lnTo>
                        <a:pt x="3644" y="1089"/>
                      </a:lnTo>
                      <a:lnTo>
                        <a:pt x="3639" y="1087"/>
                      </a:lnTo>
                      <a:lnTo>
                        <a:pt x="3634" y="1084"/>
                      </a:lnTo>
                      <a:lnTo>
                        <a:pt x="3627" y="1089"/>
                      </a:lnTo>
                      <a:lnTo>
                        <a:pt x="3617" y="1093"/>
                      </a:lnTo>
                      <a:lnTo>
                        <a:pt x="3608" y="1096"/>
                      </a:lnTo>
                      <a:lnTo>
                        <a:pt x="3598" y="1099"/>
                      </a:lnTo>
                      <a:lnTo>
                        <a:pt x="3577" y="1104"/>
                      </a:lnTo>
                      <a:lnTo>
                        <a:pt x="3556" y="1108"/>
                      </a:lnTo>
                      <a:lnTo>
                        <a:pt x="3546" y="1110"/>
                      </a:lnTo>
                      <a:lnTo>
                        <a:pt x="3538" y="1113"/>
                      </a:lnTo>
                      <a:lnTo>
                        <a:pt x="3529" y="1116"/>
                      </a:lnTo>
                      <a:lnTo>
                        <a:pt x="3522" y="1120"/>
                      </a:lnTo>
                      <a:lnTo>
                        <a:pt x="3516" y="1124"/>
                      </a:lnTo>
                      <a:lnTo>
                        <a:pt x="3511" y="1130"/>
                      </a:lnTo>
                      <a:lnTo>
                        <a:pt x="3509" y="1137"/>
                      </a:lnTo>
                      <a:lnTo>
                        <a:pt x="3508" y="1145"/>
                      </a:lnTo>
                      <a:lnTo>
                        <a:pt x="3501" y="1145"/>
                      </a:lnTo>
                      <a:lnTo>
                        <a:pt x="3489" y="1159"/>
                      </a:lnTo>
                      <a:lnTo>
                        <a:pt x="3480" y="1168"/>
                      </a:lnTo>
                      <a:lnTo>
                        <a:pt x="3474" y="1172"/>
                      </a:lnTo>
                      <a:lnTo>
                        <a:pt x="3467" y="1174"/>
                      </a:lnTo>
                      <a:lnTo>
                        <a:pt x="3459" y="1176"/>
                      </a:lnTo>
                      <a:lnTo>
                        <a:pt x="3448" y="1176"/>
                      </a:lnTo>
                      <a:lnTo>
                        <a:pt x="3336" y="1164"/>
                      </a:lnTo>
                      <a:lnTo>
                        <a:pt x="3301" y="1164"/>
                      </a:lnTo>
                      <a:lnTo>
                        <a:pt x="3264" y="1164"/>
                      </a:lnTo>
                      <a:lnTo>
                        <a:pt x="3228" y="1164"/>
                      </a:lnTo>
                      <a:lnTo>
                        <a:pt x="3189" y="1164"/>
                      </a:lnTo>
                      <a:lnTo>
                        <a:pt x="3169" y="1165"/>
                      </a:lnTo>
                      <a:lnTo>
                        <a:pt x="3151" y="1168"/>
                      </a:lnTo>
                      <a:lnTo>
                        <a:pt x="3135" y="1172"/>
                      </a:lnTo>
                      <a:lnTo>
                        <a:pt x="3119" y="1177"/>
                      </a:lnTo>
                      <a:lnTo>
                        <a:pt x="3105" y="1183"/>
                      </a:lnTo>
                      <a:lnTo>
                        <a:pt x="3093" y="1191"/>
                      </a:lnTo>
                      <a:lnTo>
                        <a:pt x="3081" y="1198"/>
                      </a:lnTo>
                      <a:lnTo>
                        <a:pt x="3070" y="1207"/>
                      </a:lnTo>
                      <a:lnTo>
                        <a:pt x="3047" y="1225"/>
                      </a:lnTo>
                      <a:lnTo>
                        <a:pt x="3025" y="1242"/>
                      </a:lnTo>
                      <a:lnTo>
                        <a:pt x="3013" y="1250"/>
                      </a:lnTo>
                      <a:lnTo>
                        <a:pt x="3000" y="1257"/>
                      </a:lnTo>
                      <a:lnTo>
                        <a:pt x="2985" y="1263"/>
                      </a:lnTo>
                      <a:lnTo>
                        <a:pt x="2970" y="1269"/>
                      </a:lnTo>
                      <a:lnTo>
                        <a:pt x="2959" y="1272"/>
                      </a:lnTo>
                      <a:lnTo>
                        <a:pt x="2948" y="1276"/>
                      </a:lnTo>
                      <a:lnTo>
                        <a:pt x="2936" y="1281"/>
                      </a:lnTo>
                      <a:lnTo>
                        <a:pt x="2924" y="1286"/>
                      </a:lnTo>
                      <a:lnTo>
                        <a:pt x="2912" y="1293"/>
                      </a:lnTo>
                      <a:lnTo>
                        <a:pt x="2900" y="1300"/>
                      </a:lnTo>
                      <a:lnTo>
                        <a:pt x="2887" y="1308"/>
                      </a:lnTo>
                      <a:lnTo>
                        <a:pt x="2876" y="1316"/>
                      </a:lnTo>
                      <a:lnTo>
                        <a:pt x="2864" y="1326"/>
                      </a:lnTo>
                      <a:lnTo>
                        <a:pt x="2853" y="1335"/>
                      </a:lnTo>
                      <a:lnTo>
                        <a:pt x="2843" y="1344"/>
                      </a:lnTo>
                      <a:lnTo>
                        <a:pt x="2834" y="1354"/>
                      </a:lnTo>
                      <a:lnTo>
                        <a:pt x="2825" y="1363"/>
                      </a:lnTo>
                      <a:lnTo>
                        <a:pt x="2819" y="1373"/>
                      </a:lnTo>
                      <a:lnTo>
                        <a:pt x="2814" y="1383"/>
                      </a:lnTo>
                      <a:lnTo>
                        <a:pt x="2811" y="1392"/>
                      </a:lnTo>
                      <a:lnTo>
                        <a:pt x="2819" y="1392"/>
                      </a:lnTo>
                      <a:lnTo>
                        <a:pt x="2825" y="1391"/>
                      </a:lnTo>
                      <a:lnTo>
                        <a:pt x="2832" y="1389"/>
                      </a:lnTo>
                      <a:lnTo>
                        <a:pt x="2836" y="1387"/>
                      </a:lnTo>
                      <a:lnTo>
                        <a:pt x="2840" y="1385"/>
                      </a:lnTo>
                      <a:lnTo>
                        <a:pt x="2845" y="1382"/>
                      </a:lnTo>
                      <a:lnTo>
                        <a:pt x="2847" y="1379"/>
                      </a:lnTo>
                      <a:lnTo>
                        <a:pt x="2850" y="1375"/>
                      </a:lnTo>
                      <a:lnTo>
                        <a:pt x="2855" y="1369"/>
                      </a:lnTo>
                      <a:lnTo>
                        <a:pt x="2859" y="1363"/>
                      </a:lnTo>
                      <a:lnTo>
                        <a:pt x="2861" y="1361"/>
                      </a:lnTo>
                      <a:lnTo>
                        <a:pt x="2864" y="1358"/>
                      </a:lnTo>
                      <a:lnTo>
                        <a:pt x="2867" y="1356"/>
                      </a:lnTo>
                      <a:lnTo>
                        <a:pt x="2870" y="1355"/>
                      </a:lnTo>
                      <a:lnTo>
                        <a:pt x="2888" y="1346"/>
                      </a:lnTo>
                      <a:lnTo>
                        <a:pt x="2905" y="1337"/>
                      </a:lnTo>
                      <a:lnTo>
                        <a:pt x="2923" y="1327"/>
                      </a:lnTo>
                      <a:lnTo>
                        <a:pt x="2940" y="1315"/>
                      </a:lnTo>
                      <a:lnTo>
                        <a:pt x="2976" y="1293"/>
                      </a:lnTo>
                      <a:lnTo>
                        <a:pt x="3012" y="1271"/>
                      </a:lnTo>
                      <a:lnTo>
                        <a:pt x="3029" y="1260"/>
                      </a:lnTo>
                      <a:lnTo>
                        <a:pt x="3048" y="1251"/>
                      </a:lnTo>
                      <a:lnTo>
                        <a:pt x="3067" y="1242"/>
                      </a:lnTo>
                      <a:lnTo>
                        <a:pt x="3085" y="1235"/>
                      </a:lnTo>
                      <a:lnTo>
                        <a:pt x="3104" y="1228"/>
                      </a:lnTo>
                      <a:lnTo>
                        <a:pt x="3123" y="1224"/>
                      </a:lnTo>
                      <a:lnTo>
                        <a:pt x="3142" y="1221"/>
                      </a:lnTo>
                      <a:lnTo>
                        <a:pt x="3162" y="1220"/>
                      </a:lnTo>
                      <a:lnTo>
                        <a:pt x="3171" y="1220"/>
                      </a:lnTo>
                      <a:lnTo>
                        <a:pt x="3179" y="1222"/>
                      </a:lnTo>
                      <a:lnTo>
                        <a:pt x="3189" y="1225"/>
                      </a:lnTo>
                      <a:lnTo>
                        <a:pt x="3196" y="1229"/>
                      </a:lnTo>
                      <a:lnTo>
                        <a:pt x="3204" y="1234"/>
                      </a:lnTo>
                      <a:lnTo>
                        <a:pt x="3210" y="1240"/>
                      </a:lnTo>
                      <a:lnTo>
                        <a:pt x="3213" y="1244"/>
                      </a:lnTo>
                      <a:lnTo>
                        <a:pt x="3214" y="1248"/>
                      </a:lnTo>
                      <a:lnTo>
                        <a:pt x="3215" y="1252"/>
                      </a:lnTo>
                      <a:lnTo>
                        <a:pt x="3216" y="1256"/>
                      </a:lnTo>
                      <a:lnTo>
                        <a:pt x="3215" y="1265"/>
                      </a:lnTo>
                      <a:lnTo>
                        <a:pt x="3213" y="1274"/>
                      </a:lnTo>
                      <a:lnTo>
                        <a:pt x="3208" y="1281"/>
                      </a:lnTo>
                      <a:lnTo>
                        <a:pt x="3203" y="1287"/>
                      </a:lnTo>
                      <a:lnTo>
                        <a:pt x="3197" y="1293"/>
                      </a:lnTo>
                      <a:lnTo>
                        <a:pt x="3191" y="1296"/>
                      </a:lnTo>
                      <a:lnTo>
                        <a:pt x="3183" y="1299"/>
                      </a:lnTo>
                      <a:lnTo>
                        <a:pt x="3175" y="1299"/>
                      </a:lnTo>
                      <a:lnTo>
                        <a:pt x="3165" y="1299"/>
                      </a:lnTo>
                      <a:lnTo>
                        <a:pt x="3156" y="1298"/>
                      </a:lnTo>
                      <a:lnTo>
                        <a:pt x="3146" y="1296"/>
                      </a:lnTo>
                      <a:lnTo>
                        <a:pt x="3136" y="1293"/>
                      </a:lnTo>
                      <a:lnTo>
                        <a:pt x="3126" y="1291"/>
                      </a:lnTo>
                      <a:lnTo>
                        <a:pt x="3116" y="1289"/>
                      </a:lnTo>
                      <a:lnTo>
                        <a:pt x="3106" y="1288"/>
                      </a:lnTo>
                      <a:lnTo>
                        <a:pt x="3096" y="1287"/>
                      </a:lnTo>
                      <a:lnTo>
                        <a:pt x="3089" y="1288"/>
                      </a:lnTo>
                      <a:lnTo>
                        <a:pt x="3082" y="1289"/>
                      </a:lnTo>
                      <a:lnTo>
                        <a:pt x="3077" y="1290"/>
                      </a:lnTo>
                      <a:lnTo>
                        <a:pt x="3072" y="1292"/>
                      </a:lnTo>
                      <a:lnTo>
                        <a:pt x="3068" y="1294"/>
                      </a:lnTo>
                      <a:lnTo>
                        <a:pt x="3066" y="1298"/>
                      </a:lnTo>
                      <a:lnTo>
                        <a:pt x="3063" y="1301"/>
                      </a:lnTo>
                      <a:lnTo>
                        <a:pt x="3063" y="1306"/>
                      </a:lnTo>
                      <a:lnTo>
                        <a:pt x="3129" y="1331"/>
                      </a:lnTo>
                      <a:lnTo>
                        <a:pt x="3140" y="1329"/>
                      </a:lnTo>
                      <a:lnTo>
                        <a:pt x="3152" y="1325"/>
                      </a:lnTo>
                      <a:lnTo>
                        <a:pt x="3159" y="1324"/>
                      </a:lnTo>
                      <a:lnTo>
                        <a:pt x="3164" y="1323"/>
                      </a:lnTo>
                      <a:lnTo>
                        <a:pt x="3171" y="1323"/>
                      </a:lnTo>
                      <a:lnTo>
                        <a:pt x="3175" y="1325"/>
                      </a:lnTo>
                      <a:lnTo>
                        <a:pt x="3170" y="1333"/>
                      </a:lnTo>
                      <a:lnTo>
                        <a:pt x="3164" y="1340"/>
                      </a:lnTo>
                      <a:lnTo>
                        <a:pt x="3158" y="1346"/>
                      </a:lnTo>
                      <a:lnTo>
                        <a:pt x="3151" y="1351"/>
                      </a:lnTo>
                      <a:lnTo>
                        <a:pt x="3145" y="1356"/>
                      </a:lnTo>
                      <a:lnTo>
                        <a:pt x="3140" y="1361"/>
                      </a:lnTo>
                      <a:lnTo>
                        <a:pt x="3138" y="1364"/>
                      </a:lnTo>
                      <a:lnTo>
                        <a:pt x="3137" y="1367"/>
                      </a:lnTo>
                      <a:lnTo>
                        <a:pt x="3136" y="1370"/>
                      </a:lnTo>
                      <a:lnTo>
                        <a:pt x="3136" y="1373"/>
                      </a:lnTo>
                      <a:lnTo>
                        <a:pt x="3136" y="1380"/>
                      </a:lnTo>
                      <a:lnTo>
                        <a:pt x="3137" y="1386"/>
                      </a:lnTo>
                      <a:lnTo>
                        <a:pt x="3138" y="1391"/>
                      </a:lnTo>
                      <a:lnTo>
                        <a:pt x="3140" y="1396"/>
                      </a:lnTo>
                      <a:lnTo>
                        <a:pt x="3144" y="1401"/>
                      </a:lnTo>
                      <a:lnTo>
                        <a:pt x="3146" y="1405"/>
                      </a:lnTo>
                      <a:lnTo>
                        <a:pt x="3149" y="1410"/>
                      </a:lnTo>
                      <a:lnTo>
                        <a:pt x="3153" y="1413"/>
                      </a:lnTo>
                      <a:lnTo>
                        <a:pt x="3162" y="1420"/>
                      </a:lnTo>
                      <a:lnTo>
                        <a:pt x="3173" y="1426"/>
                      </a:lnTo>
                      <a:lnTo>
                        <a:pt x="3184" y="1431"/>
                      </a:lnTo>
                      <a:lnTo>
                        <a:pt x="3196" y="1436"/>
                      </a:lnTo>
                      <a:lnTo>
                        <a:pt x="3209" y="1439"/>
                      </a:lnTo>
                      <a:lnTo>
                        <a:pt x="3224" y="1441"/>
                      </a:lnTo>
                      <a:lnTo>
                        <a:pt x="3237" y="1442"/>
                      </a:lnTo>
                      <a:lnTo>
                        <a:pt x="3251" y="1443"/>
                      </a:lnTo>
                      <a:lnTo>
                        <a:pt x="3277" y="1443"/>
                      </a:lnTo>
                      <a:lnTo>
                        <a:pt x="3302" y="1442"/>
                      </a:lnTo>
                      <a:lnTo>
                        <a:pt x="3302" y="1466"/>
                      </a:lnTo>
                      <a:lnTo>
                        <a:pt x="3292" y="1469"/>
                      </a:lnTo>
                      <a:lnTo>
                        <a:pt x="3283" y="1471"/>
                      </a:lnTo>
                      <a:lnTo>
                        <a:pt x="3274" y="1472"/>
                      </a:lnTo>
                      <a:lnTo>
                        <a:pt x="3265" y="1472"/>
                      </a:lnTo>
                      <a:lnTo>
                        <a:pt x="3257" y="1472"/>
                      </a:lnTo>
                      <a:lnTo>
                        <a:pt x="3248" y="1473"/>
                      </a:lnTo>
                      <a:lnTo>
                        <a:pt x="3239" y="1474"/>
                      </a:lnTo>
                      <a:lnTo>
                        <a:pt x="3229" y="1478"/>
                      </a:lnTo>
                      <a:lnTo>
                        <a:pt x="3213" y="1485"/>
                      </a:lnTo>
                      <a:lnTo>
                        <a:pt x="3198" y="1494"/>
                      </a:lnTo>
                      <a:lnTo>
                        <a:pt x="3184" y="1502"/>
                      </a:lnTo>
                      <a:lnTo>
                        <a:pt x="3172" y="1510"/>
                      </a:lnTo>
                      <a:lnTo>
                        <a:pt x="3158" y="1519"/>
                      </a:lnTo>
                      <a:lnTo>
                        <a:pt x="3144" y="1527"/>
                      </a:lnTo>
                      <a:lnTo>
                        <a:pt x="3128" y="1536"/>
                      </a:lnTo>
                      <a:lnTo>
                        <a:pt x="3109" y="1546"/>
                      </a:lnTo>
                      <a:lnTo>
                        <a:pt x="3099" y="1550"/>
                      </a:lnTo>
                      <a:lnTo>
                        <a:pt x="3088" y="1553"/>
                      </a:lnTo>
                      <a:lnTo>
                        <a:pt x="3077" y="1555"/>
                      </a:lnTo>
                      <a:lnTo>
                        <a:pt x="3066" y="1556"/>
                      </a:lnTo>
                      <a:lnTo>
                        <a:pt x="3056" y="1558"/>
                      </a:lnTo>
                      <a:lnTo>
                        <a:pt x="3047" y="1561"/>
                      </a:lnTo>
                      <a:lnTo>
                        <a:pt x="3044" y="1563"/>
                      </a:lnTo>
                      <a:lnTo>
                        <a:pt x="3040" y="1565"/>
                      </a:lnTo>
                      <a:lnTo>
                        <a:pt x="3038" y="1568"/>
                      </a:lnTo>
                      <a:lnTo>
                        <a:pt x="3036" y="1571"/>
                      </a:lnTo>
                      <a:lnTo>
                        <a:pt x="3026" y="1567"/>
                      </a:lnTo>
                      <a:lnTo>
                        <a:pt x="3018" y="1564"/>
                      </a:lnTo>
                      <a:lnTo>
                        <a:pt x="3015" y="1562"/>
                      </a:lnTo>
                      <a:lnTo>
                        <a:pt x="3012" y="1560"/>
                      </a:lnTo>
                      <a:lnTo>
                        <a:pt x="3011" y="1557"/>
                      </a:lnTo>
                      <a:lnTo>
                        <a:pt x="3010" y="1553"/>
                      </a:lnTo>
                      <a:lnTo>
                        <a:pt x="3010" y="1546"/>
                      </a:lnTo>
                      <a:lnTo>
                        <a:pt x="3012" y="1539"/>
                      </a:lnTo>
                      <a:lnTo>
                        <a:pt x="3013" y="1533"/>
                      </a:lnTo>
                      <a:lnTo>
                        <a:pt x="3016" y="1528"/>
                      </a:lnTo>
                      <a:lnTo>
                        <a:pt x="3019" y="1524"/>
                      </a:lnTo>
                      <a:lnTo>
                        <a:pt x="3024" y="1519"/>
                      </a:lnTo>
                      <a:lnTo>
                        <a:pt x="3028" y="1516"/>
                      </a:lnTo>
                      <a:lnTo>
                        <a:pt x="3033" y="1512"/>
                      </a:lnTo>
                      <a:lnTo>
                        <a:pt x="3045" y="1506"/>
                      </a:lnTo>
                      <a:lnTo>
                        <a:pt x="3058" y="1501"/>
                      </a:lnTo>
                      <a:lnTo>
                        <a:pt x="3072" y="1497"/>
                      </a:lnTo>
                      <a:lnTo>
                        <a:pt x="3086" y="1493"/>
                      </a:lnTo>
                      <a:lnTo>
                        <a:pt x="3117" y="1487"/>
                      </a:lnTo>
                      <a:lnTo>
                        <a:pt x="3147" y="1482"/>
                      </a:lnTo>
                      <a:lnTo>
                        <a:pt x="3160" y="1479"/>
                      </a:lnTo>
                      <a:lnTo>
                        <a:pt x="3172" y="1475"/>
                      </a:lnTo>
                      <a:lnTo>
                        <a:pt x="3182" y="1471"/>
                      </a:lnTo>
                      <a:lnTo>
                        <a:pt x="3189" y="1466"/>
                      </a:lnTo>
                      <a:lnTo>
                        <a:pt x="3178" y="1463"/>
                      </a:lnTo>
                      <a:lnTo>
                        <a:pt x="3169" y="1460"/>
                      </a:lnTo>
                      <a:lnTo>
                        <a:pt x="3160" y="1456"/>
                      </a:lnTo>
                      <a:lnTo>
                        <a:pt x="3153" y="1451"/>
                      </a:lnTo>
                      <a:lnTo>
                        <a:pt x="3147" y="1448"/>
                      </a:lnTo>
                      <a:lnTo>
                        <a:pt x="3139" y="1445"/>
                      </a:lnTo>
                      <a:lnTo>
                        <a:pt x="3131" y="1442"/>
                      </a:lnTo>
                      <a:lnTo>
                        <a:pt x="3123" y="1442"/>
                      </a:lnTo>
                      <a:lnTo>
                        <a:pt x="3117" y="1442"/>
                      </a:lnTo>
                      <a:lnTo>
                        <a:pt x="3113" y="1443"/>
                      </a:lnTo>
                      <a:lnTo>
                        <a:pt x="3107" y="1445"/>
                      </a:lnTo>
                      <a:lnTo>
                        <a:pt x="3103" y="1446"/>
                      </a:lnTo>
                      <a:lnTo>
                        <a:pt x="3093" y="1452"/>
                      </a:lnTo>
                      <a:lnTo>
                        <a:pt x="3083" y="1458"/>
                      </a:lnTo>
                      <a:lnTo>
                        <a:pt x="3074" y="1464"/>
                      </a:lnTo>
                      <a:lnTo>
                        <a:pt x="3066" y="1470"/>
                      </a:lnTo>
                      <a:lnTo>
                        <a:pt x="3057" y="1475"/>
                      </a:lnTo>
                      <a:lnTo>
                        <a:pt x="3049" y="1478"/>
                      </a:lnTo>
                      <a:lnTo>
                        <a:pt x="3044" y="1479"/>
                      </a:lnTo>
                      <a:lnTo>
                        <a:pt x="3036" y="1481"/>
                      </a:lnTo>
                      <a:lnTo>
                        <a:pt x="3026" y="1483"/>
                      </a:lnTo>
                      <a:lnTo>
                        <a:pt x="3016" y="1484"/>
                      </a:lnTo>
                      <a:lnTo>
                        <a:pt x="3010" y="1478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</p:grpSp>
          <p:sp>
            <p:nvSpPr>
              <p:cNvPr id="463" name="Freeform 439"/>
              <p:cNvSpPr>
                <a:spLocks/>
              </p:cNvSpPr>
              <p:nvPr/>
            </p:nvSpPr>
            <p:spPr bwMode="auto">
              <a:xfrm>
                <a:off x="8208292" y="5427862"/>
                <a:ext cx="24954" cy="30147"/>
              </a:xfrm>
              <a:custGeom>
                <a:avLst/>
                <a:gdLst>
                  <a:gd name="T0" fmla="*/ 2147483647 w 46"/>
                  <a:gd name="T1" fmla="*/ 2147483647 h 51"/>
                  <a:gd name="T2" fmla="*/ 2147483647 w 46"/>
                  <a:gd name="T3" fmla="*/ 0 h 51"/>
                  <a:gd name="T4" fmla="*/ 2075281508 w 46"/>
                  <a:gd name="T5" fmla="*/ 1032885874 h 51"/>
                  <a:gd name="T6" fmla="*/ 1117391297 w 46"/>
                  <a:gd name="T7" fmla="*/ 1858914856 h 51"/>
                  <a:gd name="T8" fmla="*/ 638593474 w 46"/>
                  <a:gd name="T9" fmla="*/ 2147483647 h 51"/>
                  <a:gd name="T10" fmla="*/ 319296737 w 46"/>
                  <a:gd name="T11" fmla="*/ 2147483647 h 51"/>
                  <a:gd name="T12" fmla="*/ 0 w 46"/>
                  <a:gd name="T13" fmla="*/ 2147483647 h 51"/>
                  <a:gd name="T14" fmla="*/ 0 w 46"/>
                  <a:gd name="T15" fmla="*/ 2147483647 h 51"/>
                  <a:gd name="T16" fmla="*/ 0 w 46"/>
                  <a:gd name="T17" fmla="*/ 2147483647 h 51"/>
                  <a:gd name="T18" fmla="*/ 319296737 w 46"/>
                  <a:gd name="T19" fmla="*/ 2147483647 h 51"/>
                  <a:gd name="T20" fmla="*/ 638593474 w 46"/>
                  <a:gd name="T21" fmla="*/ 2147483647 h 51"/>
                  <a:gd name="T22" fmla="*/ 1117391297 w 46"/>
                  <a:gd name="T23" fmla="*/ 2147483647 h 51"/>
                  <a:gd name="T24" fmla="*/ 1596483685 w 46"/>
                  <a:gd name="T25" fmla="*/ 2147483647 h 51"/>
                  <a:gd name="T26" fmla="*/ 2075281508 w 46"/>
                  <a:gd name="T27" fmla="*/ 2147483647 h 51"/>
                  <a:gd name="T28" fmla="*/ 2147483647 w 46"/>
                  <a:gd name="T29" fmla="*/ 2147483647 h 51"/>
                  <a:gd name="T30" fmla="*/ 2147483647 w 46"/>
                  <a:gd name="T31" fmla="*/ 2147483647 h 51"/>
                  <a:gd name="T32" fmla="*/ 2147483647 w 46"/>
                  <a:gd name="T33" fmla="*/ 2147483647 h 51"/>
                  <a:gd name="T34" fmla="*/ 2147483647 w 46"/>
                  <a:gd name="T35" fmla="*/ 2147483647 h 51"/>
                  <a:gd name="T36" fmla="*/ 2147483647 w 46"/>
                  <a:gd name="T37" fmla="*/ 2147483647 h 51"/>
                  <a:gd name="T38" fmla="*/ 2147483647 w 46"/>
                  <a:gd name="T39" fmla="*/ 2147483647 h 51"/>
                  <a:gd name="T40" fmla="*/ 2147483647 w 46"/>
                  <a:gd name="T41" fmla="*/ 2147483647 h 51"/>
                  <a:gd name="T42" fmla="*/ 2147483647 w 46"/>
                  <a:gd name="T43" fmla="*/ 2147483647 h 51"/>
                  <a:gd name="T44" fmla="*/ 2147483647 w 46"/>
                  <a:gd name="T45" fmla="*/ 2147483647 h 51"/>
                  <a:gd name="T46" fmla="*/ 2147483647 w 46"/>
                  <a:gd name="T47" fmla="*/ 2147483647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4" name="Freeform 440"/>
              <p:cNvSpPr>
                <a:spLocks/>
              </p:cNvSpPr>
              <p:nvPr/>
            </p:nvSpPr>
            <p:spPr bwMode="auto">
              <a:xfrm>
                <a:off x="8226591" y="5780761"/>
                <a:ext cx="104807" cy="93988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2147483647 h 158"/>
                  <a:gd name="T4" fmla="*/ 325387524 w 192"/>
                  <a:gd name="T5" fmla="*/ 2147483647 h 158"/>
                  <a:gd name="T6" fmla="*/ 650477003 w 192"/>
                  <a:gd name="T7" fmla="*/ 2147483647 h 158"/>
                  <a:gd name="T8" fmla="*/ 1138557744 w 192"/>
                  <a:gd name="T9" fmla="*/ 2147483647 h 158"/>
                  <a:gd name="T10" fmla="*/ 1789332792 w 192"/>
                  <a:gd name="T11" fmla="*/ 2147483647 h 158"/>
                  <a:gd name="T12" fmla="*/ 2147483647 w 192"/>
                  <a:gd name="T13" fmla="*/ 2147483647 h 158"/>
                  <a:gd name="T14" fmla="*/ 2147483647 w 192"/>
                  <a:gd name="T15" fmla="*/ 2147483647 h 158"/>
                  <a:gd name="T16" fmla="*/ 2147483647 w 192"/>
                  <a:gd name="T17" fmla="*/ 2147483647 h 158"/>
                  <a:gd name="T18" fmla="*/ 2147483647 w 192"/>
                  <a:gd name="T19" fmla="*/ 2147483647 h 158"/>
                  <a:gd name="T20" fmla="*/ 2147483647 w 192"/>
                  <a:gd name="T21" fmla="*/ 2147483647 h 158"/>
                  <a:gd name="T22" fmla="*/ 2147483647 w 192"/>
                  <a:gd name="T23" fmla="*/ 2147483647 h 158"/>
                  <a:gd name="T24" fmla="*/ 2147483647 w 192"/>
                  <a:gd name="T25" fmla="*/ 2147483647 h 158"/>
                  <a:gd name="T26" fmla="*/ 2147483647 w 192"/>
                  <a:gd name="T27" fmla="*/ 2147483647 h 158"/>
                  <a:gd name="T28" fmla="*/ 2147483647 w 192"/>
                  <a:gd name="T29" fmla="*/ 2147483647 h 158"/>
                  <a:gd name="T30" fmla="*/ 2147483647 w 192"/>
                  <a:gd name="T31" fmla="*/ 2147483647 h 158"/>
                  <a:gd name="T32" fmla="*/ 2147483647 w 192"/>
                  <a:gd name="T33" fmla="*/ 2147483647 h 158"/>
                  <a:gd name="T34" fmla="*/ 2147483647 w 192"/>
                  <a:gd name="T35" fmla="*/ 2147483647 h 158"/>
                  <a:gd name="T36" fmla="*/ 2147483647 w 192"/>
                  <a:gd name="T37" fmla="*/ 2147483647 h 158"/>
                  <a:gd name="T38" fmla="*/ 2147483647 w 192"/>
                  <a:gd name="T39" fmla="*/ 2147483647 h 158"/>
                  <a:gd name="T40" fmla="*/ 2147483647 w 192"/>
                  <a:gd name="T41" fmla="*/ 2147483647 h 158"/>
                  <a:gd name="T42" fmla="*/ 2147483647 w 192"/>
                  <a:gd name="T43" fmla="*/ 2147483647 h 158"/>
                  <a:gd name="T44" fmla="*/ 2147483647 w 192"/>
                  <a:gd name="T45" fmla="*/ 2147483647 h 158"/>
                  <a:gd name="T46" fmla="*/ 2147483647 w 192"/>
                  <a:gd name="T47" fmla="*/ 2147483647 h 158"/>
                  <a:gd name="T48" fmla="*/ 2147483647 w 192"/>
                  <a:gd name="T49" fmla="*/ 2147483647 h 158"/>
                  <a:gd name="T50" fmla="*/ 2147483647 w 192"/>
                  <a:gd name="T51" fmla="*/ 2147483647 h 158"/>
                  <a:gd name="T52" fmla="*/ 2147483647 w 192"/>
                  <a:gd name="T53" fmla="*/ 2147483647 h 158"/>
                  <a:gd name="T54" fmla="*/ 2147483647 w 192"/>
                  <a:gd name="T55" fmla="*/ 2147483647 h 158"/>
                  <a:gd name="T56" fmla="*/ 2147483647 w 192"/>
                  <a:gd name="T57" fmla="*/ 2147483647 h 158"/>
                  <a:gd name="T58" fmla="*/ 2147483647 w 192"/>
                  <a:gd name="T59" fmla="*/ 2147483647 h 158"/>
                  <a:gd name="T60" fmla="*/ 2147483647 w 192"/>
                  <a:gd name="T61" fmla="*/ 2147483647 h 158"/>
                  <a:gd name="T62" fmla="*/ 2147483647 w 192"/>
                  <a:gd name="T63" fmla="*/ 2147483647 h 158"/>
                  <a:gd name="T64" fmla="*/ 2147483647 w 192"/>
                  <a:gd name="T65" fmla="*/ 2147483647 h 158"/>
                  <a:gd name="T66" fmla="*/ 2147483647 w 192"/>
                  <a:gd name="T67" fmla="*/ 2147483647 h 158"/>
                  <a:gd name="T68" fmla="*/ 2147483647 w 192"/>
                  <a:gd name="T69" fmla="*/ 2147483647 h 158"/>
                  <a:gd name="T70" fmla="*/ 2147483647 w 192"/>
                  <a:gd name="T71" fmla="*/ 2147483647 h 158"/>
                  <a:gd name="T72" fmla="*/ 2114422271 w 192"/>
                  <a:gd name="T73" fmla="*/ 1262923894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5" name="Freeform 441"/>
              <p:cNvSpPr>
                <a:spLocks/>
              </p:cNvSpPr>
              <p:nvPr/>
            </p:nvSpPr>
            <p:spPr bwMode="auto">
              <a:xfrm>
                <a:off x="7943779" y="4709653"/>
                <a:ext cx="482444" cy="1074654"/>
              </a:xfrm>
              <a:custGeom>
                <a:avLst/>
                <a:gdLst>
                  <a:gd name="T0" fmla="*/ 2147483647 w 884"/>
                  <a:gd name="T1" fmla="*/ 2147483647 h 1818"/>
                  <a:gd name="T2" fmla="*/ 2147483647 w 884"/>
                  <a:gd name="T3" fmla="*/ 2147483647 h 1818"/>
                  <a:gd name="T4" fmla="*/ 2147483647 w 884"/>
                  <a:gd name="T5" fmla="*/ 2147483647 h 1818"/>
                  <a:gd name="T6" fmla="*/ 2147483647 w 884"/>
                  <a:gd name="T7" fmla="*/ 2147483647 h 1818"/>
                  <a:gd name="T8" fmla="*/ 2147483647 w 884"/>
                  <a:gd name="T9" fmla="*/ 2147483647 h 1818"/>
                  <a:gd name="T10" fmla="*/ 2147483647 w 884"/>
                  <a:gd name="T11" fmla="*/ 2147483647 h 1818"/>
                  <a:gd name="T12" fmla="*/ 2147483647 w 884"/>
                  <a:gd name="T13" fmla="*/ 2147483647 h 1818"/>
                  <a:gd name="T14" fmla="*/ 2147483647 w 884"/>
                  <a:gd name="T15" fmla="*/ 2147483647 h 1818"/>
                  <a:gd name="T16" fmla="*/ 2147483647 w 884"/>
                  <a:gd name="T17" fmla="*/ 2147483647 h 1818"/>
                  <a:gd name="T18" fmla="*/ 2147483647 w 884"/>
                  <a:gd name="T19" fmla="*/ 2147483647 h 1818"/>
                  <a:gd name="T20" fmla="*/ 2147483647 w 884"/>
                  <a:gd name="T21" fmla="*/ 2147483647 h 1818"/>
                  <a:gd name="T22" fmla="*/ 2147483647 w 884"/>
                  <a:gd name="T23" fmla="*/ 2065430014 h 1818"/>
                  <a:gd name="T24" fmla="*/ 2147483647 w 884"/>
                  <a:gd name="T25" fmla="*/ 2147483647 h 1818"/>
                  <a:gd name="T26" fmla="*/ 2147483647 w 884"/>
                  <a:gd name="T27" fmla="*/ 2147483647 h 1818"/>
                  <a:gd name="T28" fmla="*/ 2147483647 w 884"/>
                  <a:gd name="T29" fmla="*/ 1652414118 h 1818"/>
                  <a:gd name="T30" fmla="*/ 2147483647 w 884"/>
                  <a:gd name="T31" fmla="*/ 2147483647 h 1818"/>
                  <a:gd name="T32" fmla="*/ 2147483647 w 884"/>
                  <a:gd name="T33" fmla="*/ 2147483647 h 1818"/>
                  <a:gd name="T34" fmla="*/ 2147483647 w 884"/>
                  <a:gd name="T35" fmla="*/ 2147483647 h 1818"/>
                  <a:gd name="T36" fmla="*/ 2147483647 w 884"/>
                  <a:gd name="T37" fmla="*/ 2147483647 h 1818"/>
                  <a:gd name="T38" fmla="*/ 2147483647 w 884"/>
                  <a:gd name="T39" fmla="*/ 2147483647 h 1818"/>
                  <a:gd name="T40" fmla="*/ 0 w 884"/>
                  <a:gd name="T41" fmla="*/ 2147483647 h 1818"/>
                  <a:gd name="T42" fmla="*/ 1950582216 w 884"/>
                  <a:gd name="T43" fmla="*/ 2147483647 h 1818"/>
                  <a:gd name="T44" fmla="*/ 2147483647 w 884"/>
                  <a:gd name="T45" fmla="*/ 2147483647 h 1818"/>
                  <a:gd name="T46" fmla="*/ 2147483647 w 884"/>
                  <a:gd name="T47" fmla="*/ 2147483647 h 1818"/>
                  <a:gd name="T48" fmla="*/ 2147483647 w 884"/>
                  <a:gd name="T49" fmla="*/ 2147483647 h 1818"/>
                  <a:gd name="T50" fmla="*/ 2147483647 w 884"/>
                  <a:gd name="T51" fmla="*/ 2147483647 h 1818"/>
                  <a:gd name="T52" fmla="*/ 2147483647 w 884"/>
                  <a:gd name="T53" fmla="*/ 2147483647 h 1818"/>
                  <a:gd name="T54" fmla="*/ 2147483647 w 884"/>
                  <a:gd name="T55" fmla="*/ 2147483647 h 1818"/>
                  <a:gd name="T56" fmla="*/ 2147483647 w 884"/>
                  <a:gd name="T57" fmla="*/ 2147483647 h 1818"/>
                  <a:gd name="T58" fmla="*/ 2147483647 w 884"/>
                  <a:gd name="T59" fmla="*/ 2147483647 h 1818"/>
                  <a:gd name="T60" fmla="*/ 2147483647 w 884"/>
                  <a:gd name="T61" fmla="*/ 2147483647 h 1818"/>
                  <a:gd name="T62" fmla="*/ 2147483647 w 884"/>
                  <a:gd name="T63" fmla="*/ 2147483647 h 1818"/>
                  <a:gd name="T64" fmla="*/ 2147483647 w 884"/>
                  <a:gd name="T65" fmla="*/ 2147483647 h 1818"/>
                  <a:gd name="T66" fmla="*/ 2147483647 w 884"/>
                  <a:gd name="T67" fmla="*/ 2147483647 h 1818"/>
                  <a:gd name="T68" fmla="*/ 2147483647 w 884"/>
                  <a:gd name="T69" fmla="*/ 2147483647 h 1818"/>
                  <a:gd name="T70" fmla="*/ 2147483647 w 884"/>
                  <a:gd name="T71" fmla="*/ 2147483647 h 1818"/>
                  <a:gd name="T72" fmla="*/ 2147483647 w 884"/>
                  <a:gd name="T73" fmla="*/ 2147483647 h 1818"/>
                  <a:gd name="T74" fmla="*/ 2147483647 w 884"/>
                  <a:gd name="T75" fmla="*/ 2147483647 h 1818"/>
                  <a:gd name="T76" fmla="*/ 2147483647 w 884"/>
                  <a:gd name="T77" fmla="*/ 2147483647 h 1818"/>
                  <a:gd name="T78" fmla="*/ 2147483647 w 884"/>
                  <a:gd name="T79" fmla="*/ 2147483647 h 1818"/>
                  <a:gd name="T80" fmla="*/ 2147483647 w 884"/>
                  <a:gd name="T81" fmla="*/ 2147483647 h 1818"/>
                  <a:gd name="T82" fmla="*/ 2147483647 w 884"/>
                  <a:gd name="T83" fmla="*/ 2147483647 h 1818"/>
                  <a:gd name="T84" fmla="*/ 2147483647 w 884"/>
                  <a:gd name="T85" fmla="*/ 2147483647 h 1818"/>
                  <a:gd name="T86" fmla="*/ 2147483647 w 884"/>
                  <a:gd name="T87" fmla="*/ 2147483647 h 1818"/>
                  <a:gd name="T88" fmla="*/ 2147483647 w 884"/>
                  <a:gd name="T89" fmla="*/ 2147483647 h 1818"/>
                  <a:gd name="T90" fmla="*/ 2147483647 w 884"/>
                  <a:gd name="T91" fmla="*/ 2147483647 h 1818"/>
                  <a:gd name="T92" fmla="*/ 2147483647 w 884"/>
                  <a:gd name="T93" fmla="*/ 2147483647 h 1818"/>
                  <a:gd name="T94" fmla="*/ 2147483647 w 884"/>
                  <a:gd name="T95" fmla="*/ 2147483647 h 1818"/>
                  <a:gd name="T96" fmla="*/ 2147483647 w 884"/>
                  <a:gd name="T97" fmla="*/ 2147483647 h 1818"/>
                  <a:gd name="T98" fmla="*/ 2147483647 w 884"/>
                  <a:gd name="T99" fmla="*/ 2147483647 h 1818"/>
                  <a:gd name="T100" fmla="*/ 2147483647 w 884"/>
                  <a:gd name="T101" fmla="*/ 2147483647 h 1818"/>
                  <a:gd name="T102" fmla="*/ 2147483647 w 884"/>
                  <a:gd name="T103" fmla="*/ 2147483647 h 1818"/>
                  <a:gd name="T104" fmla="*/ 2147483647 w 884"/>
                  <a:gd name="T105" fmla="*/ 2147483647 h 1818"/>
                  <a:gd name="T106" fmla="*/ 2147483647 w 884"/>
                  <a:gd name="T107" fmla="*/ 2147483647 h 1818"/>
                  <a:gd name="T108" fmla="*/ 2147483647 w 884"/>
                  <a:gd name="T109" fmla="*/ 2147483647 h 1818"/>
                  <a:gd name="T110" fmla="*/ 2147483647 w 884"/>
                  <a:gd name="T111" fmla="*/ 2147483647 h 1818"/>
                  <a:gd name="T112" fmla="*/ 2147483647 w 884"/>
                  <a:gd name="T113" fmla="*/ 2147483647 h 1818"/>
                  <a:gd name="T114" fmla="*/ 2147483647 w 884"/>
                  <a:gd name="T115" fmla="*/ 2147483647 h 1818"/>
                  <a:gd name="T116" fmla="*/ 2147483647 w 884"/>
                  <a:gd name="T117" fmla="*/ 2147483647 h 1818"/>
                  <a:gd name="T118" fmla="*/ 2147483647 w 884"/>
                  <a:gd name="T119" fmla="*/ 214748364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6" name="Freeform 445"/>
              <p:cNvSpPr>
                <a:spLocks/>
              </p:cNvSpPr>
              <p:nvPr>
                <p:custDataLst>
                  <p:tags r:id="rId352"/>
                </p:custDataLst>
              </p:nvPr>
            </p:nvSpPr>
            <p:spPr bwMode="auto">
              <a:xfrm>
                <a:off x="8444166" y="3912011"/>
                <a:ext cx="103666" cy="64528"/>
              </a:xfrm>
              <a:custGeom>
                <a:avLst/>
                <a:gdLst>
                  <a:gd name="T0" fmla="*/ 2147483647 w 186"/>
                  <a:gd name="T1" fmla="*/ 2147483647 h 104"/>
                  <a:gd name="T2" fmla="*/ 2147483647 w 186"/>
                  <a:gd name="T3" fmla="*/ 2147483647 h 104"/>
                  <a:gd name="T4" fmla="*/ 2147483647 w 186"/>
                  <a:gd name="T5" fmla="*/ 2147483647 h 104"/>
                  <a:gd name="T6" fmla="*/ 2147483647 w 186"/>
                  <a:gd name="T7" fmla="*/ 2147483647 h 104"/>
                  <a:gd name="T8" fmla="*/ 2147483647 w 186"/>
                  <a:gd name="T9" fmla="*/ 2147483647 h 104"/>
                  <a:gd name="T10" fmla="*/ 2147483647 w 186"/>
                  <a:gd name="T11" fmla="*/ 2147483647 h 104"/>
                  <a:gd name="T12" fmla="*/ 2147483647 w 186"/>
                  <a:gd name="T13" fmla="*/ 2147483647 h 104"/>
                  <a:gd name="T14" fmla="*/ 2147483647 w 186"/>
                  <a:gd name="T15" fmla="*/ 2147483647 h 104"/>
                  <a:gd name="T16" fmla="*/ 2147483647 w 186"/>
                  <a:gd name="T17" fmla="*/ 2147483647 h 104"/>
                  <a:gd name="T18" fmla="*/ 2147483647 w 186"/>
                  <a:gd name="T19" fmla="*/ 1911003545 h 104"/>
                  <a:gd name="T20" fmla="*/ 2147483647 w 186"/>
                  <a:gd name="T21" fmla="*/ 1433252504 h 104"/>
                  <a:gd name="T22" fmla="*/ 2147483647 w 186"/>
                  <a:gd name="T23" fmla="*/ 716433909 h 104"/>
                  <a:gd name="T24" fmla="*/ 2147483647 w 186"/>
                  <a:gd name="T25" fmla="*/ 238682867 h 104"/>
                  <a:gd name="T26" fmla="*/ 2147483647 w 186"/>
                  <a:gd name="T27" fmla="*/ 0 h 104"/>
                  <a:gd name="T28" fmla="*/ 2147483647 w 186"/>
                  <a:gd name="T29" fmla="*/ 0 h 104"/>
                  <a:gd name="T30" fmla="*/ 2147483647 w 186"/>
                  <a:gd name="T31" fmla="*/ 238682867 h 104"/>
                  <a:gd name="T32" fmla="*/ 2147483647 w 186"/>
                  <a:gd name="T33" fmla="*/ 477751041 h 104"/>
                  <a:gd name="T34" fmla="*/ 2147483647 w 186"/>
                  <a:gd name="T35" fmla="*/ 955502083 h 104"/>
                  <a:gd name="T36" fmla="*/ 2147483647 w 186"/>
                  <a:gd name="T37" fmla="*/ 1433252504 h 104"/>
                  <a:gd name="T38" fmla="*/ 2147483647 w 186"/>
                  <a:gd name="T39" fmla="*/ 2147483647 h 104"/>
                  <a:gd name="T40" fmla="*/ 2147483647 w 186"/>
                  <a:gd name="T41" fmla="*/ 2147483647 h 104"/>
                  <a:gd name="T42" fmla="*/ 2147483647 w 186"/>
                  <a:gd name="T43" fmla="*/ 2147483647 h 104"/>
                  <a:gd name="T44" fmla="*/ 2147483647 w 186"/>
                  <a:gd name="T45" fmla="*/ 2147483647 h 104"/>
                  <a:gd name="T46" fmla="*/ 1211776954 w 186"/>
                  <a:gd name="T47" fmla="*/ 2147483647 h 104"/>
                  <a:gd name="T48" fmla="*/ 0 w 186"/>
                  <a:gd name="T49" fmla="*/ 2147483647 h 104"/>
                  <a:gd name="T50" fmla="*/ 1385109851 w 186"/>
                  <a:gd name="T51" fmla="*/ 2147483647 h 104"/>
                  <a:gd name="T52" fmla="*/ 2147483647 w 186"/>
                  <a:gd name="T53" fmla="*/ 2147483647 h 104"/>
                  <a:gd name="T54" fmla="*/ 2147483647 w 186"/>
                  <a:gd name="T55" fmla="*/ 2147483647 h 104"/>
                  <a:gd name="T56" fmla="*/ 2147483647 w 186"/>
                  <a:gd name="T57" fmla="*/ 2147483647 h 104"/>
                  <a:gd name="T58" fmla="*/ 2147483647 w 186"/>
                  <a:gd name="T59" fmla="*/ 2147483647 h 104"/>
                  <a:gd name="T60" fmla="*/ 2147483647 w 186"/>
                  <a:gd name="T61" fmla="*/ 2147483647 h 104"/>
                  <a:gd name="T62" fmla="*/ 2147483647 w 186"/>
                  <a:gd name="T63" fmla="*/ 2147483647 h 104"/>
                  <a:gd name="T64" fmla="*/ 2147483647 w 186"/>
                  <a:gd name="T65" fmla="*/ 2147483647 h 104"/>
                  <a:gd name="T66" fmla="*/ 2147483647 w 186"/>
                  <a:gd name="T67" fmla="*/ 2147483647 h 104"/>
                  <a:gd name="T68" fmla="*/ 2147483647 w 186"/>
                  <a:gd name="T69" fmla="*/ 2147483647 h 104"/>
                  <a:gd name="T70" fmla="*/ 2147483647 w 186"/>
                  <a:gd name="T71" fmla="*/ 2147483647 h 104"/>
                  <a:gd name="T72" fmla="*/ 2147483647 w 186"/>
                  <a:gd name="T73" fmla="*/ 2147483647 h 104"/>
                  <a:gd name="T74" fmla="*/ 2147483647 w 186"/>
                  <a:gd name="T75" fmla="*/ 2147483647 h 104"/>
                  <a:gd name="T76" fmla="*/ 2147483647 w 186"/>
                  <a:gd name="T77" fmla="*/ 2147483647 h 104"/>
                  <a:gd name="T78" fmla="*/ 2147483647 w 186"/>
                  <a:gd name="T79" fmla="*/ 2147483647 h 104"/>
                  <a:gd name="T80" fmla="*/ 2147483647 w 186"/>
                  <a:gd name="T81" fmla="*/ 2147483647 h 104"/>
                  <a:gd name="T82" fmla="*/ 2147483647 w 186"/>
                  <a:gd name="T83" fmla="*/ 2147483647 h 104"/>
                  <a:gd name="T84" fmla="*/ 2147483647 w 186"/>
                  <a:gd name="T85" fmla="*/ 2147483647 h 104"/>
                  <a:gd name="T86" fmla="*/ 2147483647 w 186"/>
                  <a:gd name="T87" fmla="*/ 2147483647 h 104"/>
                  <a:gd name="T88" fmla="*/ 2147483647 w 186"/>
                  <a:gd name="T89" fmla="*/ 2147483647 h 104"/>
                  <a:gd name="T90" fmla="*/ 2147483647 w 186"/>
                  <a:gd name="T91" fmla="*/ 2147483647 h 104"/>
                  <a:gd name="T92" fmla="*/ 2147483647 w 186"/>
                  <a:gd name="T93" fmla="*/ 2147483647 h 104"/>
                  <a:gd name="T94" fmla="*/ 2147483647 w 186"/>
                  <a:gd name="T95" fmla="*/ 2147483647 h 104"/>
                  <a:gd name="T96" fmla="*/ 2147483647 w 186"/>
                  <a:gd name="T97" fmla="*/ 2147483647 h 10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86" h="104">
                    <a:moveTo>
                      <a:pt x="153" y="21"/>
                    </a:moveTo>
                    <a:lnTo>
                      <a:pt x="146" y="21"/>
                    </a:lnTo>
                    <a:lnTo>
                      <a:pt x="141" y="20"/>
                    </a:lnTo>
                    <a:lnTo>
                      <a:pt x="136" y="18"/>
                    </a:lnTo>
                    <a:lnTo>
                      <a:pt x="133" y="15"/>
                    </a:lnTo>
                    <a:lnTo>
                      <a:pt x="130" y="13"/>
                    </a:lnTo>
                    <a:lnTo>
                      <a:pt x="125" y="11"/>
                    </a:lnTo>
                    <a:lnTo>
                      <a:pt x="120" y="10"/>
                    </a:lnTo>
                    <a:lnTo>
                      <a:pt x="113" y="9"/>
                    </a:lnTo>
                    <a:lnTo>
                      <a:pt x="100" y="8"/>
                    </a:lnTo>
                    <a:lnTo>
                      <a:pt x="88" y="6"/>
                    </a:lnTo>
                    <a:lnTo>
                      <a:pt x="75" y="3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41" y="10"/>
                    </a:lnTo>
                    <a:lnTo>
                      <a:pt x="40" y="15"/>
                    </a:lnTo>
                    <a:lnTo>
                      <a:pt x="34" y="27"/>
                    </a:lnTo>
                    <a:lnTo>
                      <a:pt x="20" y="47"/>
                    </a:lnTo>
                    <a:lnTo>
                      <a:pt x="7" y="66"/>
                    </a:lnTo>
                    <a:lnTo>
                      <a:pt x="0" y="77"/>
                    </a:lnTo>
                    <a:lnTo>
                      <a:pt x="8" y="77"/>
                    </a:lnTo>
                    <a:lnTo>
                      <a:pt x="16" y="78"/>
                    </a:lnTo>
                    <a:lnTo>
                      <a:pt x="21" y="79"/>
                    </a:lnTo>
                    <a:lnTo>
                      <a:pt x="25" y="81"/>
                    </a:lnTo>
                    <a:lnTo>
                      <a:pt x="33" y="85"/>
                    </a:lnTo>
                    <a:lnTo>
                      <a:pt x="40" y="89"/>
                    </a:lnTo>
                    <a:lnTo>
                      <a:pt x="45" y="94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1" y="101"/>
                    </a:lnTo>
                    <a:lnTo>
                      <a:pt x="66" y="102"/>
                    </a:lnTo>
                    <a:lnTo>
                      <a:pt x="74" y="102"/>
                    </a:lnTo>
                    <a:lnTo>
                      <a:pt x="107" y="103"/>
                    </a:lnTo>
                    <a:lnTo>
                      <a:pt x="131" y="104"/>
                    </a:lnTo>
                    <a:lnTo>
                      <a:pt x="135" y="103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5" y="97"/>
                    </a:lnTo>
                    <a:lnTo>
                      <a:pt x="147" y="94"/>
                    </a:lnTo>
                    <a:lnTo>
                      <a:pt x="150" y="88"/>
                    </a:lnTo>
                    <a:lnTo>
                      <a:pt x="152" y="83"/>
                    </a:lnTo>
                    <a:lnTo>
                      <a:pt x="153" y="77"/>
                    </a:lnTo>
                    <a:lnTo>
                      <a:pt x="186" y="27"/>
                    </a:lnTo>
                    <a:lnTo>
                      <a:pt x="153" y="21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7" name="Freeform 450"/>
              <p:cNvSpPr>
                <a:spLocks/>
              </p:cNvSpPr>
              <p:nvPr>
                <p:custDataLst>
                  <p:tags r:id="rId353"/>
                </p:custDataLst>
              </p:nvPr>
            </p:nvSpPr>
            <p:spPr bwMode="auto">
              <a:xfrm>
                <a:off x="7568987" y="3478237"/>
                <a:ext cx="374792" cy="591510"/>
              </a:xfrm>
              <a:custGeom>
                <a:avLst/>
                <a:gdLst>
                  <a:gd name="T0" fmla="*/ 2147483647 w 684"/>
                  <a:gd name="T1" fmla="*/ 2147483647 h 998"/>
                  <a:gd name="T2" fmla="*/ 2147483647 w 684"/>
                  <a:gd name="T3" fmla="*/ 2147483647 h 998"/>
                  <a:gd name="T4" fmla="*/ 2147483647 w 684"/>
                  <a:gd name="T5" fmla="*/ 2147483647 h 998"/>
                  <a:gd name="T6" fmla="*/ 2147483647 w 684"/>
                  <a:gd name="T7" fmla="*/ 2147483647 h 998"/>
                  <a:gd name="T8" fmla="*/ 2147483647 w 684"/>
                  <a:gd name="T9" fmla="*/ 2147483647 h 998"/>
                  <a:gd name="T10" fmla="*/ 2147483647 w 684"/>
                  <a:gd name="T11" fmla="*/ 2147483647 h 998"/>
                  <a:gd name="T12" fmla="*/ 2147483647 w 684"/>
                  <a:gd name="T13" fmla="*/ 2147483647 h 998"/>
                  <a:gd name="T14" fmla="*/ 2147483647 w 684"/>
                  <a:gd name="T15" fmla="*/ 2147483647 h 998"/>
                  <a:gd name="T16" fmla="*/ 2147483647 w 684"/>
                  <a:gd name="T17" fmla="*/ 2147483647 h 998"/>
                  <a:gd name="T18" fmla="*/ 2147483647 w 684"/>
                  <a:gd name="T19" fmla="*/ 2147483647 h 998"/>
                  <a:gd name="T20" fmla="*/ 2147483647 w 684"/>
                  <a:gd name="T21" fmla="*/ 2147483647 h 998"/>
                  <a:gd name="T22" fmla="*/ 2147483647 w 684"/>
                  <a:gd name="T23" fmla="*/ 2147483647 h 998"/>
                  <a:gd name="T24" fmla="*/ 2147483647 w 684"/>
                  <a:gd name="T25" fmla="*/ 2147483647 h 998"/>
                  <a:gd name="T26" fmla="*/ 2147483647 w 684"/>
                  <a:gd name="T27" fmla="*/ 2147483647 h 998"/>
                  <a:gd name="T28" fmla="*/ 2147483647 w 684"/>
                  <a:gd name="T29" fmla="*/ 2147483647 h 998"/>
                  <a:gd name="T30" fmla="*/ 2147483647 w 684"/>
                  <a:gd name="T31" fmla="*/ 2147483647 h 998"/>
                  <a:gd name="T32" fmla="*/ 2147483647 w 684"/>
                  <a:gd name="T33" fmla="*/ 2147483647 h 998"/>
                  <a:gd name="T34" fmla="*/ 2147483647 w 684"/>
                  <a:gd name="T35" fmla="*/ 2147483647 h 998"/>
                  <a:gd name="T36" fmla="*/ 2147483647 w 684"/>
                  <a:gd name="T37" fmla="*/ 2147483647 h 998"/>
                  <a:gd name="T38" fmla="*/ 2147483647 w 684"/>
                  <a:gd name="T39" fmla="*/ 2147483647 h 998"/>
                  <a:gd name="T40" fmla="*/ 2147483647 w 684"/>
                  <a:gd name="T41" fmla="*/ 2147483647 h 998"/>
                  <a:gd name="T42" fmla="*/ 2147483647 w 684"/>
                  <a:gd name="T43" fmla="*/ 2147483647 h 998"/>
                  <a:gd name="T44" fmla="*/ 2147483647 w 684"/>
                  <a:gd name="T45" fmla="*/ 2147483647 h 998"/>
                  <a:gd name="T46" fmla="*/ 2147483647 w 684"/>
                  <a:gd name="T47" fmla="*/ 2147483647 h 998"/>
                  <a:gd name="T48" fmla="*/ 2147483647 w 684"/>
                  <a:gd name="T49" fmla="*/ 2147483647 h 998"/>
                  <a:gd name="T50" fmla="*/ 2147483647 w 684"/>
                  <a:gd name="T51" fmla="*/ 2147483647 h 998"/>
                  <a:gd name="T52" fmla="*/ 2147483647 w 684"/>
                  <a:gd name="T53" fmla="*/ 2147483647 h 998"/>
                  <a:gd name="T54" fmla="*/ 2147483647 w 684"/>
                  <a:gd name="T55" fmla="*/ 2147483647 h 998"/>
                  <a:gd name="T56" fmla="*/ 2147483647 w 684"/>
                  <a:gd name="T57" fmla="*/ 2147483647 h 998"/>
                  <a:gd name="T58" fmla="*/ 2147483647 w 684"/>
                  <a:gd name="T59" fmla="*/ 2147483647 h 998"/>
                  <a:gd name="T60" fmla="*/ 1809546187 w 684"/>
                  <a:gd name="T61" fmla="*/ 2147483647 h 998"/>
                  <a:gd name="T62" fmla="*/ 2147483647 w 684"/>
                  <a:gd name="T63" fmla="*/ 2147483647 h 998"/>
                  <a:gd name="T64" fmla="*/ 2147483647 w 684"/>
                  <a:gd name="T65" fmla="*/ 2147483647 h 998"/>
                  <a:gd name="T66" fmla="*/ 2147483647 w 684"/>
                  <a:gd name="T67" fmla="*/ 2147483647 h 998"/>
                  <a:gd name="T68" fmla="*/ 2147483647 w 684"/>
                  <a:gd name="T69" fmla="*/ 2147483647 h 998"/>
                  <a:gd name="T70" fmla="*/ 2147483647 w 684"/>
                  <a:gd name="T71" fmla="*/ 2147483647 h 998"/>
                  <a:gd name="T72" fmla="*/ 2147483647 w 684"/>
                  <a:gd name="T73" fmla="*/ 2147483647 h 998"/>
                  <a:gd name="T74" fmla="*/ 2147483647 w 684"/>
                  <a:gd name="T75" fmla="*/ 2147483647 h 998"/>
                  <a:gd name="T76" fmla="*/ 2147483647 w 684"/>
                  <a:gd name="T77" fmla="*/ 2147483647 h 998"/>
                  <a:gd name="T78" fmla="*/ 2147483647 w 684"/>
                  <a:gd name="T79" fmla="*/ 2147483647 h 998"/>
                  <a:gd name="T80" fmla="*/ 2147483647 w 684"/>
                  <a:gd name="T81" fmla="*/ 2147483647 h 998"/>
                  <a:gd name="T82" fmla="*/ 2147483647 w 684"/>
                  <a:gd name="T83" fmla="*/ 2147483647 h 998"/>
                  <a:gd name="T84" fmla="*/ 2147483647 w 684"/>
                  <a:gd name="T85" fmla="*/ 2147483647 h 998"/>
                  <a:gd name="T86" fmla="*/ 2147483647 w 684"/>
                  <a:gd name="T87" fmla="*/ 2147483647 h 998"/>
                  <a:gd name="T88" fmla="*/ 2147483647 w 684"/>
                  <a:gd name="T89" fmla="*/ 2147483647 h 998"/>
                  <a:gd name="T90" fmla="*/ 2147483647 w 684"/>
                  <a:gd name="T91" fmla="*/ 2147483647 h 998"/>
                  <a:gd name="T92" fmla="*/ 2147483647 w 684"/>
                  <a:gd name="T93" fmla="*/ 2147483647 h 998"/>
                  <a:gd name="T94" fmla="*/ 2147483647 w 684"/>
                  <a:gd name="T95" fmla="*/ 2147483647 h 998"/>
                  <a:gd name="T96" fmla="*/ 2147483647 w 684"/>
                  <a:gd name="T97" fmla="*/ 2147483647 h 998"/>
                  <a:gd name="T98" fmla="*/ 2147483647 w 684"/>
                  <a:gd name="T99" fmla="*/ 2147483647 h 998"/>
                  <a:gd name="T100" fmla="*/ 2147483647 w 684"/>
                  <a:gd name="T101" fmla="*/ 2147483647 h 998"/>
                  <a:gd name="T102" fmla="*/ 2147483647 w 684"/>
                  <a:gd name="T103" fmla="*/ 2147483647 h 998"/>
                  <a:gd name="T104" fmla="*/ 2147483647 w 684"/>
                  <a:gd name="T105" fmla="*/ 2147483647 h 998"/>
                  <a:gd name="T106" fmla="*/ 2147483647 w 684"/>
                  <a:gd name="T107" fmla="*/ 2147483647 h 998"/>
                  <a:gd name="T108" fmla="*/ 2147483647 w 684"/>
                  <a:gd name="T109" fmla="*/ 2147483647 h 998"/>
                  <a:gd name="T110" fmla="*/ 2147483647 w 684"/>
                  <a:gd name="T111" fmla="*/ 2147483647 h 99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84" h="998">
                    <a:moveTo>
                      <a:pt x="684" y="622"/>
                    </a:moveTo>
                    <a:lnTo>
                      <a:pt x="680" y="609"/>
                    </a:lnTo>
                    <a:lnTo>
                      <a:pt x="676" y="596"/>
                    </a:lnTo>
                    <a:lnTo>
                      <a:pt x="672" y="583"/>
                    </a:lnTo>
                    <a:lnTo>
                      <a:pt x="671" y="573"/>
                    </a:lnTo>
                    <a:lnTo>
                      <a:pt x="671" y="568"/>
                    </a:lnTo>
                    <a:lnTo>
                      <a:pt x="673" y="564"/>
                    </a:lnTo>
                    <a:lnTo>
                      <a:pt x="676" y="559"/>
                    </a:lnTo>
                    <a:lnTo>
                      <a:pt x="678" y="555"/>
                    </a:lnTo>
                    <a:lnTo>
                      <a:pt x="680" y="550"/>
                    </a:lnTo>
                    <a:lnTo>
                      <a:pt x="682" y="546"/>
                    </a:lnTo>
                    <a:lnTo>
                      <a:pt x="683" y="541"/>
                    </a:lnTo>
                    <a:lnTo>
                      <a:pt x="684" y="537"/>
                    </a:lnTo>
                    <a:lnTo>
                      <a:pt x="680" y="519"/>
                    </a:lnTo>
                    <a:lnTo>
                      <a:pt x="671" y="491"/>
                    </a:lnTo>
                    <a:lnTo>
                      <a:pt x="666" y="475"/>
                    </a:lnTo>
                    <a:lnTo>
                      <a:pt x="662" y="459"/>
                    </a:lnTo>
                    <a:lnTo>
                      <a:pt x="659" y="444"/>
                    </a:lnTo>
                    <a:lnTo>
                      <a:pt x="658" y="432"/>
                    </a:lnTo>
                    <a:lnTo>
                      <a:pt x="659" y="423"/>
                    </a:lnTo>
                    <a:lnTo>
                      <a:pt x="661" y="415"/>
                    </a:lnTo>
                    <a:lnTo>
                      <a:pt x="665" y="409"/>
                    </a:lnTo>
                    <a:lnTo>
                      <a:pt x="669" y="403"/>
                    </a:lnTo>
                    <a:lnTo>
                      <a:pt x="673" y="396"/>
                    </a:lnTo>
                    <a:lnTo>
                      <a:pt x="678" y="389"/>
                    </a:lnTo>
                    <a:lnTo>
                      <a:pt x="681" y="381"/>
                    </a:lnTo>
                    <a:lnTo>
                      <a:pt x="684" y="370"/>
                    </a:lnTo>
                    <a:lnTo>
                      <a:pt x="571" y="370"/>
                    </a:lnTo>
                    <a:lnTo>
                      <a:pt x="564" y="366"/>
                    </a:lnTo>
                    <a:lnTo>
                      <a:pt x="557" y="361"/>
                    </a:lnTo>
                    <a:lnTo>
                      <a:pt x="550" y="355"/>
                    </a:lnTo>
                    <a:lnTo>
                      <a:pt x="544" y="347"/>
                    </a:lnTo>
                    <a:lnTo>
                      <a:pt x="539" y="340"/>
                    </a:lnTo>
                    <a:lnTo>
                      <a:pt x="535" y="333"/>
                    </a:lnTo>
                    <a:lnTo>
                      <a:pt x="533" y="326"/>
                    </a:lnTo>
                    <a:lnTo>
                      <a:pt x="532" y="321"/>
                    </a:lnTo>
                    <a:lnTo>
                      <a:pt x="512" y="320"/>
                    </a:lnTo>
                    <a:lnTo>
                      <a:pt x="494" y="318"/>
                    </a:lnTo>
                    <a:lnTo>
                      <a:pt x="477" y="315"/>
                    </a:lnTo>
                    <a:lnTo>
                      <a:pt x="462" y="310"/>
                    </a:lnTo>
                    <a:lnTo>
                      <a:pt x="447" y="304"/>
                    </a:lnTo>
                    <a:lnTo>
                      <a:pt x="434" y="298"/>
                    </a:lnTo>
                    <a:lnTo>
                      <a:pt x="423" y="290"/>
                    </a:lnTo>
                    <a:lnTo>
                      <a:pt x="412" y="281"/>
                    </a:lnTo>
                    <a:lnTo>
                      <a:pt x="402" y="270"/>
                    </a:lnTo>
                    <a:lnTo>
                      <a:pt x="395" y="259"/>
                    </a:lnTo>
                    <a:lnTo>
                      <a:pt x="388" y="246"/>
                    </a:lnTo>
                    <a:lnTo>
                      <a:pt x="382" y="232"/>
                    </a:lnTo>
                    <a:lnTo>
                      <a:pt x="378" y="218"/>
                    </a:lnTo>
                    <a:lnTo>
                      <a:pt x="375" y="201"/>
                    </a:lnTo>
                    <a:lnTo>
                      <a:pt x="373" y="184"/>
                    </a:lnTo>
                    <a:lnTo>
                      <a:pt x="373" y="167"/>
                    </a:lnTo>
                    <a:lnTo>
                      <a:pt x="373" y="155"/>
                    </a:lnTo>
                    <a:lnTo>
                      <a:pt x="374" y="144"/>
                    </a:lnTo>
                    <a:lnTo>
                      <a:pt x="375" y="133"/>
                    </a:lnTo>
                    <a:lnTo>
                      <a:pt x="377" y="123"/>
                    </a:lnTo>
                    <a:lnTo>
                      <a:pt x="380" y="113"/>
                    </a:lnTo>
                    <a:lnTo>
                      <a:pt x="385" y="103"/>
                    </a:lnTo>
                    <a:lnTo>
                      <a:pt x="389" y="94"/>
                    </a:lnTo>
                    <a:lnTo>
                      <a:pt x="395" y="84"/>
                    </a:lnTo>
                    <a:lnTo>
                      <a:pt x="401" y="76"/>
                    </a:lnTo>
                    <a:lnTo>
                      <a:pt x="408" y="68"/>
                    </a:lnTo>
                    <a:lnTo>
                      <a:pt x="416" y="61"/>
                    </a:lnTo>
                    <a:lnTo>
                      <a:pt x="425" y="54"/>
                    </a:lnTo>
                    <a:lnTo>
                      <a:pt x="435" y="48"/>
                    </a:lnTo>
                    <a:lnTo>
                      <a:pt x="446" y="42"/>
                    </a:lnTo>
                    <a:lnTo>
                      <a:pt x="458" y="36"/>
                    </a:lnTo>
                    <a:lnTo>
                      <a:pt x="471" y="31"/>
                    </a:lnTo>
                    <a:lnTo>
                      <a:pt x="471" y="18"/>
                    </a:lnTo>
                    <a:lnTo>
                      <a:pt x="463" y="11"/>
                    </a:lnTo>
                    <a:lnTo>
                      <a:pt x="455" y="7"/>
                    </a:lnTo>
                    <a:lnTo>
                      <a:pt x="447" y="4"/>
                    </a:lnTo>
                    <a:lnTo>
                      <a:pt x="438" y="0"/>
                    </a:lnTo>
                    <a:lnTo>
                      <a:pt x="414" y="19"/>
                    </a:lnTo>
                    <a:lnTo>
                      <a:pt x="389" y="39"/>
                    </a:lnTo>
                    <a:lnTo>
                      <a:pt x="378" y="48"/>
                    </a:lnTo>
                    <a:lnTo>
                      <a:pt x="367" y="56"/>
                    </a:lnTo>
                    <a:lnTo>
                      <a:pt x="356" y="63"/>
                    </a:lnTo>
                    <a:lnTo>
                      <a:pt x="345" y="68"/>
                    </a:lnTo>
                    <a:lnTo>
                      <a:pt x="335" y="68"/>
                    </a:lnTo>
                    <a:lnTo>
                      <a:pt x="326" y="68"/>
                    </a:lnTo>
                    <a:lnTo>
                      <a:pt x="319" y="68"/>
                    </a:lnTo>
                    <a:lnTo>
                      <a:pt x="312" y="68"/>
                    </a:lnTo>
                    <a:lnTo>
                      <a:pt x="309" y="74"/>
                    </a:lnTo>
                    <a:lnTo>
                      <a:pt x="304" y="78"/>
                    </a:lnTo>
                    <a:lnTo>
                      <a:pt x="299" y="81"/>
                    </a:lnTo>
                    <a:lnTo>
                      <a:pt x="295" y="83"/>
                    </a:lnTo>
                    <a:lnTo>
                      <a:pt x="289" y="85"/>
                    </a:lnTo>
                    <a:lnTo>
                      <a:pt x="284" y="85"/>
                    </a:lnTo>
                    <a:lnTo>
                      <a:pt x="278" y="84"/>
                    </a:lnTo>
                    <a:lnTo>
                      <a:pt x="273" y="84"/>
                    </a:lnTo>
                    <a:lnTo>
                      <a:pt x="262" y="82"/>
                    </a:lnTo>
                    <a:lnTo>
                      <a:pt x="251" y="81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36" y="83"/>
                    </a:lnTo>
                    <a:lnTo>
                      <a:pt x="233" y="86"/>
                    </a:lnTo>
                    <a:lnTo>
                      <a:pt x="225" y="94"/>
                    </a:lnTo>
                    <a:lnTo>
                      <a:pt x="221" y="101"/>
                    </a:lnTo>
                    <a:lnTo>
                      <a:pt x="217" y="108"/>
                    </a:lnTo>
                    <a:lnTo>
                      <a:pt x="213" y="114"/>
                    </a:lnTo>
                    <a:lnTo>
                      <a:pt x="209" y="128"/>
                    </a:lnTo>
                    <a:lnTo>
                      <a:pt x="206" y="143"/>
                    </a:lnTo>
                    <a:lnTo>
                      <a:pt x="201" y="159"/>
                    </a:lnTo>
                    <a:lnTo>
                      <a:pt x="196" y="175"/>
                    </a:lnTo>
                    <a:lnTo>
                      <a:pt x="192" y="183"/>
                    </a:lnTo>
                    <a:lnTo>
                      <a:pt x="187" y="191"/>
                    </a:lnTo>
                    <a:lnTo>
                      <a:pt x="180" y="200"/>
                    </a:lnTo>
                    <a:lnTo>
                      <a:pt x="173" y="210"/>
                    </a:lnTo>
                    <a:lnTo>
                      <a:pt x="157" y="227"/>
                    </a:lnTo>
                    <a:lnTo>
                      <a:pt x="140" y="244"/>
                    </a:lnTo>
                    <a:lnTo>
                      <a:pt x="131" y="253"/>
                    </a:lnTo>
                    <a:lnTo>
                      <a:pt x="122" y="263"/>
                    </a:lnTo>
                    <a:lnTo>
                      <a:pt x="115" y="273"/>
                    </a:lnTo>
                    <a:lnTo>
                      <a:pt x="107" y="284"/>
                    </a:lnTo>
                    <a:lnTo>
                      <a:pt x="102" y="288"/>
                    </a:lnTo>
                    <a:lnTo>
                      <a:pt x="98" y="294"/>
                    </a:lnTo>
                    <a:lnTo>
                      <a:pt x="96" y="299"/>
                    </a:lnTo>
                    <a:lnTo>
                      <a:pt x="94" y="305"/>
                    </a:lnTo>
                    <a:lnTo>
                      <a:pt x="90" y="317"/>
                    </a:lnTo>
                    <a:lnTo>
                      <a:pt x="86" y="327"/>
                    </a:lnTo>
                    <a:lnTo>
                      <a:pt x="85" y="331"/>
                    </a:lnTo>
                    <a:lnTo>
                      <a:pt x="84" y="338"/>
                    </a:lnTo>
                    <a:lnTo>
                      <a:pt x="84" y="347"/>
                    </a:lnTo>
                    <a:lnTo>
                      <a:pt x="86" y="356"/>
                    </a:lnTo>
                    <a:lnTo>
                      <a:pt x="88" y="366"/>
                    </a:lnTo>
                    <a:lnTo>
                      <a:pt x="91" y="375"/>
                    </a:lnTo>
                    <a:lnTo>
                      <a:pt x="93" y="378"/>
                    </a:lnTo>
                    <a:lnTo>
                      <a:pt x="95" y="380"/>
                    </a:lnTo>
                    <a:lnTo>
                      <a:pt x="97" y="382"/>
                    </a:lnTo>
                    <a:lnTo>
                      <a:pt x="100" y="382"/>
                    </a:lnTo>
                    <a:lnTo>
                      <a:pt x="98" y="397"/>
                    </a:lnTo>
                    <a:lnTo>
                      <a:pt x="97" y="414"/>
                    </a:lnTo>
                    <a:lnTo>
                      <a:pt x="97" y="433"/>
                    </a:lnTo>
                    <a:lnTo>
                      <a:pt x="97" y="451"/>
                    </a:lnTo>
                    <a:lnTo>
                      <a:pt x="99" y="484"/>
                    </a:lnTo>
                    <a:lnTo>
                      <a:pt x="100" y="505"/>
                    </a:lnTo>
                    <a:lnTo>
                      <a:pt x="99" y="511"/>
                    </a:lnTo>
                    <a:lnTo>
                      <a:pt x="98" y="518"/>
                    </a:lnTo>
                    <a:lnTo>
                      <a:pt x="95" y="525"/>
                    </a:lnTo>
                    <a:lnTo>
                      <a:pt x="91" y="532"/>
                    </a:lnTo>
                    <a:lnTo>
                      <a:pt x="88" y="541"/>
                    </a:lnTo>
                    <a:lnTo>
                      <a:pt x="83" y="548"/>
                    </a:lnTo>
                    <a:lnTo>
                      <a:pt x="77" y="556"/>
                    </a:lnTo>
                    <a:lnTo>
                      <a:pt x="72" y="563"/>
                    </a:lnTo>
                    <a:lnTo>
                      <a:pt x="65" y="570"/>
                    </a:lnTo>
                    <a:lnTo>
                      <a:pt x="59" y="576"/>
                    </a:lnTo>
                    <a:lnTo>
                      <a:pt x="51" y="582"/>
                    </a:lnTo>
                    <a:lnTo>
                      <a:pt x="43" y="587"/>
                    </a:lnTo>
                    <a:lnTo>
                      <a:pt x="37" y="592"/>
                    </a:lnTo>
                    <a:lnTo>
                      <a:pt x="29" y="596"/>
                    </a:lnTo>
                    <a:lnTo>
                      <a:pt x="21" y="598"/>
                    </a:lnTo>
                    <a:lnTo>
                      <a:pt x="14" y="598"/>
                    </a:lnTo>
                    <a:lnTo>
                      <a:pt x="12" y="605"/>
                    </a:lnTo>
                    <a:lnTo>
                      <a:pt x="11" y="612"/>
                    </a:lnTo>
                    <a:lnTo>
                      <a:pt x="9" y="618"/>
                    </a:lnTo>
                    <a:lnTo>
                      <a:pt x="7" y="625"/>
                    </a:lnTo>
                    <a:lnTo>
                      <a:pt x="3" y="637"/>
                    </a:lnTo>
                    <a:lnTo>
                      <a:pt x="0" y="648"/>
                    </a:lnTo>
                    <a:lnTo>
                      <a:pt x="30" y="668"/>
                    </a:lnTo>
                    <a:lnTo>
                      <a:pt x="67" y="694"/>
                    </a:lnTo>
                    <a:lnTo>
                      <a:pt x="87" y="707"/>
                    </a:lnTo>
                    <a:lnTo>
                      <a:pt x="106" y="718"/>
                    </a:lnTo>
                    <a:lnTo>
                      <a:pt x="115" y="722"/>
                    </a:lnTo>
                    <a:lnTo>
                      <a:pt x="123" y="725"/>
                    </a:lnTo>
                    <a:lnTo>
                      <a:pt x="132" y="727"/>
                    </a:lnTo>
                    <a:lnTo>
                      <a:pt x="140" y="727"/>
                    </a:lnTo>
                    <a:lnTo>
                      <a:pt x="153" y="727"/>
                    </a:lnTo>
                    <a:lnTo>
                      <a:pt x="166" y="727"/>
                    </a:lnTo>
                    <a:lnTo>
                      <a:pt x="175" y="728"/>
                    </a:lnTo>
                    <a:lnTo>
                      <a:pt x="184" y="729"/>
                    </a:lnTo>
                    <a:lnTo>
                      <a:pt x="192" y="730"/>
                    </a:lnTo>
                    <a:lnTo>
                      <a:pt x="201" y="732"/>
                    </a:lnTo>
                    <a:lnTo>
                      <a:pt x="218" y="738"/>
                    </a:lnTo>
                    <a:lnTo>
                      <a:pt x="234" y="746"/>
                    </a:lnTo>
                    <a:lnTo>
                      <a:pt x="250" y="755"/>
                    </a:lnTo>
                    <a:lnTo>
                      <a:pt x="265" y="767"/>
                    </a:lnTo>
                    <a:lnTo>
                      <a:pt x="279" y="778"/>
                    </a:lnTo>
                    <a:lnTo>
                      <a:pt x="292" y="789"/>
                    </a:lnTo>
                    <a:lnTo>
                      <a:pt x="299" y="795"/>
                    </a:lnTo>
                    <a:lnTo>
                      <a:pt x="306" y="802"/>
                    </a:lnTo>
                    <a:lnTo>
                      <a:pt x="312" y="809"/>
                    </a:lnTo>
                    <a:lnTo>
                      <a:pt x="318" y="818"/>
                    </a:lnTo>
                    <a:lnTo>
                      <a:pt x="328" y="834"/>
                    </a:lnTo>
                    <a:lnTo>
                      <a:pt x="337" y="850"/>
                    </a:lnTo>
                    <a:lnTo>
                      <a:pt x="342" y="857"/>
                    </a:lnTo>
                    <a:lnTo>
                      <a:pt x="347" y="864"/>
                    </a:lnTo>
                    <a:lnTo>
                      <a:pt x="354" y="871"/>
                    </a:lnTo>
                    <a:lnTo>
                      <a:pt x="359" y="877"/>
                    </a:lnTo>
                    <a:lnTo>
                      <a:pt x="367" y="881"/>
                    </a:lnTo>
                    <a:lnTo>
                      <a:pt x="374" y="885"/>
                    </a:lnTo>
                    <a:lnTo>
                      <a:pt x="382" y="887"/>
                    </a:lnTo>
                    <a:lnTo>
                      <a:pt x="392" y="888"/>
                    </a:lnTo>
                    <a:lnTo>
                      <a:pt x="402" y="887"/>
                    </a:lnTo>
                    <a:lnTo>
                      <a:pt x="412" y="886"/>
                    </a:lnTo>
                    <a:lnTo>
                      <a:pt x="422" y="884"/>
                    </a:lnTo>
                    <a:lnTo>
                      <a:pt x="432" y="882"/>
                    </a:lnTo>
                    <a:lnTo>
                      <a:pt x="442" y="879"/>
                    </a:lnTo>
                    <a:lnTo>
                      <a:pt x="452" y="877"/>
                    </a:lnTo>
                    <a:lnTo>
                      <a:pt x="462" y="876"/>
                    </a:lnTo>
                    <a:lnTo>
                      <a:pt x="471" y="875"/>
                    </a:lnTo>
                    <a:lnTo>
                      <a:pt x="478" y="876"/>
                    </a:lnTo>
                    <a:lnTo>
                      <a:pt x="485" y="878"/>
                    </a:lnTo>
                    <a:lnTo>
                      <a:pt x="489" y="878"/>
                    </a:lnTo>
                    <a:lnTo>
                      <a:pt x="492" y="878"/>
                    </a:lnTo>
                    <a:lnTo>
                      <a:pt x="496" y="877"/>
                    </a:lnTo>
                    <a:lnTo>
                      <a:pt x="499" y="875"/>
                    </a:lnTo>
                    <a:lnTo>
                      <a:pt x="501" y="883"/>
                    </a:lnTo>
                    <a:lnTo>
                      <a:pt x="509" y="894"/>
                    </a:lnTo>
                    <a:lnTo>
                      <a:pt x="515" y="904"/>
                    </a:lnTo>
                    <a:lnTo>
                      <a:pt x="519" y="912"/>
                    </a:lnTo>
                    <a:lnTo>
                      <a:pt x="518" y="915"/>
                    </a:lnTo>
                    <a:lnTo>
                      <a:pt x="516" y="918"/>
                    </a:lnTo>
                    <a:lnTo>
                      <a:pt x="515" y="920"/>
                    </a:lnTo>
                    <a:lnTo>
                      <a:pt x="513" y="922"/>
                    </a:lnTo>
                    <a:lnTo>
                      <a:pt x="508" y="927"/>
                    </a:lnTo>
                    <a:lnTo>
                      <a:pt x="502" y="930"/>
                    </a:lnTo>
                    <a:lnTo>
                      <a:pt x="496" y="933"/>
                    </a:lnTo>
                    <a:lnTo>
                      <a:pt x="490" y="936"/>
                    </a:lnTo>
                    <a:lnTo>
                      <a:pt x="488" y="937"/>
                    </a:lnTo>
                    <a:lnTo>
                      <a:pt x="487" y="939"/>
                    </a:lnTo>
                    <a:lnTo>
                      <a:pt x="486" y="941"/>
                    </a:lnTo>
                    <a:lnTo>
                      <a:pt x="485" y="943"/>
                    </a:lnTo>
                    <a:lnTo>
                      <a:pt x="486" y="954"/>
                    </a:lnTo>
                    <a:lnTo>
                      <a:pt x="488" y="963"/>
                    </a:lnTo>
                    <a:lnTo>
                      <a:pt x="490" y="970"/>
                    </a:lnTo>
                    <a:lnTo>
                      <a:pt x="494" y="977"/>
                    </a:lnTo>
                    <a:lnTo>
                      <a:pt x="499" y="984"/>
                    </a:lnTo>
                    <a:lnTo>
                      <a:pt x="504" y="989"/>
                    </a:lnTo>
                    <a:lnTo>
                      <a:pt x="511" y="994"/>
                    </a:lnTo>
                    <a:lnTo>
                      <a:pt x="519" y="998"/>
                    </a:lnTo>
                    <a:lnTo>
                      <a:pt x="538" y="998"/>
                    </a:lnTo>
                    <a:lnTo>
                      <a:pt x="538" y="986"/>
                    </a:lnTo>
                    <a:lnTo>
                      <a:pt x="539" y="973"/>
                    </a:lnTo>
                    <a:lnTo>
                      <a:pt x="542" y="962"/>
                    </a:lnTo>
                    <a:lnTo>
                      <a:pt x="544" y="950"/>
                    </a:lnTo>
                    <a:lnTo>
                      <a:pt x="548" y="928"/>
                    </a:lnTo>
                    <a:lnTo>
                      <a:pt x="555" y="906"/>
                    </a:lnTo>
                    <a:lnTo>
                      <a:pt x="561" y="884"/>
                    </a:lnTo>
                    <a:lnTo>
                      <a:pt x="566" y="861"/>
                    </a:lnTo>
                    <a:lnTo>
                      <a:pt x="568" y="850"/>
                    </a:lnTo>
                    <a:lnTo>
                      <a:pt x="570" y="838"/>
                    </a:lnTo>
                    <a:lnTo>
                      <a:pt x="571" y="826"/>
                    </a:lnTo>
                    <a:lnTo>
                      <a:pt x="571" y="813"/>
                    </a:lnTo>
                    <a:lnTo>
                      <a:pt x="571" y="803"/>
                    </a:lnTo>
                    <a:lnTo>
                      <a:pt x="569" y="794"/>
                    </a:lnTo>
                    <a:lnTo>
                      <a:pt x="567" y="786"/>
                    </a:lnTo>
                    <a:lnTo>
                      <a:pt x="564" y="780"/>
                    </a:lnTo>
                    <a:lnTo>
                      <a:pt x="559" y="775"/>
                    </a:lnTo>
                    <a:lnTo>
                      <a:pt x="555" y="771"/>
                    </a:lnTo>
                    <a:lnTo>
                      <a:pt x="549" y="768"/>
                    </a:lnTo>
                    <a:lnTo>
                      <a:pt x="545" y="765"/>
                    </a:lnTo>
                    <a:lnTo>
                      <a:pt x="535" y="759"/>
                    </a:lnTo>
                    <a:lnTo>
                      <a:pt x="526" y="752"/>
                    </a:lnTo>
                    <a:lnTo>
                      <a:pt x="523" y="749"/>
                    </a:lnTo>
                    <a:lnTo>
                      <a:pt x="521" y="745"/>
                    </a:lnTo>
                    <a:lnTo>
                      <a:pt x="519" y="740"/>
                    </a:lnTo>
                    <a:lnTo>
                      <a:pt x="519" y="733"/>
                    </a:lnTo>
                    <a:lnTo>
                      <a:pt x="519" y="728"/>
                    </a:lnTo>
                    <a:lnTo>
                      <a:pt x="521" y="723"/>
                    </a:lnTo>
                    <a:lnTo>
                      <a:pt x="523" y="719"/>
                    </a:lnTo>
                    <a:lnTo>
                      <a:pt x="526" y="716"/>
                    </a:lnTo>
                    <a:lnTo>
                      <a:pt x="535" y="710"/>
                    </a:lnTo>
                    <a:lnTo>
                      <a:pt x="546" y="706"/>
                    </a:lnTo>
                    <a:lnTo>
                      <a:pt x="566" y="700"/>
                    </a:lnTo>
                    <a:lnTo>
                      <a:pt x="578" y="696"/>
                    </a:lnTo>
                    <a:lnTo>
                      <a:pt x="578" y="678"/>
                    </a:lnTo>
                    <a:lnTo>
                      <a:pt x="568" y="673"/>
                    </a:lnTo>
                    <a:lnTo>
                      <a:pt x="560" y="668"/>
                    </a:lnTo>
                    <a:lnTo>
                      <a:pt x="556" y="665"/>
                    </a:lnTo>
                    <a:lnTo>
                      <a:pt x="554" y="662"/>
                    </a:lnTo>
                    <a:lnTo>
                      <a:pt x="552" y="658"/>
                    </a:lnTo>
                    <a:lnTo>
                      <a:pt x="552" y="654"/>
                    </a:lnTo>
                    <a:lnTo>
                      <a:pt x="553" y="651"/>
                    </a:lnTo>
                    <a:lnTo>
                      <a:pt x="556" y="649"/>
                    </a:lnTo>
                    <a:lnTo>
                      <a:pt x="563" y="646"/>
                    </a:lnTo>
                    <a:lnTo>
                      <a:pt x="569" y="644"/>
                    </a:lnTo>
                    <a:lnTo>
                      <a:pt x="588" y="639"/>
                    </a:lnTo>
                    <a:lnTo>
                      <a:pt x="611" y="635"/>
                    </a:lnTo>
                    <a:lnTo>
                      <a:pt x="655" y="628"/>
                    </a:lnTo>
                    <a:lnTo>
                      <a:pt x="684" y="622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8" name="Freeform 541"/>
              <p:cNvSpPr>
                <a:spLocks/>
              </p:cNvSpPr>
              <p:nvPr>
                <p:custDataLst>
                  <p:tags r:id="rId354"/>
                </p:custDataLst>
              </p:nvPr>
            </p:nvSpPr>
            <p:spPr bwMode="auto">
              <a:xfrm>
                <a:off x="8246802" y="3704087"/>
                <a:ext cx="125596" cy="138018"/>
              </a:xfrm>
              <a:custGeom>
                <a:avLst/>
                <a:gdLst>
                  <a:gd name="T0" fmla="*/ 2147483647 w 226"/>
                  <a:gd name="T1" fmla="*/ 2147483647 h 237"/>
                  <a:gd name="T2" fmla="*/ 2147483647 w 226"/>
                  <a:gd name="T3" fmla="*/ 2147483647 h 237"/>
                  <a:gd name="T4" fmla="*/ 2147483647 w 226"/>
                  <a:gd name="T5" fmla="*/ 2147483647 h 237"/>
                  <a:gd name="T6" fmla="*/ 2147483647 w 226"/>
                  <a:gd name="T7" fmla="*/ 2147483647 h 237"/>
                  <a:gd name="T8" fmla="*/ 2147483647 w 226"/>
                  <a:gd name="T9" fmla="*/ 2147483647 h 237"/>
                  <a:gd name="T10" fmla="*/ 2147483647 w 226"/>
                  <a:gd name="T11" fmla="*/ 2147483647 h 237"/>
                  <a:gd name="T12" fmla="*/ 2147483647 w 226"/>
                  <a:gd name="T13" fmla="*/ 2147483647 h 237"/>
                  <a:gd name="T14" fmla="*/ 2147483647 w 226"/>
                  <a:gd name="T15" fmla="*/ 2147483647 h 237"/>
                  <a:gd name="T16" fmla="*/ 2147483647 w 226"/>
                  <a:gd name="T17" fmla="*/ 2147483647 h 237"/>
                  <a:gd name="T18" fmla="*/ 2147483647 w 226"/>
                  <a:gd name="T19" fmla="*/ 2147483647 h 237"/>
                  <a:gd name="T20" fmla="*/ 2147483647 w 226"/>
                  <a:gd name="T21" fmla="*/ 2147483647 h 237"/>
                  <a:gd name="T22" fmla="*/ 2147483647 w 226"/>
                  <a:gd name="T23" fmla="*/ 2147483647 h 237"/>
                  <a:gd name="T24" fmla="*/ 2147483647 w 226"/>
                  <a:gd name="T25" fmla="*/ 2147483647 h 237"/>
                  <a:gd name="T26" fmla="*/ 2147483647 w 226"/>
                  <a:gd name="T27" fmla="*/ 2147483647 h 237"/>
                  <a:gd name="T28" fmla="*/ 2147483647 w 226"/>
                  <a:gd name="T29" fmla="*/ 2147483647 h 237"/>
                  <a:gd name="T30" fmla="*/ 2147483647 w 226"/>
                  <a:gd name="T31" fmla="*/ 2147483647 h 237"/>
                  <a:gd name="T32" fmla="*/ 2147483647 w 226"/>
                  <a:gd name="T33" fmla="*/ 2147483647 h 237"/>
                  <a:gd name="T34" fmla="*/ 2147483647 w 226"/>
                  <a:gd name="T35" fmla="*/ 2147483647 h 237"/>
                  <a:gd name="T36" fmla="*/ 2147483647 w 226"/>
                  <a:gd name="T37" fmla="*/ 2147483647 h 237"/>
                  <a:gd name="T38" fmla="*/ 2147483647 w 226"/>
                  <a:gd name="T39" fmla="*/ 2147483647 h 237"/>
                  <a:gd name="T40" fmla="*/ 2147483647 w 226"/>
                  <a:gd name="T41" fmla="*/ 2147483647 h 237"/>
                  <a:gd name="T42" fmla="*/ 2147483647 w 226"/>
                  <a:gd name="T43" fmla="*/ 2147483647 h 237"/>
                  <a:gd name="T44" fmla="*/ 2147483647 w 226"/>
                  <a:gd name="T45" fmla="*/ 2147483647 h 237"/>
                  <a:gd name="T46" fmla="*/ 2147483647 w 226"/>
                  <a:gd name="T47" fmla="*/ 1382321317 h 237"/>
                  <a:gd name="T48" fmla="*/ 2147483647 w 226"/>
                  <a:gd name="T49" fmla="*/ 395094287 h 237"/>
                  <a:gd name="T50" fmla="*/ 2147483647 w 226"/>
                  <a:gd name="T51" fmla="*/ 1184943348 h 237"/>
                  <a:gd name="T52" fmla="*/ 2147483647 w 226"/>
                  <a:gd name="T53" fmla="*/ 2147483647 h 237"/>
                  <a:gd name="T54" fmla="*/ 1716228771 w 226"/>
                  <a:gd name="T55" fmla="*/ 2147483647 h 237"/>
                  <a:gd name="T56" fmla="*/ 514837455 w 226"/>
                  <a:gd name="T57" fmla="*/ 2147483647 h 237"/>
                  <a:gd name="T58" fmla="*/ 0 w 226"/>
                  <a:gd name="T59" fmla="*/ 2147483647 h 237"/>
                  <a:gd name="T60" fmla="*/ 514837455 w 226"/>
                  <a:gd name="T61" fmla="*/ 2147483647 h 237"/>
                  <a:gd name="T62" fmla="*/ 1716228771 w 226"/>
                  <a:gd name="T63" fmla="*/ 2147483647 h 237"/>
                  <a:gd name="T64" fmla="*/ 2147483647 w 226"/>
                  <a:gd name="T65" fmla="*/ 2147483647 h 237"/>
                  <a:gd name="T66" fmla="*/ 2147483647 w 226"/>
                  <a:gd name="T67" fmla="*/ 2147483647 h 237"/>
                  <a:gd name="T68" fmla="*/ 2147483647 w 226"/>
                  <a:gd name="T69" fmla="*/ 2147483647 h 237"/>
                  <a:gd name="T70" fmla="*/ 2147483647 w 226"/>
                  <a:gd name="T71" fmla="*/ 2147483647 h 23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26" h="237">
                    <a:moveTo>
                      <a:pt x="61" y="234"/>
                    </a:moveTo>
                    <a:lnTo>
                      <a:pt x="63" y="236"/>
                    </a:lnTo>
                    <a:lnTo>
                      <a:pt x="65" y="237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5" y="235"/>
                    </a:lnTo>
                    <a:lnTo>
                      <a:pt x="80" y="234"/>
                    </a:lnTo>
                    <a:lnTo>
                      <a:pt x="83" y="234"/>
                    </a:lnTo>
                    <a:lnTo>
                      <a:pt x="86" y="232"/>
                    </a:lnTo>
                    <a:lnTo>
                      <a:pt x="89" y="230"/>
                    </a:lnTo>
                    <a:lnTo>
                      <a:pt x="92" y="227"/>
                    </a:lnTo>
                    <a:lnTo>
                      <a:pt x="96" y="223"/>
                    </a:lnTo>
                    <a:lnTo>
                      <a:pt x="98" y="219"/>
                    </a:lnTo>
                    <a:lnTo>
                      <a:pt x="99" y="214"/>
                    </a:lnTo>
                    <a:lnTo>
                      <a:pt x="100" y="209"/>
                    </a:lnTo>
                    <a:lnTo>
                      <a:pt x="123" y="209"/>
                    </a:lnTo>
                    <a:lnTo>
                      <a:pt x="145" y="208"/>
                    </a:lnTo>
                    <a:lnTo>
                      <a:pt x="166" y="205"/>
                    </a:lnTo>
                    <a:lnTo>
                      <a:pt x="186" y="201"/>
                    </a:lnTo>
                    <a:lnTo>
                      <a:pt x="195" y="198"/>
                    </a:lnTo>
                    <a:lnTo>
                      <a:pt x="202" y="195"/>
                    </a:lnTo>
                    <a:lnTo>
                      <a:pt x="209" y="191"/>
                    </a:lnTo>
                    <a:lnTo>
                      <a:pt x="215" y="186"/>
                    </a:lnTo>
                    <a:lnTo>
                      <a:pt x="220" y="181"/>
                    </a:lnTo>
                    <a:lnTo>
                      <a:pt x="223" y="175"/>
                    </a:lnTo>
                    <a:lnTo>
                      <a:pt x="225" y="168"/>
                    </a:lnTo>
                    <a:lnTo>
                      <a:pt x="226" y="161"/>
                    </a:lnTo>
                    <a:lnTo>
                      <a:pt x="226" y="153"/>
                    </a:lnTo>
                    <a:lnTo>
                      <a:pt x="225" y="147"/>
                    </a:lnTo>
                    <a:lnTo>
                      <a:pt x="223" y="140"/>
                    </a:lnTo>
                    <a:lnTo>
                      <a:pt x="221" y="134"/>
                    </a:lnTo>
                    <a:lnTo>
                      <a:pt x="215" y="123"/>
                    </a:lnTo>
                    <a:lnTo>
                      <a:pt x="210" y="112"/>
                    </a:lnTo>
                    <a:lnTo>
                      <a:pt x="203" y="100"/>
                    </a:lnTo>
                    <a:lnTo>
                      <a:pt x="198" y="90"/>
                    </a:lnTo>
                    <a:lnTo>
                      <a:pt x="196" y="84"/>
                    </a:lnTo>
                    <a:lnTo>
                      <a:pt x="195" y="79"/>
                    </a:lnTo>
                    <a:lnTo>
                      <a:pt x="193" y="74"/>
                    </a:lnTo>
                    <a:lnTo>
                      <a:pt x="193" y="68"/>
                    </a:lnTo>
                    <a:lnTo>
                      <a:pt x="195" y="59"/>
                    </a:lnTo>
                    <a:lnTo>
                      <a:pt x="197" y="51"/>
                    </a:lnTo>
                    <a:lnTo>
                      <a:pt x="200" y="43"/>
                    </a:lnTo>
                    <a:lnTo>
                      <a:pt x="204" y="36"/>
                    </a:lnTo>
                    <a:lnTo>
                      <a:pt x="213" y="25"/>
                    </a:lnTo>
                    <a:lnTo>
                      <a:pt x="220" y="19"/>
                    </a:lnTo>
                    <a:lnTo>
                      <a:pt x="213" y="14"/>
                    </a:lnTo>
                    <a:lnTo>
                      <a:pt x="203" y="11"/>
                    </a:lnTo>
                    <a:lnTo>
                      <a:pt x="191" y="7"/>
                    </a:lnTo>
                    <a:lnTo>
                      <a:pt x="179" y="5"/>
                    </a:lnTo>
                    <a:lnTo>
                      <a:pt x="154" y="2"/>
                    </a:lnTo>
                    <a:lnTo>
                      <a:pt x="133" y="0"/>
                    </a:lnTo>
                    <a:lnTo>
                      <a:pt x="20" y="6"/>
                    </a:lnTo>
                    <a:lnTo>
                      <a:pt x="20" y="19"/>
                    </a:lnTo>
                    <a:lnTo>
                      <a:pt x="18" y="31"/>
                    </a:lnTo>
                    <a:lnTo>
                      <a:pt x="14" y="42"/>
                    </a:lnTo>
                    <a:lnTo>
                      <a:pt x="10" y="54"/>
                    </a:lnTo>
                    <a:lnTo>
                      <a:pt x="7" y="66"/>
                    </a:lnTo>
                    <a:lnTo>
                      <a:pt x="3" y="79"/>
                    </a:lnTo>
                    <a:lnTo>
                      <a:pt x="1" y="93"/>
                    </a:lnTo>
                    <a:lnTo>
                      <a:pt x="0" y="111"/>
                    </a:lnTo>
                    <a:lnTo>
                      <a:pt x="1" y="121"/>
                    </a:lnTo>
                    <a:lnTo>
                      <a:pt x="3" y="130"/>
                    </a:lnTo>
                    <a:lnTo>
                      <a:pt x="6" y="138"/>
                    </a:lnTo>
                    <a:lnTo>
                      <a:pt x="10" y="146"/>
                    </a:lnTo>
                    <a:lnTo>
                      <a:pt x="19" y="159"/>
                    </a:lnTo>
                    <a:lnTo>
                      <a:pt x="30" y="173"/>
                    </a:lnTo>
                    <a:lnTo>
                      <a:pt x="41" y="185"/>
                    </a:lnTo>
                    <a:lnTo>
                      <a:pt x="51" y="199"/>
                    </a:lnTo>
                    <a:lnTo>
                      <a:pt x="55" y="207"/>
                    </a:lnTo>
                    <a:lnTo>
                      <a:pt x="57" y="216"/>
                    </a:lnTo>
                    <a:lnTo>
                      <a:pt x="59" y="225"/>
                    </a:lnTo>
                    <a:lnTo>
                      <a:pt x="61" y="23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</p:grpSp>
        <p:grpSp>
          <p:nvGrpSpPr>
            <p:cNvPr id="4" name="Group 16"/>
            <p:cNvGrpSpPr>
              <a:grpSpLocks/>
            </p:cNvGrpSpPr>
            <p:nvPr/>
          </p:nvGrpSpPr>
          <p:grpSpPr bwMode="auto">
            <a:xfrm>
              <a:off x="9036496" y="1268760"/>
              <a:ext cx="5688632" cy="4395218"/>
              <a:chOff x="9341118" y="1693435"/>
              <a:chExt cx="4837112" cy="3929062"/>
            </a:xfrm>
          </p:grpSpPr>
          <p:sp>
            <p:nvSpPr>
              <p:cNvPr id="5" name="Freeform 10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10288855" y="2933272"/>
                <a:ext cx="69850" cy="49213"/>
              </a:xfrm>
              <a:custGeom>
                <a:avLst/>
                <a:gdLst>
                  <a:gd name="T0" fmla="*/ 2147483647 w 161"/>
                  <a:gd name="T1" fmla="*/ 0 h 93"/>
                  <a:gd name="T2" fmla="*/ 2147483647 w 161"/>
                  <a:gd name="T3" fmla="*/ 2147483647 h 93"/>
                  <a:gd name="T4" fmla="*/ 2147483647 w 161"/>
                  <a:gd name="T5" fmla="*/ 1778146124 h 93"/>
                  <a:gd name="T6" fmla="*/ 2147483647 w 161"/>
                  <a:gd name="T7" fmla="*/ 1185337439 h 93"/>
                  <a:gd name="T8" fmla="*/ 2147483647 w 161"/>
                  <a:gd name="T9" fmla="*/ 740940874 h 93"/>
                  <a:gd name="T10" fmla="*/ 2147483647 w 161"/>
                  <a:gd name="T11" fmla="*/ 444676497 h 93"/>
                  <a:gd name="T12" fmla="*/ 2147483647 w 161"/>
                  <a:gd name="T13" fmla="*/ 148132188 h 93"/>
                  <a:gd name="T14" fmla="*/ 2147483647 w 161"/>
                  <a:gd name="T15" fmla="*/ 0 h 93"/>
                  <a:gd name="T16" fmla="*/ 2147483647 w 161"/>
                  <a:gd name="T17" fmla="*/ 0 h 93"/>
                  <a:gd name="T18" fmla="*/ 2147483647 w 161"/>
                  <a:gd name="T19" fmla="*/ 0 h 93"/>
                  <a:gd name="T20" fmla="*/ 2147483647 w 161"/>
                  <a:gd name="T21" fmla="*/ 2147483647 h 93"/>
                  <a:gd name="T22" fmla="*/ 2147483647 w 161"/>
                  <a:gd name="T23" fmla="*/ 2147483647 h 93"/>
                  <a:gd name="T24" fmla="*/ 2147483647 w 161"/>
                  <a:gd name="T25" fmla="*/ 2147483647 h 93"/>
                  <a:gd name="T26" fmla="*/ 2147483647 w 161"/>
                  <a:gd name="T27" fmla="*/ 2147483647 h 93"/>
                  <a:gd name="T28" fmla="*/ 2147483647 w 161"/>
                  <a:gd name="T29" fmla="*/ 2147483647 h 93"/>
                  <a:gd name="T30" fmla="*/ 2147483647 w 161"/>
                  <a:gd name="T31" fmla="*/ 2147483647 h 93"/>
                  <a:gd name="T32" fmla="*/ 2147483647 w 161"/>
                  <a:gd name="T33" fmla="*/ 2147483647 h 93"/>
                  <a:gd name="T34" fmla="*/ 2147483647 w 161"/>
                  <a:gd name="T35" fmla="*/ 2147483647 h 93"/>
                  <a:gd name="T36" fmla="*/ 2147483647 w 161"/>
                  <a:gd name="T37" fmla="*/ 2147483647 h 93"/>
                  <a:gd name="T38" fmla="*/ 2147483647 w 161"/>
                  <a:gd name="T39" fmla="*/ 2147483647 h 93"/>
                  <a:gd name="T40" fmla="*/ 2147483647 w 161"/>
                  <a:gd name="T41" fmla="*/ 2147483647 h 93"/>
                  <a:gd name="T42" fmla="*/ 2147483647 w 161"/>
                  <a:gd name="T43" fmla="*/ 2147483647 h 93"/>
                  <a:gd name="T44" fmla="*/ 2147483647 w 161"/>
                  <a:gd name="T45" fmla="*/ 2147483647 h 93"/>
                  <a:gd name="T46" fmla="*/ 2147483647 w 161"/>
                  <a:gd name="T47" fmla="*/ 2147483647 h 93"/>
                  <a:gd name="T48" fmla="*/ 2147483647 w 161"/>
                  <a:gd name="T49" fmla="*/ 2147483647 h 93"/>
                  <a:gd name="T50" fmla="*/ 2147483647 w 161"/>
                  <a:gd name="T51" fmla="*/ 2147483647 h 93"/>
                  <a:gd name="T52" fmla="*/ 2147483647 w 161"/>
                  <a:gd name="T53" fmla="*/ 2147483647 h 93"/>
                  <a:gd name="T54" fmla="*/ 2147483647 w 161"/>
                  <a:gd name="T55" fmla="*/ 2147483647 h 93"/>
                  <a:gd name="T56" fmla="*/ 2147483647 w 161"/>
                  <a:gd name="T57" fmla="*/ 2147483647 h 93"/>
                  <a:gd name="T58" fmla="*/ 2147483647 w 161"/>
                  <a:gd name="T59" fmla="*/ 2147483647 h 93"/>
                  <a:gd name="T60" fmla="*/ 2147483647 w 161"/>
                  <a:gd name="T61" fmla="*/ 2147483647 h 93"/>
                  <a:gd name="T62" fmla="*/ 1714932904 w 161"/>
                  <a:gd name="T63" fmla="*/ 2147483647 h 93"/>
                  <a:gd name="T64" fmla="*/ 979907862 w 161"/>
                  <a:gd name="T65" fmla="*/ 2147483647 h 93"/>
                  <a:gd name="T66" fmla="*/ 653334816 w 161"/>
                  <a:gd name="T67" fmla="*/ 2074410501 h 93"/>
                  <a:gd name="T68" fmla="*/ 408263705 w 161"/>
                  <a:gd name="T69" fmla="*/ 1333749559 h 93"/>
                  <a:gd name="T70" fmla="*/ 245071111 w 161"/>
                  <a:gd name="T71" fmla="*/ 740940874 h 93"/>
                  <a:gd name="T72" fmla="*/ 0 w 161"/>
                  <a:gd name="T73" fmla="*/ 0 h 93"/>
                  <a:gd name="T74" fmla="*/ 2147483647 w 161"/>
                  <a:gd name="T75" fmla="*/ 0 h 9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61" h="93">
                    <a:moveTo>
                      <a:pt x="94" y="0"/>
                    </a:moveTo>
                    <a:lnTo>
                      <a:pt x="107" y="18"/>
                    </a:lnTo>
                    <a:lnTo>
                      <a:pt x="112" y="12"/>
                    </a:lnTo>
                    <a:lnTo>
                      <a:pt x="117" y="8"/>
                    </a:lnTo>
                    <a:lnTo>
                      <a:pt x="122" y="5"/>
                    </a:lnTo>
                    <a:lnTo>
                      <a:pt x="127" y="3"/>
                    </a:lnTo>
                    <a:lnTo>
                      <a:pt x="137" y="1"/>
                    </a:lnTo>
                    <a:lnTo>
                      <a:pt x="148" y="0"/>
                    </a:lnTo>
                    <a:lnTo>
                      <a:pt x="151" y="0"/>
                    </a:lnTo>
                    <a:lnTo>
                      <a:pt x="161" y="0"/>
                    </a:lnTo>
                    <a:lnTo>
                      <a:pt x="161" y="92"/>
                    </a:lnTo>
                    <a:lnTo>
                      <a:pt x="155" y="93"/>
                    </a:lnTo>
                    <a:lnTo>
                      <a:pt x="150" y="93"/>
                    </a:lnTo>
                    <a:lnTo>
                      <a:pt x="145" y="92"/>
                    </a:lnTo>
                    <a:lnTo>
                      <a:pt x="140" y="91"/>
                    </a:lnTo>
                    <a:lnTo>
                      <a:pt x="129" y="88"/>
                    </a:lnTo>
                    <a:lnTo>
                      <a:pt x="120" y="82"/>
                    </a:lnTo>
                    <a:lnTo>
                      <a:pt x="111" y="75"/>
                    </a:lnTo>
                    <a:lnTo>
                      <a:pt x="104" y="67"/>
                    </a:lnTo>
                    <a:lnTo>
                      <a:pt x="97" y="59"/>
                    </a:lnTo>
                    <a:lnTo>
                      <a:pt x="94" y="49"/>
                    </a:lnTo>
                    <a:lnTo>
                      <a:pt x="92" y="50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1"/>
                    </a:lnTo>
                    <a:lnTo>
                      <a:pt x="78" y="50"/>
                    </a:lnTo>
                    <a:lnTo>
                      <a:pt x="74" y="49"/>
                    </a:lnTo>
                    <a:lnTo>
                      <a:pt x="65" y="48"/>
                    </a:lnTo>
                    <a:lnTo>
                      <a:pt x="55" y="45"/>
                    </a:lnTo>
                    <a:lnTo>
                      <a:pt x="44" y="40"/>
                    </a:lnTo>
                    <a:lnTo>
                      <a:pt x="32" y="34"/>
                    </a:lnTo>
                    <a:lnTo>
                      <a:pt x="21" y="26"/>
                    </a:lnTo>
                    <a:lnTo>
                      <a:pt x="12" y="18"/>
                    </a:lnTo>
                    <a:lnTo>
                      <a:pt x="8" y="14"/>
                    </a:lnTo>
                    <a:lnTo>
                      <a:pt x="5" y="9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9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" name="Freeform 11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9787205" y="2807860"/>
                <a:ext cx="82550" cy="160337"/>
              </a:xfrm>
              <a:custGeom>
                <a:avLst/>
                <a:gdLst>
                  <a:gd name="T0" fmla="*/ 2147483647 w 192"/>
                  <a:gd name="T1" fmla="*/ 427425017 h 307"/>
                  <a:gd name="T2" fmla="*/ 2147483647 w 192"/>
                  <a:gd name="T3" fmla="*/ 0 h 307"/>
                  <a:gd name="T4" fmla="*/ 2147483647 w 192"/>
                  <a:gd name="T5" fmla="*/ 427425017 h 307"/>
                  <a:gd name="T6" fmla="*/ 2147483647 w 192"/>
                  <a:gd name="T7" fmla="*/ 1994467457 h 307"/>
                  <a:gd name="T8" fmla="*/ 2147483647 w 192"/>
                  <a:gd name="T9" fmla="*/ 2147483647 h 307"/>
                  <a:gd name="T10" fmla="*/ 2147483647 w 192"/>
                  <a:gd name="T11" fmla="*/ 2147483647 h 307"/>
                  <a:gd name="T12" fmla="*/ 2147483647 w 192"/>
                  <a:gd name="T13" fmla="*/ 2147483647 h 307"/>
                  <a:gd name="T14" fmla="*/ 2147483647 w 192"/>
                  <a:gd name="T15" fmla="*/ 2147483647 h 307"/>
                  <a:gd name="T16" fmla="*/ 2147483647 w 192"/>
                  <a:gd name="T17" fmla="*/ 2147483647 h 307"/>
                  <a:gd name="T18" fmla="*/ 2147483647 w 192"/>
                  <a:gd name="T19" fmla="*/ 2147483647 h 307"/>
                  <a:gd name="T20" fmla="*/ 2147483647 w 192"/>
                  <a:gd name="T21" fmla="*/ 2147483647 h 307"/>
                  <a:gd name="T22" fmla="*/ 2147483647 w 192"/>
                  <a:gd name="T23" fmla="*/ 2147483647 h 307"/>
                  <a:gd name="T24" fmla="*/ 2147483647 w 192"/>
                  <a:gd name="T25" fmla="*/ 2147483647 h 307"/>
                  <a:gd name="T26" fmla="*/ 2147483647 w 192"/>
                  <a:gd name="T27" fmla="*/ 2147483647 h 307"/>
                  <a:gd name="T28" fmla="*/ 2147483647 w 192"/>
                  <a:gd name="T29" fmla="*/ 2147483647 h 307"/>
                  <a:gd name="T30" fmla="*/ 2147483647 w 192"/>
                  <a:gd name="T31" fmla="*/ 2147483647 h 307"/>
                  <a:gd name="T32" fmla="*/ 2147483647 w 192"/>
                  <a:gd name="T33" fmla="*/ 2147483647 h 307"/>
                  <a:gd name="T34" fmla="*/ 2147483647 w 192"/>
                  <a:gd name="T35" fmla="*/ 2147483647 h 307"/>
                  <a:gd name="T36" fmla="*/ 2147483647 w 192"/>
                  <a:gd name="T37" fmla="*/ 2147483647 h 307"/>
                  <a:gd name="T38" fmla="*/ 2147483647 w 192"/>
                  <a:gd name="T39" fmla="*/ 2147483647 h 307"/>
                  <a:gd name="T40" fmla="*/ 1748545293 w 192"/>
                  <a:gd name="T41" fmla="*/ 2147483647 h 307"/>
                  <a:gd name="T42" fmla="*/ 794692512 w 192"/>
                  <a:gd name="T43" fmla="*/ 2147483647 h 307"/>
                  <a:gd name="T44" fmla="*/ 158975392 w 192"/>
                  <a:gd name="T45" fmla="*/ 2147483647 h 307"/>
                  <a:gd name="T46" fmla="*/ 0 w 192"/>
                  <a:gd name="T47" fmla="*/ 2147483647 h 307"/>
                  <a:gd name="T48" fmla="*/ 0 w 192"/>
                  <a:gd name="T49" fmla="*/ 2147483647 h 307"/>
                  <a:gd name="T50" fmla="*/ 158975392 w 192"/>
                  <a:gd name="T51" fmla="*/ 2147483647 h 307"/>
                  <a:gd name="T52" fmla="*/ 874180423 w 192"/>
                  <a:gd name="T53" fmla="*/ 2147483647 h 307"/>
                  <a:gd name="T54" fmla="*/ 2147483647 w 192"/>
                  <a:gd name="T55" fmla="*/ 2147483647 h 307"/>
                  <a:gd name="T56" fmla="*/ 2147483647 w 192"/>
                  <a:gd name="T57" fmla="*/ 2147483647 h 307"/>
                  <a:gd name="T58" fmla="*/ 2147483647 w 192"/>
                  <a:gd name="T59" fmla="*/ 2147483647 h 307"/>
                  <a:gd name="T60" fmla="*/ 2147483647 w 192"/>
                  <a:gd name="T61" fmla="*/ 2147483647 h 307"/>
                  <a:gd name="T62" fmla="*/ 2147483647 w 192"/>
                  <a:gd name="T63" fmla="*/ 2147483647 h 307"/>
                  <a:gd name="T64" fmla="*/ 2147483647 w 192"/>
                  <a:gd name="T65" fmla="*/ 2147483647 h 307"/>
                  <a:gd name="T66" fmla="*/ 2147483647 w 192"/>
                  <a:gd name="T67" fmla="*/ 2147483647 h 307"/>
                  <a:gd name="T68" fmla="*/ 2147483647 w 192"/>
                  <a:gd name="T69" fmla="*/ 997233468 h 30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" name="Freeform 12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9868168" y="2293510"/>
                <a:ext cx="171450" cy="269875"/>
              </a:xfrm>
              <a:custGeom>
                <a:avLst/>
                <a:gdLst>
                  <a:gd name="T0" fmla="*/ 2078389271 w 398"/>
                  <a:gd name="T1" fmla="*/ 282835252 h 518"/>
                  <a:gd name="T2" fmla="*/ 2147483647 w 398"/>
                  <a:gd name="T3" fmla="*/ 1838429138 h 518"/>
                  <a:gd name="T4" fmla="*/ 2147483647 w 398"/>
                  <a:gd name="T5" fmla="*/ 2147483647 h 518"/>
                  <a:gd name="T6" fmla="*/ 2147483647 w 398"/>
                  <a:gd name="T7" fmla="*/ 2147483647 h 518"/>
                  <a:gd name="T8" fmla="*/ 2147483647 w 398"/>
                  <a:gd name="T9" fmla="*/ 2147483647 h 518"/>
                  <a:gd name="T10" fmla="*/ 2147483647 w 398"/>
                  <a:gd name="T11" fmla="*/ 2147483647 h 518"/>
                  <a:gd name="T12" fmla="*/ 2147483647 w 398"/>
                  <a:gd name="T13" fmla="*/ 2147483647 h 518"/>
                  <a:gd name="T14" fmla="*/ 2147483647 w 398"/>
                  <a:gd name="T15" fmla="*/ 2147483647 h 518"/>
                  <a:gd name="T16" fmla="*/ 2147483647 w 398"/>
                  <a:gd name="T17" fmla="*/ 2147483647 h 518"/>
                  <a:gd name="T18" fmla="*/ 2147483647 w 398"/>
                  <a:gd name="T19" fmla="*/ 2147483647 h 518"/>
                  <a:gd name="T20" fmla="*/ 2147483647 w 398"/>
                  <a:gd name="T21" fmla="*/ 2147483647 h 518"/>
                  <a:gd name="T22" fmla="*/ 2147483647 w 398"/>
                  <a:gd name="T23" fmla="*/ 2147483647 h 518"/>
                  <a:gd name="T24" fmla="*/ 2147483647 w 398"/>
                  <a:gd name="T25" fmla="*/ 2147483647 h 518"/>
                  <a:gd name="T26" fmla="*/ 2147483647 w 398"/>
                  <a:gd name="T27" fmla="*/ 2147483647 h 518"/>
                  <a:gd name="T28" fmla="*/ 2147483647 w 398"/>
                  <a:gd name="T29" fmla="*/ 2147483647 h 518"/>
                  <a:gd name="T30" fmla="*/ 2147483647 w 398"/>
                  <a:gd name="T31" fmla="*/ 2147483647 h 518"/>
                  <a:gd name="T32" fmla="*/ 2147483647 w 398"/>
                  <a:gd name="T33" fmla="*/ 2147483647 h 518"/>
                  <a:gd name="T34" fmla="*/ 2147483647 w 398"/>
                  <a:gd name="T35" fmla="*/ 2147483647 h 518"/>
                  <a:gd name="T36" fmla="*/ 2147483647 w 398"/>
                  <a:gd name="T37" fmla="*/ 2147483647 h 518"/>
                  <a:gd name="T38" fmla="*/ 2147483647 w 398"/>
                  <a:gd name="T39" fmla="*/ 2147483647 h 518"/>
                  <a:gd name="T40" fmla="*/ 2147483647 w 398"/>
                  <a:gd name="T41" fmla="*/ 2147483647 h 518"/>
                  <a:gd name="T42" fmla="*/ 2147483647 w 398"/>
                  <a:gd name="T43" fmla="*/ 2147483647 h 518"/>
                  <a:gd name="T44" fmla="*/ 2147483647 w 398"/>
                  <a:gd name="T45" fmla="*/ 2147483647 h 518"/>
                  <a:gd name="T46" fmla="*/ 2147483647 w 398"/>
                  <a:gd name="T47" fmla="*/ 2147483647 h 518"/>
                  <a:gd name="T48" fmla="*/ 2147483647 w 398"/>
                  <a:gd name="T49" fmla="*/ 2147483647 h 518"/>
                  <a:gd name="T50" fmla="*/ 2147483647 w 398"/>
                  <a:gd name="T51" fmla="*/ 2147483647 h 518"/>
                  <a:gd name="T52" fmla="*/ 2147483647 w 398"/>
                  <a:gd name="T53" fmla="*/ 2147483647 h 518"/>
                  <a:gd name="T54" fmla="*/ 2147483647 w 398"/>
                  <a:gd name="T55" fmla="*/ 2147483647 h 518"/>
                  <a:gd name="T56" fmla="*/ 2147483647 w 398"/>
                  <a:gd name="T57" fmla="*/ 2147483647 h 518"/>
                  <a:gd name="T58" fmla="*/ 2147483647 w 398"/>
                  <a:gd name="T59" fmla="*/ 2147483647 h 518"/>
                  <a:gd name="T60" fmla="*/ 2147483647 w 398"/>
                  <a:gd name="T61" fmla="*/ 2147483647 h 518"/>
                  <a:gd name="T62" fmla="*/ 2147483647 w 398"/>
                  <a:gd name="T63" fmla="*/ 2147483647 h 518"/>
                  <a:gd name="T64" fmla="*/ 2147483647 w 398"/>
                  <a:gd name="T65" fmla="*/ 2147483647 h 518"/>
                  <a:gd name="T66" fmla="*/ 2147483647 w 398"/>
                  <a:gd name="T67" fmla="*/ 2147483647 h 518"/>
                  <a:gd name="T68" fmla="*/ 2147483647 w 398"/>
                  <a:gd name="T69" fmla="*/ 2147483647 h 518"/>
                  <a:gd name="T70" fmla="*/ 2147483647 w 398"/>
                  <a:gd name="T71" fmla="*/ 2147483647 h 518"/>
                  <a:gd name="T72" fmla="*/ 2147483647 w 398"/>
                  <a:gd name="T73" fmla="*/ 2147483647 h 518"/>
                  <a:gd name="T74" fmla="*/ 2147483647 w 398"/>
                  <a:gd name="T75" fmla="*/ 2147483647 h 518"/>
                  <a:gd name="T76" fmla="*/ 2147483647 w 398"/>
                  <a:gd name="T77" fmla="*/ 2147483647 h 518"/>
                  <a:gd name="T78" fmla="*/ 2147483647 w 398"/>
                  <a:gd name="T79" fmla="*/ 2147483647 h 518"/>
                  <a:gd name="T80" fmla="*/ 2147483647 w 398"/>
                  <a:gd name="T81" fmla="*/ 2147483647 h 518"/>
                  <a:gd name="T82" fmla="*/ 2147483647 w 398"/>
                  <a:gd name="T83" fmla="*/ 2147483647 h 518"/>
                  <a:gd name="T84" fmla="*/ 2147483647 w 398"/>
                  <a:gd name="T85" fmla="*/ 2147483647 h 518"/>
                  <a:gd name="T86" fmla="*/ 2147483647 w 398"/>
                  <a:gd name="T87" fmla="*/ 2147483647 h 518"/>
                  <a:gd name="T88" fmla="*/ 2147483647 w 398"/>
                  <a:gd name="T89" fmla="*/ 2147483647 h 518"/>
                  <a:gd name="T90" fmla="*/ 2147483647 w 398"/>
                  <a:gd name="T91" fmla="*/ 2147483647 h 518"/>
                  <a:gd name="T92" fmla="*/ 2147483647 w 398"/>
                  <a:gd name="T93" fmla="*/ 2147483647 h 518"/>
                  <a:gd name="T94" fmla="*/ 2147483647 w 398"/>
                  <a:gd name="T95" fmla="*/ 2147483647 h 518"/>
                  <a:gd name="T96" fmla="*/ 2147483647 w 398"/>
                  <a:gd name="T97" fmla="*/ 2147483647 h 518"/>
                  <a:gd name="T98" fmla="*/ 2147483647 w 398"/>
                  <a:gd name="T99" fmla="*/ 2147483647 h 518"/>
                  <a:gd name="T100" fmla="*/ 2147483647 w 398"/>
                  <a:gd name="T101" fmla="*/ 2147483647 h 518"/>
                  <a:gd name="T102" fmla="*/ 2147483647 w 398"/>
                  <a:gd name="T103" fmla="*/ 2147483647 h 518"/>
                  <a:gd name="T104" fmla="*/ 1758651390 w 398"/>
                  <a:gd name="T105" fmla="*/ 2147483647 h 518"/>
                  <a:gd name="T106" fmla="*/ 1598875068 w 398"/>
                  <a:gd name="T107" fmla="*/ 2147483647 h 518"/>
                  <a:gd name="T108" fmla="*/ 1119175630 w 398"/>
                  <a:gd name="T109" fmla="*/ 2147483647 h 518"/>
                  <a:gd name="T110" fmla="*/ 1598875068 w 398"/>
                  <a:gd name="T111" fmla="*/ 2147483647 h 518"/>
                  <a:gd name="T112" fmla="*/ 1518894073 w 398"/>
                  <a:gd name="T113" fmla="*/ 2147483647 h 518"/>
                  <a:gd name="T114" fmla="*/ 319737880 w 398"/>
                  <a:gd name="T115" fmla="*/ 2147483647 h 518"/>
                  <a:gd name="T116" fmla="*/ 1598875068 w 398"/>
                  <a:gd name="T117" fmla="*/ 2147483647 h 518"/>
                  <a:gd name="T118" fmla="*/ 239756886 w 398"/>
                  <a:gd name="T119" fmla="*/ 1272758634 h 5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" name="Freeform 13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0226943" y="2596722"/>
                <a:ext cx="169862" cy="76200"/>
              </a:xfrm>
              <a:custGeom>
                <a:avLst/>
                <a:gdLst>
                  <a:gd name="T0" fmla="*/ 2147483647 w 382"/>
                  <a:gd name="T1" fmla="*/ 2147483647 h 148"/>
                  <a:gd name="T2" fmla="*/ 2147483647 w 382"/>
                  <a:gd name="T3" fmla="*/ 2147483647 h 148"/>
                  <a:gd name="T4" fmla="*/ 2147483647 w 382"/>
                  <a:gd name="T5" fmla="*/ 2147483647 h 148"/>
                  <a:gd name="T6" fmla="*/ 2147483647 w 382"/>
                  <a:gd name="T7" fmla="*/ 2147483647 h 148"/>
                  <a:gd name="T8" fmla="*/ 2147483647 w 382"/>
                  <a:gd name="T9" fmla="*/ 2147483647 h 148"/>
                  <a:gd name="T10" fmla="*/ 2147483647 w 382"/>
                  <a:gd name="T11" fmla="*/ 2147483647 h 148"/>
                  <a:gd name="T12" fmla="*/ 2147483647 w 382"/>
                  <a:gd name="T13" fmla="*/ 2147483647 h 148"/>
                  <a:gd name="T14" fmla="*/ 2147483647 w 382"/>
                  <a:gd name="T15" fmla="*/ 2147483647 h 148"/>
                  <a:gd name="T16" fmla="*/ 2147483647 w 382"/>
                  <a:gd name="T17" fmla="*/ 2147483647 h 148"/>
                  <a:gd name="T18" fmla="*/ 2147483647 w 382"/>
                  <a:gd name="T19" fmla="*/ 2147483647 h 148"/>
                  <a:gd name="T20" fmla="*/ 351756188 w 382"/>
                  <a:gd name="T21" fmla="*/ 2147483647 h 148"/>
                  <a:gd name="T22" fmla="*/ 0 w 382"/>
                  <a:gd name="T23" fmla="*/ 2147483647 h 148"/>
                  <a:gd name="T24" fmla="*/ 351756188 w 382"/>
                  <a:gd name="T25" fmla="*/ 2147483647 h 148"/>
                  <a:gd name="T26" fmla="*/ 1055070688 w 382"/>
                  <a:gd name="T27" fmla="*/ 2147483647 h 148"/>
                  <a:gd name="T28" fmla="*/ 2147483647 w 382"/>
                  <a:gd name="T29" fmla="*/ 2147483647 h 148"/>
                  <a:gd name="T30" fmla="*/ 2147483647 w 382"/>
                  <a:gd name="T31" fmla="*/ 2147483647 h 148"/>
                  <a:gd name="T32" fmla="*/ 2147483647 w 382"/>
                  <a:gd name="T33" fmla="*/ 2147483647 h 148"/>
                  <a:gd name="T34" fmla="*/ 2147483647 w 382"/>
                  <a:gd name="T35" fmla="*/ 2147483647 h 148"/>
                  <a:gd name="T36" fmla="*/ 2147483647 w 382"/>
                  <a:gd name="T37" fmla="*/ 2147483647 h 148"/>
                  <a:gd name="T38" fmla="*/ 2147483647 w 382"/>
                  <a:gd name="T39" fmla="*/ 2147483647 h 148"/>
                  <a:gd name="T40" fmla="*/ 2147483647 w 382"/>
                  <a:gd name="T41" fmla="*/ 2147483647 h 148"/>
                  <a:gd name="T42" fmla="*/ 2147483647 w 382"/>
                  <a:gd name="T43" fmla="*/ 2147483647 h 148"/>
                  <a:gd name="T44" fmla="*/ 2147483647 w 382"/>
                  <a:gd name="T45" fmla="*/ 2147483647 h 148"/>
                  <a:gd name="T46" fmla="*/ 2147483647 w 382"/>
                  <a:gd name="T47" fmla="*/ 2147483647 h 148"/>
                  <a:gd name="T48" fmla="*/ 2147483647 w 382"/>
                  <a:gd name="T49" fmla="*/ 2147483647 h 148"/>
                  <a:gd name="T50" fmla="*/ 2147483647 w 382"/>
                  <a:gd name="T51" fmla="*/ 2147483647 h 148"/>
                  <a:gd name="T52" fmla="*/ 2147483647 w 382"/>
                  <a:gd name="T53" fmla="*/ 2147483647 h 148"/>
                  <a:gd name="T54" fmla="*/ 2147483647 w 382"/>
                  <a:gd name="T55" fmla="*/ 2147483647 h 148"/>
                  <a:gd name="T56" fmla="*/ 2147483647 w 382"/>
                  <a:gd name="T57" fmla="*/ 2147483647 h 148"/>
                  <a:gd name="T58" fmla="*/ 2147483647 w 382"/>
                  <a:gd name="T59" fmla="*/ 2147483647 h 148"/>
                  <a:gd name="T60" fmla="*/ 2147483647 w 382"/>
                  <a:gd name="T61" fmla="*/ 2147483647 h 148"/>
                  <a:gd name="T62" fmla="*/ 2147483647 w 382"/>
                  <a:gd name="T63" fmla="*/ 2147483647 h 148"/>
                  <a:gd name="T64" fmla="*/ 2147483647 w 382"/>
                  <a:gd name="T65" fmla="*/ 2147483647 h 148"/>
                  <a:gd name="T66" fmla="*/ 2147483647 w 382"/>
                  <a:gd name="T67" fmla="*/ 1091888335 h 148"/>
                  <a:gd name="T68" fmla="*/ 2147483647 w 382"/>
                  <a:gd name="T69" fmla="*/ 2147483647 h 14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" name="Freeform 14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1719193" y="2445910"/>
                <a:ext cx="1281112" cy="1038225"/>
              </a:xfrm>
              <a:custGeom>
                <a:avLst/>
                <a:gdLst>
                  <a:gd name="T0" fmla="*/ 2147483647 w 2936"/>
                  <a:gd name="T1" fmla="*/ 2147483647 h 1983"/>
                  <a:gd name="T2" fmla="*/ 2147483647 w 2936"/>
                  <a:gd name="T3" fmla="*/ 2147483647 h 1983"/>
                  <a:gd name="T4" fmla="*/ 2147483647 w 2936"/>
                  <a:gd name="T5" fmla="*/ 2147483647 h 1983"/>
                  <a:gd name="T6" fmla="*/ 2147483647 w 2936"/>
                  <a:gd name="T7" fmla="*/ 2147483647 h 1983"/>
                  <a:gd name="T8" fmla="*/ 2147483647 w 2936"/>
                  <a:gd name="T9" fmla="*/ 2147483647 h 1983"/>
                  <a:gd name="T10" fmla="*/ 2147483647 w 2936"/>
                  <a:gd name="T11" fmla="*/ 2147483647 h 1983"/>
                  <a:gd name="T12" fmla="*/ 2147483647 w 2936"/>
                  <a:gd name="T13" fmla="*/ 2147483647 h 1983"/>
                  <a:gd name="T14" fmla="*/ 2147483647 w 2936"/>
                  <a:gd name="T15" fmla="*/ 2147483647 h 1983"/>
                  <a:gd name="T16" fmla="*/ 2147483647 w 2936"/>
                  <a:gd name="T17" fmla="*/ 2147483647 h 1983"/>
                  <a:gd name="T18" fmla="*/ 2147483647 w 2936"/>
                  <a:gd name="T19" fmla="*/ 2147483647 h 1983"/>
                  <a:gd name="T20" fmla="*/ 2147483647 w 2936"/>
                  <a:gd name="T21" fmla="*/ 2147483647 h 1983"/>
                  <a:gd name="T22" fmla="*/ 2147483647 w 2936"/>
                  <a:gd name="T23" fmla="*/ 2147483647 h 1983"/>
                  <a:gd name="T24" fmla="*/ 2147483647 w 2936"/>
                  <a:gd name="T25" fmla="*/ 2147483647 h 1983"/>
                  <a:gd name="T26" fmla="*/ 2147483647 w 2936"/>
                  <a:gd name="T27" fmla="*/ 2147483647 h 1983"/>
                  <a:gd name="T28" fmla="*/ 2147483647 w 2936"/>
                  <a:gd name="T29" fmla="*/ 2147483647 h 1983"/>
                  <a:gd name="T30" fmla="*/ 2147483647 w 2936"/>
                  <a:gd name="T31" fmla="*/ 2147483647 h 1983"/>
                  <a:gd name="T32" fmla="*/ 2147483647 w 2936"/>
                  <a:gd name="T33" fmla="*/ 2147483647 h 1983"/>
                  <a:gd name="T34" fmla="*/ 2147483647 w 2936"/>
                  <a:gd name="T35" fmla="*/ 2147483647 h 1983"/>
                  <a:gd name="T36" fmla="*/ 2147483647 w 2936"/>
                  <a:gd name="T37" fmla="*/ 2147483647 h 1983"/>
                  <a:gd name="T38" fmla="*/ 2147483647 w 2936"/>
                  <a:gd name="T39" fmla="*/ 2147483647 h 1983"/>
                  <a:gd name="T40" fmla="*/ 2147483647 w 2936"/>
                  <a:gd name="T41" fmla="*/ 2147483647 h 1983"/>
                  <a:gd name="T42" fmla="*/ 2147483647 w 2936"/>
                  <a:gd name="T43" fmla="*/ 2147483647 h 1983"/>
                  <a:gd name="T44" fmla="*/ 2147483647 w 2936"/>
                  <a:gd name="T45" fmla="*/ 2147483647 h 1983"/>
                  <a:gd name="T46" fmla="*/ 2147483647 w 2936"/>
                  <a:gd name="T47" fmla="*/ 2147483647 h 1983"/>
                  <a:gd name="T48" fmla="*/ 2147483647 w 2936"/>
                  <a:gd name="T49" fmla="*/ 2147483647 h 1983"/>
                  <a:gd name="T50" fmla="*/ 2147483647 w 2936"/>
                  <a:gd name="T51" fmla="*/ 2147483647 h 1983"/>
                  <a:gd name="T52" fmla="*/ 2147483647 w 2936"/>
                  <a:gd name="T53" fmla="*/ 2147483647 h 1983"/>
                  <a:gd name="T54" fmla="*/ 2147483647 w 2936"/>
                  <a:gd name="T55" fmla="*/ 2147483647 h 1983"/>
                  <a:gd name="T56" fmla="*/ 2147483647 w 2936"/>
                  <a:gd name="T57" fmla="*/ 2147483647 h 1983"/>
                  <a:gd name="T58" fmla="*/ 2147483647 w 2936"/>
                  <a:gd name="T59" fmla="*/ 2147483647 h 1983"/>
                  <a:gd name="T60" fmla="*/ 2147483647 w 2936"/>
                  <a:gd name="T61" fmla="*/ 2147483647 h 1983"/>
                  <a:gd name="T62" fmla="*/ 2147483647 w 2936"/>
                  <a:gd name="T63" fmla="*/ 2147483647 h 1983"/>
                  <a:gd name="T64" fmla="*/ 2147483647 w 2936"/>
                  <a:gd name="T65" fmla="*/ 2147483647 h 1983"/>
                  <a:gd name="T66" fmla="*/ 2147483647 w 2936"/>
                  <a:gd name="T67" fmla="*/ 2147483647 h 1983"/>
                  <a:gd name="T68" fmla="*/ 2147483647 w 2936"/>
                  <a:gd name="T69" fmla="*/ 2147483647 h 1983"/>
                  <a:gd name="T70" fmla="*/ 2147483647 w 2936"/>
                  <a:gd name="T71" fmla="*/ 2147483647 h 1983"/>
                  <a:gd name="T72" fmla="*/ 2147483647 w 2936"/>
                  <a:gd name="T73" fmla="*/ 2147483647 h 1983"/>
                  <a:gd name="T74" fmla="*/ 2147483647 w 2936"/>
                  <a:gd name="T75" fmla="*/ 2147483647 h 1983"/>
                  <a:gd name="T76" fmla="*/ 2147483647 w 2936"/>
                  <a:gd name="T77" fmla="*/ 2147483647 h 1983"/>
                  <a:gd name="T78" fmla="*/ 2147483647 w 2936"/>
                  <a:gd name="T79" fmla="*/ 2147483647 h 1983"/>
                  <a:gd name="T80" fmla="*/ 2147483647 w 2936"/>
                  <a:gd name="T81" fmla="*/ 2147483647 h 1983"/>
                  <a:gd name="T82" fmla="*/ 2147483647 w 2936"/>
                  <a:gd name="T83" fmla="*/ 2147483647 h 1983"/>
                  <a:gd name="T84" fmla="*/ 2147483647 w 2936"/>
                  <a:gd name="T85" fmla="*/ 2147483647 h 1983"/>
                  <a:gd name="T86" fmla="*/ 2147483647 w 2936"/>
                  <a:gd name="T87" fmla="*/ 2147483647 h 1983"/>
                  <a:gd name="T88" fmla="*/ 2147483647 w 2936"/>
                  <a:gd name="T89" fmla="*/ 2147483647 h 1983"/>
                  <a:gd name="T90" fmla="*/ 2147483647 w 2936"/>
                  <a:gd name="T91" fmla="*/ 2147483647 h 1983"/>
                  <a:gd name="T92" fmla="*/ 2147483647 w 2936"/>
                  <a:gd name="T93" fmla="*/ 2147483647 h 1983"/>
                  <a:gd name="T94" fmla="*/ 2147483647 w 2936"/>
                  <a:gd name="T95" fmla="*/ 2147483647 h 1983"/>
                  <a:gd name="T96" fmla="*/ 2147483647 w 2936"/>
                  <a:gd name="T97" fmla="*/ 2147483647 h 1983"/>
                  <a:gd name="T98" fmla="*/ 2147483647 w 2936"/>
                  <a:gd name="T99" fmla="*/ 2147483647 h 1983"/>
                  <a:gd name="T100" fmla="*/ 2147483647 w 2936"/>
                  <a:gd name="T101" fmla="*/ 2147483647 h 1983"/>
                  <a:gd name="T102" fmla="*/ 2147483647 w 2936"/>
                  <a:gd name="T103" fmla="*/ 2147483647 h 1983"/>
                  <a:gd name="T104" fmla="*/ 2147483647 w 2936"/>
                  <a:gd name="T105" fmla="*/ 2147483647 h 1983"/>
                  <a:gd name="T106" fmla="*/ 2147483647 w 2936"/>
                  <a:gd name="T107" fmla="*/ 2147483647 h 1983"/>
                  <a:gd name="T108" fmla="*/ 2147483647 w 2936"/>
                  <a:gd name="T109" fmla="*/ 2147483647 h 1983"/>
                  <a:gd name="T110" fmla="*/ 2147483647 w 2936"/>
                  <a:gd name="T111" fmla="*/ 2147483647 h 1983"/>
                  <a:gd name="T112" fmla="*/ 2147483647 w 2936"/>
                  <a:gd name="T113" fmla="*/ 2147483647 h 1983"/>
                  <a:gd name="T114" fmla="*/ 2147483647 w 2936"/>
                  <a:gd name="T115" fmla="*/ 2147483647 h 1983"/>
                  <a:gd name="T116" fmla="*/ 2147483647 w 2936"/>
                  <a:gd name="T117" fmla="*/ 2147483647 h 1983"/>
                  <a:gd name="T118" fmla="*/ 2147483647 w 2936"/>
                  <a:gd name="T119" fmla="*/ 2147483647 h 198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2936" h="1983">
                    <a:moveTo>
                      <a:pt x="98" y="954"/>
                    </a:moveTo>
                    <a:lnTo>
                      <a:pt x="129" y="989"/>
                    </a:lnTo>
                    <a:lnTo>
                      <a:pt x="157" y="1017"/>
                    </a:lnTo>
                    <a:lnTo>
                      <a:pt x="170" y="1029"/>
                    </a:lnTo>
                    <a:lnTo>
                      <a:pt x="182" y="1041"/>
                    </a:lnTo>
                    <a:lnTo>
                      <a:pt x="194" y="1050"/>
                    </a:lnTo>
                    <a:lnTo>
                      <a:pt x="205" y="1059"/>
                    </a:lnTo>
                    <a:lnTo>
                      <a:pt x="216" y="1066"/>
                    </a:lnTo>
                    <a:lnTo>
                      <a:pt x="227" y="1072"/>
                    </a:lnTo>
                    <a:lnTo>
                      <a:pt x="238" y="1076"/>
                    </a:lnTo>
                    <a:lnTo>
                      <a:pt x="248" y="1080"/>
                    </a:lnTo>
                    <a:lnTo>
                      <a:pt x="259" y="1082"/>
                    </a:lnTo>
                    <a:lnTo>
                      <a:pt x="270" y="1084"/>
                    </a:lnTo>
                    <a:lnTo>
                      <a:pt x="281" y="1084"/>
                    </a:lnTo>
                    <a:lnTo>
                      <a:pt x="292" y="1084"/>
                    </a:lnTo>
                    <a:lnTo>
                      <a:pt x="364" y="1065"/>
                    </a:lnTo>
                    <a:lnTo>
                      <a:pt x="373" y="1071"/>
                    </a:lnTo>
                    <a:lnTo>
                      <a:pt x="383" y="1079"/>
                    </a:lnTo>
                    <a:lnTo>
                      <a:pt x="393" y="1090"/>
                    </a:lnTo>
                    <a:lnTo>
                      <a:pt x="401" y="1102"/>
                    </a:lnTo>
                    <a:lnTo>
                      <a:pt x="410" y="1114"/>
                    </a:lnTo>
                    <a:lnTo>
                      <a:pt x="418" y="1127"/>
                    </a:lnTo>
                    <a:lnTo>
                      <a:pt x="420" y="1133"/>
                    </a:lnTo>
                    <a:lnTo>
                      <a:pt x="422" y="1139"/>
                    </a:lnTo>
                    <a:lnTo>
                      <a:pt x="423" y="1145"/>
                    </a:lnTo>
                    <a:lnTo>
                      <a:pt x="425" y="1151"/>
                    </a:lnTo>
                    <a:lnTo>
                      <a:pt x="423" y="1157"/>
                    </a:lnTo>
                    <a:lnTo>
                      <a:pt x="420" y="1162"/>
                    </a:lnTo>
                    <a:lnTo>
                      <a:pt x="416" y="1167"/>
                    </a:lnTo>
                    <a:lnTo>
                      <a:pt x="409" y="1172"/>
                    </a:lnTo>
                    <a:lnTo>
                      <a:pt x="403" y="1176"/>
                    </a:lnTo>
                    <a:lnTo>
                      <a:pt x="396" y="1179"/>
                    </a:lnTo>
                    <a:lnTo>
                      <a:pt x="390" y="1182"/>
                    </a:lnTo>
                    <a:lnTo>
                      <a:pt x="385" y="1182"/>
                    </a:lnTo>
                    <a:lnTo>
                      <a:pt x="399" y="1200"/>
                    </a:lnTo>
                    <a:lnTo>
                      <a:pt x="412" y="1217"/>
                    </a:lnTo>
                    <a:lnTo>
                      <a:pt x="419" y="1226"/>
                    </a:lnTo>
                    <a:lnTo>
                      <a:pt x="423" y="1235"/>
                    </a:lnTo>
                    <a:lnTo>
                      <a:pt x="428" y="1245"/>
                    </a:lnTo>
                    <a:lnTo>
                      <a:pt x="431" y="1256"/>
                    </a:lnTo>
                    <a:lnTo>
                      <a:pt x="385" y="1256"/>
                    </a:lnTo>
                    <a:lnTo>
                      <a:pt x="385" y="1287"/>
                    </a:lnTo>
                    <a:lnTo>
                      <a:pt x="390" y="1300"/>
                    </a:lnTo>
                    <a:lnTo>
                      <a:pt x="397" y="1311"/>
                    </a:lnTo>
                    <a:lnTo>
                      <a:pt x="405" y="1321"/>
                    </a:lnTo>
                    <a:lnTo>
                      <a:pt x="414" y="1328"/>
                    </a:lnTo>
                    <a:lnTo>
                      <a:pt x="423" y="1335"/>
                    </a:lnTo>
                    <a:lnTo>
                      <a:pt x="434" y="1340"/>
                    </a:lnTo>
                    <a:lnTo>
                      <a:pt x="444" y="1345"/>
                    </a:lnTo>
                    <a:lnTo>
                      <a:pt x="456" y="1349"/>
                    </a:lnTo>
                    <a:lnTo>
                      <a:pt x="478" y="1358"/>
                    </a:lnTo>
                    <a:lnTo>
                      <a:pt x="500" y="1367"/>
                    </a:lnTo>
                    <a:lnTo>
                      <a:pt x="510" y="1373"/>
                    </a:lnTo>
                    <a:lnTo>
                      <a:pt x="520" y="1381"/>
                    </a:lnTo>
                    <a:lnTo>
                      <a:pt x="529" y="1389"/>
                    </a:lnTo>
                    <a:lnTo>
                      <a:pt x="538" y="1398"/>
                    </a:lnTo>
                    <a:lnTo>
                      <a:pt x="617" y="1404"/>
                    </a:lnTo>
                    <a:lnTo>
                      <a:pt x="620" y="1408"/>
                    </a:lnTo>
                    <a:lnTo>
                      <a:pt x="623" y="1411"/>
                    </a:lnTo>
                    <a:lnTo>
                      <a:pt x="628" y="1414"/>
                    </a:lnTo>
                    <a:lnTo>
                      <a:pt x="633" y="1417"/>
                    </a:lnTo>
                    <a:lnTo>
                      <a:pt x="644" y="1422"/>
                    </a:lnTo>
                    <a:lnTo>
                      <a:pt x="656" y="1427"/>
                    </a:lnTo>
                    <a:lnTo>
                      <a:pt x="678" y="1436"/>
                    </a:lnTo>
                    <a:lnTo>
                      <a:pt x="690" y="1441"/>
                    </a:lnTo>
                    <a:lnTo>
                      <a:pt x="723" y="1462"/>
                    </a:lnTo>
                    <a:lnTo>
                      <a:pt x="754" y="1481"/>
                    </a:lnTo>
                    <a:lnTo>
                      <a:pt x="768" y="1492"/>
                    </a:lnTo>
                    <a:lnTo>
                      <a:pt x="784" y="1501"/>
                    </a:lnTo>
                    <a:lnTo>
                      <a:pt x="798" y="1509"/>
                    </a:lnTo>
                    <a:lnTo>
                      <a:pt x="814" y="1517"/>
                    </a:lnTo>
                    <a:lnTo>
                      <a:pt x="830" y="1525"/>
                    </a:lnTo>
                    <a:lnTo>
                      <a:pt x="847" y="1531"/>
                    </a:lnTo>
                    <a:lnTo>
                      <a:pt x="866" y="1537"/>
                    </a:lnTo>
                    <a:lnTo>
                      <a:pt x="886" y="1543"/>
                    </a:lnTo>
                    <a:lnTo>
                      <a:pt x="907" y="1547"/>
                    </a:lnTo>
                    <a:lnTo>
                      <a:pt x="930" y="1550"/>
                    </a:lnTo>
                    <a:lnTo>
                      <a:pt x="955" y="1552"/>
                    </a:lnTo>
                    <a:lnTo>
                      <a:pt x="982" y="1552"/>
                    </a:lnTo>
                    <a:lnTo>
                      <a:pt x="982" y="1521"/>
                    </a:lnTo>
                    <a:lnTo>
                      <a:pt x="1015" y="1521"/>
                    </a:lnTo>
                    <a:lnTo>
                      <a:pt x="1021" y="1532"/>
                    </a:lnTo>
                    <a:lnTo>
                      <a:pt x="1025" y="1539"/>
                    </a:lnTo>
                    <a:lnTo>
                      <a:pt x="1031" y="1545"/>
                    </a:lnTo>
                    <a:lnTo>
                      <a:pt x="1036" y="1552"/>
                    </a:lnTo>
                    <a:lnTo>
                      <a:pt x="1042" y="1552"/>
                    </a:lnTo>
                    <a:lnTo>
                      <a:pt x="1046" y="1551"/>
                    </a:lnTo>
                    <a:lnTo>
                      <a:pt x="1050" y="1548"/>
                    </a:lnTo>
                    <a:lnTo>
                      <a:pt x="1054" y="1546"/>
                    </a:lnTo>
                    <a:lnTo>
                      <a:pt x="1058" y="1538"/>
                    </a:lnTo>
                    <a:lnTo>
                      <a:pt x="1062" y="1530"/>
                    </a:lnTo>
                    <a:lnTo>
                      <a:pt x="1066" y="1522"/>
                    </a:lnTo>
                    <a:lnTo>
                      <a:pt x="1071" y="1516"/>
                    </a:lnTo>
                    <a:lnTo>
                      <a:pt x="1075" y="1513"/>
                    </a:lnTo>
                    <a:lnTo>
                      <a:pt x="1078" y="1511"/>
                    </a:lnTo>
                    <a:lnTo>
                      <a:pt x="1083" y="1510"/>
                    </a:lnTo>
                    <a:lnTo>
                      <a:pt x="1089" y="1509"/>
                    </a:lnTo>
                    <a:lnTo>
                      <a:pt x="1092" y="1512"/>
                    </a:lnTo>
                    <a:lnTo>
                      <a:pt x="1096" y="1516"/>
                    </a:lnTo>
                    <a:lnTo>
                      <a:pt x="1102" y="1519"/>
                    </a:lnTo>
                    <a:lnTo>
                      <a:pt x="1109" y="1522"/>
                    </a:lnTo>
                    <a:lnTo>
                      <a:pt x="1124" y="1529"/>
                    </a:lnTo>
                    <a:lnTo>
                      <a:pt x="1142" y="1534"/>
                    </a:lnTo>
                    <a:lnTo>
                      <a:pt x="1159" y="1539"/>
                    </a:lnTo>
                    <a:lnTo>
                      <a:pt x="1178" y="1543"/>
                    </a:lnTo>
                    <a:lnTo>
                      <a:pt x="1194" y="1546"/>
                    </a:lnTo>
                    <a:lnTo>
                      <a:pt x="1208" y="1546"/>
                    </a:lnTo>
                    <a:lnTo>
                      <a:pt x="1217" y="1535"/>
                    </a:lnTo>
                    <a:lnTo>
                      <a:pt x="1227" y="1526"/>
                    </a:lnTo>
                    <a:lnTo>
                      <a:pt x="1236" y="1518"/>
                    </a:lnTo>
                    <a:lnTo>
                      <a:pt x="1247" y="1510"/>
                    </a:lnTo>
                    <a:lnTo>
                      <a:pt x="1258" y="1502"/>
                    </a:lnTo>
                    <a:lnTo>
                      <a:pt x="1269" y="1496"/>
                    </a:lnTo>
                    <a:lnTo>
                      <a:pt x="1280" y="1489"/>
                    </a:lnTo>
                    <a:lnTo>
                      <a:pt x="1292" y="1482"/>
                    </a:lnTo>
                    <a:lnTo>
                      <a:pt x="1317" y="1472"/>
                    </a:lnTo>
                    <a:lnTo>
                      <a:pt x="1344" y="1463"/>
                    </a:lnTo>
                    <a:lnTo>
                      <a:pt x="1372" y="1455"/>
                    </a:lnTo>
                    <a:lnTo>
                      <a:pt x="1401" y="1448"/>
                    </a:lnTo>
                    <a:lnTo>
                      <a:pt x="1408" y="1456"/>
                    </a:lnTo>
                    <a:lnTo>
                      <a:pt x="1418" y="1465"/>
                    </a:lnTo>
                    <a:lnTo>
                      <a:pt x="1431" y="1476"/>
                    </a:lnTo>
                    <a:lnTo>
                      <a:pt x="1446" y="1487"/>
                    </a:lnTo>
                    <a:lnTo>
                      <a:pt x="1453" y="1492"/>
                    </a:lnTo>
                    <a:lnTo>
                      <a:pt x="1461" y="1496"/>
                    </a:lnTo>
                    <a:lnTo>
                      <a:pt x="1469" y="1499"/>
                    </a:lnTo>
                    <a:lnTo>
                      <a:pt x="1475" y="1502"/>
                    </a:lnTo>
                    <a:lnTo>
                      <a:pt x="1483" y="1504"/>
                    </a:lnTo>
                    <a:lnTo>
                      <a:pt x="1490" y="1505"/>
                    </a:lnTo>
                    <a:lnTo>
                      <a:pt x="1495" y="1505"/>
                    </a:lnTo>
                    <a:lnTo>
                      <a:pt x="1501" y="1503"/>
                    </a:lnTo>
                    <a:lnTo>
                      <a:pt x="1512" y="1510"/>
                    </a:lnTo>
                    <a:lnTo>
                      <a:pt x="1521" y="1518"/>
                    </a:lnTo>
                    <a:lnTo>
                      <a:pt x="1530" y="1526"/>
                    </a:lnTo>
                    <a:lnTo>
                      <a:pt x="1538" y="1534"/>
                    </a:lnTo>
                    <a:lnTo>
                      <a:pt x="1547" y="1542"/>
                    </a:lnTo>
                    <a:lnTo>
                      <a:pt x="1555" y="1547"/>
                    </a:lnTo>
                    <a:lnTo>
                      <a:pt x="1561" y="1550"/>
                    </a:lnTo>
                    <a:lnTo>
                      <a:pt x="1566" y="1551"/>
                    </a:lnTo>
                    <a:lnTo>
                      <a:pt x="1573" y="1552"/>
                    </a:lnTo>
                    <a:lnTo>
                      <a:pt x="1581" y="1552"/>
                    </a:lnTo>
                    <a:lnTo>
                      <a:pt x="1586" y="1578"/>
                    </a:lnTo>
                    <a:lnTo>
                      <a:pt x="1593" y="1602"/>
                    </a:lnTo>
                    <a:lnTo>
                      <a:pt x="1596" y="1613"/>
                    </a:lnTo>
                    <a:lnTo>
                      <a:pt x="1598" y="1625"/>
                    </a:lnTo>
                    <a:lnTo>
                      <a:pt x="1599" y="1637"/>
                    </a:lnTo>
                    <a:lnTo>
                      <a:pt x="1600" y="1650"/>
                    </a:lnTo>
                    <a:lnTo>
                      <a:pt x="1599" y="1658"/>
                    </a:lnTo>
                    <a:lnTo>
                      <a:pt x="1598" y="1664"/>
                    </a:lnTo>
                    <a:lnTo>
                      <a:pt x="1596" y="1670"/>
                    </a:lnTo>
                    <a:lnTo>
                      <a:pt x="1593" y="1676"/>
                    </a:lnTo>
                    <a:lnTo>
                      <a:pt x="1585" y="1686"/>
                    </a:lnTo>
                    <a:lnTo>
                      <a:pt x="1577" y="1697"/>
                    </a:lnTo>
                    <a:lnTo>
                      <a:pt x="1569" y="1707"/>
                    </a:lnTo>
                    <a:lnTo>
                      <a:pt x="1561" y="1719"/>
                    </a:lnTo>
                    <a:lnTo>
                      <a:pt x="1558" y="1724"/>
                    </a:lnTo>
                    <a:lnTo>
                      <a:pt x="1555" y="1730"/>
                    </a:lnTo>
                    <a:lnTo>
                      <a:pt x="1554" y="1736"/>
                    </a:lnTo>
                    <a:lnTo>
                      <a:pt x="1553" y="1743"/>
                    </a:lnTo>
                    <a:lnTo>
                      <a:pt x="1554" y="1748"/>
                    </a:lnTo>
                    <a:lnTo>
                      <a:pt x="1555" y="1753"/>
                    </a:lnTo>
                    <a:lnTo>
                      <a:pt x="1558" y="1756"/>
                    </a:lnTo>
                    <a:lnTo>
                      <a:pt x="1561" y="1759"/>
                    </a:lnTo>
                    <a:lnTo>
                      <a:pt x="1565" y="1761"/>
                    </a:lnTo>
                    <a:lnTo>
                      <a:pt x="1570" y="1764"/>
                    </a:lnTo>
                    <a:lnTo>
                      <a:pt x="1574" y="1765"/>
                    </a:lnTo>
                    <a:lnTo>
                      <a:pt x="1580" y="1767"/>
                    </a:lnTo>
                    <a:lnTo>
                      <a:pt x="1591" y="1769"/>
                    </a:lnTo>
                    <a:lnTo>
                      <a:pt x="1602" y="1771"/>
                    </a:lnTo>
                    <a:lnTo>
                      <a:pt x="1607" y="1773"/>
                    </a:lnTo>
                    <a:lnTo>
                      <a:pt x="1611" y="1775"/>
                    </a:lnTo>
                    <a:lnTo>
                      <a:pt x="1616" y="1777"/>
                    </a:lnTo>
                    <a:lnTo>
                      <a:pt x="1620" y="1780"/>
                    </a:lnTo>
                    <a:lnTo>
                      <a:pt x="1627" y="1787"/>
                    </a:lnTo>
                    <a:lnTo>
                      <a:pt x="1632" y="1794"/>
                    </a:lnTo>
                    <a:lnTo>
                      <a:pt x="1636" y="1801"/>
                    </a:lnTo>
                    <a:lnTo>
                      <a:pt x="1639" y="1807"/>
                    </a:lnTo>
                    <a:lnTo>
                      <a:pt x="1645" y="1822"/>
                    </a:lnTo>
                    <a:lnTo>
                      <a:pt x="1653" y="1836"/>
                    </a:lnTo>
                    <a:lnTo>
                      <a:pt x="1659" y="1848"/>
                    </a:lnTo>
                    <a:lnTo>
                      <a:pt x="1666" y="1862"/>
                    </a:lnTo>
                    <a:lnTo>
                      <a:pt x="1674" y="1877"/>
                    </a:lnTo>
                    <a:lnTo>
                      <a:pt x="1683" y="1890"/>
                    </a:lnTo>
                    <a:lnTo>
                      <a:pt x="1688" y="1897"/>
                    </a:lnTo>
                    <a:lnTo>
                      <a:pt x="1694" y="1903"/>
                    </a:lnTo>
                    <a:lnTo>
                      <a:pt x="1699" y="1908"/>
                    </a:lnTo>
                    <a:lnTo>
                      <a:pt x="1706" y="1912"/>
                    </a:lnTo>
                    <a:lnTo>
                      <a:pt x="1712" y="1916"/>
                    </a:lnTo>
                    <a:lnTo>
                      <a:pt x="1719" y="1919"/>
                    </a:lnTo>
                    <a:lnTo>
                      <a:pt x="1726" y="1921"/>
                    </a:lnTo>
                    <a:lnTo>
                      <a:pt x="1733" y="1921"/>
                    </a:lnTo>
                    <a:lnTo>
                      <a:pt x="1741" y="1921"/>
                    </a:lnTo>
                    <a:lnTo>
                      <a:pt x="1752" y="1918"/>
                    </a:lnTo>
                    <a:lnTo>
                      <a:pt x="1762" y="1916"/>
                    </a:lnTo>
                    <a:lnTo>
                      <a:pt x="1766" y="1915"/>
                    </a:lnTo>
                    <a:lnTo>
                      <a:pt x="1777" y="1910"/>
                    </a:lnTo>
                    <a:lnTo>
                      <a:pt x="1787" y="1904"/>
                    </a:lnTo>
                    <a:lnTo>
                      <a:pt x="1795" y="1898"/>
                    </a:lnTo>
                    <a:lnTo>
                      <a:pt x="1803" y="1891"/>
                    </a:lnTo>
                    <a:lnTo>
                      <a:pt x="1809" y="1884"/>
                    </a:lnTo>
                    <a:lnTo>
                      <a:pt x="1816" y="1878"/>
                    </a:lnTo>
                    <a:lnTo>
                      <a:pt x="1823" y="1871"/>
                    </a:lnTo>
                    <a:lnTo>
                      <a:pt x="1833" y="1866"/>
                    </a:lnTo>
                    <a:lnTo>
                      <a:pt x="1842" y="1859"/>
                    </a:lnTo>
                    <a:lnTo>
                      <a:pt x="1852" y="1853"/>
                    </a:lnTo>
                    <a:lnTo>
                      <a:pt x="1863" y="1848"/>
                    </a:lnTo>
                    <a:lnTo>
                      <a:pt x="1874" y="1844"/>
                    </a:lnTo>
                    <a:lnTo>
                      <a:pt x="1896" y="1838"/>
                    </a:lnTo>
                    <a:lnTo>
                      <a:pt x="1919" y="1834"/>
                    </a:lnTo>
                    <a:lnTo>
                      <a:pt x="1941" y="1831"/>
                    </a:lnTo>
                    <a:lnTo>
                      <a:pt x="1960" y="1827"/>
                    </a:lnTo>
                    <a:lnTo>
                      <a:pt x="1968" y="1824"/>
                    </a:lnTo>
                    <a:lnTo>
                      <a:pt x="1975" y="1821"/>
                    </a:lnTo>
                    <a:lnTo>
                      <a:pt x="1981" y="1816"/>
                    </a:lnTo>
                    <a:lnTo>
                      <a:pt x="1986" y="1811"/>
                    </a:lnTo>
                    <a:lnTo>
                      <a:pt x="1996" y="1820"/>
                    </a:lnTo>
                    <a:lnTo>
                      <a:pt x="2008" y="1827"/>
                    </a:lnTo>
                    <a:lnTo>
                      <a:pt x="2019" y="1832"/>
                    </a:lnTo>
                    <a:lnTo>
                      <a:pt x="2031" y="1837"/>
                    </a:lnTo>
                    <a:lnTo>
                      <a:pt x="2054" y="1846"/>
                    </a:lnTo>
                    <a:lnTo>
                      <a:pt x="2072" y="1854"/>
                    </a:lnTo>
                    <a:lnTo>
                      <a:pt x="2091" y="1869"/>
                    </a:lnTo>
                    <a:lnTo>
                      <a:pt x="2109" y="1887"/>
                    </a:lnTo>
                    <a:lnTo>
                      <a:pt x="2119" y="1896"/>
                    </a:lnTo>
                    <a:lnTo>
                      <a:pt x="2129" y="1903"/>
                    </a:lnTo>
                    <a:lnTo>
                      <a:pt x="2140" y="1910"/>
                    </a:lnTo>
                    <a:lnTo>
                      <a:pt x="2152" y="1915"/>
                    </a:lnTo>
                    <a:lnTo>
                      <a:pt x="2245" y="1921"/>
                    </a:lnTo>
                    <a:lnTo>
                      <a:pt x="2238" y="1935"/>
                    </a:lnTo>
                    <a:lnTo>
                      <a:pt x="2232" y="1947"/>
                    </a:lnTo>
                    <a:lnTo>
                      <a:pt x="2232" y="1953"/>
                    </a:lnTo>
                    <a:lnTo>
                      <a:pt x="2235" y="1957"/>
                    </a:lnTo>
                    <a:lnTo>
                      <a:pt x="2238" y="1961"/>
                    </a:lnTo>
                    <a:lnTo>
                      <a:pt x="2243" y="1965"/>
                    </a:lnTo>
                    <a:lnTo>
                      <a:pt x="2248" y="1968"/>
                    </a:lnTo>
                    <a:lnTo>
                      <a:pt x="2254" y="1972"/>
                    </a:lnTo>
                    <a:lnTo>
                      <a:pt x="2259" y="1977"/>
                    </a:lnTo>
                    <a:lnTo>
                      <a:pt x="2265" y="1983"/>
                    </a:lnTo>
                    <a:lnTo>
                      <a:pt x="2266" y="1980"/>
                    </a:lnTo>
                    <a:lnTo>
                      <a:pt x="2267" y="1972"/>
                    </a:lnTo>
                    <a:lnTo>
                      <a:pt x="2268" y="1968"/>
                    </a:lnTo>
                    <a:lnTo>
                      <a:pt x="2267" y="1963"/>
                    </a:lnTo>
                    <a:lnTo>
                      <a:pt x="2267" y="1957"/>
                    </a:lnTo>
                    <a:lnTo>
                      <a:pt x="2265" y="1953"/>
                    </a:lnTo>
                    <a:lnTo>
                      <a:pt x="2275" y="1947"/>
                    </a:lnTo>
                    <a:lnTo>
                      <a:pt x="2293" y="1935"/>
                    </a:lnTo>
                    <a:lnTo>
                      <a:pt x="2303" y="1927"/>
                    </a:lnTo>
                    <a:lnTo>
                      <a:pt x="2313" y="1921"/>
                    </a:lnTo>
                    <a:lnTo>
                      <a:pt x="2319" y="1919"/>
                    </a:lnTo>
                    <a:lnTo>
                      <a:pt x="2323" y="1917"/>
                    </a:lnTo>
                    <a:lnTo>
                      <a:pt x="2327" y="1916"/>
                    </a:lnTo>
                    <a:lnTo>
                      <a:pt x="2331" y="1915"/>
                    </a:lnTo>
                    <a:lnTo>
                      <a:pt x="2341" y="1915"/>
                    </a:lnTo>
                    <a:lnTo>
                      <a:pt x="2349" y="1913"/>
                    </a:lnTo>
                    <a:lnTo>
                      <a:pt x="2357" y="1910"/>
                    </a:lnTo>
                    <a:lnTo>
                      <a:pt x="2364" y="1906"/>
                    </a:lnTo>
                    <a:lnTo>
                      <a:pt x="2370" y="1901"/>
                    </a:lnTo>
                    <a:lnTo>
                      <a:pt x="2376" y="1895"/>
                    </a:lnTo>
                    <a:lnTo>
                      <a:pt x="2382" y="1889"/>
                    </a:lnTo>
                    <a:lnTo>
                      <a:pt x="2388" y="1882"/>
                    </a:lnTo>
                    <a:lnTo>
                      <a:pt x="2399" y="1867"/>
                    </a:lnTo>
                    <a:lnTo>
                      <a:pt x="2412" y="1853"/>
                    </a:lnTo>
                    <a:lnTo>
                      <a:pt x="2418" y="1847"/>
                    </a:lnTo>
                    <a:lnTo>
                      <a:pt x="2426" y="1840"/>
                    </a:lnTo>
                    <a:lnTo>
                      <a:pt x="2435" y="1835"/>
                    </a:lnTo>
                    <a:lnTo>
                      <a:pt x="2444" y="1830"/>
                    </a:lnTo>
                    <a:lnTo>
                      <a:pt x="2449" y="1838"/>
                    </a:lnTo>
                    <a:lnTo>
                      <a:pt x="2454" y="1846"/>
                    </a:lnTo>
                    <a:lnTo>
                      <a:pt x="2455" y="1850"/>
                    </a:lnTo>
                    <a:lnTo>
                      <a:pt x="2456" y="1854"/>
                    </a:lnTo>
                    <a:lnTo>
                      <a:pt x="2457" y="1860"/>
                    </a:lnTo>
                    <a:lnTo>
                      <a:pt x="2457" y="1866"/>
                    </a:lnTo>
                    <a:lnTo>
                      <a:pt x="2462" y="1860"/>
                    </a:lnTo>
                    <a:lnTo>
                      <a:pt x="2468" y="1857"/>
                    </a:lnTo>
                    <a:lnTo>
                      <a:pt x="2474" y="1855"/>
                    </a:lnTo>
                    <a:lnTo>
                      <a:pt x="2481" y="1855"/>
                    </a:lnTo>
                    <a:lnTo>
                      <a:pt x="2487" y="1856"/>
                    </a:lnTo>
                    <a:lnTo>
                      <a:pt x="2493" y="1858"/>
                    </a:lnTo>
                    <a:lnTo>
                      <a:pt x="2499" y="1862"/>
                    </a:lnTo>
                    <a:lnTo>
                      <a:pt x="2504" y="1866"/>
                    </a:lnTo>
                    <a:lnTo>
                      <a:pt x="2505" y="1856"/>
                    </a:lnTo>
                    <a:lnTo>
                      <a:pt x="2507" y="1847"/>
                    </a:lnTo>
                    <a:lnTo>
                      <a:pt x="2511" y="1841"/>
                    </a:lnTo>
                    <a:lnTo>
                      <a:pt x="2514" y="1836"/>
                    </a:lnTo>
                    <a:lnTo>
                      <a:pt x="2517" y="1832"/>
                    </a:lnTo>
                    <a:lnTo>
                      <a:pt x="2522" y="1829"/>
                    </a:lnTo>
                    <a:lnTo>
                      <a:pt x="2527" y="1828"/>
                    </a:lnTo>
                    <a:lnTo>
                      <a:pt x="2533" y="1827"/>
                    </a:lnTo>
                    <a:lnTo>
                      <a:pt x="2546" y="1826"/>
                    </a:lnTo>
                    <a:lnTo>
                      <a:pt x="2561" y="1827"/>
                    </a:lnTo>
                    <a:lnTo>
                      <a:pt x="2569" y="1827"/>
                    </a:lnTo>
                    <a:lnTo>
                      <a:pt x="2578" y="1826"/>
                    </a:lnTo>
                    <a:lnTo>
                      <a:pt x="2588" y="1825"/>
                    </a:lnTo>
                    <a:lnTo>
                      <a:pt x="2596" y="1824"/>
                    </a:lnTo>
                    <a:lnTo>
                      <a:pt x="2604" y="1821"/>
                    </a:lnTo>
                    <a:lnTo>
                      <a:pt x="2611" y="1816"/>
                    </a:lnTo>
                    <a:lnTo>
                      <a:pt x="2616" y="1810"/>
                    </a:lnTo>
                    <a:lnTo>
                      <a:pt x="2622" y="1804"/>
                    </a:lnTo>
                    <a:lnTo>
                      <a:pt x="2633" y="1790"/>
                    </a:lnTo>
                    <a:lnTo>
                      <a:pt x="2642" y="1774"/>
                    </a:lnTo>
                    <a:lnTo>
                      <a:pt x="2648" y="1766"/>
                    </a:lnTo>
                    <a:lnTo>
                      <a:pt x="2653" y="1758"/>
                    </a:lnTo>
                    <a:lnTo>
                      <a:pt x="2660" y="1750"/>
                    </a:lnTo>
                    <a:lnTo>
                      <a:pt x="2667" y="1743"/>
                    </a:lnTo>
                    <a:lnTo>
                      <a:pt x="2674" y="1737"/>
                    </a:lnTo>
                    <a:lnTo>
                      <a:pt x="2683" y="1732"/>
                    </a:lnTo>
                    <a:lnTo>
                      <a:pt x="2693" y="1728"/>
                    </a:lnTo>
                    <a:lnTo>
                      <a:pt x="2703" y="1725"/>
                    </a:lnTo>
                    <a:lnTo>
                      <a:pt x="2704" y="1716"/>
                    </a:lnTo>
                    <a:lnTo>
                      <a:pt x="2706" y="1707"/>
                    </a:lnTo>
                    <a:lnTo>
                      <a:pt x="2711" y="1699"/>
                    </a:lnTo>
                    <a:lnTo>
                      <a:pt x="2715" y="1691"/>
                    </a:lnTo>
                    <a:lnTo>
                      <a:pt x="2726" y="1677"/>
                    </a:lnTo>
                    <a:lnTo>
                      <a:pt x="2737" y="1663"/>
                    </a:lnTo>
                    <a:lnTo>
                      <a:pt x="2733" y="1658"/>
                    </a:lnTo>
                    <a:lnTo>
                      <a:pt x="2730" y="1651"/>
                    </a:lnTo>
                    <a:lnTo>
                      <a:pt x="2729" y="1645"/>
                    </a:lnTo>
                    <a:lnTo>
                      <a:pt x="2729" y="1638"/>
                    </a:lnTo>
                    <a:lnTo>
                      <a:pt x="2728" y="1631"/>
                    </a:lnTo>
                    <a:lnTo>
                      <a:pt x="2726" y="1625"/>
                    </a:lnTo>
                    <a:lnTo>
                      <a:pt x="2725" y="1622"/>
                    </a:lnTo>
                    <a:lnTo>
                      <a:pt x="2723" y="1619"/>
                    </a:lnTo>
                    <a:lnTo>
                      <a:pt x="2719" y="1616"/>
                    </a:lnTo>
                    <a:lnTo>
                      <a:pt x="2716" y="1614"/>
                    </a:lnTo>
                    <a:lnTo>
                      <a:pt x="2728" y="1602"/>
                    </a:lnTo>
                    <a:lnTo>
                      <a:pt x="2739" y="1588"/>
                    </a:lnTo>
                    <a:lnTo>
                      <a:pt x="2750" y="1573"/>
                    </a:lnTo>
                    <a:lnTo>
                      <a:pt x="2760" y="1558"/>
                    </a:lnTo>
                    <a:lnTo>
                      <a:pt x="2780" y="1521"/>
                    </a:lnTo>
                    <a:lnTo>
                      <a:pt x="2803" y="1478"/>
                    </a:lnTo>
                    <a:lnTo>
                      <a:pt x="2798" y="1475"/>
                    </a:lnTo>
                    <a:lnTo>
                      <a:pt x="2796" y="1471"/>
                    </a:lnTo>
                    <a:lnTo>
                      <a:pt x="2795" y="1467"/>
                    </a:lnTo>
                    <a:lnTo>
                      <a:pt x="2794" y="1462"/>
                    </a:lnTo>
                    <a:lnTo>
                      <a:pt x="2795" y="1451"/>
                    </a:lnTo>
                    <a:lnTo>
                      <a:pt x="2796" y="1441"/>
                    </a:lnTo>
                    <a:lnTo>
                      <a:pt x="2790" y="1428"/>
                    </a:lnTo>
                    <a:lnTo>
                      <a:pt x="2790" y="1426"/>
                    </a:lnTo>
                    <a:lnTo>
                      <a:pt x="2792" y="1423"/>
                    </a:lnTo>
                    <a:lnTo>
                      <a:pt x="2794" y="1420"/>
                    </a:lnTo>
                    <a:lnTo>
                      <a:pt x="2797" y="1417"/>
                    </a:lnTo>
                    <a:lnTo>
                      <a:pt x="2801" y="1414"/>
                    </a:lnTo>
                    <a:lnTo>
                      <a:pt x="2804" y="1412"/>
                    </a:lnTo>
                    <a:lnTo>
                      <a:pt x="2807" y="1411"/>
                    </a:lnTo>
                    <a:lnTo>
                      <a:pt x="2809" y="1410"/>
                    </a:lnTo>
                    <a:lnTo>
                      <a:pt x="2809" y="1386"/>
                    </a:lnTo>
                    <a:lnTo>
                      <a:pt x="2801" y="1389"/>
                    </a:lnTo>
                    <a:lnTo>
                      <a:pt x="2793" y="1391"/>
                    </a:lnTo>
                    <a:lnTo>
                      <a:pt x="2785" y="1393"/>
                    </a:lnTo>
                    <a:lnTo>
                      <a:pt x="2778" y="1394"/>
                    </a:lnTo>
                    <a:lnTo>
                      <a:pt x="2763" y="1395"/>
                    </a:lnTo>
                    <a:lnTo>
                      <a:pt x="2750" y="1394"/>
                    </a:lnTo>
                    <a:lnTo>
                      <a:pt x="2738" y="1392"/>
                    </a:lnTo>
                    <a:lnTo>
                      <a:pt x="2725" y="1389"/>
                    </a:lnTo>
                    <a:lnTo>
                      <a:pt x="2711" y="1384"/>
                    </a:lnTo>
                    <a:lnTo>
                      <a:pt x="2696" y="1380"/>
                    </a:lnTo>
                    <a:lnTo>
                      <a:pt x="2705" y="1375"/>
                    </a:lnTo>
                    <a:lnTo>
                      <a:pt x="2713" y="1369"/>
                    </a:lnTo>
                    <a:lnTo>
                      <a:pt x="2719" y="1363"/>
                    </a:lnTo>
                    <a:lnTo>
                      <a:pt x="2726" y="1356"/>
                    </a:lnTo>
                    <a:lnTo>
                      <a:pt x="2737" y="1342"/>
                    </a:lnTo>
                    <a:lnTo>
                      <a:pt x="2750" y="1324"/>
                    </a:lnTo>
                    <a:lnTo>
                      <a:pt x="2730" y="1316"/>
                    </a:lnTo>
                    <a:lnTo>
                      <a:pt x="2712" y="1310"/>
                    </a:lnTo>
                    <a:lnTo>
                      <a:pt x="2695" y="1305"/>
                    </a:lnTo>
                    <a:lnTo>
                      <a:pt x="2679" y="1300"/>
                    </a:lnTo>
                    <a:lnTo>
                      <a:pt x="2662" y="1294"/>
                    </a:lnTo>
                    <a:lnTo>
                      <a:pt x="2647" y="1287"/>
                    </a:lnTo>
                    <a:lnTo>
                      <a:pt x="2639" y="1282"/>
                    </a:lnTo>
                    <a:lnTo>
                      <a:pt x="2632" y="1277"/>
                    </a:lnTo>
                    <a:lnTo>
                      <a:pt x="2624" y="1270"/>
                    </a:lnTo>
                    <a:lnTo>
                      <a:pt x="2617" y="1262"/>
                    </a:lnTo>
                    <a:lnTo>
                      <a:pt x="2626" y="1268"/>
                    </a:lnTo>
                    <a:lnTo>
                      <a:pt x="2640" y="1273"/>
                    </a:lnTo>
                    <a:lnTo>
                      <a:pt x="2657" y="1278"/>
                    </a:lnTo>
                    <a:lnTo>
                      <a:pt x="2675" y="1283"/>
                    </a:lnTo>
                    <a:lnTo>
                      <a:pt x="2715" y="1293"/>
                    </a:lnTo>
                    <a:lnTo>
                      <a:pt x="2750" y="1299"/>
                    </a:lnTo>
                    <a:lnTo>
                      <a:pt x="2749" y="1293"/>
                    </a:lnTo>
                    <a:lnTo>
                      <a:pt x="2746" y="1288"/>
                    </a:lnTo>
                    <a:lnTo>
                      <a:pt x="2742" y="1283"/>
                    </a:lnTo>
                    <a:lnTo>
                      <a:pt x="2737" y="1279"/>
                    </a:lnTo>
                    <a:lnTo>
                      <a:pt x="2725" y="1272"/>
                    </a:lnTo>
                    <a:lnTo>
                      <a:pt x="2709" y="1266"/>
                    </a:lnTo>
                    <a:lnTo>
                      <a:pt x="2695" y="1259"/>
                    </a:lnTo>
                    <a:lnTo>
                      <a:pt x="2682" y="1252"/>
                    </a:lnTo>
                    <a:lnTo>
                      <a:pt x="2678" y="1248"/>
                    </a:lnTo>
                    <a:lnTo>
                      <a:pt x="2673" y="1244"/>
                    </a:lnTo>
                    <a:lnTo>
                      <a:pt x="2671" y="1238"/>
                    </a:lnTo>
                    <a:lnTo>
                      <a:pt x="2670" y="1232"/>
                    </a:lnTo>
                    <a:lnTo>
                      <a:pt x="2669" y="1227"/>
                    </a:lnTo>
                    <a:lnTo>
                      <a:pt x="2668" y="1224"/>
                    </a:lnTo>
                    <a:lnTo>
                      <a:pt x="2666" y="1220"/>
                    </a:lnTo>
                    <a:lnTo>
                      <a:pt x="2662" y="1217"/>
                    </a:lnTo>
                    <a:lnTo>
                      <a:pt x="2656" y="1212"/>
                    </a:lnTo>
                    <a:lnTo>
                      <a:pt x="2650" y="1208"/>
                    </a:lnTo>
                    <a:lnTo>
                      <a:pt x="2626" y="1186"/>
                    </a:lnTo>
                    <a:lnTo>
                      <a:pt x="2581" y="1145"/>
                    </a:lnTo>
                    <a:lnTo>
                      <a:pt x="2557" y="1124"/>
                    </a:lnTo>
                    <a:lnTo>
                      <a:pt x="2537" y="1105"/>
                    </a:lnTo>
                    <a:lnTo>
                      <a:pt x="2523" y="1090"/>
                    </a:lnTo>
                    <a:lnTo>
                      <a:pt x="2517" y="1084"/>
                    </a:lnTo>
                    <a:lnTo>
                      <a:pt x="2517" y="1078"/>
                    </a:lnTo>
                    <a:lnTo>
                      <a:pt x="2520" y="1074"/>
                    </a:lnTo>
                    <a:lnTo>
                      <a:pt x="2522" y="1070"/>
                    </a:lnTo>
                    <a:lnTo>
                      <a:pt x="2525" y="1068"/>
                    </a:lnTo>
                    <a:lnTo>
                      <a:pt x="2528" y="1065"/>
                    </a:lnTo>
                    <a:lnTo>
                      <a:pt x="2532" y="1061"/>
                    </a:lnTo>
                    <a:lnTo>
                      <a:pt x="2534" y="1055"/>
                    </a:lnTo>
                    <a:lnTo>
                      <a:pt x="2537" y="1047"/>
                    </a:lnTo>
                    <a:lnTo>
                      <a:pt x="2535" y="1046"/>
                    </a:lnTo>
                    <a:lnTo>
                      <a:pt x="2530" y="1043"/>
                    </a:lnTo>
                    <a:lnTo>
                      <a:pt x="2528" y="1042"/>
                    </a:lnTo>
                    <a:lnTo>
                      <a:pt x="2526" y="1039"/>
                    </a:lnTo>
                    <a:lnTo>
                      <a:pt x="2524" y="1036"/>
                    </a:lnTo>
                    <a:lnTo>
                      <a:pt x="2524" y="1034"/>
                    </a:lnTo>
                    <a:lnTo>
                      <a:pt x="2557" y="1034"/>
                    </a:lnTo>
                    <a:lnTo>
                      <a:pt x="2558" y="1028"/>
                    </a:lnTo>
                    <a:lnTo>
                      <a:pt x="2559" y="1022"/>
                    </a:lnTo>
                    <a:lnTo>
                      <a:pt x="2561" y="1016"/>
                    </a:lnTo>
                    <a:lnTo>
                      <a:pt x="2565" y="1011"/>
                    </a:lnTo>
                    <a:lnTo>
                      <a:pt x="2569" y="1006"/>
                    </a:lnTo>
                    <a:lnTo>
                      <a:pt x="2573" y="1002"/>
                    </a:lnTo>
                    <a:lnTo>
                      <a:pt x="2578" y="997"/>
                    </a:lnTo>
                    <a:lnTo>
                      <a:pt x="2583" y="993"/>
                    </a:lnTo>
                    <a:lnTo>
                      <a:pt x="2607" y="977"/>
                    </a:lnTo>
                    <a:lnTo>
                      <a:pt x="2630" y="960"/>
                    </a:lnTo>
                    <a:lnTo>
                      <a:pt x="2617" y="958"/>
                    </a:lnTo>
                    <a:lnTo>
                      <a:pt x="2603" y="954"/>
                    </a:lnTo>
                    <a:lnTo>
                      <a:pt x="2590" y="949"/>
                    </a:lnTo>
                    <a:lnTo>
                      <a:pt x="2577" y="944"/>
                    </a:lnTo>
                    <a:lnTo>
                      <a:pt x="2563" y="938"/>
                    </a:lnTo>
                    <a:lnTo>
                      <a:pt x="2552" y="932"/>
                    </a:lnTo>
                    <a:lnTo>
                      <a:pt x="2544" y="924"/>
                    </a:lnTo>
                    <a:lnTo>
                      <a:pt x="2537" y="917"/>
                    </a:lnTo>
                    <a:lnTo>
                      <a:pt x="2498" y="917"/>
                    </a:lnTo>
                    <a:lnTo>
                      <a:pt x="2498" y="926"/>
                    </a:lnTo>
                    <a:lnTo>
                      <a:pt x="2498" y="938"/>
                    </a:lnTo>
                    <a:lnTo>
                      <a:pt x="2498" y="950"/>
                    </a:lnTo>
                    <a:lnTo>
                      <a:pt x="2498" y="967"/>
                    </a:lnTo>
                    <a:lnTo>
                      <a:pt x="2457" y="967"/>
                    </a:lnTo>
                    <a:lnTo>
                      <a:pt x="2453" y="962"/>
                    </a:lnTo>
                    <a:lnTo>
                      <a:pt x="2449" y="956"/>
                    </a:lnTo>
                    <a:lnTo>
                      <a:pt x="2447" y="949"/>
                    </a:lnTo>
                    <a:lnTo>
                      <a:pt x="2444" y="942"/>
                    </a:lnTo>
                    <a:lnTo>
                      <a:pt x="2442" y="936"/>
                    </a:lnTo>
                    <a:lnTo>
                      <a:pt x="2438" y="928"/>
                    </a:lnTo>
                    <a:lnTo>
                      <a:pt x="2435" y="922"/>
                    </a:lnTo>
                    <a:lnTo>
                      <a:pt x="2431" y="917"/>
                    </a:lnTo>
                    <a:lnTo>
                      <a:pt x="2426" y="914"/>
                    </a:lnTo>
                    <a:lnTo>
                      <a:pt x="2421" y="911"/>
                    </a:lnTo>
                    <a:lnTo>
                      <a:pt x="2413" y="909"/>
                    </a:lnTo>
                    <a:lnTo>
                      <a:pt x="2404" y="907"/>
                    </a:lnTo>
                    <a:lnTo>
                      <a:pt x="2387" y="903"/>
                    </a:lnTo>
                    <a:lnTo>
                      <a:pt x="2367" y="899"/>
                    </a:lnTo>
                    <a:lnTo>
                      <a:pt x="2357" y="897"/>
                    </a:lnTo>
                    <a:lnTo>
                      <a:pt x="2348" y="894"/>
                    </a:lnTo>
                    <a:lnTo>
                      <a:pt x="2339" y="890"/>
                    </a:lnTo>
                    <a:lnTo>
                      <a:pt x="2333" y="887"/>
                    </a:lnTo>
                    <a:lnTo>
                      <a:pt x="2326" y="882"/>
                    </a:lnTo>
                    <a:lnTo>
                      <a:pt x="2322" y="876"/>
                    </a:lnTo>
                    <a:lnTo>
                      <a:pt x="2320" y="872"/>
                    </a:lnTo>
                    <a:lnTo>
                      <a:pt x="2319" y="869"/>
                    </a:lnTo>
                    <a:lnTo>
                      <a:pt x="2319" y="866"/>
                    </a:lnTo>
                    <a:lnTo>
                      <a:pt x="2317" y="862"/>
                    </a:lnTo>
                    <a:lnTo>
                      <a:pt x="2319" y="858"/>
                    </a:lnTo>
                    <a:lnTo>
                      <a:pt x="2319" y="855"/>
                    </a:lnTo>
                    <a:lnTo>
                      <a:pt x="2321" y="853"/>
                    </a:lnTo>
                    <a:lnTo>
                      <a:pt x="2322" y="850"/>
                    </a:lnTo>
                    <a:lnTo>
                      <a:pt x="2327" y="846"/>
                    </a:lnTo>
                    <a:lnTo>
                      <a:pt x="2334" y="843"/>
                    </a:lnTo>
                    <a:lnTo>
                      <a:pt x="2341" y="840"/>
                    </a:lnTo>
                    <a:lnTo>
                      <a:pt x="2348" y="839"/>
                    </a:lnTo>
                    <a:lnTo>
                      <a:pt x="2357" y="838"/>
                    </a:lnTo>
                    <a:lnTo>
                      <a:pt x="2365" y="837"/>
                    </a:lnTo>
                    <a:lnTo>
                      <a:pt x="2368" y="836"/>
                    </a:lnTo>
                    <a:lnTo>
                      <a:pt x="2372" y="833"/>
                    </a:lnTo>
                    <a:lnTo>
                      <a:pt x="2378" y="828"/>
                    </a:lnTo>
                    <a:lnTo>
                      <a:pt x="2383" y="822"/>
                    </a:lnTo>
                    <a:lnTo>
                      <a:pt x="2393" y="811"/>
                    </a:lnTo>
                    <a:lnTo>
                      <a:pt x="2398" y="806"/>
                    </a:lnTo>
                    <a:lnTo>
                      <a:pt x="2410" y="798"/>
                    </a:lnTo>
                    <a:lnTo>
                      <a:pt x="2423" y="789"/>
                    </a:lnTo>
                    <a:lnTo>
                      <a:pt x="2428" y="783"/>
                    </a:lnTo>
                    <a:lnTo>
                      <a:pt x="2433" y="776"/>
                    </a:lnTo>
                    <a:lnTo>
                      <a:pt x="2435" y="773"/>
                    </a:lnTo>
                    <a:lnTo>
                      <a:pt x="2436" y="768"/>
                    </a:lnTo>
                    <a:lnTo>
                      <a:pt x="2437" y="763"/>
                    </a:lnTo>
                    <a:lnTo>
                      <a:pt x="2437" y="757"/>
                    </a:lnTo>
                    <a:lnTo>
                      <a:pt x="2438" y="758"/>
                    </a:lnTo>
                    <a:lnTo>
                      <a:pt x="2439" y="758"/>
                    </a:lnTo>
                    <a:lnTo>
                      <a:pt x="2442" y="757"/>
                    </a:lnTo>
                    <a:lnTo>
                      <a:pt x="2443" y="756"/>
                    </a:lnTo>
                    <a:lnTo>
                      <a:pt x="2445" y="752"/>
                    </a:lnTo>
                    <a:lnTo>
                      <a:pt x="2448" y="747"/>
                    </a:lnTo>
                    <a:lnTo>
                      <a:pt x="2451" y="742"/>
                    </a:lnTo>
                    <a:lnTo>
                      <a:pt x="2455" y="737"/>
                    </a:lnTo>
                    <a:lnTo>
                      <a:pt x="2457" y="735"/>
                    </a:lnTo>
                    <a:lnTo>
                      <a:pt x="2459" y="734"/>
                    </a:lnTo>
                    <a:lnTo>
                      <a:pt x="2461" y="733"/>
                    </a:lnTo>
                    <a:lnTo>
                      <a:pt x="2464" y="733"/>
                    </a:lnTo>
                    <a:lnTo>
                      <a:pt x="2471" y="733"/>
                    </a:lnTo>
                    <a:lnTo>
                      <a:pt x="2478" y="735"/>
                    </a:lnTo>
                    <a:lnTo>
                      <a:pt x="2484" y="737"/>
                    </a:lnTo>
                    <a:lnTo>
                      <a:pt x="2491" y="741"/>
                    </a:lnTo>
                    <a:lnTo>
                      <a:pt x="2503" y="751"/>
                    </a:lnTo>
                    <a:lnTo>
                      <a:pt x="2517" y="764"/>
                    </a:lnTo>
                    <a:lnTo>
                      <a:pt x="2511" y="769"/>
                    </a:lnTo>
                    <a:lnTo>
                      <a:pt x="2504" y="775"/>
                    </a:lnTo>
                    <a:lnTo>
                      <a:pt x="2496" y="780"/>
                    </a:lnTo>
                    <a:lnTo>
                      <a:pt x="2491" y="782"/>
                    </a:lnTo>
                    <a:lnTo>
                      <a:pt x="2493" y="789"/>
                    </a:lnTo>
                    <a:lnTo>
                      <a:pt x="2496" y="795"/>
                    </a:lnTo>
                    <a:lnTo>
                      <a:pt x="2501" y="800"/>
                    </a:lnTo>
                    <a:lnTo>
                      <a:pt x="2504" y="805"/>
                    </a:lnTo>
                    <a:lnTo>
                      <a:pt x="2510" y="809"/>
                    </a:lnTo>
                    <a:lnTo>
                      <a:pt x="2514" y="813"/>
                    </a:lnTo>
                    <a:lnTo>
                      <a:pt x="2518" y="816"/>
                    </a:lnTo>
                    <a:lnTo>
                      <a:pt x="2524" y="819"/>
                    </a:lnTo>
                    <a:lnTo>
                      <a:pt x="2524" y="837"/>
                    </a:lnTo>
                    <a:lnTo>
                      <a:pt x="2523" y="840"/>
                    </a:lnTo>
                    <a:lnTo>
                      <a:pt x="2523" y="842"/>
                    </a:lnTo>
                    <a:lnTo>
                      <a:pt x="2525" y="844"/>
                    </a:lnTo>
                    <a:lnTo>
                      <a:pt x="2527" y="847"/>
                    </a:lnTo>
                    <a:lnTo>
                      <a:pt x="2529" y="849"/>
                    </a:lnTo>
                    <a:lnTo>
                      <a:pt x="2532" y="851"/>
                    </a:lnTo>
                    <a:lnTo>
                      <a:pt x="2532" y="853"/>
                    </a:lnTo>
                    <a:lnTo>
                      <a:pt x="2530" y="856"/>
                    </a:lnTo>
                    <a:lnTo>
                      <a:pt x="2561" y="830"/>
                    </a:lnTo>
                    <a:lnTo>
                      <a:pt x="2585" y="810"/>
                    </a:lnTo>
                    <a:lnTo>
                      <a:pt x="2596" y="803"/>
                    </a:lnTo>
                    <a:lnTo>
                      <a:pt x="2605" y="797"/>
                    </a:lnTo>
                    <a:lnTo>
                      <a:pt x="2613" y="793"/>
                    </a:lnTo>
                    <a:lnTo>
                      <a:pt x="2621" y="790"/>
                    </a:lnTo>
                    <a:lnTo>
                      <a:pt x="2627" y="787"/>
                    </a:lnTo>
                    <a:lnTo>
                      <a:pt x="2633" y="786"/>
                    </a:lnTo>
                    <a:lnTo>
                      <a:pt x="2638" y="785"/>
                    </a:lnTo>
                    <a:lnTo>
                      <a:pt x="2645" y="785"/>
                    </a:lnTo>
                    <a:lnTo>
                      <a:pt x="2657" y="786"/>
                    </a:lnTo>
                    <a:lnTo>
                      <a:pt x="2670" y="788"/>
                    </a:lnTo>
                    <a:lnTo>
                      <a:pt x="2674" y="781"/>
                    </a:lnTo>
                    <a:lnTo>
                      <a:pt x="2679" y="774"/>
                    </a:lnTo>
                    <a:lnTo>
                      <a:pt x="2683" y="768"/>
                    </a:lnTo>
                    <a:lnTo>
                      <a:pt x="2689" y="763"/>
                    </a:lnTo>
                    <a:lnTo>
                      <a:pt x="2701" y="753"/>
                    </a:lnTo>
                    <a:lnTo>
                      <a:pt x="2713" y="745"/>
                    </a:lnTo>
                    <a:lnTo>
                      <a:pt x="2724" y="738"/>
                    </a:lnTo>
                    <a:lnTo>
                      <a:pt x="2735" y="730"/>
                    </a:lnTo>
                    <a:lnTo>
                      <a:pt x="2739" y="726"/>
                    </a:lnTo>
                    <a:lnTo>
                      <a:pt x="2743" y="721"/>
                    </a:lnTo>
                    <a:lnTo>
                      <a:pt x="2747" y="715"/>
                    </a:lnTo>
                    <a:lnTo>
                      <a:pt x="2750" y="708"/>
                    </a:lnTo>
                    <a:lnTo>
                      <a:pt x="2758" y="708"/>
                    </a:lnTo>
                    <a:lnTo>
                      <a:pt x="2765" y="706"/>
                    </a:lnTo>
                    <a:lnTo>
                      <a:pt x="2773" y="705"/>
                    </a:lnTo>
                    <a:lnTo>
                      <a:pt x="2780" y="704"/>
                    </a:lnTo>
                    <a:lnTo>
                      <a:pt x="2792" y="700"/>
                    </a:lnTo>
                    <a:lnTo>
                      <a:pt x="2803" y="694"/>
                    </a:lnTo>
                    <a:lnTo>
                      <a:pt x="2812" y="688"/>
                    </a:lnTo>
                    <a:lnTo>
                      <a:pt x="2820" y="681"/>
                    </a:lnTo>
                    <a:lnTo>
                      <a:pt x="2828" y="673"/>
                    </a:lnTo>
                    <a:lnTo>
                      <a:pt x="2836" y="665"/>
                    </a:lnTo>
                    <a:lnTo>
                      <a:pt x="2842" y="657"/>
                    </a:lnTo>
                    <a:lnTo>
                      <a:pt x="2850" y="649"/>
                    </a:lnTo>
                    <a:lnTo>
                      <a:pt x="2858" y="641"/>
                    </a:lnTo>
                    <a:lnTo>
                      <a:pt x="2866" y="635"/>
                    </a:lnTo>
                    <a:lnTo>
                      <a:pt x="2876" y="630"/>
                    </a:lnTo>
                    <a:lnTo>
                      <a:pt x="2887" y="625"/>
                    </a:lnTo>
                    <a:lnTo>
                      <a:pt x="2901" y="623"/>
                    </a:lnTo>
                    <a:lnTo>
                      <a:pt x="2916" y="622"/>
                    </a:lnTo>
                    <a:lnTo>
                      <a:pt x="2915" y="611"/>
                    </a:lnTo>
                    <a:lnTo>
                      <a:pt x="2914" y="602"/>
                    </a:lnTo>
                    <a:lnTo>
                      <a:pt x="2910" y="593"/>
                    </a:lnTo>
                    <a:lnTo>
                      <a:pt x="2906" y="586"/>
                    </a:lnTo>
                    <a:lnTo>
                      <a:pt x="2902" y="580"/>
                    </a:lnTo>
                    <a:lnTo>
                      <a:pt x="2897" y="574"/>
                    </a:lnTo>
                    <a:lnTo>
                      <a:pt x="2892" y="569"/>
                    </a:lnTo>
                    <a:lnTo>
                      <a:pt x="2886" y="564"/>
                    </a:lnTo>
                    <a:lnTo>
                      <a:pt x="2875" y="554"/>
                    </a:lnTo>
                    <a:lnTo>
                      <a:pt x="2865" y="543"/>
                    </a:lnTo>
                    <a:lnTo>
                      <a:pt x="2861" y="536"/>
                    </a:lnTo>
                    <a:lnTo>
                      <a:pt x="2859" y="529"/>
                    </a:lnTo>
                    <a:lnTo>
                      <a:pt x="2857" y="520"/>
                    </a:lnTo>
                    <a:lnTo>
                      <a:pt x="2855" y="511"/>
                    </a:lnTo>
                    <a:lnTo>
                      <a:pt x="2857" y="505"/>
                    </a:lnTo>
                    <a:lnTo>
                      <a:pt x="2860" y="499"/>
                    </a:lnTo>
                    <a:lnTo>
                      <a:pt x="2862" y="497"/>
                    </a:lnTo>
                    <a:lnTo>
                      <a:pt x="2864" y="495"/>
                    </a:lnTo>
                    <a:lnTo>
                      <a:pt x="2866" y="493"/>
                    </a:lnTo>
                    <a:lnTo>
                      <a:pt x="2870" y="493"/>
                    </a:lnTo>
                    <a:lnTo>
                      <a:pt x="2885" y="493"/>
                    </a:lnTo>
                    <a:lnTo>
                      <a:pt x="2903" y="495"/>
                    </a:lnTo>
                    <a:lnTo>
                      <a:pt x="2911" y="495"/>
                    </a:lnTo>
                    <a:lnTo>
                      <a:pt x="2919" y="495"/>
                    </a:lnTo>
                    <a:lnTo>
                      <a:pt x="2928" y="494"/>
                    </a:lnTo>
                    <a:lnTo>
                      <a:pt x="2936" y="493"/>
                    </a:lnTo>
                    <a:lnTo>
                      <a:pt x="2936" y="412"/>
                    </a:lnTo>
                    <a:lnTo>
                      <a:pt x="2930" y="407"/>
                    </a:lnTo>
                    <a:lnTo>
                      <a:pt x="2926" y="402"/>
                    </a:lnTo>
                    <a:lnTo>
                      <a:pt x="2921" y="396"/>
                    </a:lnTo>
                    <a:lnTo>
                      <a:pt x="2917" y="389"/>
                    </a:lnTo>
                    <a:lnTo>
                      <a:pt x="2914" y="382"/>
                    </a:lnTo>
                    <a:lnTo>
                      <a:pt x="2911" y="375"/>
                    </a:lnTo>
                    <a:lnTo>
                      <a:pt x="2909" y="365"/>
                    </a:lnTo>
                    <a:lnTo>
                      <a:pt x="2909" y="357"/>
                    </a:lnTo>
                    <a:lnTo>
                      <a:pt x="2909" y="348"/>
                    </a:lnTo>
                    <a:lnTo>
                      <a:pt x="2909" y="341"/>
                    </a:lnTo>
                    <a:lnTo>
                      <a:pt x="2909" y="332"/>
                    </a:lnTo>
                    <a:lnTo>
                      <a:pt x="2909" y="320"/>
                    </a:lnTo>
                    <a:lnTo>
                      <a:pt x="2904" y="316"/>
                    </a:lnTo>
                    <a:lnTo>
                      <a:pt x="2897" y="310"/>
                    </a:lnTo>
                    <a:lnTo>
                      <a:pt x="2893" y="307"/>
                    </a:lnTo>
                    <a:lnTo>
                      <a:pt x="2888" y="304"/>
                    </a:lnTo>
                    <a:lnTo>
                      <a:pt x="2883" y="302"/>
                    </a:lnTo>
                    <a:lnTo>
                      <a:pt x="2876" y="301"/>
                    </a:lnTo>
                    <a:lnTo>
                      <a:pt x="2866" y="302"/>
                    </a:lnTo>
                    <a:lnTo>
                      <a:pt x="2858" y="303"/>
                    </a:lnTo>
                    <a:lnTo>
                      <a:pt x="2849" y="305"/>
                    </a:lnTo>
                    <a:lnTo>
                      <a:pt x="2841" y="308"/>
                    </a:lnTo>
                    <a:lnTo>
                      <a:pt x="2827" y="314"/>
                    </a:lnTo>
                    <a:lnTo>
                      <a:pt x="2813" y="323"/>
                    </a:lnTo>
                    <a:lnTo>
                      <a:pt x="2798" y="331"/>
                    </a:lnTo>
                    <a:lnTo>
                      <a:pt x="2784" y="338"/>
                    </a:lnTo>
                    <a:lnTo>
                      <a:pt x="2776" y="341"/>
                    </a:lnTo>
                    <a:lnTo>
                      <a:pt x="2768" y="343"/>
                    </a:lnTo>
                    <a:lnTo>
                      <a:pt x="2759" y="344"/>
                    </a:lnTo>
                    <a:lnTo>
                      <a:pt x="2750" y="344"/>
                    </a:lnTo>
                    <a:lnTo>
                      <a:pt x="2735" y="343"/>
                    </a:lnTo>
                    <a:lnTo>
                      <a:pt x="2722" y="341"/>
                    </a:lnTo>
                    <a:lnTo>
                      <a:pt x="2708" y="336"/>
                    </a:lnTo>
                    <a:lnTo>
                      <a:pt x="2696" y="331"/>
                    </a:lnTo>
                    <a:lnTo>
                      <a:pt x="2684" y="324"/>
                    </a:lnTo>
                    <a:lnTo>
                      <a:pt x="2672" y="315"/>
                    </a:lnTo>
                    <a:lnTo>
                      <a:pt x="2661" y="307"/>
                    </a:lnTo>
                    <a:lnTo>
                      <a:pt x="2650" y="298"/>
                    </a:lnTo>
                    <a:lnTo>
                      <a:pt x="2627" y="280"/>
                    </a:lnTo>
                    <a:lnTo>
                      <a:pt x="2604" y="261"/>
                    </a:lnTo>
                    <a:lnTo>
                      <a:pt x="2592" y="253"/>
                    </a:lnTo>
                    <a:lnTo>
                      <a:pt x="2579" y="245"/>
                    </a:lnTo>
                    <a:lnTo>
                      <a:pt x="2565" y="239"/>
                    </a:lnTo>
                    <a:lnTo>
                      <a:pt x="2550" y="233"/>
                    </a:lnTo>
                    <a:lnTo>
                      <a:pt x="2525" y="227"/>
                    </a:lnTo>
                    <a:lnTo>
                      <a:pt x="2499" y="219"/>
                    </a:lnTo>
                    <a:lnTo>
                      <a:pt x="2487" y="215"/>
                    </a:lnTo>
                    <a:lnTo>
                      <a:pt x="2473" y="211"/>
                    </a:lnTo>
                    <a:lnTo>
                      <a:pt x="2461" y="205"/>
                    </a:lnTo>
                    <a:lnTo>
                      <a:pt x="2450" y="199"/>
                    </a:lnTo>
                    <a:lnTo>
                      <a:pt x="2438" y="193"/>
                    </a:lnTo>
                    <a:lnTo>
                      <a:pt x="2428" y="187"/>
                    </a:lnTo>
                    <a:lnTo>
                      <a:pt x="2418" y="179"/>
                    </a:lnTo>
                    <a:lnTo>
                      <a:pt x="2410" y="171"/>
                    </a:lnTo>
                    <a:lnTo>
                      <a:pt x="2401" y="162"/>
                    </a:lnTo>
                    <a:lnTo>
                      <a:pt x="2394" y="152"/>
                    </a:lnTo>
                    <a:lnTo>
                      <a:pt x="2389" y="141"/>
                    </a:lnTo>
                    <a:lnTo>
                      <a:pt x="2384" y="129"/>
                    </a:lnTo>
                    <a:lnTo>
                      <a:pt x="2370" y="128"/>
                    </a:lnTo>
                    <a:lnTo>
                      <a:pt x="2357" y="126"/>
                    </a:lnTo>
                    <a:lnTo>
                      <a:pt x="2346" y="122"/>
                    </a:lnTo>
                    <a:lnTo>
                      <a:pt x="2335" y="117"/>
                    </a:lnTo>
                    <a:lnTo>
                      <a:pt x="2325" y="111"/>
                    </a:lnTo>
                    <a:lnTo>
                      <a:pt x="2316" y="105"/>
                    </a:lnTo>
                    <a:lnTo>
                      <a:pt x="2308" y="98"/>
                    </a:lnTo>
                    <a:lnTo>
                      <a:pt x="2300" y="89"/>
                    </a:lnTo>
                    <a:lnTo>
                      <a:pt x="2283" y="74"/>
                    </a:lnTo>
                    <a:lnTo>
                      <a:pt x="2267" y="59"/>
                    </a:lnTo>
                    <a:lnTo>
                      <a:pt x="2257" y="52"/>
                    </a:lnTo>
                    <a:lnTo>
                      <a:pt x="2247" y="46"/>
                    </a:lnTo>
                    <a:lnTo>
                      <a:pt x="2236" y="41"/>
                    </a:lnTo>
                    <a:lnTo>
                      <a:pt x="2225" y="36"/>
                    </a:lnTo>
                    <a:lnTo>
                      <a:pt x="2190" y="25"/>
                    </a:lnTo>
                    <a:lnTo>
                      <a:pt x="2160" y="18"/>
                    </a:lnTo>
                    <a:lnTo>
                      <a:pt x="2131" y="10"/>
                    </a:lnTo>
                    <a:lnTo>
                      <a:pt x="2092" y="0"/>
                    </a:lnTo>
                    <a:lnTo>
                      <a:pt x="1973" y="18"/>
                    </a:lnTo>
                    <a:lnTo>
                      <a:pt x="1973" y="27"/>
                    </a:lnTo>
                    <a:lnTo>
                      <a:pt x="1973" y="36"/>
                    </a:lnTo>
                    <a:lnTo>
                      <a:pt x="1973" y="42"/>
                    </a:lnTo>
                    <a:lnTo>
                      <a:pt x="1975" y="46"/>
                    </a:lnTo>
                    <a:lnTo>
                      <a:pt x="1977" y="50"/>
                    </a:lnTo>
                    <a:lnTo>
                      <a:pt x="1980" y="53"/>
                    </a:lnTo>
                    <a:lnTo>
                      <a:pt x="1989" y="58"/>
                    </a:lnTo>
                    <a:lnTo>
                      <a:pt x="1999" y="62"/>
                    </a:lnTo>
                    <a:lnTo>
                      <a:pt x="2009" y="66"/>
                    </a:lnTo>
                    <a:lnTo>
                      <a:pt x="2018" y="72"/>
                    </a:lnTo>
                    <a:lnTo>
                      <a:pt x="2021" y="75"/>
                    </a:lnTo>
                    <a:lnTo>
                      <a:pt x="2023" y="80"/>
                    </a:lnTo>
                    <a:lnTo>
                      <a:pt x="2025" y="85"/>
                    </a:lnTo>
                    <a:lnTo>
                      <a:pt x="2025" y="91"/>
                    </a:lnTo>
                    <a:lnTo>
                      <a:pt x="2024" y="101"/>
                    </a:lnTo>
                    <a:lnTo>
                      <a:pt x="2022" y="108"/>
                    </a:lnTo>
                    <a:lnTo>
                      <a:pt x="2019" y="114"/>
                    </a:lnTo>
                    <a:lnTo>
                      <a:pt x="2016" y="120"/>
                    </a:lnTo>
                    <a:lnTo>
                      <a:pt x="2012" y="125"/>
                    </a:lnTo>
                    <a:lnTo>
                      <a:pt x="2009" y="131"/>
                    </a:lnTo>
                    <a:lnTo>
                      <a:pt x="2007" y="138"/>
                    </a:lnTo>
                    <a:lnTo>
                      <a:pt x="2006" y="147"/>
                    </a:lnTo>
                    <a:lnTo>
                      <a:pt x="2007" y="155"/>
                    </a:lnTo>
                    <a:lnTo>
                      <a:pt x="2009" y="161"/>
                    </a:lnTo>
                    <a:lnTo>
                      <a:pt x="2012" y="168"/>
                    </a:lnTo>
                    <a:lnTo>
                      <a:pt x="2018" y="174"/>
                    </a:lnTo>
                    <a:lnTo>
                      <a:pt x="2022" y="179"/>
                    </a:lnTo>
                    <a:lnTo>
                      <a:pt x="2028" y="184"/>
                    </a:lnTo>
                    <a:lnTo>
                      <a:pt x="2033" y="187"/>
                    </a:lnTo>
                    <a:lnTo>
                      <a:pt x="2039" y="190"/>
                    </a:lnTo>
                    <a:lnTo>
                      <a:pt x="2033" y="197"/>
                    </a:lnTo>
                    <a:lnTo>
                      <a:pt x="2025" y="204"/>
                    </a:lnTo>
                    <a:lnTo>
                      <a:pt x="2017" y="211"/>
                    </a:lnTo>
                    <a:lnTo>
                      <a:pt x="2008" y="216"/>
                    </a:lnTo>
                    <a:lnTo>
                      <a:pt x="1999" y="221"/>
                    </a:lnTo>
                    <a:lnTo>
                      <a:pt x="1989" y="224"/>
                    </a:lnTo>
                    <a:lnTo>
                      <a:pt x="1980" y="227"/>
                    </a:lnTo>
                    <a:lnTo>
                      <a:pt x="1973" y="227"/>
                    </a:lnTo>
                    <a:lnTo>
                      <a:pt x="1962" y="227"/>
                    </a:lnTo>
                    <a:lnTo>
                      <a:pt x="1952" y="227"/>
                    </a:lnTo>
                    <a:lnTo>
                      <a:pt x="1940" y="227"/>
                    </a:lnTo>
                    <a:lnTo>
                      <a:pt x="1925" y="227"/>
                    </a:lnTo>
                    <a:lnTo>
                      <a:pt x="1919" y="258"/>
                    </a:lnTo>
                    <a:lnTo>
                      <a:pt x="1924" y="278"/>
                    </a:lnTo>
                    <a:lnTo>
                      <a:pt x="1930" y="296"/>
                    </a:lnTo>
                    <a:lnTo>
                      <a:pt x="1933" y="304"/>
                    </a:lnTo>
                    <a:lnTo>
                      <a:pt x="1938" y="311"/>
                    </a:lnTo>
                    <a:lnTo>
                      <a:pt x="1942" y="319"/>
                    </a:lnTo>
                    <a:lnTo>
                      <a:pt x="1947" y="326"/>
                    </a:lnTo>
                    <a:lnTo>
                      <a:pt x="1953" y="331"/>
                    </a:lnTo>
                    <a:lnTo>
                      <a:pt x="1961" y="336"/>
                    </a:lnTo>
                    <a:lnTo>
                      <a:pt x="1968" y="340"/>
                    </a:lnTo>
                    <a:lnTo>
                      <a:pt x="1977" y="344"/>
                    </a:lnTo>
                    <a:lnTo>
                      <a:pt x="1987" y="347"/>
                    </a:lnTo>
                    <a:lnTo>
                      <a:pt x="1999" y="349"/>
                    </a:lnTo>
                    <a:lnTo>
                      <a:pt x="2011" y="350"/>
                    </a:lnTo>
                    <a:lnTo>
                      <a:pt x="2025" y="350"/>
                    </a:lnTo>
                    <a:lnTo>
                      <a:pt x="2036" y="350"/>
                    </a:lnTo>
                    <a:lnTo>
                      <a:pt x="2043" y="349"/>
                    </a:lnTo>
                    <a:lnTo>
                      <a:pt x="2048" y="347"/>
                    </a:lnTo>
                    <a:lnTo>
                      <a:pt x="2053" y="344"/>
                    </a:lnTo>
                    <a:lnTo>
                      <a:pt x="2057" y="342"/>
                    </a:lnTo>
                    <a:lnTo>
                      <a:pt x="2064" y="340"/>
                    </a:lnTo>
                    <a:lnTo>
                      <a:pt x="2073" y="339"/>
                    </a:lnTo>
                    <a:lnTo>
                      <a:pt x="2086" y="338"/>
                    </a:lnTo>
                    <a:lnTo>
                      <a:pt x="2092" y="339"/>
                    </a:lnTo>
                    <a:lnTo>
                      <a:pt x="2098" y="340"/>
                    </a:lnTo>
                    <a:lnTo>
                      <a:pt x="2103" y="341"/>
                    </a:lnTo>
                    <a:lnTo>
                      <a:pt x="2109" y="343"/>
                    </a:lnTo>
                    <a:lnTo>
                      <a:pt x="2122" y="349"/>
                    </a:lnTo>
                    <a:lnTo>
                      <a:pt x="2138" y="357"/>
                    </a:lnTo>
                    <a:lnTo>
                      <a:pt x="2140" y="361"/>
                    </a:lnTo>
                    <a:lnTo>
                      <a:pt x="2142" y="366"/>
                    </a:lnTo>
                    <a:lnTo>
                      <a:pt x="2146" y="370"/>
                    </a:lnTo>
                    <a:lnTo>
                      <a:pt x="2151" y="375"/>
                    </a:lnTo>
                    <a:lnTo>
                      <a:pt x="2157" y="379"/>
                    </a:lnTo>
                    <a:lnTo>
                      <a:pt x="2164" y="382"/>
                    </a:lnTo>
                    <a:lnTo>
                      <a:pt x="2170" y="385"/>
                    </a:lnTo>
                    <a:lnTo>
                      <a:pt x="2178" y="388"/>
                    </a:lnTo>
                    <a:lnTo>
                      <a:pt x="2175" y="393"/>
                    </a:lnTo>
                    <a:lnTo>
                      <a:pt x="2169" y="399"/>
                    </a:lnTo>
                    <a:lnTo>
                      <a:pt x="2160" y="405"/>
                    </a:lnTo>
                    <a:lnTo>
                      <a:pt x="2152" y="410"/>
                    </a:lnTo>
                    <a:lnTo>
                      <a:pt x="2141" y="416"/>
                    </a:lnTo>
                    <a:lnTo>
                      <a:pt x="2130" y="420"/>
                    </a:lnTo>
                    <a:lnTo>
                      <a:pt x="2118" y="423"/>
                    </a:lnTo>
                    <a:lnTo>
                      <a:pt x="2106" y="424"/>
                    </a:lnTo>
                    <a:lnTo>
                      <a:pt x="2098" y="426"/>
                    </a:lnTo>
                    <a:lnTo>
                      <a:pt x="2084" y="434"/>
                    </a:lnTo>
                    <a:lnTo>
                      <a:pt x="2064" y="443"/>
                    </a:lnTo>
                    <a:lnTo>
                      <a:pt x="2041" y="455"/>
                    </a:lnTo>
                    <a:lnTo>
                      <a:pt x="2019" y="467"/>
                    </a:lnTo>
                    <a:lnTo>
                      <a:pt x="1998" y="479"/>
                    </a:lnTo>
                    <a:lnTo>
                      <a:pt x="1989" y="485"/>
                    </a:lnTo>
                    <a:lnTo>
                      <a:pt x="1981" y="490"/>
                    </a:lnTo>
                    <a:lnTo>
                      <a:pt x="1976" y="495"/>
                    </a:lnTo>
                    <a:lnTo>
                      <a:pt x="1973" y="499"/>
                    </a:lnTo>
                    <a:lnTo>
                      <a:pt x="1860" y="499"/>
                    </a:lnTo>
                    <a:lnTo>
                      <a:pt x="1860" y="506"/>
                    </a:lnTo>
                    <a:lnTo>
                      <a:pt x="1861" y="513"/>
                    </a:lnTo>
                    <a:lnTo>
                      <a:pt x="1863" y="520"/>
                    </a:lnTo>
                    <a:lnTo>
                      <a:pt x="1864" y="525"/>
                    </a:lnTo>
                    <a:lnTo>
                      <a:pt x="1869" y="536"/>
                    </a:lnTo>
                    <a:lnTo>
                      <a:pt x="1876" y="546"/>
                    </a:lnTo>
                    <a:lnTo>
                      <a:pt x="1882" y="554"/>
                    </a:lnTo>
                    <a:lnTo>
                      <a:pt x="1887" y="562"/>
                    </a:lnTo>
                    <a:lnTo>
                      <a:pt x="1889" y="566"/>
                    </a:lnTo>
                    <a:lnTo>
                      <a:pt x="1891" y="570"/>
                    </a:lnTo>
                    <a:lnTo>
                      <a:pt x="1893" y="574"/>
                    </a:lnTo>
                    <a:lnTo>
                      <a:pt x="1893" y="578"/>
                    </a:lnTo>
                    <a:lnTo>
                      <a:pt x="1893" y="583"/>
                    </a:lnTo>
                    <a:lnTo>
                      <a:pt x="1890" y="588"/>
                    </a:lnTo>
                    <a:lnTo>
                      <a:pt x="1888" y="594"/>
                    </a:lnTo>
                    <a:lnTo>
                      <a:pt x="1885" y="601"/>
                    </a:lnTo>
                    <a:lnTo>
                      <a:pt x="1877" y="613"/>
                    </a:lnTo>
                    <a:lnTo>
                      <a:pt x="1867" y="625"/>
                    </a:lnTo>
                    <a:lnTo>
                      <a:pt x="1856" y="637"/>
                    </a:lnTo>
                    <a:lnTo>
                      <a:pt x="1845" y="647"/>
                    </a:lnTo>
                    <a:lnTo>
                      <a:pt x="1834" y="655"/>
                    </a:lnTo>
                    <a:lnTo>
                      <a:pt x="1827" y="659"/>
                    </a:lnTo>
                    <a:lnTo>
                      <a:pt x="1727" y="659"/>
                    </a:lnTo>
                    <a:lnTo>
                      <a:pt x="1699" y="674"/>
                    </a:lnTo>
                    <a:lnTo>
                      <a:pt x="1664" y="694"/>
                    </a:lnTo>
                    <a:lnTo>
                      <a:pt x="1647" y="704"/>
                    </a:lnTo>
                    <a:lnTo>
                      <a:pt x="1630" y="713"/>
                    </a:lnTo>
                    <a:lnTo>
                      <a:pt x="1624" y="716"/>
                    </a:lnTo>
                    <a:lnTo>
                      <a:pt x="1617" y="718"/>
                    </a:lnTo>
                    <a:lnTo>
                      <a:pt x="1611" y="720"/>
                    </a:lnTo>
                    <a:lnTo>
                      <a:pt x="1607" y="721"/>
                    </a:lnTo>
                    <a:lnTo>
                      <a:pt x="1598" y="720"/>
                    </a:lnTo>
                    <a:lnTo>
                      <a:pt x="1587" y="719"/>
                    </a:lnTo>
                    <a:lnTo>
                      <a:pt x="1574" y="717"/>
                    </a:lnTo>
                    <a:lnTo>
                      <a:pt x="1560" y="714"/>
                    </a:lnTo>
                    <a:lnTo>
                      <a:pt x="1527" y="705"/>
                    </a:lnTo>
                    <a:lnTo>
                      <a:pt x="1493" y="696"/>
                    </a:lnTo>
                    <a:lnTo>
                      <a:pt x="1460" y="686"/>
                    </a:lnTo>
                    <a:lnTo>
                      <a:pt x="1430" y="676"/>
                    </a:lnTo>
                    <a:lnTo>
                      <a:pt x="1418" y="671"/>
                    </a:lnTo>
                    <a:lnTo>
                      <a:pt x="1407" y="667"/>
                    </a:lnTo>
                    <a:lnTo>
                      <a:pt x="1400" y="663"/>
                    </a:lnTo>
                    <a:lnTo>
                      <a:pt x="1394" y="659"/>
                    </a:lnTo>
                    <a:lnTo>
                      <a:pt x="1228" y="659"/>
                    </a:lnTo>
                    <a:lnTo>
                      <a:pt x="1169" y="646"/>
                    </a:lnTo>
                    <a:lnTo>
                      <a:pt x="1160" y="646"/>
                    </a:lnTo>
                    <a:lnTo>
                      <a:pt x="1151" y="646"/>
                    </a:lnTo>
                    <a:lnTo>
                      <a:pt x="1143" y="644"/>
                    </a:lnTo>
                    <a:lnTo>
                      <a:pt x="1133" y="641"/>
                    </a:lnTo>
                    <a:lnTo>
                      <a:pt x="1123" y="638"/>
                    </a:lnTo>
                    <a:lnTo>
                      <a:pt x="1112" y="633"/>
                    </a:lnTo>
                    <a:lnTo>
                      <a:pt x="1102" y="628"/>
                    </a:lnTo>
                    <a:lnTo>
                      <a:pt x="1092" y="622"/>
                    </a:lnTo>
                    <a:lnTo>
                      <a:pt x="1082" y="615"/>
                    </a:lnTo>
                    <a:lnTo>
                      <a:pt x="1073" y="608"/>
                    </a:lnTo>
                    <a:lnTo>
                      <a:pt x="1065" y="601"/>
                    </a:lnTo>
                    <a:lnTo>
                      <a:pt x="1056" y="592"/>
                    </a:lnTo>
                    <a:lnTo>
                      <a:pt x="1049" y="584"/>
                    </a:lnTo>
                    <a:lnTo>
                      <a:pt x="1044" y="576"/>
                    </a:lnTo>
                    <a:lnTo>
                      <a:pt x="1038" y="568"/>
                    </a:lnTo>
                    <a:lnTo>
                      <a:pt x="1036" y="560"/>
                    </a:lnTo>
                    <a:lnTo>
                      <a:pt x="1022" y="560"/>
                    </a:lnTo>
                    <a:lnTo>
                      <a:pt x="1008" y="558"/>
                    </a:lnTo>
                    <a:lnTo>
                      <a:pt x="994" y="555"/>
                    </a:lnTo>
                    <a:lnTo>
                      <a:pt x="980" y="552"/>
                    </a:lnTo>
                    <a:lnTo>
                      <a:pt x="953" y="543"/>
                    </a:lnTo>
                    <a:lnTo>
                      <a:pt x="923" y="532"/>
                    </a:lnTo>
                    <a:lnTo>
                      <a:pt x="893" y="522"/>
                    </a:lnTo>
                    <a:lnTo>
                      <a:pt x="863" y="513"/>
                    </a:lnTo>
                    <a:lnTo>
                      <a:pt x="846" y="510"/>
                    </a:lnTo>
                    <a:lnTo>
                      <a:pt x="831" y="507"/>
                    </a:lnTo>
                    <a:lnTo>
                      <a:pt x="813" y="505"/>
                    </a:lnTo>
                    <a:lnTo>
                      <a:pt x="797" y="505"/>
                    </a:lnTo>
                    <a:lnTo>
                      <a:pt x="786" y="504"/>
                    </a:lnTo>
                    <a:lnTo>
                      <a:pt x="770" y="501"/>
                    </a:lnTo>
                    <a:lnTo>
                      <a:pt x="763" y="499"/>
                    </a:lnTo>
                    <a:lnTo>
                      <a:pt x="756" y="497"/>
                    </a:lnTo>
                    <a:lnTo>
                      <a:pt x="752" y="495"/>
                    </a:lnTo>
                    <a:lnTo>
                      <a:pt x="750" y="493"/>
                    </a:lnTo>
                    <a:lnTo>
                      <a:pt x="746" y="485"/>
                    </a:lnTo>
                    <a:lnTo>
                      <a:pt x="744" y="477"/>
                    </a:lnTo>
                    <a:lnTo>
                      <a:pt x="743" y="470"/>
                    </a:lnTo>
                    <a:lnTo>
                      <a:pt x="743" y="461"/>
                    </a:lnTo>
                    <a:lnTo>
                      <a:pt x="743" y="456"/>
                    </a:lnTo>
                    <a:lnTo>
                      <a:pt x="743" y="449"/>
                    </a:lnTo>
                    <a:lnTo>
                      <a:pt x="743" y="440"/>
                    </a:lnTo>
                    <a:lnTo>
                      <a:pt x="743" y="431"/>
                    </a:lnTo>
                    <a:lnTo>
                      <a:pt x="741" y="431"/>
                    </a:lnTo>
                    <a:lnTo>
                      <a:pt x="736" y="428"/>
                    </a:lnTo>
                    <a:lnTo>
                      <a:pt x="732" y="426"/>
                    </a:lnTo>
                    <a:lnTo>
                      <a:pt x="728" y="422"/>
                    </a:lnTo>
                    <a:lnTo>
                      <a:pt x="717" y="414"/>
                    </a:lnTo>
                    <a:lnTo>
                      <a:pt x="705" y="403"/>
                    </a:lnTo>
                    <a:lnTo>
                      <a:pt x="695" y="391"/>
                    </a:lnTo>
                    <a:lnTo>
                      <a:pt x="686" y="379"/>
                    </a:lnTo>
                    <a:lnTo>
                      <a:pt x="681" y="372"/>
                    </a:lnTo>
                    <a:lnTo>
                      <a:pt x="679" y="367"/>
                    </a:lnTo>
                    <a:lnTo>
                      <a:pt x="677" y="361"/>
                    </a:lnTo>
                    <a:lnTo>
                      <a:pt x="677" y="357"/>
                    </a:lnTo>
                    <a:lnTo>
                      <a:pt x="661" y="356"/>
                    </a:lnTo>
                    <a:lnTo>
                      <a:pt x="645" y="355"/>
                    </a:lnTo>
                    <a:lnTo>
                      <a:pt x="630" y="353"/>
                    </a:lnTo>
                    <a:lnTo>
                      <a:pt x="616" y="351"/>
                    </a:lnTo>
                    <a:lnTo>
                      <a:pt x="602" y="348"/>
                    </a:lnTo>
                    <a:lnTo>
                      <a:pt x="589" y="344"/>
                    </a:lnTo>
                    <a:lnTo>
                      <a:pt x="576" y="340"/>
                    </a:lnTo>
                    <a:lnTo>
                      <a:pt x="564" y="335"/>
                    </a:lnTo>
                    <a:lnTo>
                      <a:pt x="552" y="329"/>
                    </a:lnTo>
                    <a:lnTo>
                      <a:pt x="541" y="323"/>
                    </a:lnTo>
                    <a:lnTo>
                      <a:pt x="531" y="315"/>
                    </a:lnTo>
                    <a:lnTo>
                      <a:pt x="522" y="307"/>
                    </a:lnTo>
                    <a:lnTo>
                      <a:pt x="512" y="299"/>
                    </a:lnTo>
                    <a:lnTo>
                      <a:pt x="505" y="290"/>
                    </a:lnTo>
                    <a:lnTo>
                      <a:pt x="497" y="281"/>
                    </a:lnTo>
                    <a:lnTo>
                      <a:pt x="490" y="271"/>
                    </a:lnTo>
                    <a:lnTo>
                      <a:pt x="475" y="268"/>
                    </a:lnTo>
                    <a:lnTo>
                      <a:pt x="463" y="267"/>
                    </a:lnTo>
                    <a:lnTo>
                      <a:pt x="454" y="267"/>
                    </a:lnTo>
                    <a:lnTo>
                      <a:pt x="449" y="268"/>
                    </a:lnTo>
                    <a:lnTo>
                      <a:pt x="444" y="270"/>
                    </a:lnTo>
                    <a:lnTo>
                      <a:pt x="442" y="273"/>
                    </a:lnTo>
                    <a:lnTo>
                      <a:pt x="441" y="277"/>
                    </a:lnTo>
                    <a:lnTo>
                      <a:pt x="441" y="281"/>
                    </a:lnTo>
                    <a:lnTo>
                      <a:pt x="441" y="286"/>
                    </a:lnTo>
                    <a:lnTo>
                      <a:pt x="441" y="291"/>
                    </a:lnTo>
                    <a:lnTo>
                      <a:pt x="440" y="296"/>
                    </a:lnTo>
                    <a:lnTo>
                      <a:pt x="439" y="301"/>
                    </a:lnTo>
                    <a:lnTo>
                      <a:pt x="436" y="307"/>
                    </a:lnTo>
                    <a:lnTo>
                      <a:pt x="430" y="311"/>
                    </a:lnTo>
                    <a:lnTo>
                      <a:pt x="422" y="316"/>
                    </a:lnTo>
                    <a:lnTo>
                      <a:pt x="411" y="320"/>
                    </a:lnTo>
                    <a:lnTo>
                      <a:pt x="407" y="320"/>
                    </a:lnTo>
                    <a:lnTo>
                      <a:pt x="403" y="321"/>
                    </a:lnTo>
                    <a:lnTo>
                      <a:pt x="400" y="322"/>
                    </a:lnTo>
                    <a:lnTo>
                      <a:pt x="398" y="323"/>
                    </a:lnTo>
                    <a:lnTo>
                      <a:pt x="397" y="325"/>
                    </a:lnTo>
                    <a:lnTo>
                      <a:pt x="396" y="327"/>
                    </a:lnTo>
                    <a:lnTo>
                      <a:pt x="396" y="329"/>
                    </a:lnTo>
                    <a:lnTo>
                      <a:pt x="396" y="332"/>
                    </a:lnTo>
                    <a:lnTo>
                      <a:pt x="401" y="344"/>
                    </a:lnTo>
                    <a:lnTo>
                      <a:pt x="410" y="357"/>
                    </a:lnTo>
                    <a:lnTo>
                      <a:pt x="415" y="364"/>
                    </a:lnTo>
                    <a:lnTo>
                      <a:pt x="419" y="371"/>
                    </a:lnTo>
                    <a:lnTo>
                      <a:pt x="421" y="379"/>
                    </a:lnTo>
                    <a:lnTo>
                      <a:pt x="423" y="385"/>
                    </a:lnTo>
                    <a:lnTo>
                      <a:pt x="423" y="388"/>
                    </a:lnTo>
                    <a:lnTo>
                      <a:pt x="422" y="390"/>
                    </a:lnTo>
                    <a:lnTo>
                      <a:pt x="421" y="393"/>
                    </a:lnTo>
                    <a:lnTo>
                      <a:pt x="420" y="395"/>
                    </a:lnTo>
                    <a:lnTo>
                      <a:pt x="417" y="397"/>
                    </a:lnTo>
                    <a:lnTo>
                      <a:pt x="414" y="398"/>
                    </a:lnTo>
                    <a:lnTo>
                      <a:pt x="409" y="399"/>
                    </a:lnTo>
                    <a:lnTo>
                      <a:pt x="405" y="400"/>
                    </a:lnTo>
                    <a:lnTo>
                      <a:pt x="392" y="400"/>
                    </a:lnTo>
                    <a:lnTo>
                      <a:pt x="377" y="400"/>
                    </a:lnTo>
                    <a:lnTo>
                      <a:pt x="370" y="400"/>
                    </a:lnTo>
                    <a:lnTo>
                      <a:pt x="361" y="399"/>
                    </a:lnTo>
                    <a:lnTo>
                      <a:pt x="351" y="397"/>
                    </a:lnTo>
                    <a:lnTo>
                      <a:pt x="341" y="395"/>
                    </a:lnTo>
                    <a:lnTo>
                      <a:pt x="331" y="393"/>
                    </a:lnTo>
                    <a:lnTo>
                      <a:pt x="321" y="390"/>
                    </a:lnTo>
                    <a:lnTo>
                      <a:pt x="313" y="386"/>
                    </a:lnTo>
                    <a:lnTo>
                      <a:pt x="305" y="382"/>
                    </a:lnTo>
                    <a:lnTo>
                      <a:pt x="303" y="387"/>
                    </a:lnTo>
                    <a:lnTo>
                      <a:pt x="302" y="393"/>
                    </a:lnTo>
                    <a:lnTo>
                      <a:pt x="303" y="401"/>
                    </a:lnTo>
                    <a:lnTo>
                      <a:pt x="303" y="409"/>
                    </a:lnTo>
                    <a:lnTo>
                      <a:pt x="307" y="427"/>
                    </a:lnTo>
                    <a:lnTo>
                      <a:pt x="311" y="448"/>
                    </a:lnTo>
                    <a:lnTo>
                      <a:pt x="316" y="467"/>
                    </a:lnTo>
                    <a:lnTo>
                      <a:pt x="320" y="483"/>
                    </a:lnTo>
                    <a:lnTo>
                      <a:pt x="320" y="491"/>
                    </a:lnTo>
                    <a:lnTo>
                      <a:pt x="320" y="497"/>
                    </a:lnTo>
                    <a:lnTo>
                      <a:pt x="320" y="502"/>
                    </a:lnTo>
                    <a:lnTo>
                      <a:pt x="318" y="505"/>
                    </a:lnTo>
                    <a:lnTo>
                      <a:pt x="292" y="503"/>
                    </a:lnTo>
                    <a:lnTo>
                      <a:pt x="254" y="503"/>
                    </a:lnTo>
                    <a:lnTo>
                      <a:pt x="244" y="504"/>
                    </a:lnTo>
                    <a:lnTo>
                      <a:pt x="236" y="505"/>
                    </a:lnTo>
                    <a:lnTo>
                      <a:pt x="227" y="507"/>
                    </a:lnTo>
                    <a:lnTo>
                      <a:pt x="220" y="510"/>
                    </a:lnTo>
                    <a:lnTo>
                      <a:pt x="214" y="513"/>
                    </a:lnTo>
                    <a:lnTo>
                      <a:pt x="209" y="517"/>
                    </a:lnTo>
                    <a:lnTo>
                      <a:pt x="207" y="520"/>
                    </a:lnTo>
                    <a:lnTo>
                      <a:pt x="206" y="523"/>
                    </a:lnTo>
                    <a:lnTo>
                      <a:pt x="205" y="526"/>
                    </a:lnTo>
                    <a:lnTo>
                      <a:pt x="205" y="529"/>
                    </a:lnTo>
                    <a:lnTo>
                      <a:pt x="216" y="531"/>
                    </a:lnTo>
                    <a:lnTo>
                      <a:pt x="226" y="534"/>
                    </a:lnTo>
                    <a:lnTo>
                      <a:pt x="233" y="538"/>
                    </a:lnTo>
                    <a:lnTo>
                      <a:pt x="239" y="544"/>
                    </a:lnTo>
                    <a:lnTo>
                      <a:pt x="243" y="550"/>
                    </a:lnTo>
                    <a:lnTo>
                      <a:pt x="247" y="556"/>
                    </a:lnTo>
                    <a:lnTo>
                      <a:pt x="250" y="563"/>
                    </a:lnTo>
                    <a:lnTo>
                      <a:pt x="252" y="569"/>
                    </a:lnTo>
                    <a:lnTo>
                      <a:pt x="255" y="583"/>
                    </a:lnTo>
                    <a:lnTo>
                      <a:pt x="260" y="595"/>
                    </a:lnTo>
                    <a:lnTo>
                      <a:pt x="262" y="601"/>
                    </a:lnTo>
                    <a:lnTo>
                      <a:pt x="266" y="605"/>
                    </a:lnTo>
                    <a:lnTo>
                      <a:pt x="272" y="608"/>
                    </a:lnTo>
                    <a:lnTo>
                      <a:pt x="278" y="610"/>
                    </a:lnTo>
                    <a:lnTo>
                      <a:pt x="276" y="614"/>
                    </a:lnTo>
                    <a:lnTo>
                      <a:pt x="275" y="618"/>
                    </a:lnTo>
                    <a:lnTo>
                      <a:pt x="275" y="621"/>
                    </a:lnTo>
                    <a:lnTo>
                      <a:pt x="275" y="625"/>
                    </a:lnTo>
                    <a:lnTo>
                      <a:pt x="277" y="632"/>
                    </a:lnTo>
                    <a:lnTo>
                      <a:pt x="278" y="640"/>
                    </a:lnTo>
                    <a:lnTo>
                      <a:pt x="277" y="658"/>
                    </a:lnTo>
                    <a:lnTo>
                      <a:pt x="274" y="674"/>
                    </a:lnTo>
                    <a:lnTo>
                      <a:pt x="270" y="688"/>
                    </a:lnTo>
                    <a:lnTo>
                      <a:pt x="264" y="700"/>
                    </a:lnTo>
                    <a:lnTo>
                      <a:pt x="261" y="705"/>
                    </a:lnTo>
                    <a:lnTo>
                      <a:pt x="257" y="711"/>
                    </a:lnTo>
                    <a:lnTo>
                      <a:pt x="252" y="716"/>
                    </a:lnTo>
                    <a:lnTo>
                      <a:pt x="248" y="720"/>
                    </a:lnTo>
                    <a:lnTo>
                      <a:pt x="242" y="724"/>
                    </a:lnTo>
                    <a:lnTo>
                      <a:pt x="237" y="727"/>
                    </a:lnTo>
                    <a:lnTo>
                      <a:pt x="231" y="730"/>
                    </a:lnTo>
                    <a:lnTo>
                      <a:pt x="225" y="733"/>
                    </a:lnTo>
                    <a:lnTo>
                      <a:pt x="206" y="735"/>
                    </a:lnTo>
                    <a:lnTo>
                      <a:pt x="182" y="737"/>
                    </a:lnTo>
                    <a:lnTo>
                      <a:pt x="170" y="739"/>
                    </a:lnTo>
                    <a:lnTo>
                      <a:pt x="158" y="741"/>
                    </a:lnTo>
                    <a:lnTo>
                      <a:pt x="152" y="743"/>
                    </a:lnTo>
                    <a:lnTo>
                      <a:pt x="147" y="745"/>
                    </a:lnTo>
                    <a:lnTo>
                      <a:pt x="142" y="748"/>
                    </a:lnTo>
                    <a:lnTo>
                      <a:pt x="139" y="751"/>
                    </a:lnTo>
                    <a:lnTo>
                      <a:pt x="134" y="758"/>
                    </a:lnTo>
                    <a:lnTo>
                      <a:pt x="127" y="770"/>
                    </a:lnTo>
                    <a:lnTo>
                      <a:pt x="123" y="776"/>
                    </a:lnTo>
                    <a:lnTo>
                      <a:pt x="118" y="781"/>
                    </a:lnTo>
                    <a:lnTo>
                      <a:pt x="113" y="785"/>
                    </a:lnTo>
                    <a:lnTo>
                      <a:pt x="105" y="788"/>
                    </a:lnTo>
                    <a:lnTo>
                      <a:pt x="81" y="794"/>
                    </a:lnTo>
                    <a:lnTo>
                      <a:pt x="45" y="800"/>
                    </a:lnTo>
                    <a:lnTo>
                      <a:pt x="27" y="804"/>
                    </a:lnTo>
                    <a:lnTo>
                      <a:pt x="13" y="807"/>
                    </a:lnTo>
                    <a:lnTo>
                      <a:pt x="3" y="810"/>
                    </a:lnTo>
                    <a:lnTo>
                      <a:pt x="0" y="812"/>
                    </a:lnTo>
                    <a:lnTo>
                      <a:pt x="0" y="824"/>
                    </a:lnTo>
                    <a:lnTo>
                      <a:pt x="3" y="833"/>
                    </a:lnTo>
                    <a:lnTo>
                      <a:pt x="6" y="842"/>
                    </a:lnTo>
                    <a:lnTo>
                      <a:pt x="9" y="850"/>
                    </a:lnTo>
                    <a:lnTo>
                      <a:pt x="14" y="859"/>
                    </a:lnTo>
                    <a:lnTo>
                      <a:pt x="18" y="869"/>
                    </a:lnTo>
                    <a:lnTo>
                      <a:pt x="23" y="880"/>
                    </a:lnTo>
                    <a:lnTo>
                      <a:pt x="26" y="893"/>
                    </a:lnTo>
                    <a:lnTo>
                      <a:pt x="40" y="894"/>
                    </a:lnTo>
                    <a:lnTo>
                      <a:pt x="53" y="896"/>
                    </a:lnTo>
                    <a:lnTo>
                      <a:pt x="59" y="897"/>
                    </a:lnTo>
                    <a:lnTo>
                      <a:pt x="64" y="899"/>
                    </a:lnTo>
                    <a:lnTo>
                      <a:pt x="70" y="902"/>
                    </a:lnTo>
                    <a:lnTo>
                      <a:pt x="74" y="905"/>
                    </a:lnTo>
                    <a:lnTo>
                      <a:pt x="79" y="909"/>
                    </a:lnTo>
                    <a:lnTo>
                      <a:pt x="83" y="913"/>
                    </a:lnTo>
                    <a:lnTo>
                      <a:pt x="87" y="918"/>
                    </a:lnTo>
                    <a:lnTo>
                      <a:pt x="90" y="924"/>
                    </a:lnTo>
                    <a:lnTo>
                      <a:pt x="93" y="931"/>
                    </a:lnTo>
                    <a:lnTo>
                      <a:pt x="95" y="938"/>
                    </a:lnTo>
                    <a:lnTo>
                      <a:pt x="97" y="946"/>
                    </a:lnTo>
                    <a:lnTo>
                      <a:pt x="98" y="954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" name="Freeform 15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0411093" y="1987122"/>
                <a:ext cx="220662" cy="273050"/>
              </a:xfrm>
              <a:custGeom>
                <a:avLst/>
                <a:gdLst>
                  <a:gd name="T0" fmla="*/ 2147483647 w 504"/>
                  <a:gd name="T1" fmla="*/ 2147483647 h 524"/>
                  <a:gd name="T2" fmla="*/ 2147483647 w 504"/>
                  <a:gd name="T3" fmla="*/ 2147483647 h 524"/>
                  <a:gd name="T4" fmla="*/ 2147483647 w 504"/>
                  <a:gd name="T5" fmla="*/ 2147483647 h 524"/>
                  <a:gd name="T6" fmla="*/ 2147483647 w 504"/>
                  <a:gd name="T7" fmla="*/ 2147483647 h 524"/>
                  <a:gd name="T8" fmla="*/ 2147483647 w 504"/>
                  <a:gd name="T9" fmla="*/ 2147483647 h 524"/>
                  <a:gd name="T10" fmla="*/ 2147483647 w 504"/>
                  <a:gd name="T11" fmla="*/ 2147483647 h 524"/>
                  <a:gd name="T12" fmla="*/ 2147483647 w 504"/>
                  <a:gd name="T13" fmla="*/ 2147483647 h 524"/>
                  <a:gd name="T14" fmla="*/ 2147483647 w 504"/>
                  <a:gd name="T15" fmla="*/ 2147483647 h 524"/>
                  <a:gd name="T16" fmla="*/ 2147483647 w 504"/>
                  <a:gd name="T17" fmla="*/ 2147483647 h 524"/>
                  <a:gd name="T18" fmla="*/ 1846334995 w 504"/>
                  <a:gd name="T19" fmla="*/ 2147483647 h 524"/>
                  <a:gd name="T20" fmla="*/ 1678416467 w 504"/>
                  <a:gd name="T21" fmla="*/ 2147483647 h 524"/>
                  <a:gd name="T22" fmla="*/ 2147483647 w 504"/>
                  <a:gd name="T23" fmla="*/ 2147483647 h 524"/>
                  <a:gd name="T24" fmla="*/ 2147483647 w 504"/>
                  <a:gd name="T25" fmla="*/ 2147483647 h 524"/>
                  <a:gd name="T26" fmla="*/ 2147483647 w 504"/>
                  <a:gd name="T27" fmla="*/ 2147483647 h 524"/>
                  <a:gd name="T28" fmla="*/ 839208234 w 504"/>
                  <a:gd name="T29" fmla="*/ 2147483647 h 524"/>
                  <a:gd name="T30" fmla="*/ 83959264 w 504"/>
                  <a:gd name="T31" fmla="*/ 2147483647 h 524"/>
                  <a:gd name="T32" fmla="*/ 83959264 w 504"/>
                  <a:gd name="T33" fmla="*/ 2147483647 h 524"/>
                  <a:gd name="T34" fmla="*/ 1426730878 w 504"/>
                  <a:gd name="T35" fmla="*/ 2147483647 h 524"/>
                  <a:gd name="T36" fmla="*/ 2147483647 w 504"/>
                  <a:gd name="T37" fmla="*/ 2147483647 h 524"/>
                  <a:gd name="T38" fmla="*/ 2147483647 w 504"/>
                  <a:gd name="T39" fmla="*/ 2147483647 h 524"/>
                  <a:gd name="T40" fmla="*/ 2147483647 w 504"/>
                  <a:gd name="T41" fmla="*/ 2147483647 h 524"/>
                  <a:gd name="T42" fmla="*/ 2147483647 w 504"/>
                  <a:gd name="T43" fmla="*/ 2147483647 h 524"/>
                  <a:gd name="T44" fmla="*/ 2147483647 w 504"/>
                  <a:gd name="T45" fmla="*/ 2147483647 h 524"/>
                  <a:gd name="T46" fmla="*/ 2147483647 w 504"/>
                  <a:gd name="T47" fmla="*/ 2147483647 h 524"/>
                  <a:gd name="T48" fmla="*/ 2147483647 w 504"/>
                  <a:gd name="T49" fmla="*/ 2147483647 h 524"/>
                  <a:gd name="T50" fmla="*/ 2147483647 w 504"/>
                  <a:gd name="T51" fmla="*/ 2147483647 h 524"/>
                  <a:gd name="T52" fmla="*/ 2147483647 w 504"/>
                  <a:gd name="T53" fmla="*/ 2147483647 h 524"/>
                  <a:gd name="T54" fmla="*/ 2147483647 w 504"/>
                  <a:gd name="T55" fmla="*/ 2147483647 h 524"/>
                  <a:gd name="T56" fmla="*/ 2147483647 w 504"/>
                  <a:gd name="T57" fmla="*/ 2147483647 h 524"/>
                  <a:gd name="T58" fmla="*/ 2147483647 w 504"/>
                  <a:gd name="T59" fmla="*/ 2147483647 h 524"/>
                  <a:gd name="T60" fmla="*/ 2147483647 w 504"/>
                  <a:gd name="T61" fmla="*/ 2147483647 h 524"/>
                  <a:gd name="T62" fmla="*/ 2147483647 w 504"/>
                  <a:gd name="T63" fmla="*/ 2147483647 h 524"/>
                  <a:gd name="T64" fmla="*/ 2147483647 w 504"/>
                  <a:gd name="T65" fmla="*/ 2147483647 h 524"/>
                  <a:gd name="T66" fmla="*/ 2147483647 w 504"/>
                  <a:gd name="T67" fmla="*/ 2147483647 h 524"/>
                  <a:gd name="T68" fmla="*/ 2147483647 w 504"/>
                  <a:gd name="T69" fmla="*/ 2147483647 h 524"/>
                  <a:gd name="T70" fmla="*/ 2147483647 w 504"/>
                  <a:gd name="T71" fmla="*/ 2147483647 h 524"/>
                  <a:gd name="T72" fmla="*/ 2147483647 w 504"/>
                  <a:gd name="T73" fmla="*/ 1839361201 h 524"/>
                  <a:gd name="T74" fmla="*/ 2147483647 w 504"/>
                  <a:gd name="T75" fmla="*/ 0 h 524"/>
                  <a:gd name="T76" fmla="*/ 2147483647 w 504"/>
                  <a:gd name="T77" fmla="*/ 0 h 524"/>
                  <a:gd name="T78" fmla="*/ 2147483647 w 504"/>
                  <a:gd name="T79" fmla="*/ 1132018923 h 524"/>
                  <a:gd name="T80" fmla="*/ 2147483647 w 504"/>
                  <a:gd name="T81" fmla="*/ 2147483647 h 524"/>
                  <a:gd name="T82" fmla="*/ 2147483647 w 504"/>
                  <a:gd name="T83" fmla="*/ 2147483647 h 524"/>
                  <a:gd name="T84" fmla="*/ 2147483647 w 504"/>
                  <a:gd name="T85" fmla="*/ 2147483647 h 524"/>
                  <a:gd name="T86" fmla="*/ 2147483647 w 504"/>
                  <a:gd name="T87" fmla="*/ 2147483647 h 524"/>
                  <a:gd name="T88" fmla="*/ 2147483647 w 504"/>
                  <a:gd name="T89" fmla="*/ 2147483647 h 524"/>
                  <a:gd name="T90" fmla="*/ 2147483647 w 504"/>
                  <a:gd name="T91" fmla="*/ 2147483647 h 524"/>
                  <a:gd name="T92" fmla="*/ 2147483647 w 504"/>
                  <a:gd name="T93" fmla="*/ 2147483647 h 524"/>
                  <a:gd name="T94" fmla="*/ 2147483647 w 504"/>
                  <a:gd name="T95" fmla="*/ 2147483647 h 524"/>
                  <a:gd name="T96" fmla="*/ 2147483647 w 504"/>
                  <a:gd name="T97" fmla="*/ 2147483647 h 524"/>
                  <a:gd name="T98" fmla="*/ 2147483647 w 504"/>
                  <a:gd name="T99" fmla="*/ 2147483647 h 524"/>
                  <a:gd name="T100" fmla="*/ 2147483647 w 504"/>
                  <a:gd name="T101" fmla="*/ 2147483647 h 524"/>
                  <a:gd name="T102" fmla="*/ 2147483647 w 504"/>
                  <a:gd name="T103" fmla="*/ 2147483647 h 524"/>
                  <a:gd name="T104" fmla="*/ 2147483647 w 504"/>
                  <a:gd name="T105" fmla="*/ 2147483647 h 524"/>
                  <a:gd name="T106" fmla="*/ 2147483647 w 504"/>
                  <a:gd name="T107" fmla="*/ 2147483647 h 524"/>
                  <a:gd name="T108" fmla="*/ 2147483647 w 504"/>
                  <a:gd name="T109" fmla="*/ 2147483647 h 524"/>
                  <a:gd name="T110" fmla="*/ 2147483647 w 504"/>
                  <a:gd name="T111" fmla="*/ 2147483647 h 52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04" h="524">
                    <a:moveTo>
                      <a:pt x="365" y="493"/>
                    </a:moveTo>
                    <a:lnTo>
                      <a:pt x="355" y="493"/>
                    </a:lnTo>
                    <a:lnTo>
                      <a:pt x="345" y="493"/>
                    </a:lnTo>
                    <a:lnTo>
                      <a:pt x="266" y="493"/>
                    </a:lnTo>
                    <a:lnTo>
                      <a:pt x="262" y="500"/>
                    </a:lnTo>
                    <a:lnTo>
                      <a:pt x="256" y="505"/>
                    </a:lnTo>
                    <a:lnTo>
                      <a:pt x="250" y="510"/>
                    </a:lnTo>
                    <a:lnTo>
                      <a:pt x="243" y="513"/>
                    </a:lnTo>
                    <a:lnTo>
                      <a:pt x="235" y="517"/>
                    </a:lnTo>
                    <a:lnTo>
                      <a:pt x="228" y="519"/>
                    </a:lnTo>
                    <a:lnTo>
                      <a:pt x="219" y="521"/>
                    </a:lnTo>
                    <a:lnTo>
                      <a:pt x="210" y="522"/>
                    </a:lnTo>
                    <a:lnTo>
                      <a:pt x="191" y="524"/>
                    </a:lnTo>
                    <a:lnTo>
                      <a:pt x="173" y="524"/>
                    </a:lnTo>
                    <a:lnTo>
                      <a:pt x="155" y="524"/>
                    </a:lnTo>
                    <a:lnTo>
                      <a:pt x="140" y="524"/>
                    </a:lnTo>
                    <a:lnTo>
                      <a:pt x="121" y="523"/>
                    </a:lnTo>
                    <a:lnTo>
                      <a:pt x="106" y="522"/>
                    </a:lnTo>
                    <a:lnTo>
                      <a:pt x="100" y="521"/>
                    </a:lnTo>
                    <a:lnTo>
                      <a:pt x="96" y="519"/>
                    </a:lnTo>
                    <a:lnTo>
                      <a:pt x="94" y="516"/>
                    </a:lnTo>
                    <a:lnTo>
                      <a:pt x="93" y="512"/>
                    </a:lnTo>
                    <a:lnTo>
                      <a:pt x="82" y="511"/>
                    </a:lnTo>
                    <a:lnTo>
                      <a:pt x="71" y="509"/>
                    </a:lnTo>
                    <a:lnTo>
                      <a:pt x="59" y="505"/>
                    </a:lnTo>
                    <a:lnTo>
                      <a:pt x="47" y="501"/>
                    </a:lnTo>
                    <a:lnTo>
                      <a:pt x="36" y="496"/>
                    </a:lnTo>
                    <a:lnTo>
                      <a:pt x="28" y="491"/>
                    </a:lnTo>
                    <a:lnTo>
                      <a:pt x="25" y="489"/>
                    </a:lnTo>
                    <a:lnTo>
                      <a:pt x="22" y="486"/>
                    </a:lnTo>
                    <a:lnTo>
                      <a:pt x="20" y="484"/>
                    </a:lnTo>
                    <a:lnTo>
                      <a:pt x="20" y="481"/>
                    </a:lnTo>
                    <a:lnTo>
                      <a:pt x="20" y="477"/>
                    </a:lnTo>
                    <a:lnTo>
                      <a:pt x="22" y="472"/>
                    </a:lnTo>
                    <a:lnTo>
                      <a:pt x="25" y="467"/>
                    </a:lnTo>
                    <a:lnTo>
                      <a:pt x="27" y="463"/>
                    </a:lnTo>
                    <a:lnTo>
                      <a:pt x="31" y="456"/>
                    </a:lnTo>
                    <a:lnTo>
                      <a:pt x="33" y="450"/>
                    </a:lnTo>
                    <a:lnTo>
                      <a:pt x="32" y="445"/>
                    </a:lnTo>
                    <a:lnTo>
                      <a:pt x="31" y="440"/>
                    </a:lnTo>
                    <a:lnTo>
                      <a:pt x="30" y="436"/>
                    </a:lnTo>
                    <a:lnTo>
                      <a:pt x="28" y="432"/>
                    </a:lnTo>
                    <a:lnTo>
                      <a:pt x="22" y="426"/>
                    </a:lnTo>
                    <a:lnTo>
                      <a:pt x="17" y="421"/>
                    </a:lnTo>
                    <a:lnTo>
                      <a:pt x="10" y="417"/>
                    </a:lnTo>
                    <a:lnTo>
                      <a:pt x="5" y="412"/>
                    </a:lnTo>
                    <a:lnTo>
                      <a:pt x="3" y="409"/>
                    </a:lnTo>
                    <a:lnTo>
                      <a:pt x="1" y="407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1" y="391"/>
                    </a:lnTo>
                    <a:lnTo>
                      <a:pt x="5" y="381"/>
                    </a:lnTo>
                    <a:lnTo>
                      <a:pt x="10" y="371"/>
                    </a:lnTo>
                    <a:lnTo>
                      <a:pt x="17" y="360"/>
                    </a:lnTo>
                    <a:lnTo>
                      <a:pt x="26" y="349"/>
                    </a:lnTo>
                    <a:lnTo>
                      <a:pt x="37" y="338"/>
                    </a:lnTo>
                    <a:lnTo>
                      <a:pt x="48" y="328"/>
                    </a:lnTo>
                    <a:lnTo>
                      <a:pt x="60" y="318"/>
                    </a:lnTo>
                    <a:lnTo>
                      <a:pt x="73" y="309"/>
                    </a:lnTo>
                    <a:lnTo>
                      <a:pt x="86" y="299"/>
                    </a:lnTo>
                    <a:lnTo>
                      <a:pt x="99" y="291"/>
                    </a:lnTo>
                    <a:lnTo>
                      <a:pt x="112" y="285"/>
                    </a:lnTo>
                    <a:lnTo>
                      <a:pt x="124" y="279"/>
                    </a:lnTo>
                    <a:lnTo>
                      <a:pt x="138" y="275"/>
                    </a:lnTo>
                    <a:lnTo>
                      <a:pt x="149" y="272"/>
                    </a:lnTo>
                    <a:lnTo>
                      <a:pt x="160" y="272"/>
                    </a:lnTo>
                    <a:lnTo>
                      <a:pt x="166" y="266"/>
                    </a:lnTo>
                    <a:lnTo>
                      <a:pt x="160" y="265"/>
                    </a:lnTo>
                    <a:lnTo>
                      <a:pt x="155" y="264"/>
                    </a:lnTo>
                    <a:lnTo>
                      <a:pt x="150" y="263"/>
                    </a:lnTo>
                    <a:lnTo>
                      <a:pt x="145" y="261"/>
                    </a:lnTo>
                    <a:lnTo>
                      <a:pt x="142" y="259"/>
                    </a:lnTo>
                    <a:lnTo>
                      <a:pt x="139" y="257"/>
                    </a:lnTo>
                    <a:lnTo>
                      <a:pt x="135" y="254"/>
                    </a:lnTo>
                    <a:lnTo>
                      <a:pt x="133" y="251"/>
                    </a:lnTo>
                    <a:lnTo>
                      <a:pt x="130" y="244"/>
                    </a:lnTo>
                    <a:lnTo>
                      <a:pt x="128" y="236"/>
                    </a:lnTo>
                    <a:lnTo>
                      <a:pt x="127" y="229"/>
                    </a:lnTo>
                    <a:lnTo>
                      <a:pt x="127" y="222"/>
                    </a:lnTo>
                    <a:lnTo>
                      <a:pt x="126" y="208"/>
                    </a:lnTo>
                    <a:lnTo>
                      <a:pt x="124" y="195"/>
                    </a:lnTo>
                    <a:lnTo>
                      <a:pt x="121" y="182"/>
                    </a:lnTo>
                    <a:lnTo>
                      <a:pt x="119" y="171"/>
                    </a:lnTo>
                    <a:lnTo>
                      <a:pt x="115" y="161"/>
                    </a:lnTo>
                    <a:lnTo>
                      <a:pt x="110" y="152"/>
                    </a:lnTo>
                    <a:lnTo>
                      <a:pt x="106" y="143"/>
                    </a:lnTo>
                    <a:lnTo>
                      <a:pt x="100" y="134"/>
                    </a:lnTo>
                    <a:lnTo>
                      <a:pt x="89" y="119"/>
                    </a:lnTo>
                    <a:lnTo>
                      <a:pt x="78" y="104"/>
                    </a:lnTo>
                    <a:lnTo>
                      <a:pt x="68" y="90"/>
                    </a:lnTo>
                    <a:lnTo>
                      <a:pt x="60" y="74"/>
                    </a:lnTo>
                    <a:lnTo>
                      <a:pt x="74" y="66"/>
                    </a:lnTo>
                    <a:lnTo>
                      <a:pt x="86" y="60"/>
                    </a:lnTo>
                    <a:lnTo>
                      <a:pt x="93" y="58"/>
                    </a:lnTo>
                    <a:lnTo>
                      <a:pt x="99" y="57"/>
                    </a:lnTo>
                    <a:lnTo>
                      <a:pt x="106" y="56"/>
                    </a:lnTo>
                    <a:lnTo>
                      <a:pt x="112" y="56"/>
                    </a:lnTo>
                    <a:lnTo>
                      <a:pt x="123" y="56"/>
                    </a:lnTo>
                    <a:lnTo>
                      <a:pt x="130" y="58"/>
                    </a:lnTo>
                    <a:lnTo>
                      <a:pt x="133" y="59"/>
                    </a:lnTo>
                    <a:lnTo>
                      <a:pt x="137" y="60"/>
                    </a:lnTo>
                    <a:lnTo>
                      <a:pt x="139" y="61"/>
                    </a:lnTo>
                    <a:lnTo>
                      <a:pt x="143" y="61"/>
                    </a:lnTo>
                    <a:lnTo>
                      <a:pt x="149" y="59"/>
                    </a:lnTo>
                    <a:lnTo>
                      <a:pt x="160" y="56"/>
                    </a:lnTo>
                    <a:lnTo>
                      <a:pt x="160" y="47"/>
                    </a:lnTo>
                    <a:lnTo>
                      <a:pt x="162" y="40"/>
                    </a:lnTo>
                    <a:lnTo>
                      <a:pt x="164" y="33"/>
                    </a:lnTo>
                    <a:lnTo>
                      <a:pt x="166" y="25"/>
                    </a:lnTo>
                    <a:lnTo>
                      <a:pt x="168" y="19"/>
                    </a:lnTo>
                    <a:lnTo>
                      <a:pt x="171" y="13"/>
                    </a:lnTo>
                    <a:lnTo>
                      <a:pt x="172" y="7"/>
                    </a:lnTo>
                    <a:lnTo>
                      <a:pt x="173" y="0"/>
                    </a:lnTo>
                    <a:lnTo>
                      <a:pt x="187" y="0"/>
                    </a:lnTo>
                    <a:lnTo>
                      <a:pt x="201" y="0"/>
                    </a:lnTo>
                    <a:lnTo>
                      <a:pt x="214" y="0"/>
                    </a:lnTo>
                    <a:lnTo>
                      <a:pt x="225" y="0"/>
                    </a:lnTo>
                    <a:lnTo>
                      <a:pt x="235" y="1"/>
                    </a:lnTo>
                    <a:lnTo>
                      <a:pt x="244" y="4"/>
                    </a:lnTo>
                    <a:lnTo>
                      <a:pt x="254" y="8"/>
                    </a:lnTo>
                    <a:lnTo>
                      <a:pt x="263" y="12"/>
                    </a:lnTo>
                    <a:lnTo>
                      <a:pt x="270" y="17"/>
                    </a:lnTo>
                    <a:lnTo>
                      <a:pt x="280" y="21"/>
                    </a:lnTo>
                    <a:lnTo>
                      <a:pt x="289" y="24"/>
                    </a:lnTo>
                    <a:lnTo>
                      <a:pt x="299" y="25"/>
                    </a:lnTo>
                    <a:lnTo>
                      <a:pt x="279" y="62"/>
                    </a:lnTo>
                    <a:lnTo>
                      <a:pt x="283" y="67"/>
                    </a:lnTo>
                    <a:lnTo>
                      <a:pt x="287" y="72"/>
                    </a:lnTo>
                    <a:lnTo>
                      <a:pt x="292" y="77"/>
                    </a:lnTo>
                    <a:lnTo>
                      <a:pt x="297" y="82"/>
                    </a:lnTo>
                    <a:lnTo>
                      <a:pt x="308" y="88"/>
                    </a:lnTo>
                    <a:lnTo>
                      <a:pt x="319" y="94"/>
                    </a:lnTo>
                    <a:lnTo>
                      <a:pt x="341" y="103"/>
                    </a:lnTo>
                    <a:lnTo>
                      <a:pt x="358" y="111"/>
                    </a:lnTo>
                    <a:lnTo>
                      <a:pt x="356" y="119"/>
                    </a:lnTo>
                    <a:lnTo>
                      <a:pt x="353" y="126"/>
                    </a:lnTo>
                    <a:lnTo>
                      <a:pt x="350" y="131"/>
                    </a:lnTo>
                    <a:lnTo>
                      <a:pt x="346" y="135"/>
                    </a:lnTo>
                    <a:lnTo>
                      <a:pt x="343" y="141"/>
                    </a:lnTo>
                    <a:lnTo>
                      <a:pt x="341" y="146"/>
                    </a:lnTo>
                    <a:lnTo>
                      <a:pt x="340" y="153"/>
                    </a:lnTo>
                    <a:lnTo>
                      <a:pt x="339" y="161"/>
                    </a:lnTo>
                    <a:lnTo>
                      <a:pt x="340" y="168"/>
                    </a:lnTo>
                    <a:lnTo>
                      <a:pt x="344" y="176"/>
                    </a:lnTo>
                    <a:lnTo>
                      <a:pt x="350" y="184"/>
                    </a:lnTo>
                    <a:lnTo>
                      <a:pt x="356" y="193"/>
                    </a:lnTo>
                    <a:lnTo>
                      <a:pt x="363" y="200"/>
                    </a:lnTo>
                    <a:lnTo>
                      <a:pt x="369" y="205"/>
                    </a:lnTo>
                    <a:lnTo>
                      <a:pt x="375" y="209"/>
                    </a:lnTo>
                    <a:lnTo>
                      <a:pt x="378" y="210"/>
                    </a:lnTo>
                    <a:lnTo>
                      <a:pt x="379" y="226"/>
                    </a:lnTo>
                    <a:lnTo>
                      <a:pt x="381" y="241"/>
                    </a:lnTo>
                    <a:lnTo>
                      <a:pt x="386" y="256"/>
                    </a:lnTo>
                    <a:lnTo>
                      <a:pt x="391" y="268"/>
                    </a:lnTo>
                    <a:lnTo>
                      <a:pt x="397" y="279"/>
                    </a:lnTo>
                    <a:lnTo>
                      <a:pt x="404" y="289"/>
                    </a:lnTo>
                    <a:lnTo>
                      <a:pt x="413" y="298"/>
                    </a:lnTo>
                    <a:lnTo>
                      <a:pt x="422" y="307"/>
                    </a:lnTo>
                    <a:lnTo>
                      <a:pt x="432" y="315"/>
                    </a:lnTo>
                    <a:lnTo>
                      <a:pt x="442" y="322"/>
                    </a:lnTo>
                    <a:lnTo>
                      <a:pt x="452" y="329"/>
                    </a:lnTo>
                    <a:lnTo>
                      <a:pt x="463" y="335"/>
                    </a:lnTo>
                    <a:lnTo>
                      <a:pt x="485" y="346"/>
                    </a:lnTo>
                    <a:lnTo>
                      <a:pt x="504" y="357"/>
                    </a:lnTo>
                    <a:lnTo>
                      <a:pt x="466" y="390"/>
                    </a:lnTo>
                    <a:lnTo>
                      <a:pt x="430" y="424"/>
                    </a:lnTo>
                    <a:lnTo>
                      <a:pt x="413" y="440"/>
                    </a:lnTo>
                    <a:lnTo>
                      <a:pt x="397" y="457"/>
                    </a:lnTo>
                    <a:lnTo>
                      <a:pt x="380" y="476"/>
                    </a:lnTo>
                    <a:lnTo>
                      <a:pt x="36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" name="Freeform 16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0147568" y="2404635"/>
                <a:ext cx="182562" cy="238125"/>
              </a:xfrm>
              <a:custGeom>
                <a:avLst/>
                <a:gdLst>
                  <a:gd name="T0" fmla="*/ 2147483647 w 438"/>
                  <a:gd name="T1" fmla="*/ 2147483647 h 451"/>
                  <a:gd name="T2" fmla="*/ 2147483647 w 438"/>
                  <a:gd name="T3" fmla="*/ 2147483647 h 451"/>
                  <a:gd name="T4" fmla="*/ 2147483647 w 438"/>
                  <a:gd name="T5" fmla="*/ 2147483647 h 451"/>
                  <a:gd name="T6" fmla="*/ 2147483647 w 438"/>
                  <a:gd name="T7" fmla="*/ 2147483647 h 451"/>
                  <a:gd name="T8" fmla="*/ 2147483647 w 438"/>
                  <a:gd name="T9" fmla="*/ 2147483647 h 451"/>
                  <a:gd name="T10" fmla="*/ 2147483647 w 438"/>
                  <a:gd name="T11" fmla="*/ 2147483647 h 451"/>
                  <a:gd name="T12" fmla="*/ 2147483647 w 438"/>
                  <a:gd name="T13" fmla="*/ 2147483647 h 451"/>
                  <a:gd name="T14" fmla="*/ 2147483647 w 438"/>
                  <a:gd name="T15" fmla="*/ 2147483647 h 451"/>
                  <a:gd name="T16" fmla="*/ 2147483647 w 438"/>
                  <a:gd name="T17" fmla="*/ 2147483647 h 451"/>
                  <a:gd name="T18" fmla="*/ 2147483647 w 438"/>
                  <a:gd name="T19" fmla="*/ 2147483647 h 451"/>
                  <a:gd name="T20" fmla="*/ 2147483647 w 438"/>
                  <a:gd name="T21" fmla="*/ 2147483647 h 451"/>
                  <a:gd name="T22" fmla="*/ 2147483647 w 438"/>
                  <a:gd name="T23" fmla="*/ 2147483647 h 451"/>
                  <a:gd name="T24" fmla="*/ 2147483647 w 438"/>
                  <a:gd name="T25" fmla="*/ 2147483647 h 451"/>
                  <a:gd name="T26" fmla="*/ 2147483647 w 438"/>
                  <a:gd name="T27" fmla="*/ 0 h 451"/>
                  <a:gd name="T28" fmla="*/ 2147483647 w 438"/>
                  <a:gd name="T29" fmla="*/ 2147483647 h 451"/>
                  <a:gd name="T30" fmla="*/ 2147483647 w 438"/>
                  <a:gd name="T31" fmla="*/ 2147483647 h 451"/>
                  <a:gd name="T32" fmla="*/ 2147483647 w 438"/>
                  <a:gd name="T33" fmla="*/ 2147483647 h 451"/>
                  <a:gd name="T34" fmla="*/ 2147483647 w 438"/>
                  <a:gd name="T35" fmla="*/ 2147483647 h 451"/>
                  <a:gd name="T36" fmla="*/ 2147483647 w 438"/>
                  <a:gd name="T37" fmla="*/ 2147483647 h 451"/>
                  <a:gd name="T38" fmla="*/ 2147483647 w 438"/>
                  <a:gd name="T39" fmla="*/ 2147483647 h 451"/>
                  <a:gd name="T40" fmla="*/ 2147483647 w 438"/>
                  <a:gd name="T41" fmla="*/ 2147483647 h 451"/>
                  <a:gd name="T42" fmla="*/ 2147483647 w 438"/>
                  <a:gd name="T43" fmla="*/ 2147483647 h 451"/>
                  <a:gd name="T44" fmla="*/ 2147483647 w 438"/>
                  <a:gd name="T45" fmla="*/ 2147483647 h 451"/>
                  <a:gd name="T46" fmla="*/ 2147483647 w 438"/>
                  <a:gd name="T47" fmla="*/ 2147483647 h 451"/>
                  <a:gd name="T48" fmla="*/ 506941329 w 438"/>
                  <a:gd name="T49" fmla="*/ 2147483647 h 451"/>
                  <a:gd name="T50" fmla="*/ 1086154286 w 438"/>
                  <a:gd name="T51" fmla="*/ 2147483647 h 451"/>
                  <a:gd name="T52" fmla="*/ 1882702302 w 438"/>
                  <a:gd name="T53" fmla="*/ 2147483647 h 451"/>
                  <a:gd name="T54" fmla="*/ 2147483647 w 438"/>
                  <a:gd name="T55" fmla="*/ 2147483647 h 451"/>
                  <a:gd name="T56" fmla="*/ 2147483647 w 438"/>
                  <a:gd name="T57" fmla="*/ 2147483647 h 451"/>
                  <a:gd name="T58" fmla="*/ 2147483647 w 438"/>
                  <a:gd name="T59" fmla="*/ 2147483647 h 451"/>
                  <a:gd name="T60" fmla="*/ 2147483647 w 438"/>
                  <a:gd name="T61" fmla="*/ 2147483647 h 451"/>
                  <a:gd name="T62" fmla="*/ 2147483647 w 438"/>
                  <a:gd name="T63" fmla="*/ 2147483647 h 451"/>
                  <a:gd name="T64" fmla="*/ 2147483647 w 438"/>
                  <a:gd name="T65" fmla="*/ 2147483647 h 451"/>
                  <a:gd name="T66" fmla="*/ 2147483647 w 438"/>
                  <a:gd name="T67" fmla="*/ 2147483647 h 451"/>
                  <a:gd name="T68" fmla="*/ 2147483647 w 438"/>
                  <a:gd name="T69" fmla="*/ 2147483647 h 451"/>
                  <a:gd name="T70" fmla="*/ 2147483647 w 438"/>
                  <a:gd name="T71" fmla="*/ 2147483647 h 451"/>
                  <a:gd name="T72" fmla="*/ 2147483647 w 438"/>
                  <a:gd name="T73" fmla="*/ 2147483647 h 451"/>
                  <a:gd name="T74" fmla="*/ 2147483647 w 438"/>
                  <a:gd name="T75" fmla="*/ 2147483647 h 451"/>
                  <a:gd name="T76" fmla="*/ 2147483647 w 438"/>
                  <a:gd name="T77" fmla="*/ 2147483647 h 451"/>
                  <a:gd name="T78" fmla="*/ 2147483647 w 438"/>
                  <a:gd name="T79" fmla="*/ 2147483647 h 451"/>
                  <a:gd name="T80" fmla="*/ 2147483647 w 438"/>
                  <a:gd name="T81" fmla="*/ 2147483647 h 451"/>
                  <a:gd name="T82" fmla="*/ 2147483647 w 438"/>
                  <a:gd name="T83" fmla="*/ 2147483647 h 451"/>
                  <a:gd name="T84" fmla="*/ 2147483647 w 438"/>
                  <a:gd name="T85" fmla="*/ 2147483647 h 451"/>
                  <a:gd name="T86" fmla="*/ 2147483647 w 438"/>
                  <a:gd name="T87" fmla="*/ 2147483647 h 451"/>
                  <a:gd name="T88" fmla="*/ 2147483647 w 438"/>
                  <a:gd name="T89" fmla="*/ 2147483647 h 451"/>
                  <a:gd name="T90" fmla="*/ 2147483647 w 438"/>
                  <a:gd name="T91" fmla="*/ 2147483647 h 451"/>
                  <a:gd name="T92" fmla="*/ 2147483647 w 438"/>
                  <a:gd name="T93" fmla="*/ 2147483647 h 451"/>
                  <a:gd name="T94" fmla="*/ 2147483647 w 438"/>
                  <a:gd name="T95" fmla="*/ 2147483647 h 451"/>
                  <a:gd name="T96" fmla="*/ 2147483647 w 438"/>
                  <a:gd name="T97" fmla="*/ 2147483647 h 451"/>
                  <a:gd name="T98" fmla="*/ 2147483647 w 438"/>
                  <a:gd name="T99" fmla="*/ 2147483647 h 45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" name="Freeform 17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0172968" y="2661810"/>
                <a:ext cx="250825" cy="274637"/>
              </a:xfrm>
              <a:custGeom>
                <a:avLst/>
                <a:gdLst>
                  <a:gd name="T0" fmla="*/ 2147483647 w 578"/>
                  <a:gd name="T1" fmla="*/ 2147483647 h 524"/>
                  <a:gd name="T2" fmla="*/ 2147483647 w 578"/>
                  <a:gd name="T3" fmla="*/ 2147483647 h 524"/>
                  <a:gd name="T4" fmla="*/ 2147483647 w 578"/>
                  <a:gd name="T5" fmla="*/ 2147483647 h 524"/>
                  <a:gd name="T6" fmla="*/ 2147483647 w 578"/>
                  <a:gd name="T7" fmla="*/ 2147483647 h 524"/>
                  <a:gd name="T8" fmla="*/ 2147483647 w 578"/>
                  <a:gd name="T9" fmla="*/ 2147483647 h 524"/>
                  <a:gd name="T10" fmla="*/ 2147483647 w 578"/>
                  <a:gd name="T11" fmla="*/ 2147483647 h 524"/>
                  <a:gd name="T12" fmla="*/ 2147483647 w 578"/>
                  <a:gd name="T13" fmla="*/ 2147483647 h 524"/>
                  <a:gd name="T14" fmla="*/ 2147483647 w 578"/>
                  <a:gd name="T15" fmla="*/ 2147483647 h 524"/>
                  <a:gd name="T16" fmla="*/ 2147483647 w 578"/>
                  <a:gd name="T17" fmla="*/ 2147483647 h 524"/>
                  <a:gd name="T18" fmla="*/ 2147483647 w 578"/>
                  <a:gd name="T19" fmla="*/ 2147483647 h 524"/>
                  <a:gd name="T20" fmla="*/ 2147483647 w 578"/>
                  <a:gd name="T21" fmla="*/ 2147483647 h 524"/>
                  <a:gd name="T22" fmla="*/ 2147483647 w 578"/>
                  <a:gd name="T23" fmla="*/ 2147483647 h 524"/>
                  <a:gd name="T24" fmla="*/ 2147483647 w 578"/>
                  <a:gd name="T25" fmla="*/ 2147483647 h 524"/>
                  <a:gd name="T26" fmla="*/ 2147483647 w 578"/>
                  <a:gd name="T27" fmla="*/ 2147483647 h 524"/>
                  <a:gd name="T28" fmla="*/ 2147483647 w 578"/>
                  <a:gd name="T29" fmla="*/ 2147483647 h 524"/>
                  <a:gd name="T30" fmla="*/ 2147483647 w 578"/>
                  <a:gd name="T31" fmla="*/ 2147483647 h 524"/>
                  <a:gd name="T32" fmla="*/ 2147483647 w 578"/>
                  <a:gd name="T33" fmla="*/ 2147483647 h 524"/>
                  <a:gd name="T34" fmla="*/ 2147483647 w 578"/>
                  <a:gd name="T35" fmla="*/ 2147483647 h 524"/>
                  <a:gd name="T36" fmla="*/ 2147483647 w 578"/>
                  <a:gd name="T37" fmla="*/ 2147483647 h 524"/>
                  <a:gd name="T38" fmla="*/ 2147483647 w 578"/>
                  <a:gd name="T39" fmla="*/ 2147483647 h 524"/>
                  <a:gd name="T40" fmla="*/ 2147483647 w 578"/>
                  <a:gd name="T41" fmla="*/ 2147483647 h 524"/>
                  <a:gd name="T42" fmla="*/ 2147483647 w 578"/>
                  <a:gd name="T43" fmla="*/ 2147483647 h 524"/>
                  <a:gd name="T44" fmla="*/ 2147483647 w 578"/>
                  <a:gd name="T45" fmla="*/ 2147483647 h 524"/>
                  <a:gd name="T46" fmla="*/ 2147483647 w 578"/>
                  <a:gd name="T47" fmla="*/ 2147483647 h 524"/>
                  <a:gd name="T48" fmla="*/ 2147483647 w 578"/>
                  <a:gd name="T49" fmla="*/ 2147483647 h 524"/>
                  <a:gd name="T50" fmla="*/ 2147483647 w 578"/>
                  <a:gd name="T51" fmla="*/ 2147483647 h 524"/>
                  <a:gd name="T52" fmla="*/ 2147483647 w 578"/>
                  <a:gd name="T53" fmla="*/ 2147483647 h 524"/>
                  <a:gd name="T54" fmla="*/ 2147483647 w 578"/>
                  <a:gd name="T55" fmla="*/ 2147483647 h 524"/>
                  <a:gd name="T56" fmla="*/ 2147483647 w 578"/>
                  <a:gd name="T57" fmla="*/ 2147483647 h 524"/>
                  <a:gd name="T58" fmla="*/ 2147483647 w 578"/>
                  <a:gd name="T59" fmla="*/ 2147483647 h 524"/>
                  <a:gd name="T60" fmla="*/ 2147483647 w 578"/>
                  <a:gd name="T61" fmla="*/ 2147483647 h 524"/>
                  <a:gd name="T62" fmla="*/ 2147483647 w 578"/>
                  <a:gd name="T63" fmla="*/ 2147483647 h 524"/>
                  <a:gd name="T64" fmla="*/ 2147483647 w 578"/>
                  <a:gd name="T65" fmla="*/ 2147483647 h 524"/>
                  <a:gd name="T66" fmla="*/ 2147483647 w 578"/>
                  <a:gd name="T67" fmla="*/ 2147483647 h 524"/>
                  <a:gd name="T68" fmla="*/ 2147483647 w 578"/>
                  <a:gd name="T69" fmla="*/ 2147483647 h 524"/>
                  <a:gd name="T70" fmla="*/ 2147483647 w 578"/>
                  <a:gd name="T71" fmla="*/ 2147483647 h 524"/>
                  <a:gd name="T72" fmla="*/ 2147483647 w 578"/>
                  <a:gd name="T73" fmla="*/ 2147483647 h 524"/>
                  <a:gd name="T74" fmla="*/ 2147483647 w 578"/>
                  <a:gd name="T75" fmla="*/ 2147483647 h 524"/>
                  <a:gd name="T76" fmla="*/ 2147483647 w 578"/>
                  <a:gd name="T77" fmla="*/ 2147483647 h 524"/>
                  <a:gd name="T78" fmla="*/ 1225745323 w 578"/>
                  <a:gd name="T79" fmla="*/ 2147483647 h 524"/>
                  <a:gd name="T80" fmla="*/ 245186645 w 578"/>
                  <a:gd name="T81" fmla="*/ 2147483647 h 524"/>
                  <a:gd name="T82" fmla="*/ 81729026 w 578"/>
                  <a:gd name="T83" fmla="*/ 2147483647 h 524"/>
                  <a:gd name="T84" fmla="*/ 490373290 w 578"/>
                  <a:gd name="T85" fmla="*/ 2147483647 h 524"/>
                  <a:gd name="T86" fmla="*/ 2147483647 w 578"/>
                  <a:gd name="T87" fmla="*/ 2147483647 h 524"/>
                  <a:gd name="T88" fmla="*/ 2147483647 w 578"/>
                  <a:gd name="T89" fmla="*/ 2147483647 h 524"/>
                  <a:gd name="T90" fmla="*/ 2147483647 w 578"/>
                  <a:gd name="T91" fmla="*/ 2147483647 h 524"/>
                  <a:gd name="T92" fmla="*/ 2147483647 w 578"/>
                  <a:gd name="T93" fmla="*/ 2147483647 h 524"/>
                  <a:gd name="T94" fmla="*/ 2147483647 w 578"/>
                  <a:gd name="T95" fmla="*/ 2147483647 h 524"/>
                  <a:gd name="T96" fmla="*/ 2147483647 w 578"/>
                  <a:gd name="T97" fmla="*/ 0 h 524"/>
                  <a:gd name="T98" fmla="*/ 2147483647 w 578"/>
                  <a:gd name="T99" fmla="*/ 1871792142 h 524"/>
                  <a:gd name="T100" fmla="*/ 2147483647 w 578"/>
                  <a:gd name="T101" fmla="*/ 2147483647 h 524"/>
                  <a:gd name="T102" fmla="*/ 2147483647 w 578"/>
                  <a:gd name="T103" fmla="*/ 2147483647 h 524"/>
                  <a:gd name="T104" fmla="*/ 2147483647 w 578"/>
                  <a:gd name="T105" fmla="*/ 2147483647 h 52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" name="Freeform 18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0190430" y="2830085"/>
                <a:ext cx="33338" cy="82550"/>
              </a:xfrm>
              <a:custGeom>
                <a:avLst/>
                <a:gdLst>
                  <a:gd name="T0" fmla="*/ 0 w 79"/>
                  <a:gd name="T1" fmla="*/ 2147483647 h 160"/>
                  <a:gd name="T2" fmla="*/ 450908688 w 79"/>
                  <a:gd name="T3" fmla="*/ 2147483647 h 160"/>
                  <a:gd name="T4" fmla="*/ 826665928 w 79"/>
                  <a:gd name="T5" fmla="*/ 2147483647 h 160"/>
                  <a:gd name="T6" fmla="*/ 1202423168 w 79"/>
                  <a:gd name="T7" fmla="*/ 2147483647 h 160"/>
                  <a:gd name="T8" fmla="*/ 1427877512 w 79"/>
                  <a:gd name="T9" fmla="*/ 2147483647 h 160"/>
                  <a:gd name="T10" fmla="*/ 1953937648 w 79"/>
                  <a:gd name="T11" fmla="*/ 2147483647 h 160"/>
                  <a:gd name="T12" fmla="*/ 2147483647 w 79"/>
                  <a:gd name="T13" fmla="*/ 2147483647 h 160"/>
                  <a:gd name="T14" fmla="*/ 2147483647 w 79"/>
                  <a:gd name="T15" fmla="*/ 2147483647 h 160"/>
                  <a:gd name="T16" fmla="*/ 2147483647 w 79"/>
                  <a:gd name="T17" fmla="*/ 1373282194 h 160"/>
                  <a:gd name="T18" fmla="*/ 2147483647 w 79"/>
                  <a:gd name="T19" fmla="*/ 686774209 h 160"/>
                  <a:gd name="T20" fmla="*/ 2147483647 w 79"/>
                  <a:gd name="T21" fmla="*/ 0 h 160"/>
                  <a:gd name="T22" fmla="*/ 2147483647 w 79"/>
                  <a:gd name="T23" fmla="*/ 412064319 h 160"/>
                  <a:gd name="T24" fmla="*/ 2147483647 w 79"/>
                  <a:gd name="T25" fmla="*/ 961483583 h 160"/>
                  <a:gd name="T26" fmla="*/ 2147483647 w 79"/>
                  <a:gd name="T27" fmla="*/ 1373282194 h 160"/>
                  <a:gd name="T28" fmla="*/ 2147483647 w 79"/>
                  <a:gd name="T29" fmla="*/ 1922701458 h 160"/>
                  <a:gd name="T30" fmla="*/ 2147483647 w 79"/>
                  <a:gd name="T31" fmla="*/ 2147483647 h 160"/>
                  <a:gd name="T32" fmla="*/ 2147483647 w 79"/>
                  <a:gd name="T33" fmla="*/ 2147483647 h 160"/>
                  <a:gd name="T34" fmla="*/ 2147483647 w 79"/>
                  <a:gd name="T35" fmla="*/ 2147483647 h 160"/>
                  <a:gd name="T36" fmla="*/ 2147483647 w 79"/>
                  <a:gd name="T37" fmla="*/ 2147483647 h 160"/>
                  <a:gd name="T38" fmla="*/ 2147483647 w 79"/>
                  <a:gd name="T39" fmla="*/ 2147483647 h 160"/>
                  <a:gd name="T40" fmla="*/ 2147483647 w 79"/>
                  <a:gd name="T41" fmla="*/ 2147483647 h 160"/>
                  <a:gd name="T42" fmla="*/ 2147483647 w 79"/>
                  <a:gd name="T43" fmla="*/ 2147483647 h 160"/>
                  <a:gd name="T44" fmla="*/ 2147483647 w 79"/>
                  <a:gd name="T45" fmla="*/ 2147483647 h 160"/>
                  <a:gd name="T46" fmla="*/ 2147483647 w 79"/>
                  <a:gd name="T47" fmla="*/ 2147483647 h 160"/>
                  <a:gd name="T48" fmla="*/ 2147483647 w 79"/>
                  <a:gd name="T49" fmla="*/ 2147483647 h 160"/>
                  <a:gd name="T50" fmla="*/ 2147483647 w 79"/>
                  <a:gd name="T51" fmla="*/ 2147483647 h 160"/>
                  <a:gd name="T52" fmla="*/ 2147483647 w 79"/>
                  <a:gd name="T53" fmla="*/ 2147483647 h 160"/>
                  <a:gd name="T54" fmla="*/ 2147483647 w 79"/>
                  <a:gd name="T55" fmla="*/ 2147483647 h 160"/>
                  <a:gd name="T56" fmla="*/ 2147483647 w 79"/>
                  <a:gd name="T57" fmla="*/ 2147483647 h 160"/>
                  <a:gd name="T58" fmla="*/ 2147483647 w 79"/>
                  <a:gd name="T59" fmla="*/ 2147483647 h 160"/>
                  <a:gd name="T60" fmla="*/ 2104240544 w 79"/>
                  <a:gd name="T61" fmla="*/ 2147483647 h 160"/>
                  <a:gd name="T62" fmla="*/ 1653331856 w 79"/>
                  <a:gd name="T63" fmla="*/ 2147483647 h 160"/>
                  <a:gd name="T64" fmla="*/ 1352726064 w 79"/>
                  <a:gd name="T65" fmla="*/ 2147483647 h 160"/>
                  <a:gd name="T66" fmla="*/ 1127271720 w 79"/>
                  <a:gd name="T67" fmla="*/ 2147483647 h 160"/>
                  <a:gd name="T68" fmla="*/ 826665928 w 79"/>
                  <a:gd name="T69" fmla="*/ 2147483647 h 160"/>
                  <a:gd name="T70" fmla="*/ 601211584 w 79"/>
                  <a:gd name="T71" fmla="*/ 2147483647 h 160"/>
                  <a:gd name="T72" fmla="*/ 300605792 w 79"/>
                  <a:gd name="T73" fmla="*/ 2147483647 h 160"/>
                  <a:gd name="T74" fmla="*/ 75151448 w 79"/>
                  <a:gd name="T75" fmla="*/ 2147483647 h 160"/>
                  <a:gd name="T76" fmla="*/ 0 w 79"/>
                  <a:gd name="T77" fmla="*/ 2147483647 h 160"/>
                  <a:gd name="T78" fmla="*/ 0 w 79"/>
                  <a:gd name="T79" fmla="*/ 2147483647 h 16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79" h="160">
                    <a:moveTo>
                      <a:pt x="0" y="37"/>
                    </a:moveTo>
                    <a:lnTo>
                      <a:pt x="6" y="37"/>
                    </a:lnTo>
                    <a:lnTo>
                      <a:pt x="11" y="36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6" y="28"/>
                    </a:lnTo>
                    <a:lnTo>
                      <a:pt x="31" y="22"/>
                    </a:lnTo>
                    <a:lnTo>
                      <a:pt x="37" y="16"/>
                    </a:lnTo>
                    <a:lnTo>
                      <a:pt x="41" y="10"/>
                    </a:lnTo>
                    <a:lnTo>
                      <a:pt x="46" y="5"/>
                    </a:lnTo>
                    <a:lnTo>
                      <a:pt x="53" y="0"/>
                    </a:lnTo>
                    <a:lnTo>
                      <a:pt x="57" y="3"/>
                    </a:lnTo>
                    <a:lnTo>
                      <a:pt x="62" y="7"/>
                    </a:lnTo>
                    <a:lnTo>
                      <a:pt x="64" y="10"/>
                    </a:lnTo>
                    <a:lnTo>
                      <a:pt x="66" y="14"/>
                    </a:lnTo>
                    <a:lnTo>
                      <a:pt x="69" y="22"/>
                    </a:lnTo>
                    <a:lnTo>
                      <a:pt x="72" y="32"/>
                    </a:lnTo>
                    <a:lnTo>
                      <a:pt x="73" y="40"/>
                    </a:lnTo>
                    <a:lnTo>
                      <a:pt x="74" y="49"/>
                    </a:lnTo>
                    <a:lnTo>
                      <a:pt x="76" y="58"/>
                    </a:lnTo>
                    <a:lnTo>
                      <a:pt x="79" y="67"/>
                    </a:lnTo>
                    <a:lnTo>
                      <a:pt x="79" y="98"/>
                    </a:lnTo>
                    <a:lnTo>
                      <a:pt x="68" y="115"/>
                    </a:lnTo>
                    <a:lnTo>
                      <a:pt x="59" y="129"/>
                    </a:lnTo>
                    <a:lnTo>
                      <a:pt x="53" y="136"/>
                    </a:lnTo>
                    <a:lnTo>
                      <a:pt x="50" y="144"/>
                    </a:lnTo>
                    <a:lnTo>
                      <a:pt x="48" y="151"/>
                    </a:lnTo>
                    <a:lnTo>
                      <a:pt x="46" y="160"/>
                    </a:lnTo>
                    <a:lnTo>
                      <a:pt x="40" y="155"/>
                    </a:lnTo>
                    <a:lnTo>
                      <a:pt x="33" y="150"/>
                    </a:lnTo>
                    <a:lnTo>
                      <a:pt x="28" y="144"/>
                    </a:lnTo>
                    <a:lnTo>
                      <a:pt x="22" y="137"/>
                    </a:lnTo>
                    <a:lnTo>
                      <a:pt x="18" y="130"/>
                    </a:lnTo>
                    <a:lnTo>
                      <a:pt x="15" y="123"/>
                    </a:lnTo>
                    <a:lnTo>
                      <a:pt x="11" y="115"/>
                    </a:lnTo>
                    <a:lnTo>
                      <a:pt x="8" y="108"/>
                    </a:lnTo>
                    <a:lnTo>
                      <a:pt x="4" y="91"/>
                    </a:lnTo>
                    <a:lnTo>
                      <a:pt x="1" y="73"/>
                    </a:lnTo>
                    <a:lnTo>
                      <a:pt x="0" y="55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14" name="Group 19"/>
              <p:cNvGrpSpPr>
                <a:grpSpLocks/>
              </p:cNvGrpSpPr>
              <p:nvPr>
                <p:custDataLst>
                  <p:tags r:id="rId10"/>
                </p:custDataLst>
              </p:nvPr>
            </p:nvGrpSpPr>
            <p:grpSpPr bwMode="auto">
              <a:xfrm>
                <a:off x="12509768" y="3890535"/>
                <a:ext cx="473075" cy="212725"/>
                <a:chOff x="4488" y="2394"/>
                <a:chExt cx="358" cy="124"/>
              </a:xfrm>
            </p:grpSpPr>
            <p:sp>
              <p:nvSpPr>
                <p:cNvPr id="408" name="Freeform 20"/>
                <p:cNvSpPr>
                  <a:spLocks/>
                </p:cNvSpPr>
                <p:nvPr/>
              </p:nvSpPr>
              <p:spPr bwMode="auto">
                <a:xfrm>
                  <a:off x="4675" y="2394"/>
                  <a:ext cx="171" cy="124"/>
                </a:xfrm>
                <a:custGeom>
                  <a:avLst/>
                  <a:gdLst>
                    <a:gd name="T0" fmla="*/ 16 w 512"/>
                    <a:gd name="T1" fmla="*/ 5 h 408"/>
                    <a:gd name="T2" fmla="*/ 14 w 512"/>
                    <a:gd name="T3" fmla="*/ 5 h 408"/>
                    <a:gd name="T4" fmla="*/ 14 w 512"/>
                    <a:gd name="T5" fmla="*/ 6 h 408"/>
                    <a:gd name="T6" fmla="*/ 13 w 512"/>
                    <a:gd name="T7" fmla="*/ 6 h 408"/>
                    <a:gd name="T8" fmla="*/ 13 w 512"/>
                    <a:gd name="T9" fmla="*/ 7 h 408"/>
                    <a:gd name="T10" fmla="*/ 12 w 512"/>
                    <a:gd name="T11" fmla="*/ 9 h 408"/>
                    <a:gd name="T12" fmla="*/ 11 w 512"/>
                    <a:gd name="T13" fmla="*/ 9 h 408"/>
                    <a:gd name="T14" fmla="*/ 11 w 512"/>
                    <a:gd name="T15" fmla="*/ 10 h 408"/>
                    <a:gd name="T16" fmla="*/ 10 w 512"/>
                    <a:gd name="T17" fmla="*/ 10 h 408"/>
                    <a:gd name="T18" fmla="*/ 10 w 512"/>
                    <a:gd name="T19" fmla="*/ 10 h 408"/>
                    <a:gd name="T20" fmla="*/ 9 w 512"/>
                    <a:gd name="T21" fmla="*/ 11 h 408"/>
                    <a:gd name="T22" fmla="*/ 8 w 512"/>
                    <a:gd name="T23" fmla="*/ 10 h 408"/>
                    <a:gd name="T24" fmla="*/ 7 w 512"/>
                    <a:gd name="T25" fmla="*/ 10 h 408"/>
                    <a:gd name="T26" fmla="*/ 6 w 512"/>
                    <a:gd name="T27" fmla="*/ 10 h 408"/>
                    <a:gd name="T28" fmla="*/ 5 w 512"/>
                    <a:gd name="T29" fmla="*/ 11 h 408"/>
                    <a:gd name="T30" fmla="*/ 4 w 512"/>
                    <a:gd name="T31" fmla="*/ 11 h 408"/>
                    <a:gd name="T32" fmla="*/ 2 w 512"/>
                    <a:gd name="T33" fmla="*/ 12 h 408"/>
                    <a:gd name="T34" fmla="*/ 2 w 512"/>
                    <a:gd name="T35" fmla="*/ 11 h 408"/>
                    <a:gd name="T36" fmla="*/ 1 w 512"/>
                    <a:gd name="T37" fmla="*/ 10 h 408"/>
                    <a:gd name="T38" fmla="*/ 0 w 512"/>
                    <a:gd name="T39" fmla="*/ 10 h 408"/>
                    <a:gd name="T40" fmla="*/ 0 w 512"/>
                    <a:gd name="T41" fmla="*/ 9 h 408"/>
                    <a:gd name="T42" fmla="*/ 1 w 512"/>
                    <a:gd name="T43" fmla="*/ 10 h 408"/>
                    <a:gd name="T44" fmla="*/ 2 w 512"/>
                    <a:gd name="T45" fmla="*/ 9 h 408"/>
                    <a:gd name="T46" fmla="*/ 2 w 512"/>
                    <a:gd name="T47" fmla="*/ 9 h 408"/>
                    <a:gd name="T48" fmla="*/ 3 w 512"/>
                    <a:gd name="T49" fmla="*/ 9 h 408"/>
                    <a:gd name="T50" fmla="*/ 3 w 512"/>
                    <a:gd name="T51" fmla="*/ 8 h 408"/>
                    <a:gd name="T52" fmla="*/ 3 w 512"/>
                    <a:gd name="T53" fmla="*/ 8 h 408"/>
                    <a:gd name="T54" fmla="*/ 4 w 512"/>
                    <a:gd name="T55" fmla="*/ 7 h 408"/>
                    <a:gd name="T56" fmla="*/ 5 w 512"/>
                    <a:gd name="T57" fmla="*/ 7 h 408"/>
                    <a:gd name="T58" fmla="*/ 6 w 512"/>
                    <a:gd name="T59" fmla="*/ 7 h 408"/>
                    <a:gd name="T60" fmla="*/ 7 w 512"/>
                    <a:gd name="T61" fmla="*/ 6 h 408"/>
                    <a:gd name="T62" fmla="*/ 8 w 512"/>
                    <a:gd name="T63" fmla="*/ 6 h 408"/>
                    <a:gd name="T64" fmla="*/ 8 w 512"/>
                    <a:gd name="T65" fmla="*/ 5 h 408"/>
                    <a:gd name="T66" fmla="*/ 8 w 512"/>
                    <a:gd name="T67" fmla="*/ 5 h 408"/>
                    <a:gd name="T68" fmla="*/ 8 w 512"/>
                    <a:gd name="T69" fmla="*/ 4 h 408"/>
                    <a:gd name="T70" fmla="*/ 9 w 512"/>
                    <a:gd name="T71" fmla="*/ 4 h 408"/>
                    <a:gd name="T72" fmla="*/ 9 w 512"/>
                    <a:gd name="T73" fmla="*/ 4 h 408"/>
                    <a:gd name="T74" fmla="*/ 9 w 512"/>
                    <a:gd name="T75" fmla="*/ 4 h 408"/>
                    <a:gd name="T76" fmla="*/ 9 w 512"/>
                    <a:gd name="T77" fmla="*/ 5 h 408"/>
                    <a:gd name="T78" fmla="*/ 9 w 512"/>
                    <a:gd name="T79" fmla="*/ 5 h 408"/>
                    <a:gd name="T80" fmla="*/ 10 w 512"/>
                    <a:gd name="T81" fmla="*/ 6 h 408"/>
                    <a:gd name="T82" fmla="*/ 11 w 512"/>
                    <a:gd name="T83" fmla="*/ 6 h 408"/>
                    <a:gd name="T84" fmla="*/ 12 w 512"/>
                    <a:gd name="T85" fmla="*/ 6 h 408"/>
                    <a:gd name="T86" fmla="*/ 12 w 512"/>
                    <a:gd name="T87" fmla="*/ 5 h 408"/>
                    <a:gd name="T88" fmla="*/ 12 w 512"/>
                    <a:gd name="T89" fmla="*/ 5 h 408"/>
                    <a:gd name="T90" fmla="*/ 11 w 512"/>
                    <a:gd name="T91" fmla="*/ 4 h 408"/>
                    <a:gd name="T92" fmla="*/ 12 w 512"/>
                    <a:gd name="T93" fmla="*/ 3 h 408"/>
                    <a:gd name="T94" fmla="*/ 13 w 512"/>
                    <a:gd name="T95" fmla="*/ 2 h 408"/>
                    <a:gd name="T96" fmla="*/ 14 w 512"/>
                    <a:gd name="T97" fmla="*/ 1 h 408"/>
                    <a:gd name="T98" fmla="*/ 15 w 512"/>
                    <a:gd name="T99" fmla="*/ 0 h 408"/>
                    <a:gd name="T100" fmla="*/ 15 w 512"/>
                    <a:gd name="T101" fmla="*/ 1 h 408"/>
                    <a:gd name="T102" fmla="*/ 15 w 512"/>
                    <a:gd name="T103" fmla="*/ 2 h 408"/>
                    <a:gd name="T104" fmla="*/ 16 w 512"/>
                    <a:gd name="T105" fmla="*/ 2 h 408"/>
                    <a:gd name="T106" fmla="*/ 18 w 512"/>
                    <a:gd name="T107" fmla="*/ 3 h 408"/>
                    <a:gd name="T108" fmla="*/ 19 w 512"/>
                    <a:gd name="T109" fmla="*/ 4 h 408"/>
                    <a:gd name="T110" fmla="*/ 19 w 512"/>
                    <a:gd name="T111" fmla="*/ 4 h 408"/>
                    <a:gd name="T112" fmla="*/ 18 w 512"/>
                    <a:gd name="T113" fmla="*/ 4 h 408"/>
                    <a:gd name="T114" fmla="*/ 17 w 512"/>
                    <a:gd name="T115" fmla="*/ 5 h 40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0" t="0" r="r" b="b"/>
                  <a:pathLst>
                    <a:path w="512" h="408">
                      <a:moveTo>
                        <a:pt x="452" y="204"/>
                      </a:moveTo>
                      <a:lnTo>
                        <a:pt x="442" y="202"/>
                      </a:lnTo>
                      <a:lnTo>
                        <a:pt x="424" y="198"/>
                      </a:lnTo>
                      <a:lnTo>
                        <a:pt x="407" y="194"/>
                      </a:lnTo>
                      <a:lnTo>
                        <a:pt x="392" y="192"/>
                      </a:lnTo>
                      <a:lnTo>
                        <a:pt x="387" y="193"/>
                      </a:lnTo>
                      <a:lnTo>
                        <a:pt x="380" y="195"/>
                      </a:lnTo>
                      <a:lnTo>
                        <a:pt x="374" y="198"/>
                      </a:lnTo>
                      <a:lnTo>
                        <a:pt x="367" y="203"/>
                      </a:lnTo>
                      <a:lnTo>
                        <a:pt x="362" y="207"/>
                      </a:lnTo>
                      <a:lnTo>
                        <a:pt x="356" y="212"/>
                      </a:lnTo>
                      <a:lnTo>
                        <a:pt x="354" y="217"/>
                      </a:lnTo>
                      <a:lnTo>
                        <a:pt x="353" y="222"/>
                      </a:lnTo>
                      <a:lnTo>
                        <a:pt x="351" y="238"/>
                      </a:lnTo>
                      <a:lnTo>
                        <a:pt x="347" y="254"/>
                      </a:lnTo>
                      <a:lnTo>
                        <a:pt x="342" y="271"/>
                      </a:lnTo>
                      <a:lnTo>
                        <a:pt x="335" y="289"/>
                      </a:lnTo>
                      <a:lnTo>
                        <a:pt x="327" y="306"/>
                      </a:lnTo>
                      <a:lnTo>
                        <a:pt x="316" y="321"/>
                      </a:lnTo>
                      <a:lnTo>
                        <a:pt x="310" y="328"/>
                      </a:lnTo>
                      <a:lnTo>
                        <a:pt x="305" y="335"/>
                      </a:lnTo>
                      <a:lnTo>
                        <a:pt x="299" y="341"/>
                      </a:lnTo>
                      <a:lnTo>
                        <a:pt x="293" y="346"/>
                      </a:lnTo>
                      <a:lnTo>
                        <a:pt x="289" y="350"/>
                      </a:lnTo>
                      <a:lnTo>
                        <a:pt x="284" y="354"/>
                      </a:lnTo>
                      <a:lnTo>
                        <a:pt x="277" y="356"/>
                      </a:lnTo>
                      <a:lnTo>
                        <a:pt x="271" y="359"/>
                      </a:lnTo>
                      <a:lnTo>
                        <a:pt x="264" y="362"/>
                      </a:lnTo>
                      <a:lnTo>
                        <a:pt x="258" y="366"/>
                      </a:lnTo>
                      <a:lnTo>
                        <a:pt x="256" y="368"/>
                      </a:lnTo>
                      <a:lnTo>
                        <a:pt x="254" y="370"/>
                      </a:lnTo>
                      <a:lnTo>
                        <a:pt x="253" y="373"/>
                      </a:lnTo>
                      <a:lnTo>
                        <a:pt x="253" y="376"/>
                      </a:lnTo>
                      <a:lnTo>
                        <a:pt x="227" y="376"/>
                      </a:lnTo>
                      <a:lnTo>
                        <a:pt x="221" y="373"/>
                      </a:lnTo>
                      <a:lnTo>
                        <a:pt x="215" y="370"/>
                      </a:lnTo>
                      <a:lnTo>
                        <a:pt x="208" y="369"/>
                      </a:lnTo>
                      <a:lnTo>
                        <a:pt x="200" y="368"/>
                      </a:lnTo>
                      <a:lnTo>
                        <a:pt x="183" y="367"/>
                      </a:lnTo>
                      <a:lnTo>
                        <a:pt x="160" y="364"/>
                      </a:lnTo>
                      <a:lnTo>
                        <a:pt x="157" y="369"/>
                      </a:lnTo>
                      <a:lnTo>
                        <a:pt x="155" y="373"/>
                      </a:lnTo>
                      <a:lnTo>
                        <a:pt x="152" y="377"/>
                      </a:lnTo>
                      <a:lnTo>
                        <a:pt x="148" y="381"/>
                      </a:lnTo>
                      <a:lnTo>
                        <a:pt x="138" y="388"/>
                      </a:lnTo>
                      <a:lnTo>
                        <a:pt x="126" y="396"/>
                      </a:lnTo>
                      <a:lnTo>
                        <a:pt x="111" y="401"/>
                      </a:lnTo>
                      <a:lnTo>
                        <a:pt x="97" y="405"/>
                      </a:lnTo>
                      <a:lnTo>
                        <a:pt x="82" y="407"/>
                      </a:lnTo>
                      <a:lnTo>
                        <a:pt x="66" y="408"/>
                      </a:lnTo>
                      <a:lnTo>
                        <a:pt x="62" y="407"/>
                      </a:lnTo>
                      <a:lnTo>
                        <a:pt x="56" y="406"/>
                      </a:lnTo>
                      <a:lnTo>
                        <a:pt x="51" y="403"/>
                      </a:lnTo>
                      <a:lnTo>
                        <a:pt x="45" y="400"/>
                      </a:lnTo>
                      <a:lnTo>
                        <a:pt x="34" y="390"/>
                      </a:lnTo>
                      <a:lnTo>
                        <a:pt x="24" y="379"/>
                      </a:lnTo>
                      <a:lnTo>
                        <a:pt x="15" y="368"/>
                      </a:lnTo>
                      <a:lnTo>
                        <a:pt x="7" y="356"/>
                      </a:lnTo>
                      <a:lnTo>
                        <a:pt x="4" y="350"/>
                      </a:lnTo>
                      <a:lnTo>
                        <a:pt x="2" y="344"/>
                      </a:lnTo>
                      <a:lnTo>
                        <a:pt x="0" y="338"/>
                      </a:lnTo>
                      <a:lnTo>
                        <a:pt x="0" y="333"/>
                      </a:lnTo>
                      <a:lnTo>
                        <a:pt x="8" y="335"/>
                      </a:lnTo>
                      <a:lnTo>
                        <a:pt x="19" y="340"/>
                      </a:lnTo>
                      <a:lnTo>
                        <a:pt x="27" y="342"/>
                      </a:lnTo>
                      <a:lnTo>
                        <a:pt x="34" y="344"/>
                      </a:lnTo>
                      <a:lnTo>
                        <a:pt x="43" y="346"/>
                      </a:lnTo>
                      <a:lnTo>
                        <a:pt x="53" y="346"/>
                      </a:lnTo>
                      <a:lnTo>
                        <a:pt x="53" y="336"/>
                      </a:lnTo>
                      <a:lnTo>
                        <a:pt x="54" y="328"/>
                      </a:lnTo>
                      <a:lnTo>
                        <a:pt x="54" y="321"/>
                      </a:lnTo>
                      <a:lnTo>
                        <a:pt x="56" y="314"/>
                      </a:lnTo>
                      <a:lnTo>
                        <a:pt x="60" y="308"/>
                      </a:lnTo>
                      <a:lnTo>
                        <a:pt x="64" y="303"/>
                      </a:lnTo>
                      <a:lnTo>
                        <a:pt x="71" y="300"/>
                      </a:lnTo>
                      <a:lnTo>
                        <a:pt x="80" y="297"/>
                      </a:lnTo>
                      <a:lnTo>
                        <a:pt x="81" y="291"/>
                      </a:lnTo>
                      <a:lnTo>
                        <a:pt x="82" y="286"/>
                      </a:lnTo>
                      <a:lnTo>
                        <a:pt x="84" y="281"/>
                      </a:lnTo>
                      <a:lnTo>
                        <a:pt x="86" y="276"/>
                      </a:lnTo>
                      <a:lnTo>
                        <a:pt x="89" y="272"/>
                      </a:lnTo>
                      <a:lnTo>
                        <a:pt x="93" y="268"/>
                      </a:lnTo>
                      <a:lnTo>
                        <a:pt x="97" y="265"/>
                      </a:lnTo>
                      <a:lnTo>
                        <a:pt x="101" y="262"/>
                      </a:lnTo>
                      <a:lnTo>
                        <a:pt x="112" y="256"/>
                      </a:lnTo>
                      <a:lnTo>
                        <a:pt x="125" y="251"/>
                      </a:lnTo>
                      <a:lnTo>
                        <a:pt x="137" y="246"/>
                      </a:lnTo>
                      <a:lnTo>
                        <a:pt x="150" y="241"/>
                      </a:lnTo>
                      <a:lnTo>
                        <a:pt x="163" y="237"/>
                      </a:lnTo>
                      <a:lnTo>
                        <a:pt x="175" y="232"/>
                      </a:lnTo>
                      <a:lnTo>
                        <a:pt x="187" y="226"/>
                      </a:lnTo>
                      <a:lnTo>
                        <a:pt x="198" y="220"/>
                      </a:lnTo>
                      <a:lnTo>
                        <a:pt x="202" y="217"/>
                      </a:lnTo>
                      <a:lnTo>
                        <a:pt x="207" y="213"/>
                      </a:lnTo>
                      <a:lnTo>
                        <a:pt x="210" y="210"/>
                      </a:lnTo>
                      <a:lnTo>
                        <a:pt x="213" y="205"/>
                      </a:lnTo>
                      <a:lnTo>
                        <a:pt x="216" y="201"/>
                      </a:lnTo>
                      <a:lnTo>
                        <a:pt x="218" y="196"/>
                      </a:lnTo>
                      <a:lnTo>
                        <a:pt x="219" y="191"/>
                      </a:lnTo>
                      <a:lnTo>
                        <a:pt x="219" y="186"/>
                      </a:lnTo>
                      <a:lnTo>
                        <a:pt x="221" y="175"/>
                      </a:lnTo>
                      <a:lnTo>
                        <a:pt x="227" y="161"/>
                      </a:lnTo>
                      <a:lnTo>
                        <a:pt x="231" y="150"/>
                      </a:lnTo>
                      <a:lnTo>
                        <a:pt x="233" y="143"/>
                      </a:lnTo>
                      <a:lnTo>
                        <a:pt x="229" y="149"/>
                      </a:lnTo>
                      <a:lnTo>
                        <a:pt x="228" y="153"/>
                      </a:lnTo>
                      <a:lnTo>
                        <a:pt x="229" y="153"/>
                      </a:lnTo>
                      <a:lnTo>
                        <a:pt x="231" y="152"/>
                      </a:lnTo>
                      <a:lnTo>
                        <a:pt x="237" y="146"/>
                      </a:lnTo>
                      <a:lnTo>
                        <a:pt x="240" y="143"/>
                      </a:lnTo>
                      <a:lnTo>
                        <a:pt x="239" y="143"/>
                      </a:lnTo>
                      <a:lnTo>
                        <a:pt x="238" y="146"/>
                      </a:lnTo>
                      <a:lnTo>
                        <a:pt x="237" y="150"/>
                      </a:lnTo>
                      <a:lnTo>
                        <a:pt x="237" y="155"/>
                      </a:lnTo>
                      <a:lnTo>
                        <a:pt x="238" y="160"/>
                      </a:lnTo>
                      <a:lnTo>
                        <a:pt x="239" y="166"/>
                      </a:lnTo>
                      <a:lnTo>
                        <a:pt x="240" y="174"/>
                      </a:lnTo>
                      <a:lnTo>
                        <a:pt x="243" y="181"/>
                      </a:lnTo>
                      <a:lnTo>
                        <a:pt x="246" y="187"/>
                      </a:lnTo>
                      <a:lnTo>
                        <a:pt x="251" y="193"/>
                      </a:lnTo>
                      <a:lnTo>
                        <a:pt x="256" y="198"/>
                      </a:lnTo>
                      <a:lnTo>
                        <a:pt x="264" y="202"/>
                      </a:lnTo>
                      <a:lnTo>
                        <a:pt x="272" y="205"/>
                      </a:lnTo>
                      <a:lnTo>
                        <a:pt x="282" y="207"/>
                      </a:lnTo>
                      <a:lnTo>
                        <a:pt x="293" y="206"/>
                      </a:lnTo>
                      <a:lnTo>
                        <a:pt x="306" y="204"/>
                      </a:lnTo>
                      <a:lnTo>
                        <a:pt x="311" y="206"/>
                      </a:lnTo>
                      <a:lnTo>
                        <a:pt x="317" y="206"/>
                      </a:lnTo>
                      <a:lnTo>
                        <a:pt x="320" y="205"/>
                      </a:lnTo>
                      <a:lnTo>
                        <a:pt x="323" y="204"/>
                      </a:lnTo>
                      <a:lnTo>
                        <a:pt x="325" y="201"/>
                      </a:lnTo>
                      <a:lnTo>
                        <a:pt x="327" y="198"/>
                      </a:lnTo>
                      <a:lnTo>
                        <a:pt x="328" y="193"/>
                      </a:lnTo>
                      <a:lnTo>
                        <a:pt x="328" y="188"/>
                      </a:lnTo>
                      <a:lnTo>
                        <a:pt x="324" y="176"/>
                      </a:lnTo>
                      <a:lnTo>
                        <a:pt x="319" y="161"/>
                      </a:lnTo>
                      <a:lnTo>
                        <a:pt x="310" y="146"/>
                      </a:lnTo>
                      <a:lnTo>
                        <a:pt x="299" y="130"/>
                      </a:lnTo>
                      <a:lnTo>
                        <a:pt x="307" y="124"/>
                      </a:lnTo>
                      <a:lnTo>
                        <a:pt x="312" y="118"/>
                      </a:lnTo>
                      <a:lnTo>
                        <a:pt x="319" y="109"/>
                      </a:lnTo>
                      <a:lnTo>
                        <a:pt x="324" y="101"/>
                      </a:lnTo>
                      <a:lnTo>
                        <a:pt x="334" y="84"/>
                      </a:lnTo>
                      <a:lnTo>
                        <a:pt x="344" y="66"/>
                      </a:lnTo>
                      <a:lnTo>
                        <a:pt x="354" y="47"/>
                      </a:lnTo>
                      <a:lnTo>
                        <a:pt x="366" y="30"/>
                      </a:lnTo>
                      <a:lnTo>
                        <a:pt x="374" y="22"/>
                      </a:lnTo>
                      <a:lnTo>
                        <a:pt x="381" y="14"/>
                      </a:lnTo>
                      <a:lnTo>
                        <a:pt x="389" y="7"/>
                      </a:lnTo>
                      <a:lnTo>
                        <a:pt x="399" y="0"/>
                      </a:lnTo>
                      <a:lnTo>
                        <a:pt x="399" y="9"/>
                      </a:lnTo>
                      <a:lnTo>
                        <a:pt x="400" y="16"/>
                      </a:lnTo>
                      <a:lnTo>
                        <a:pt x="401" y="23"/>
                      </a:lnTo>
                      <a:lnTo>
                        <a:pt x="403" y="29"/>
                      </a:lnTo>
                      <a:lnTo>
                        <a:pt x="408" y="41"/>
                      </a:lnTo>
                      <a:lnTo>
                        <a:pt x="413" y="50"/>
                      </a:lnTo>
                      <a:lnTo>
                        <a:pt x="421" y="59"/>
                      </a:lnTo>
                      <a:lnTo>
                        <a:pt x="430" y="68"/>
                      </a:lnTo>
                      <a:lnTo>
                        <a:pt x="439" y="75"/>
                      </a:lnTo>
                      <a:lnTo>
                        <a:pt x="447" y="81"/>
                      </a:lnTo>
                      <a:lnTo>
                        <a:pt x="467" y="93"/>
                      </a:lnTo>
                      <a:lnTo>
                        <a:pt x="486" y="106"/>
                      </a:lnTo>
                      <a:lnTo>
                        <a:pt x="493" y="113"/>
                      </a:lnTo>
                      <a:lnTo>
                        <a:pt x="501" y="123"/>
                      </a:lnTo>
                      <a:lnTo>
                        <a:pt x="508" y="132"/>
                      </a:lnTo>
                      <a:lnTo>
                        <a:pt x="512" y="143"/>
                      </a:lnTo>
                      <a:lnTo>
                        <a:pt x="504" y="146"/>
                      </a:lnTo>
                      <a:lnTo>
                        <a:pt x="499" y="149"/>
                      </a:lnTo>
                      <a:lnTo>
                        <a:pt x="493" y="150"/>
                      </a:lnTo>
                      <a:lnTo>
                        <a:pt x="489" y="151"/>
                      </a:lnTo>
                      <a:lnTo>
                        <a:pt x="478" y="152"/>
                      </a:lnTo>
                      <a:lnTo>
                        <a:pt x="465" y="155"/>
                      </a:lnTo>
                      <a:lnTo>
                        <a:pt x="463" y="166"/>
                      </a:lnTo>
                      <a:lnTo>
                        <a:pt x="458" y="180"/>
                      </a:lnTo>
                      <a:lnTo>
                        <a:pt x="454" y="193"/>
                      </a:lnTo>
                      <a:lnTo>
                        <a:pt x="452" y="20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9" name="Freeform 21"/>
                <p:cNvSpPr>
                  <a:spLocks/>
                </p:cNvSpPr>
                <p:nvPr/>
              </p:nvSpPr>
              <p:spPr bwMode="auto">
                <a:xfrm>
                  <a:off x="4488" y="2420"/>
                  <a:ext cx="77" cy="89"/>
                </a:xfrm>
                <a:custGeom>
                  <a:avLst/>
                  <a:gdLst>
                    <a:gd name="T0" fmla="*/ 6 w 232"/>
                    <a:gd name="T1" fmla="*/ 1 h 289"/>
                    <a:gd name="T2" fmla="*/ 6 w 232"/>
                    <a:gd name="T3" fmla="*/ 2 h 289"/>
                    <a:gd name="T4" fmla="*/ 6 w 232"/>
                    <a:gd name="T5" fmla="*/ 2 h 289"/>
                    <a:gd name="T6" fmla="*/ 7 w 232"/>
                    <a:gd name="T7" fmla="*/ 2 h 289"/>
                    <a:gd name="T8" fmla="*/ 7 w 232"/>
                    <a:gd name="T9" fmla="*/ 5 h 289"/>
                    <a:gd name="T10" fmla="*/ 7 w 232"/>
                    <a:gd name="T11" fmla="*/ 6 h 289"/>
                    <a:gd name="T12" fmla="*/ 7 w 232"/>
                    <a:gd name="T13" fmla="*/ 6 h 289"/>
                    <a:gd name="T14" fmla="*/ 7 w 232"/>
                    <a:gd name="T15" fmla="*/ 6 h 289"/>
                    <a:gd name="T16" fmla="*/ 9 w 232"/>
                    <a:gd name="T17" fmla="*/ 7 h 289"/>
                    <a:gd name="T18" fmla="*/ 8 w 232"/>
                    <a:gd name="T19" fmla="*/ 8 h 289"/>
                    <a:gd name="T20" fmla="*/ 7 w 232"/>
                    <a:gd name="T21" fmla="*/ 8 h 289"/>
                    <a:gd name="T22" fmla="*/ 6 w 232"/>
                    <a:gd name="T23" fmla="*/ 8 h 289"/>
                    <a:gd name="T24" fmla="*/ 4 w 232"/>
                    <a:gd name="T25" fmla="*/ 7 h 289"/>
                    <a:gd name="T26" fmla="*/ 3 w 232"/>
                    <a:gd name="T27" fmla="*/ 6 h 289"/>
                    <a:gd name="T28" fmla="*/ 2 w 232"/>
                    <a:gd name="T29" fmla="*/ 5 h 289"/>
                    <a:gd name="T30" fmla="*/ 1 w 232"/>
                    <a:gd name="T31" fmla="*/ 4 h 289"/>
                    <a:gd name="T32" fmla="*/ 0 w 232"/>
                    <a:gd name="T33" fmla="*/ 4 h 289"/>
                    <a:gd name="T34" fmla="*/ 0 w 232"/>
                    <a:gd name="T35" fmla="*/ 3 h 289"/>
                    <a:gd name="T36" fmla="*/ 0 w 232"/>
                    <a:gd name="T37" fmla="*/ 3 h 289"/>
                    <a:gd name="T38" fmla="*/ 0 w 232"/>
                    <a:gd name="T39" fmla="*/ 3 h 289"/>
                    <a:gd name="T40" fmla="*/ 0 w 232"/>
                    <a:gd name="T41" fmla="*/ 3 h 289"/>
                    <a:gd name="T42" fmla="*/ 0 w 232"/>
                    <a:gd name="T43" fmla="*/ 2 h 289"/>
                    <a:gd name="T44" fmla="*/ 0 w 232"/>
                    <a:gd name="T45" fmla="*/ 2 h 289"/>
                    <a:gd name="T46" fmla="*/ 0 w 232"/>
                    <a:gd name="T47" fmla="*/ 1 h 289"/>
                    <a:gd name="T48" fmla="*/ 0 w 232"/>
                    <a:gd name="T49" fmla="*/ 0 h 289"/>
                    <a:gd name="T50" fmla="*/ 1 w 232"/>
                    <a:gd name="T51" fmla="*/ 0 h 289"/>
                    <a:gd name="T52" fmla="*/ 2 w 232"/>
                    <a:gd name="T53" fmla="*/ 0 h 289"/>
                    <a:gd name="T54" fmla="*/ 2 w 232"/>
                    <a:gd name="T55" fmla="*/ 1 h 289"/>
                    <a:gd name="T56" fmla="*/ 3 w 232"/>
                    <a:gd name="T57" fmla="*/ 1 h 289"/>
                    <a:gd name="T58" fmla="*/ 3 w 232"/>
                    <a:gd name="T59" fmla="*/ 1 h 289"/>
                    <a:gd name="T60" fmla="*/ 3 w 232"/>
                    <a:gd name="T61" fmla="*/ 1 h 289"/>
                    <a:gd name="T62" fmla="*/ 4 w 232"/>
                    <a:gd name="T63" fmla="*/ 1 h 289"/>
                    <a:gd name="T64" fmla="*/ 4 w 232"/>
                    <a:gd name="T65" fmla="*/ 1 h 289"/>
                    <a:gd name="T66" fmla="*/ 5 w 232"/>
                    <a:gd name="T67" fmla="*/ 0 h 28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232" h="289">
                      <a:moveTo>
                        <a:pt x="140" y="6"/>
                      </a:moveTo>
                      <a:lnTo>
                        <a:pt x="151" y="24"/>
                      </a:lnTo>
                      <a:lnTo>
                        <a:pt x="159" y="41"/>
                      </a:lnTo>
                      <a:lnTo>
                        <a:pt x="165" y="48"/>
                      </a:lnTo>
                      <a:lnTo>
                        <a:pt x="170" y="54"/>
                      </a:lnTo>
                      <a:lnTo>
                        <a:pt x="174" y="56"/>
                      </a:lnTo>
                      <a:lnTo>
                        <a:pt x="177" y="59"/>
                      </a:lnTo>
                      <a:lnTo>
                        <a:pt x="181" y="60"/>
                      </a:lnTo>
                      <a:lnTo>
                        <a:pt x="186" y="62"/>
                      </a:lnTo>
                      <a:lnTo>
                        <a:pt x="186" y="166"/>
                      </a:lnTo>
                      <a:lnTo>
                        <a:pt x="187" y="183"/>
                      </a:lnTo>
                      <a:lnTo>
                        <a:pt x="189" y="196"/>
                      </a:lnTo>
                      <a:lnTo>
                        <a:pt x="191" y="202"/>
                      </a:lnTo>
                      <a:lnTo>
                        <a:pt x="193" y="207"/>
                      </a:lnTo>
                      <a:lnTo>
                        <a:pt x="196" y="212"/>
                      </a:lnTo>
                      <a:lnTo>
                        <a:pt x="199" y="216"/>
                      </a:lnTo>
                      <a:lnTo>
                        <a:pt x="213" y="230"/>
                      </a:lnTo>
                      <a:lnTo>
                        <a:pt x="232" y="246"/>
                      </a:lnTo>
                      <a:lnTo>
                        <a:pt x="232" y="289"/>
                      </a:lnTo>
                      <a:lnTo>
                        <a:pt x="219" y="288"/>
                      </a:lnTo>
                      <a:lnTo>
                        <a:pt x="202" y="286"/>
                      </a:lnTo>
                      <a:lnTo>
                        <a:pt x="186" y="282"/>
                      </a:lnTo>
                      <a:lnTo>
                        <a:pt x="172" y="277"/>
                      </a:lnTo>
                      <a:lnTo>
                        <a:pt x="151" y="264"/>
                      </a:lnTo>
                      <a:lnTo>
                        <a:pt x="131" y="249"/>
                      </a:lnTo>
                      <a:lnTo>
                        <a:pt x="113" y="235"/>
                      </a:lnTo>
                      <a:lnTo>
                        <a:pt x="97" y="221"/>
                      </a:lnTo>
                      <a:lnTo>
                        <a:pt x="81" y="207"/>
                      </a:lnTo>
                      <a:lnTo>
                        <a:pt x="68" y="191"/>
                      </a:lnTo>
                      <a:lnTo>
                        <a:pt x="56" y="176"/>
                      </a:lnTo>
                      <a:lnTo>
                        <a:pt x="46" y="160"/>
                      </a:lnTo>
                      <a:lnTo>
                        <a:pt x="31" y="145"/>
                      </a:lnTo>
                      <a:lnTo>
                        <a:pt x="15" y="132"/>
                      </a:lnTo>
                      <a:lnTo>
                        <a:pt x="9" y="126"/>
                      </a:lnTo>
                      <a:lnTo>
                        <a:pt x="4" y="120"/>
                      </a:lnTo>
                      <a:lnTo>
                        <a:pt x="2" y="117"/>
                      </a:lnTo>
                      <a:lnTo>
                        <a:pt x="1" y="113"/>
                      </a:lnTo>
                      <a:lnTo>
                        <a:pt x="0" y="109"/>
                      </a:lnTo>
                      <a:lnTo>
                        <a:pt x="0" y="105"/>
                      </a:lnTo>
                      <a:lnTo>
                        <a:pt x="0" y="100"/>
                      </a:lnTo>
                      <a:lnTo>
                        <a:pt x="1" y="96"/>
                      </a:lnTo>
                      <a:lnTo>
                        <a:pt x="3" y="92"/>
                      </a:lnTo>
                      <a:lnTo>
                        <a:pt x="7" y="88"/>
                      </a:lnTo>
                      <a:lnTo>
                        <a:pt x="11" y="79"/>
                      </a:lnTo>
                      <a:lnTo>
                        <a:pt x="13" y="74"/>
                      </a:lnTo>
                      <a:lnTo>
                        <a:pt x="12" y="52"/>
                      </a:lnTo>
                      <a:lnTo>
                        <a:pt x="10" y="33"/>
                      </a:lnTo>
                      <a:lnTo>
                        <a:pt x="7" y="15"/>
                      </a:lnTo>
                      <a:lnTo>
                        <a:pt x="7" y="0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3"/>
                      </a:lnTo>
                      <a:lnTo>
                        <a:pt x="32" y="5"/>
                      </a:lnTo>
                      <a:lnTo>
                        <a:pt x="42" y="10"/>
                      </a:lnTo>
                      <a:lnTo>
                        <a:pt x="51" y="15"/>
                      </a:lnTo>
                      <a:lnTo>
                        <a:pt x="59" y="21"/>
                      </a:lnTo>
                      <a:lnTo>
                        <a:pt x="68" y="26"/>
                      </a:lnTo>
                      <a:lnTo>
                        <a:pt x="73" y="28"/>
                      </a:lnTo>
                      <a:lnTo>
                        <a:pt x="77" y="29"/>
                      </a:lnTo>
                      <a:lnTo>
                        <a:pt x="81" y="31"/>
                      </a:lnTo>
                      <a:lnTo>
                        <a:pt x="86" y="31"/>
                      </a:lnTo>
                      <a:lnTo>
                        <a:pt x="91" y="31"/>
                      </a:lnTo>
                      <a:lnTo>
                        <a:pt x="98" y="28"/>
                      </a:lnTo>
                      <a:lnTo>
                        <a:pt x="105" y="26"/>
                      </a:lnTo>
                      <a:lnTo>
                        <a:pt x="112" y="23"/>
                      </a:lnTo>
                      <a:lnTo>
                        <a:pt x="120" y="19"/>
                      </a:lnTo>
                      <a:lnTo>
                        <a:pt x="127" y="15"/>
                      </a:lnTo>
                      <a:lnTo>
                        <a:pt x="133" y="11"/>
                      </a:lnTo>
                      <a:lnTo>
                        <a:pt x="140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15" name="Freeform 22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531743" y="1766460"/>
                <a:ext cx="3065462" cy="1074737"/>
              </a:xfrm>
              <a:custGeom>
                <a:avLst/>
                <a:gdLst>
                  <a:gd name="T0" fmla="*/ 2147483647 w 7049"/>
                  <a:gd name="T1" fmla="*/ 2147483647 h 2048"/>
                  <a:gd name="T2" fmla="*/ 2147483647 w 7049"/>
                  <a:gd name="T3" fmla="*/ 2147483647 h 2048"/>
                  <a:gd name="T4" fmla="*/ 2147483647 w 7049"/>
                  <a:gd name="T5" fmla="*/ 2147483647 h 2048"/>
                  <a:gd name="T6" fmla="*/ 2147483647 w 7049"/>
                  <a:gd name="T7" fmla="*/ 2147483647 h 2048"/>
                  <a:gd name="T8" fmla="*/ 2147483647 w 7049"/>
                  <a:gd name="T9" fmla="*/ 2147483647 h 2048"/>
                  <a:gd name="T10" fmla="*/ 2147483647 w 7049"/>
                  <a:gd name="T11" fmla="*/ 2147483647 h 2048"/>
                  <a:gd name="T12" fmla="*/ 2147483647 w 7049"/>
                  <a:gd name="T13" fmla="*/ 2147483647 h 2048"/>
                  <a:gd name="T14" fmla="*/ 2147483647 w 7049"/>
                  <a:gd name="T15" fmla="*/ 2147483647 h 2048"/>
                  <a:gd name="T16" fmla="*/ 2147483647 w 7049"/>
                  <a:gd name="T17" fmla="*/ 2147483647 h 2048"/>
                  <a:gd name="T18" fmla="*/ 2147483647 w 7049"/>
                  <a:gd name="T19" fmla="*/ 2147483647 h 2048"/>
                  <a:gd name="T20" fmla="*/ 2147483647 w 7049"/>
                  <a:gd name="T21" fmla="*/ 2147483647 h 2048"/>
                  <a:gd name="T22" fmla="*/ 2147483647 w 7049"/>
                  <a:gd name="T23" fmla="*/ 2147483647 h 2048"/>
                  <a:gd name="T24" fmla="*/ 2147483647 w 7049"/>
                  <a:gd name="T25" fmla="*/ 2147483647 h 2048"/>
                  <a:gd name="T26" fmla="*/ 2147483647 w 7049"/>
                  <a:gd name="T27" fmla="*/ 2147483647 h 2048"/>
                  <a:gd name="T28" fmla="*/ 2147483647 w 7049"/>
                  <a:gd name="T29" fmla="*/ 2147483647 h 2048"/>
                  <a:gd name="T30" fmla="*/ 2147483647 w 7049"/>
                  <a:gd name="T31" fmla="*/ 2147483647 h 2048"/>
                  <a:gd name="T32" fmla="*/ 2147483647 w 7049"/>
                  <a:gd name="T33" fmla="*/ 2147483647 h 2048"/>
                  <a:gd name="T34" fmla="*/ 2147483647 w 7049"/>
                  <a:gd name="T35" fmla="*/ 2147483647 h 2048"/>
                  <a:gd name="T36" fmla="*/ 2147483647 w 7049"/>
                  <a:gd name="T37" fmla="*/ 2147483647 h 2048"/>
                  <a:gd name="T38" fmla="*/ 2147483647 w 7049"/>
                  <a:gd name="T39" fmla="*/ 2147483647 h 2048"/>
                  <a:gd name="T40" fmla="*/ 2147483647 w 7049"/>
                  <a:gd name="T41" fmla="*/ 2147483647 h 2048"/>
                  <a:gd name="T42" fmla="*/ 2147483647 w 7049"/>
                  <a:gd name="T43" fmla="*/ 2147483647 h 2048"/>
                  <a:gd name="T44" fmla="*/ 2147483647 w 7049"/>
                  <a:gd name="T45" fmla="*/ 2147483647 h 2048"/>
                  <a:gd name="T46" fmla="*/ 2147483647 w 7049"/>
                  <a:gd name="T47" fmla="*/ 2147483647 h 2048"/>
                  <a:gd name="T48" fmla="*/ 2147483647 w 7049"/>
                  <a:gd name="T49" fmla="*/ 2147483647 h 2048"/>
                  <a:gd name="T50" fmla="*/ 2147483647 w 7049"/>
                  <a:gd name="T51" fmla="*/ 2147483647 h 2048"/>
                  <a:gd name="T52" fmla="*/ 2147483647 w 7049"/>
                  <a:gd name="T53" fmla="*/ 2147483647 h 2048"/>
                  <a:gd name="T54" fmla="*/ 2147483647 w 7049"/>
                  <a:gd name="T55" fmla="*/ 2147483647 h 2048"/>
                  <a:gd name="T56" fmla="*/ 2147483647 w 7049"/>
                  <a:gd name="T57" fmla="*/ 2147483647 h 2048"/>
                  <a:gd name="T58" fmla="*/ 2147483647 w 7049"/>
                  <a:gd name="T59" fmla="*/ 2147483647 h 2048"/>
                  <a:gd name="T60" fmla="*/ 2147483647 w 7049"/>
                  <a:gd name="T61" fmla="*/ 2147483647 h 2048"/>
                  <a:gd name="T62" fmla="*/ 2147483647 w 7049"/>
                  <a:gd name="T63" fmla="*/ 2147483647 h 2048"/>
                  <a:gd name="T64" fmla="*/ 2147483647 w 7049"/>
                  <a:gd name="T65" fmla="*/ 2147483647 h 2048"/>
                  <a:gd name="T66" fmla="*/ 2147483647 w 7049"/>
                  <a:gd name="T67" fmla="*/ 2147483647 h 2048"/>
                  <a:gd name="T68" fmla="*/ 2147483647 w 7049"/>
                  <a:gd name="T69" fmla="*/ 2147483647 h 2048"/>
                  <a:gd name="T70" fmla="*/ 2147483647 w 7049"/>
                  <a:gd name="T71" fmla="*/ 2147483647 h 2048"/>
                  <a:gd name="T72" fmla="*/ 2147483647 w 7049"/>
                  <a:gd name="T73" fmla="*/ 2147483647 h 2048"/>
                  <a:gd name="T74" fmla="*/ 2147483647 w 7049"/>
                  <a:gd name="T75" fmla="*/ 2147483647 h 2048"/>
                  <a:gd name="T76" fmla="*/ 2147483647 w 7049"/>
                  <a:gd name="T77" fmla="*/ 2147483647 h 2048"/>
                  <a:gd name="T78" fmla="*/ 2147483647 w 7049"/>
                  <a:gd name="T79" fmla="*/ 2147483647 h 2048"/>
                  <a:gd name="T80" fmla="*/ 2147483647 w 7049"/>
                  <a:gd name="T81" fmla="*/ 2147483647 h 2048"/>
                  <a:gd name="T82" fmla="*/ 2147483647 w 7049"/>
                  <a:gd name="T83" fmla="*/ 2147483647 h 2048"/>
                  <a:gd name="T84" fmla="*/ 2147483647 w 7049"/>
                  <a:gd name="T85" fmla="*/ 2147483647 h 2048"/>
                  <a:gd name="T86" fmla="*/ 2147483647 w 7049"/>
                  <a:gd name="T87" fmla="*/ 2147483647 h 2048"/>
                  <a:gd name="T88" fmla="*/ 2147483647 w 7049"/>
                  <a:gd name="T89" fmla="*/ 2147483647 h 2048"/>
                  <a:gd name="T90" fmla="*/ 2147483647 w 7049"/>
                  <a:gd name="T91" fmla="*/ 2147483647 h 2048"/>
                  <a:gd name="T92" fmla="*/ 2147483647 w 7049"/>
                  <a:gd name="T93" fmla="*/ 2147483647 h 2048"/>
                  <a:gd name="T94" fmla="*/ 2147483647 w 7049"/>
                  <a:gd name="T95" fmla="*/ 2147483647 h 2048"/>
                  <a:gd name="T96" fmla="*/ 2147483647 w 7049"/>
                  <a:gd name="T97" fmla="*/ 2147483647 h 2048"/>
                  <a:gd name="T98" fmla="*/ 2147483647 w 7049"/>
                  <a:gd name="T99" fmla="*/ 2147483647 h 2048"/>
                  <a:gd name="T100" fmla="*/ 2147483647 w 7049"/>
                  <a:gd name="T101" fmla="*/ 2147483647 h 2048"/>
                  <a:gd name="T102" fmla="*/ 2147483647 w 7049"/>
                  <a:gd name="T103" fmla="*/ 2147483647 h 2048"/>
                  <a:gd name="T104" fmla="*/ 2147483647 w 7049"/>
                  <a:gd name="T105" fmla="*/ 2147483647 h 2048"/>
                  <a:gd name="T106" fmla="*/ 2147483647 w 7049"/>
                  <a:gd name="T107" fmla="*/ 2147483647 h 2048"/>
                  <a:gd name="T108" fmla="*/ 2147483647 w 7049"/>
                  <a:gd name="T109" fmla="*/ 2147483647 h 2048"/>
                  <a:gd name="T110" fmla="*/ 2147483647 w 7049"/>
                  <a:gd name="T111" fmla="*/ 2147483647 h 2048"/>
                  <a:gd name="T112" fmla="*/ 2147483647 w 7049"/>
                  <a:gd name="T113" fmla="*/ 2147483647 h 2048"/>
                  <a:gd name="T114" fmla="*/ 2147483647 w 7049"/>
                  <a:gd name="T115" fmla="*/ 2147483647 h 2048"/>
                  <a:gd name="T116" fmla="*/ 2147483647 w 7049"/>
                  <a:gd name="T117" fmla="*/ 2147483647 h 2048"/>
                  <a:gd name="T118" fmla="*/ 2147483647 w 7049"/>
                  <a:gd name="T119" fmla="*/ 2147483647 h 2048"/>
                  <a:gd name="T120" fmla="*/ 2147483647 w 7049"/>
                  <a:gd name="T121" fmla="*/ 2147483647 h 2048"/>
                  <a:gd name="T122" fmla="*/ 2147483647 w 7049"/>
                  <a:gd name="T123" fmla="*/ 2147483647 h 204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7049" h="2048">
                    <a:moveTo>
                      <a:pt x="365" y="1401"/>
                    </a:moveTo>
                    <a:lnTo>
                      <a:pt x="373" y="1401"/>
                    </a:lnTo>
                    <a:lnTo>
                      <a:pt x="405" y="1401"/>
                    </a:lnTo>
                    <a:lnTo>
                      <a:pt x="425" y="1388"/>
                    </a:lnTo>
                    <a:lnTo>
                      <a:pt x="471" y="1388"/>
                    </a:lnTo>
                    <a:lnTo>
                      <a:pt x="491" y="1401"/>
                    </a:lnTo>
                    <a:lnTo>
                      <a:pt x="519" y="1426"/>
                    </a:lnTo>
                    <a:lnTo>
                      <a:pt x="505" y="1451"/>
                    </a:lnTo>
                    <a:lnTo>
                      <a:pt x="558" y="1451"/>
                    </a:lnTo>
                    <a:lnTo>
                      <a:pt x="578" y="1499"/>
                    </a:lnTo>
                    <a:lnTo>
                      <a:pt x="604" y="1493"/>
                    </a:lnTo>
                    <a:lnTo>
                      <a:pt x="632" y="1512"/>
                    </a:lnTo>
                    <a:lnTo>
                      <a:pt x="665" y="1499"/>
                    </a:lnTo>
                    <a:lnTo>
                      <a:pt x="698" y="1524"/>
                    </a:lnTo>
                    <a:lnTo>
                      <a:pt x="737" y="1524"/>
                    </a:lnTo>
                    <a:lnTo>
                      <a:pt x="778" y="1543"/>
                    </a:lnTo>
                    <a:lnTo>
                      <a:pt x="817" y="1555"/>
                    </a:lnTo>
                    <a:lnTo>
                      <a:pt x="811" y="1586"/>
                    </a:lnTo>
                    <a:lnTo>
                      <a:pt x="804" y="1623"/>
                    </a:lnTo>
                    <a:lnTo>
                      <a:pt x="817" y="1647"/>
                    </a:lnTo>
                    <a:lnTo>
                      <a:pt x="784" y="1647"/>
                    </a:lnTo>
                    <a:lnTo>
                      <a:pt x="744" y="1660"/>
                    </a:lnTo>
                    <a:lnTo>
                      <a:pt x="737" y="1691"/>
                    </a:lnTo>
                    <a:lnTo>
                      <a:pt x="743" y="1690"/>
                    </a:lnTo>
                    <a:lnTo>
                      <a:pt x="757" y="1685"/>
                    </a:lnTo>
                    <a:lnTo>
                      <a:pt x="752" y="1691"/>
                    </a:lnTo>
                    <a:lnTo>
                      <a:pt x="747" y="1696"/>
                    </a:lnTo>
                    <a:lnTo>
                      <a:pt x="743" y="1701"/>
                    </a:lnTo>
                    <a:lnTo>
                      <a:pt x="737" y="1705"/>
                    </a:lnTo>
                    <a:lnTo>
                      <a:pt x="725" y="1713"/>
                    </a:lnTo>
                    <a:lnTo>
                      <a:pt x="711" y="1721"/>
                    </a:lnTo>
                    <a:lnTo>
                      <a:pt x="712" y="1724"/>
                    </a:lnTo>
                    <a:lnTo>
                      <a:pt x="715" y="1728"/>
                    </a:lnTo>
                    <a:lnTo>
                      <a:pt x="719" y="1731"/>
                    </a:lnTo>
                    <a:lnTo>
                      <a:pt x="725" y="1733"/>
                    </a:lnTo>
                    <a:lnTo>
                      <a:pt x="736" y="1738"/>
                    </a:lnTo>
                    <a:lnTo>
                      <a:pt x="744" y="1740"/>
                    </a:lnTo>
                    <a:lnTo>
                      <a:pt x="741" y="1749"/>
                    </a:lnTo>
                    <a:lnTo>
                      <a:pt x="738" y="1756"/>
                    </a:lnTo>
                    <a:lnTo>
                      <a:pt x="734" y="1763"/>
                    </a:lnTo>
                    <a:lnTo>
                      <a:pt x="728" y="1769"/>
                    </a:lnTo>
                    <a:lnTo>
                      <a:pt x="722" y="1774"/>
                    </a:lnTo>
                    <a:lnTo>
                      <a:pt x="715" y="1779"/>
                    </a:lnTo>
                    <a:lnTo>
                      <a:pt x="707" y="1785"/>
                    </a:lnTo>
                    <a:lnTo>
                      <a:pt x="698" y="1790"/>
                    </a:lnTo>
                    <a:lnTo>
                      <a:pt x="696" y="1796"/>
                    </a:lnTo>
                    <a:lnTo>
                      <a:pt x="698" y="1801"/>
                    </a:lnTo>
                    <a:lnTo>
                      <a:pt x="700" y="1806"/>
                    </a:lnTo>
                    <a:lnTo>
                      <a:pt x="702" y="1809"/>
                    </a:lnTo>
                    <a:lnTo>
                      <a:pt x="706" y="1812"/>
                    </a:lnTo>
                    <a:lnTo>
                      <a:pt x="711" y="1815"/>
                    </a:lnTo>
                    <a:lnTo>
                      <a:pt x="716" y="1817"/>
                    </a:lnTo>
                    <a:lnTo>
                      <a:pt x="722" y="1819"/>
                    </a:lnTo>
                    <a:lnTo>
                      <a:pt x="734" y="1823"/>
                    </a:lnTo>
                    <a:lnTo>
                      <a:pt x="747" y="1828"/>
                    </a:lnTo>
                    <a:lnTo>
                      <a:pt x="754" y="1831"/>
                    </a:lnTo>
                    <a:lnTo>
                      <a:pt x="759" y="1835"/>
                    </a:lnTo>
                    <a:lnTo>
                      <a:pt x="766" y="1840"/>
                    </a:lnTo>
                    <a:lnTo>
                      <a:pt x="771" y="1845"/>
                    </a:lnTo>
                    <a:lnTo>
                      <a:pt x="781" y="1854"/>
                    </a:lnTo>
                    <a:lnTo>
                      <a:pt x="794" y="1861"/>
                    </a:lnTo>
                    <a:lnTo>
                      <a:pt x="807" y="1868"/>
                    </a:lnTo>
                    <a:lnTo>
                      <a:pt x="823" y="1875"/>
                    </a:lnTo>
                    <a:lnTo>
                      <a:pt x="856" y="1887"/>
                    </a:lnTo>
                    <a:lnTo>
                      <a:pt x="890" y="1901"/>
                    </a:lnTo>
                    <a:lnTo>
                      <a:pt x="897" y="1901"/>
                    </a:lnTo>
                    <a:lnTo>
                      <a:pt x="950" y="1919"/>
                    </a:lnTo>
                    <a:lnTo>
                      <a:pt x="996" y="1931"/>
                    </a:lnTo>
                    <a:lnTo>
                      <a:pt x="1024" y="1919"/>
                    </a:lnTo>
                    <a:lnTo>
                      <a:pt x="1070" y="1937"/>
                    </a:lnTo>
                    <a:lnTo>
                      <a:pt x="1096" y="1956"/>
                    </a:lnTo>
                    <a:lnTo>
                      <a:pt x="1136" y="1950"/>
                    </a:lnTo>
                    <a:lnTo>
                      <a:pt x="1176" y="1962"/>
                    </a:lnTo>
                    <a:lnTo>
                      <a:pt x="1203" y="1980"/>
                    </a:lnTo>
                    <a:lnTo>
                      <a:pt x="1249" y="2005"/>
                    </a:lnTo>
                    <a:lnTo>
                      <a:pt x="1282" y="2030"/>
                    </a:lnTo>
                    <a:lnTo>
                      <a:pt x="1316" y="2048"/>
                    </a:lnTo>
                    <a:lnTo>
                      <a:pt x="1342" y="2011"/>
                    </a:lnTo>
                    <a:lnTo>
                      <a:pt x="1355" y="2011"/>
                    </a:lnTo>
                    <a:lnTo>
                      <a:pt x="1350" y="2009"/>
                    </a:lnTo>
                    <a:lnTo>
                      <a:pt x="1345" y="2006"/>
                    </a:lnTo>
                    <a:lnTo>
                      <a:pt x="1341" y="2001"/>
                    </a:lnTo>
                    <a:lnTo>
                      <a:pt x="1337" y="1998"/>
                    </a:lnTo>
                    <a:lnTo>
                      <a:pt x="1333" y="1994"/>
                    </a:lnTo>
                    <a:lnTo>
                      <a:pt x="1331" y="1989"/>
                    </a:lnTo>
                    <a:lnTo>
                      <a:pt x="1329" y="1985"/>
                    </a:lnTo>
                    <a:lnTo>
                      <a:pt x="1329" y="1980"/>
                    </a:lnTo>
                    <a:lnTo>
                      <a:pt x="1318" y="1972"/>
                    </a:lnTo>
                    <a:lnTo>
                      <a:pt x="1296" y="1952"/>
                    </a:lnTo>
                    <a:lnTo>
                      <a:pt x="1283" y="1941"/>
                    </a:lnTo>
                    <a:lnTo>
                      <a:pt x="1273" y="1931"/>
                    </a:lnTo>
                    <a:lnTo>
                      <a:pt x="1265" y="1923"/>
                    </a:lnTo>
                    <a:lnTo>
                      <a:pt x="1262" y="1919"/>
                    </a:lnTo>
                    <a:lnTo>
                      <a:pt x="1255" y="1887"/>
                    </a:lnTo>
                    <a:lnTo>
                      <a:pt x="1255" y="1869"/>
                    </a:lnTo>
                    <a:lnTo>
                      <a:pt x="1245" y="1869"/>
                    </a:lnTo>
                    <a:lnTo>
                      <a:pt x="1237" y="1866"/>
                    </a:lnTo>
                    <a:lnTo>
                      <a:pt x="1229" y="1862"/>
                    </a:lnTo>
                    <a:lnTo>
                      <a:pt x="1222" y="1857"/>
                    </a:lnTo>
                    <a:lnTo>
                      <a:pt x="1217" y="1851"/>
                    </a:lnTo>
                    <a:lnTo>
                      <a:pt x="1212" y="1844"/>
                    </a:lnTo>
                    <a:lnTo>
                      <a:pt x="1210" y="1835"/>
                    </a:lnTo>
                    <a:lnTo>
                      <a:pt x="1209" y="1826"/>
                    </a:lnTo>
                    <a:lnTo>
                      <a:pt x="1210" y="1821"/>
                    </a:lnTo>
                    <a:lnTo>
                      <a:pt x="1212" y="1814"/>
                    </a:lnTo>
                    <a:lnTo>
                      <a:pt x="1216" y="1807"/>
                    </a:lnTo>
                    <a:lnTo>
                      <a:pt x="1220" y="1799"/>
                    </a:lnTo>
                    <a:lnTo>
                      <a:pt x="1229" y="1786"/>
                    </a:lnTo>
                    <a:lnTo>
                      <a:pt x="1236" y="1777"/>
                    </a:lnTo>
                    <a:lnTo>
                      <a:pt x="1254" y="1767"/>
                    </a:lnTo>
                    <a:lnTo>
                      <a:pt x="1272" y="1758"/>
                    </a:lnTo>
                    <a:lnTo>
                      <a:pt x="1287" y="1749"/>
                    </a:lnTo>
                    <a:lnTo>
                      <a:pt x="1303" y="1740"/>
                    </a:lnTo>
                    <a:lnTo>
                      <a:pt x="1309" y="1728"/>
                    </a:lnTo>
                    <a:lnTo>
                      <a:pt x="1282" y="1721"/>
                    </a:lnTo>
                    <a:lnTo>
                      <a:pt x="1309" y="1703"/>
                    </a:lnTo>
                    <a:lnTo>
                      <a:pt x="1282" y="1679"/>
                    </a:lnTo>
                    <a:lnTo>
                      <a:pt x="1255" y="1654"/>
                    </a:lnTo>
                    <a:lnTo>
                      <a:pt x="1216" y="1654"/>
                    </a:lnTo>
                    <a:lnTo>
                      <a:pt x="1203" y="1629"/>
                    </a:lnTo>
                    <a:lnTo>
                      <a:pt x="1183" y="1617"/>
                    </a:lnTo>
                    <a:lnTo>
                      <a:pt x="1176" y="1586"/>
                    </a:lnTo>
                    <a:lnTo>
                      <a:pt x="1176" y="1549"/>
                    </a:lnTo>
                    <a:lnTo>
                      <a:pt x="1189" y="1524"/>
                    </a:lnTo>
                    <a:lnTo>
                      <a:pt x="1196" y="1499"/>
                    </a:lnTo>
                    <a:lnTo>
                      <a:pt x="1229" y="1518"/>
                    </a:lnTo>
                    <a:lnTo>
                      <a:pt x="1262" y="1530"/>
                    </a:lnTo>
                    <a:lnTo>
                      <a:pt x="1282" y="1524"/>
                    </a:lnTo>
                    <a:lnTo>
                      <a:pt x="1255" y="1493"/>
                    </a:lnTo>
                    <a:lnTo>
                      <a:pt x="1289" y="1475"/>
                    </a:lnTo>
                    <a:lnTo>
                      <a:pt x="1322" y="1444"/>
                    </a:lnTo>
                    <a:lnTo>
                      <a:pt x="1355" y="1438"/>
                    </a:lnTo>
                    <a:lnTo>
                      <a:pt x="1395" y="1438"/>
                    </a:lnTo>
                    <a:lnTo>
                      <a:pt x="1422" y="1426"/>
                    </a:lnTo>
                    <a:lnTo>
                      <a:pt x="1468" y="1438"/>
                    </a:lnTo>
                    <a:lnTo>
                      <a:pt x="1514" y="1457"/>
                    </a:lnTo>
                    <a:lnTo>
                      <a:pt x="1555" y="1493"/>
                    </a:lnTo>
                    <a:lnTo>
                      <a:pt x="1601" y="1487"/>
                    </a:lnTo>
                    <a:lnTo>
                      <a:pt x="1641" y="1469"/>
                    </a:lnTo>
                    <a:lnTo>
                      <a:pt x="1674" y="1469"/>
                    </a:lnTo>
                    <a:lnTo>
                      <a:pt x="1714" y="1463"/>
                    </a:lnTo>
                    <a:lnTo>
                      <a:pt x="1754" y="1481"/>
                    </a:lnTo>
                    <a:lnTo>
                      <a:pt x="1800" y="1493"/>
                    </a:lnTo>
                    <a:lnTo>
                      <a:pt x="1847" y="1487"/>
                    </a:lnTo>
                    <a:lnTo>
                      <a:pt x="1893" y="1469"/>
                    </a:lnTo>
                    <a:lnTo>
                      <a:pt x="1893" y="1444"/>
                    </a:lnTo>
                    <a:lnTo>
                      <a:pt x="1860" y="1438"/>
                    </a:lnTo>
                    <a:lnTo>
                      <a:pt x="1821" y="1426"/>
                    </a:lnTo>
                    <a:lnTo>
                      <a:pt x="1793" y="1414"/>
                    </a:lnTo>
                    <a:lnTo>
                      <a:pt x="1834" y="1401"/>
                    </a:lnTo>
                    <a:lnTo>
                      <a:pt x="1827" y="1364"/>
                    </a:lnTo>
                    <a:lnTo>
                      <a:pt x="1880" y="1358"/>
                    </a:lnTo>
                    <a:lnTo>
                      <a:pt x="1814" y="1309"/>
                    </a:lnTo>
                    <a:lnTo>
                      <a:pt x="1920" y="1291"/>
                    </a:lnTo>
                    <a:lnTo>
                      <a:pt x="2006" y="1284"/>
                    </a:lnTo>
                    <a:lnTo>
                      <a:pt x="2020" y="1259"/>
                    </a:lnTo>
                    <a:lnTo>
                      <a:pt x="2080" y="1253"/>
                    </a:lnTo>
                    <a:lnTo>
                      <a:pt x="2139" y="1241"/>
                    </a:lnTo>
                    <a:lnTo>
                      <a:pt x="2159" y="1216"/>
                    </a:lnTo>
                    <a:lnTo>
                      <a:pt x="2226" y="1229"/>
                    </a:lnTo>
                    <a:lnTo>
                      <a:pt x="2265" y="1222"/>
                    </a:lnTo>
                    <a:lnTo>
                      <a:pt x="2292" y="1241"/>
                    </a:lnTo>
                    <a:lnTo>
                      <a:pt x="2298" y="1291"/>
                    </a:lnTo>
                    <a:lnTo>
                      <a:pt x="2339" y="1291"/>
                    </a:lnTo>
                    <a:lnTo>
                      <a:pt x="2352" y="1277"/>
                    </a:lnTo>
                    <a:lnTo>
                      <a:pt x="2372" y="1291"/>
                    </a:lnTo>
                    <a:lnTo>
                      <a:pt x="2411" y="1297"/>
                    </a:lnTo>
                    <a:lnTo>
                      <a:pt x="2431" y="1297"/>
                    </a:lnTo>
                    <a:lnTo>
                      <a:pt x="2431" y="1333"/>
                    </a:lnTo>
                    <a:lnTo>
                      <a:pt x="2472" y="1327"/>
                    </a:lnTo>
                    <a:lnTo>
                      <a:pt x="2511" y="1309"/>
                    </a:lnTo>
                    <a:lnTo>
                      <a:pt x="2551" y="1277"/>
                    </a:lnTo>
                    <a:lnTo>
                      <a:pt x="2577" y="1265"/>
                    </a:lnTo>
                    <a:lnTo>
                      <a:pt x="2577" y="1297"/>
                    </a:lnTo>
                    <a:lnTo>
                      <a:pt x="2618" y="1315"/>
                    </a:lnTo>
                    <a:lnTo>
                      <a:pt x="2664" y="1333"/>
                    </a:lnTo>
                    <a:lnTo>
                      <a:pt x="2704" y="1376"/>
                    </a:lnTo>
                    <a:lnTo>
                      <a:pt x="2757" y="1420"/>
                    </a:lnTo>
                    <a:lnTo>
                      <a:pt x="2803" y="1457"/>
                    </a:lnTo>
                    <a:lnTo>
                      <a:pt x="2823" y="1487"/>
                    </a:lnTo>
                    <a:lnTo>
                      <a:pt x="2836" y="1457"/>
                    </a:lnTo>
                    <a:lnTo>
                      <a:pt x="2864" y="1451"/>
                    </a:lnTo>
                    <a:lnTo>
                      <a:pt x="2884" y="1475"/>
                    </a:lnTo>
                    <a:lnTo>
                      <a:pt x="2923" y="1487"/>
                    </a:lnTo>
                    <a:lnTo>
                      <a:pt x="2969" y="1481"/>
                    </a:lnTo>
                    <a:lnTo>
                      <a:pt x="2997" y="1469"/>
                    </a:lnTo>
                    <a:lnTo>
                      <a:pt x="3036" y="1499"/>
                    </a:lnTo>
                    <a:lnTo>
                      <a:pt x="3082" y="1524"/>
                    </a:lnTo>
                    <a:lnTo>
                      <a:pt x="3123" y="1549"/>
                    </a:lnTo>
                    <a:lnTo>
                      <a:pt x="3176" y="1555"/>
                    </a:lnTo>
                    <a:lnTo>
                      <a:pt x="3182" y="1562"/>
                    </a:lnTo>
                    <a:lnTo>
                      <a:pt x="3186" y="1560"/>
                    </a:lnTo>
                    <a:lnTo>
                      <a:pt x="3189" y="1557"/>
                    </a:lnTo>
                    <a:lnTo>
                      <a:pt x="3193" y="1556"/>
                    </a:lnTo>
                    <a:lnTo>
                      <a:pt x="3198" y="1555"/>
                    </a:lnTo>
                    <a:lnTo>
                      <a:pt x="3211" y="1555"/>
                    </a:lnTo>
                    <a:lnTo>
                      <a:pt x="3228" y="1555"/>
                    </a:lnTo>
                    <a:lnTo>
                      <a:pt x="3234" y="1554"/>
                    </a:lnTo>
                    <a:lnTo>
                      <a:pt x="3239" y="1552"/>
                    </a:lnTo>
                    <a:lnTo>
                      <a:pt x="3246" y="1549"/>
                    </a:lnTo>
                    <a:lnTo>
                      <a:pt x="3251" y="1546"/>
                    </a:lnTo>
                    <a:lnTo>
                      <a:pt x="3261" y="1539"/>
                    </a:lnTo>
                    <a:lnTo>
                      <a:pt x="3269" y="1537"/>
                    </a:lnTo>
                    <a:lnTo>
                      <a:pt x="3278" y="1536"/>
                    </a:lnTo>
                    <a:lnTo>
                      <a:pt x="3288" y="1534"/>
                    </a:lnTo>
                    <a:lnTo>
                      <a:pt x="3296" y="1531"/>
                    </a:lnTo>
                    <a:lnTo>
                      <a:pt x="3304" y="1527"/>
                    </a:lnTo>
                    <a:lnTo>
                      <a:pt x="3320" y="1517"/>
                    </a:lnTo>
                    <a:lnTo>
                      <a:pt x="3335" y="1506"/>
                    </a:lnTo>
                    <a:lnTo>
                      <a:pt x="3350" y="1494"/>
                    </a:lnTo>
                    <a:lnTo>
                      <a:pt x="3366" y="1485"/>
                    </a:lnTo>
                    <a:lnTo>
                      <a:pt x="3374" y="1481"/>
                    </a:lnTo>
                    <a:lnTo>
                      <a:pt x="3383" y="1478"/>
                    </a:lnTo>
                    <a:lnTo>
                      <a:pt x="3392" y="1476"/>
                    </a:lnTo>
                    <a:lnTo>
                      <a:pt x="3402" y="1475"/>
                    </a:lnTo>
                    <a:lnTo>
                      <a:pt x="3413" y="1476"/>
                    </a:lnTo>
                    <a:lnTo>
                      <a:pt x="3423" y="1477"/>
                    </a:lnTo>
                    <a:lnTo>
                      <a:pt x="3432" y="1479"/>
                    </a:lnTo>
                    <a:lnTo>
                      <a:pt x="3439" y="1481"/>
                    </a:lnTo>
                    <a:lnTo>
                      <a:pt x="3447" y="1483"/>
                    </a:lnTo>
                    <a:lnTo>
                      <a:pt x="3453" y="1485"/>
                    </a:lnTo>
                    <a:lnTo>
                      <a:pt x="3461" y="1487"/>
                    </a:lnTo>
                    <a:lnTo>
                      <a:pt x="3468" y="1487"/>
                    </a:lnTo>
                    <a:lnTo>
                      <a:pt x="3494" y="1475"/>
                    </a:lnTo>
                    <a:lnTo>
                      <a:pt x="3507" y="1475"/>
                    </a:lnTo>
                    <a:lnTo>
                      <a:pt x="3522" y="1475"/>
                    </a:lnTo>
                    <a:lnTo>
                      <a:pt x="3522" y="1483"/>
                    </a:lnTo>
                    <a:lnTo>
                      <a:pt x="3524" y="1490"/>
                    </a:lnTo>
                    <a:lnTo>
                      <a:pt x="3526" y="1496"/>
                    </a:lnTo>
                    <a:lnTo>
                      <a:pt x="3528" y="1501"/>
                    </a:lnTo>
                    <a:lnTo>
                      <a:pt x="3535" y="1510"/>
                    </a:lnTo>
                    <a:lnTo>
                      <a:pt x="3541" y="1518"/>
                    </a:lnTo>
                    <a:lnTo>
                      <a:pt x="3720" y="1518"/>
                    </a:lnTo>
                    <a:lnTo>
                      <a:pt x="3721" y="1510"/>
                    </a:lnTo>
                    <a:lnTo>
                      <a:pt x="3720" y="1501"/>
                    </a:lnTo>
                    <a:lnTo>
                      <a:pt x="3718" y="1494"/>
                    </a:lnTo>
                    <a:lnTo>
                      <a:pt x="3716" y="1488"/>
                    </a:lnTo>
                    <a:lnTo>
                      <a:pt x="3713" y="1482"/>
                    </a:lnTo>
                    <a:lnTo>
                      <a:pt x="3708" y="1477"/>
                    </a:lnTo>
                    <a:lnTo>
                      <a:pt x="3704" y="1472"/>
                    </a:lnTo>
                    <a:lnTo>
                      <a:pt x="3699" y="1467"/>
                    </a:lnTo>
                    <a:lnTo>
                      <a:pt x="3691" y="1459"/>
                    </a:lnTo>
                    <a:lnTo>
                      <a:pt x="3682" y="1449"/>
                    </a:lnTo>
                    <a:lnTo>
                      <a:pt x="3679" y="1443"/>
                    </a:lnTo>
                    <a:lnTo>
                      <a:pt x="3676" y="1438"/>
                    </a:lnTo>
                    <a:lnTo>
                      <a:pt x="3674" y="1432"/>
                    </a:lnTo>
                    <a:lnTo>
                      <a:pt x="3674" y="1426"/>
                    </a:lnTo>
                    <a:lnTo>
                      <a:pt x="3674" y="1418"/>
                    </a:lnTo>
                    <a:lnTo>
                      <a:pt x="3674" y="1411"/>
                    </a:lnTo>
                    <a:lnTo>
                      <a:pt x="3674" y="1404"/>
                    </a:lnTo>
                    <a:lnTo>
                      <a:pt x="3674" y="1395"/>
                    </a:lnTo>
                    <a:lnTo>
                      <a:pt x="3687" y="1388"/>
                    </a:lnTo>
                    <a:lnTo>
                      <a:pt x="3880" y="1426"/>
                    </a:lnTo>
                    <a:lnTo>
                      <a:pt x="3883" y="1437"/>
                    </a:lnTo>
                    <a:lnTo>
                      <a:pt x="3886" y="1446"/>
                    </a:lnTo>
                    <a:lnTo>
                      <a:pt x="3890" y="1456"/>
                    </a:lnTo>
                    <a:lnTo>
                      <a:pt x="3895" y="1464"/>
                    </a:lnTo>
                    <a:lnTo>
                      <a:pt x="3900" y="1472"/>
                    </a:lnTo>
                    <a:lnTo>
                      <a:pt x="3906" y="1478"/>
                    </a:lnTo>
                    <a:lnTo>
                      <a:pt x="3914" y="1484"/>
                    </a:lnTo>
                    <a:lnTo>
                      <a:pt x="3920" y="1489"/>
                    </a:lnTo>
                    <a:lnTo>
                      <a:pt x="3929" y="1493"/>
                    </a:lnTo>
                    <a:lnTo>
                      <a:pt x="3938" y="1496"/>
                    </a:lnTo>
                    <a:lnTo>
                      <a:pt x="3948" y="1499"/>
                    </a:lnTo>
                    <a:lnTo>
                      <a:pt x="3957" y="1502"/>
                    </a:lnTo>
                    <a:lnTo>
                      <a:pt x="3968" y="1504"/>
                    </a:lnTo>
                    <a:lnTo>
                      <a:pt x="3981" y="1505"/>
                    </a:lnTo>
                    <a:lnTo>
                      <a:pt x="3993" y="1506"/>
                    </a:lnTo>
                    <a:lnTo>
                      <a:pt x="4006" y="1506"/>
                    </a:lnTo>
                    <a:lnTo>
                      <a:pt x="4018" y="1506"/>
                    </a:lnTo>
                    <a:lnTo>
                      <a:pt x="4029" y="1502"/>
                    </a:lnTo>
                    <a:lnTo>
                      <a:pt x="4039" y="1500"/>
                    </a:lnTo>
                    <a:lnTo>
                      <a:pt x="4050" y="1496"/>
                    </a:lnTo>
                    <a:lnTo>
                      <a:pt x="4060" y="1493"/>
                    </a:lnTo>
                    <a:lnTo>
                      <a:pt x="4069" y="1490"/>
                    </a:lnTo>
                    <a:lnTo>
                      <a:pt x="4080" y="1488"/>
                    </a:lnTo>
                    <a:lnTo>
                      <a:pt x="4093" y="1487"/>
                    </a:lnTo>
                    <a:lnTo>
                      <a:pt x="4108" y="1488"/>
                    </a:lnTo>
                    <a:lnTo>
                      <a:pt x="4123" y="1490"/>
                    </a:lnTo>
                    <a:lnTo>
                      <a:pt x="4136" y="1492"/>
                    </a:lnTo>
                    <a:lnTo>
                      <a:pt x="4150" y="1496"/>
                    </a:lnTo>
                    <a:lnTo>
                      <a:pt x="4162" y="1500"/>
                    </a:lnTo>
                    <a:lnTo>
                      <a:pt x="4173" y="1506"/>
                    </a:lnTo>
                    <a:lnTo>
                      <a:pt x="4184" y="1511"/>
                    </a:lnTo>
                    <a:lnTo>
                      <a:pt x="4195" y="1517"/>
                    </a:lnTo>
                    <a:lnTo>
                      <a:pt x="4214" y="1528"/>
                    </a:lnTo>
                    <a:lnTo>
                      <a:pt x="4233" y="1539"/>
                    </a:lnTo>
                    <a:lnTo>
                      <a:pt x="4243" y="1544"/>
                    </a:lnTo>
                    <a:lnTo>
                      <a:pt x="4253" y="1548"/>
                    </a:lnTo>
                    <a:lnTo>
                      <a:pt x="4262" y="1552"/>
                    </a:lnTo>
                    <a:lnTo>
                      <a:pt x="4272" y="1555"/>
                    </a:lnTo>
                    <a:lnTo>
                      <a:pt x="4306" y="1555"/>
                    </a:lnTo>
                    <a:lnTo>
                      <a:pt x="4334" y="1555"/>
                    </a:lnTo>
                    <a:lnTo>
                      <a:pt x="4358" y="1555"/>
                    </a:lnTo>
                    <a:lnTo>
                      <a:pt x="4378" y="1555"/>
                    </a:lnTo>
                    <a:lnTo>
                      <a:pt x="4396" y="1555"/>
                    </a:lnTo>
                    <a:lnTo>
                      <a:pt x="4412" y="1555"/>
                    </a:lnTo>
                    <a:lnTo>
                      <a:pt x="4427" y="1555"/>
                    </a:lnTo>
                    <a:lnTo>
                      <a:pt x="4445" y="1555"/>
                    </a:lnTo>
                    <a:lnTo>
                      <a:pt x="4455" y="1554"/>
                    </a:lnTo>
                    <a:lnTo>
                      <a:pt x="4464" y="1553"/>
                    </a:lnTo>
                    <a:lnTo>
                      <a:pt x="4470" y="1550"/>
                    </a:lnTo>
                    <a:lnTo>
                      <a:pt x="4476" y="1547"/>
                    </a:lnTo>
                    <a:lnTo>
                      <a:pt x="4480" y="1544"/>
                    </a:lnTo>
                    <a:lnTo>
                      <a:pt x="4485" y="1539"/>
                    </a:lnTo>
                    <a:lnTo>
                      <a:pt x="4488" y="1535"/>
                    </a:lnTo>
                    <a:lnTo>
                      <a:pt x="4490" y="1530"/>
                    </a:lnTo>
                    <a:lnTo>
                      <a:pt x="4495" y="1522"/>
                    </a:lnTo>
                    <a:lnTo>
                      <a:pt x="4503" y="1514"/>
                    </a:lnTo>
                    <a:lnTo>
                      <a:pt x="4509" y="1511"/>
                    </a:lnTo>
                    <a:lnTo>
                      <a:pt x="4514" y="1508"/>
                    </a:lnTo>
                    <a:lnTo>
                      <a:pt x="4522" y="1507"/>
                    </a:lnTo>
                    <a:lnTo>
                      <a:pt x="4531" y="1506"/>
                    </a:lnTo>
                    <a:lnTo>
                      <a:pt x="4554" y="1507"/>
                    </a:lnTo>
                    <a:lnTo>
                      <a:pt x="4577" y="1509"/>
                    </a:lnTo>
                    <a:lnTo>
                      <a:pt x="4599" y="1512"/>
                    </a:lnTo>
                    <a:lnTo>
                      <a:pt x="4620" y="1515"/>
                    </a:lnTo>
                    <a:lnTo>
                      <a:pt x="4651" y="1522"/>
                    </a:lnTo>
                    <a:lnTo>
                      <a:pt x="4663" y="1524"/>
                    </a:lnTo>
                    <a:lnTo>
                      <a:pt x="4678" y="1524"/>
                    </a:lnTo>
                    <a:lnTo>
                      <a:pt x="4690" y="1524"/>
                    </a:lnTo>
                    <a:lnTo>
                      <a:pt x="4700" y="1524"/>
                    </a:lnTo>
                    <a:lnTo>
                      <a:pt x="4711" y="1524"/>
                    </a:lnTo>
                    <a:lnTo>
                      <a:pt x="4718" y="1524"/>
                    </a:lnTo>
                    <a:lnTo>
                      <a:pt x="4727" y="1521"/>
                    </a:lnTo>
                    <a:lnTo>
                      <a:pt x="4737" y="1518"/>
                    </a:lnTo>
                    <a:lnTo>
                      <a:pt x="4746" y="1513"/>
                    </a:lnTo>
                    <a:lnTo>
                      <a:pt x="4755" y="1508"/>
                    </a:lnTo>
                    <a:lnTo>
                      <a:pt x="4763" y="1501"/>
                    </a:lnTo>
                    <a:lnTo>
                      <a:pt x="4771" y="1494"/>
                    </a:lnTo>
                    <a:lnTo>
                      <a:pt x="4777" y="1487"/>
                    </a:lnTo>
                    <a:lnTo>
                      <a:pt x="4771" y="1484"/>
                    </a:lnTo>
                    <a:lnTo>
                      <a:pt x="4766" y="1481"/>
                    </a:lnTo>
                    <a:lnTo>
                      <a:pt x="4760" y="1476"/>
                    </a:lnTo>
                    <a:lnTo>
                      <a:pt x="4756" y="1471"/>
                    </a:lnTo>
                    <a:lnTo>
                      <a:pt x="4750" y="1465"/>
                    </a:lnTo>
                    <a:lnTo>
                      <a:pt x="4747" y="1458"/>
                    </a:lnTo>
                    <a:lnTo>
                      <a:pt x="4745" y="1452"/>
                    </a:lnTo>
                    <a:lnTo>
                      <a:pt x="4744" y="1444"/>
                    </a:lnTo>
                    <a:lnTo>
                      <a:pt x="4745" y="1435"/>
                    </a:lnTo>
                    <a:lnTo>
                      <a:pt x="4747" y="1428"/>
                    </a:lnTo>
                    <a:lnTo>
                      <a:pt x="4750" y="1422"/>
                    </a:lnTo>
                    <a:lnTo>
                      <a:pt x="4754" y="1417"/>
                    </a:lnTo>
                    <a:lnTo>
                      <a:pt x="4757" y="1411"/>
                    </a:lnTo>
                    <a:lnTo>
                      <a:pt x="4760" y="1405"/>
                    </a:lnTo>
                    <a:lnTo>
                      <a:pt x="4762" y="1398"/>
                    </a:lnTo>
                    <a:lnTo>
                      <a:pt x="4763" y="1388"/>
                    </a:lnTo>
                    <a:lnTo>
                      <a:pt x="4763" y="1382"/>
                    </a:lnTo>
                    <a:lnTo>
                      <a:pt x="4761" y="1377"/>
                    </a:lnTo>
                    <a:lnTo>
                      <a:pt x="4759" y="1372"/>
                    </a:lnTo>
                    <a:lnTo>
                      <a:pt x="4756" y="1369"/>
                    </a:lnTo>
                    <a:lnTo>
                      <a:pt x="4747" y="1363"/>
                    </a:lnTo>
                    <a:lnTo>
                      <a:pt x="4737" y="1359"/>
                    </a:lnTo>
                    <a:lnTo>
                      <a:pt x="4727" y="1355"/>
                    </a:lnTo>
                    <a:lnTo>
                      <a:pt x="4718" y="1350"/>
                    </a:lnTo>
                    <a:lnTo>
                      <a:pt x="4715" y="1347"/>
                    </a:lnTo>
                    <a:lnTo>
                      <a:pt x="4713" y="1343"/>
                    </a:lnTo>
                    <a:lnTo>
                      <a:pt x="4711" y="1339"/>
                    </a:lnTo>
                    <a:lnTo>
                      <a:pt x="4711" y="1333"/>
                    </a:lnTo>
                    <a:lnTo>
                      <a:pt x="4711" y="1324"/>
                    </a:lnTo>
                    <a:lnTo>
                      <a:pt x="4711" y="1315"/>
                    </a:lnTo>
                    <a:lnTo>
                      <a:pt x="4830" y="1297"/>
                    </a:lnTo>
                    <a:lnTo>
                      <a:pt x="4869" y="1307"/>
                    </a:lnTo>
                    <a:lnTo>
                      <a:pt x="4898" y="1315"/>
                    </a:lnTo>
                    <a:lnTo>
                      <a:pt x="4928" y="1322"/>
                    </a:lnTo>
                    <a:lnTo>
                      <a:pt x="4963" y="1333"/>
                    </a:lnTo>
                    <a:lnTo>
                      <a:pt x="4974" y="1338"/>
                    </a:lnTo>
                    <a:lnTo>
                      <a:pt x="4985" y="1343"/>
                    </a:lnTo>
                    <a:lnTo>
                      <a:pt x="4995" y="1349"/>
                    </a:lnTo>
                    <a:lnTo>
                      <a:pt x="5005" y="1356"/>
                    </a:lnTo>
                    <a:lnTo>
                      <a:pt x="5021" y="1371"/>
                    </a:lnTo>
                    <a:lnTo>
                      <a:pt x="5038" y="1386"/>
                    </a:lnTo>
                    <a:lnTo>
                      <a:pt x="5046" y="1395"/>
                    </a:lnTo>
                    <a:lnTo>
                      <a:pt x="5054" y="1402"/>
                    </a:lnTo>
                    <a:lnTo>
                      <a:pt x="5063" y="1408"/>
                    </a:lnTo>
                    <a:lnTo>
                      <a:pt x="5073" y="1414"/>
                    </a:lnTo>
                    <a:lnTo>
                      <a:pt x="5084" y="1419"/>
                    </a:lnTo>
                    <a:lnTo>
                      <a:pt x="5095" y="1423"/>
                    </a:lnTo>
                    <a:lnTo>
                      <a:pt x="5108" y="1425"/>
                    </a:lnTo>
                    <a:lnTo>
                      <a:pt x="5122" y="1426"/>
                    </a:lnTo>
                    <a:lnTo>
                      <a:pt x="5127" y="1438"/>
                    </a:lnTo>
                    <a:lnTo>
                      <a:pt x="5132" y="1449"/>
                    </a:lnTo>
                    <a:lnTo>
                      <a:pt x="5139" y="1459"/>
                    </a:lnTo>
                    <a:lnTo>
                      <a:pt x="5148" y="1468"/>
                    </a:lnTo>
                    <a:lnTo>
                      <a:pt x="5156" y="1476"/>
                    </a:lnTo>
                    <a:lnTo>
                      <a:pt x="5166" y="1484"/>
                    </a:lnTo>
                    <a:lnTo>
                      <a:pt x="5176" y="1490"/>
                    </a:lnTo>
                    <a:lnTo>
                      <a:pt x="5188" y="1496"/>
                    </a:lnTo>
                    <a:lnTo>
                      <a:pt x="5199" y="1502"/>
                    </a:lnTo>
                    <a:lnTo>
                      <a:pt x="5211" y="1508"/>
                    </a:lnTo>
                    <a:lnTo>
                      <a:pt x="5225" y="1512"/>
                    </a:lnTo>
                    <a:lnTo>
                      <a:pt x="5237" y="1516"/>
                    </a:lnTo>
                    <a:lnTo>
                      <a:pt x="5263" y="1524"/>
                    </a:lnTo>
                    <a:lnTo>
                      <a:pt x="5288" y="1530"/>
                    </a:lnTo>
                    <a:lnTo>
                      <a:pt x="5303" y="1536"/>
                    </a:lnTo>
                    <a:lnTo>
                      <a:pt x="5317" y="1542"/>
                    </a:lnTo>
                    <a:lnTo>
                      <a:pt x="5330" y="1550"/>
                    </a:lnTo>
                    <a:lnTo>
                      <a:pt x="5342" y="1558"/>
                    </a:lnTo>
                    <a:lnTo>
                      <a:pt x="5365" y="1577"/>
                    </a:lnTo>
                    <a:lnTo>
                      <a:pt x="5388" y="1595"/>
                    </a:lnTo>
                    <a:lnTo>
                      <a:pt x="5399" y="1604"/>
                    </a:lnTo>
                    <a:lnTo>
                      <a:pt x="5410" y="1612"/>
                    </a:lnTo>
                    <a:lnTo>
                      <a:pt x="5422" y="1621"/>
                    </a:lnTo>
                    <a:lnTo>
                      <a:pt x="5434" y="1628"/>
                    </a:lnTo>
                    <a:lnTo>
                      <a:pt x="5446" y="1633"/>
                    </a:lnTo>
                    <a:lnTo>
                      <a:pt x="5460" y="1638"/>
                    </a:lnTo>
                    <a:lnTo>
                      <a:pt x="5473" y="1640"/>
                    </a:lnTo>
                    <a:lnTo>
                      <a:pt x="5488" y="1641"/>
                    </a:lnTo>
                    <a:lnTo>
                      <a:pt x="5497" y="1641"/>
                    </a:lnTo>
                    <a:lnTo>
                      <a:pt x="5506" y="1640"/>
                    </a:lnTo>
                    <a:lnTo>
                      <a:pt x="5514" y="1638"/>
                    </a:lnTo>
                    <a:lnTo>
                      <a:pt x="5522" y="1635"/>
                    </a:lnTo>
                    <a:lnTo>
                      <a:pt x="5536" y="1628"/>
                    </a:lnTo>
                    <a:lnTo>
                      <a:pt x="5551" y="1620"/>
                    </a:lnTo>
                    <a:lnTo>
                      <a:pt x="5565" y="1611"/>
                    </a:lnTo>
                    <a:lnTo>
                      <a:pt x="5579" y="1605"/>
                    </a:lnTo>
                    <a:lnTo>
                      <a:pt x="5587" y="1602"/>
                    </a:lnTo>
                    <a:lnTo>
                      <a:pt x="5596" y="1600"/>
                    </a:lnTo>
                    <a:lnTo>
                      <a:pt x="5604" y="1599"/>
                    </a:lnTo>
                    <a:lnTo>
                      <a:pt x="5614" y="1598"/>
                    </a:lnTo>
                    <a:lnTo>
                      <a:pt x="5621" y="1599"/>
                    </a:lnTo>
                    <a:lnTo>
                      <a:pt x="5626" y="1601"/>
                    </a:lnTo>
                    <a:lnTo>
                      <a:pt x="5631" y="1604"/>
                    </a:lnTo>
                    <a:lnTo>
                      <a:pt x="5635" y="1607"/>
                    </a:lnTo>
                    <a:lnTo>
                      <a:pt x="5642" y="1613"/>
                    </a:lnTo>
                    <a:lnTo>
                      <a:pt x="5647" y="1617"/>
                    </a:lnTo>
                    <a:lnTo>
                      <a:pt x="5647" y="1629"/>
                    </a:lnTo>
                    <a:lnTo>
                      <a:pt x="5647" y="1638"/>
                    </a:lnTo>
                    <a:lnTo>
                      <a:pt x="5647" y="1645"/>
                    </a:lnTo>
                    <a:lnTo>
                      <a:pt x="5647" y="1654"/>
                    </a:lnTo>
                    <a:lnTo>
                      <a:pt x="5647" y="1662"/>
                    </a:lnTo>
                    <a:lnTo>
                      <a:pt x="5649" y="1672"/>
                    </a:lnTo>
                    <a:lnTo>
                      <a:pt x="5652" y="1679"/>
                    </a:lnTo>
                    <a:lnTo>
                      <a:pt x="5655" y="1686"/>
                    </a:lnTo>
                    <a:lnTo>
                      <a:pt x="5659" y="1693"/>
                    </a:lnTo>
                    <a:lnTo>
                      <a:pt x="5664" y="1699"/>
                    </a:lnTo>
                    <a:lnTo>
                      <a:pt x="5668" y="1704"/>
                    </a:lnTo>
                    <a:lnTo>
                      <a:pt x="5674" y="1709"/>
                    </a:lnTo>
                    <a:lnTo>
                      <a:pt x="5674" y="1790"/>
                    </a:lnTo>
                    <a:lnTo>
                      <a:pt x="5666" y="1791"/>
                    </a:lnTo>
                    <a:lnTo>
                      <a:pt x="5657" y="1792"/>
                    </a:lnTo>
                    <a:lnTo>
                      <a:pt x="5649" y="1792"/>
                    </a:lnTo>
                    <a:lnTo>
                      <a:pt x="5641" y="1792"/>
                    </a:lnTo>
                    <a:lnTo>
                      <a:pt x="5623" y="1790"/>
                    </a:lnTo>
                    <a:lnTo>
                      <a:pt x="5608" y="1790"/>
                    </a:lnTo>
                    <a:lnTo>
                      <a:pt x="5604" y="1790"/>
                    </a:lnTo>
                    <a:lnTo>
                      <a:pt x="5602" y="1792"/>
                    </a:lnTo>
                    <a:lnTo>
                      <a:pt x="5600" y="1794"/>
                    </a:lnTo>
                    <a:lnTo>
                      <a:pt x="5598" y="1796"/>
                    </a:lnTo>
                    <a:lnTo>
                      <a:pt x="5595" y="1802"/>
                    </a:lnTo>
                    <a:lnTo>
                      <a:pt x="5593" y="1808"/>
                    </a:lnTo>
                    <a:lnTo>
                      <a:pt x="5595" y="1818"/>
                    </a:lnTo>
                    <a:lnTo>
                      <a:pt x="5597" y="1827"/>
                    </a:lnTo>
                    <a:lnTo>
                      <a:pt x="5600" y="1835"/>
                    </a:lnTo>
                    <a:lnTo>
                      <a:pt x="5604" y="1844"/>
                    </a:lnTo>
                    <a:lnTo>
                      <a:pt x="5609" y="1852"/>
                    </a:lnTo>
                    <a:lnTo>
                      <a:pt x="5614" y="1859"/>
                    </a:lnTo>
                    <a:lnTo>
                      <a:pt x="5620" y="1865"/>
                    </a:lnTo>
                    <a:lnTo>
                      <a:pt x="5626" y="1871"/>
                    </a:lnTo>
                    <a:lnTo>
                      <a:pt x="5637" y="1881"/>
                    </a:lnTo>
                    <a:lnTo>
                      <a:pt x="5647" y="1890"/>
                    </a:lnTo>
                    <a:lnTo>
                      <a:pt x="5651" y="1896"/>
                    </a:lnTo>
                    <a:lnTo>
                      <a:pt x="5653" y="1899"/>
                    </a:lnTo>
                    <a:lnTo>
                      <a:pt x="5654" y="1903"/>
                    </a:lnTo>
                    <a:lnTo>
                      <a:pt x="5654" y="1907"/>
                    </a:lnTo>
                    <a:lnTo>
                      <a:pt x="5747" y="1919"/>
                    </a:lnTo>
                    <a:lnTo>
                      <a:pt x="5754" y="1918"/>
                    </a:lnTo>
                    <a:lnTo>
                      <a:pt x="5761" y="1917"/>
                    </a:lnTo>
                    <a:lnTo>
                      <a:pt x="5768" y="1915"/>
                    </a:lnTo>
                    <a:lnTo>
                      <a:pt x="5775" y="1912"/>
                    </a:lnTo>
                    <a:lnTo>
                      <a:pt x="5780" y="1908"/>
                    </a:lnTo>
                    <a:lnTo>
                      <a:pt x="5786" y="1904"/>
                    </a:lnTo>
                    <a:lnTo>
                      <a:pt x="5792" y="1899"/>
                    </a:lnTo>
                    <a:lnTo>
                      <a:pt x="5797" y="1892"/>
                    </a:lnTo>
                    <a:lnTo>
                      <a:pt x="5807" y="1880"/>
                    </a:lnTo>
                    <a:lnTo>
                      <a:pt x="5815" y="1865"/>
                    </a:lnTo>
                    <a:lnTo>
                      <a:pt x="5823" y="1850"/>
                    </a:lnTo>
                    <a:lnTo>
                      <a:pt x="5830" y="1832"/>
                    </a:lnTo>
                    <a:lnTo>
                      <a:pt x="5835" y="1815"/>
                    </a:lnTo>
                    <a:lnTo>
                      <a:pt x="5841" y="1797"/>
                    </a:lnTo>
                    <a:lnTo>
                      <a:pt x="5845" y="1779"/>
                    </a:lnTo>
                    <a:lnTo>
                      <a:pt x="5847" y="1763"/>
                    </a:lnTo>
                    <a:lnTo>
                      <a:pt x="5852" y="1733"/>
                    </a:lnTo>
                    <a:lnTo>
                      <a:pt x="5853" y="1709"/>
                    </a:lnTo>
                    <a:lnTo>
                      <a:pt x="5853" y="1694"/>
                    </a:lnTo>
                    <a:lnTo>
                      <a:pt x="5853" y="1677"/>
                    </a:lnTo>
                    <a:lnTo>
                      <a:pt x="5853" y="1657"/>
                    </a:lnTo>
                    <a:lnTo>
                      <a:pt x="5853" y="1635"/>
                    </a:lnTo>
                    <a:lnTo>
                      <a:pt x="5853" y="1623"/>
                    </a:lnTo>
                    <a:lnTo>
                      <a:pt x="5853" y="1612"/>
                    </a:lnTo>
                    <a:lnTo>
                      <a:pt x="5855" y="1607"/>
                    </a:lnTo>
                    <a:lnTo>
                      <a:pt x="5858" y="1604"/>
                    </a:lnTo>
                    <a:lnTo>
                      <a:pt x="5865" y="1601"/>
                    </a:lnTo>
                    <a:lnTo>
                      <a:pt x="5873" y="1598"/>
                    </a:lnTo>
                    <a:lnTo>
                      <a:pt x="5873" y="1568"/>
                    </a:lnTo>
                    <a:lnTo>
                      <a:pt x="5867" y="1564"/>
                    </a:lnTo>
                    <a:lnTo>
                      <a:pt x="5859" y="1558"/>
                    </a:lnTo>
                    <a:lnTo>
                      <a:pt x="5850" y="1551"/>
                    </a:lnTo>
                    <a:lnTo>
                      <a:pt x="5843" y="1543"/>
                    </a:lnTo>
                    <a:lnTo>
                      <a:pt x="5835" y="1534"/>
                    </a:lnTo>
                    <a:lnTo>
                      <a:pt x="5830" y="1525"/>
                    </a:lnTo>
                    <a:lnTo>
                      <a:pt x="5827" y="1520"/>
                    </a:lnTo>
                    <a:lnTo>
                      <a:pt x="5826" y="1516"/>
                    </a:lnTo>
                    <a:lnTo>
                      <a:pt x="5826" y="1511"/>
                    </a:lnTo>
                    <a:lnTo>
                      <a:pt x="5826" y="1506"/>
                    </a:lnTo>
                    <a:lnTo>
                      <a:pt x="5816" y="1498"/>
                    </a:lnTo>
                    <a:lnTo>
                      <a:pt x="5808" y="1490"/>
                    </a:lnTo>
                    <a:lnTo>
                      <a:pt x="5799" y="1481"/>
                    </a:lnTo>
                    <a:lnTo>
                      <a:pt x="5791" y="1472"/>
                    </a:lnTo>
                    <a:lnTo>
                      <a:pt x="5776" y="1451"/>
                    </a:lnTo>
                    <a:lnTo>
                      <a:pt x="5761" y="1428"/>
                    </a:lnTo>
                    <a:lnTo>
                      <a:pt x="5748" y="1404"/>
                    </a:lnTo>
                    <a:lnTo>
                      <a:pt x="5735" y="1378"/>
                    </a:lnTo>
                    <a:lnTo>
                      <a:pt x="5721" y="1353"/>
                    </a:lnTo>
                    <a:lnTo>
                      <a:pt x="5707" y="1327"/>
                    </a:lnTo>
                    <a:lnTo>
                      <a:pt x="5700" y="1316"/>
                    </a:lnTo>
                    <a:lnTo>
                      <a:pt x="5692" y="1307"/>
                    </a:lnTo>
                    <a:lnTo>
                      <a:pt x="5684" y="1299"/>
                    </a:lnTo>
                    <a:lnTo>
                      <a:pt x="5674" y="1291"/>
                    </a:lnTo>
                    <a:lnTo>
                      <a:pt x="5664" y="1285"/>
                    </a:lnTo>
                    <a:lnTo>
                      <a:pt x="5652" y="1279"/>
                    </a:lnTo>
                    <a:lnTo>
                      <a:pt x="5640" y="1274"/>
                    </a:lnTo>
                    <a:lnTo>
                      <a:pt x="5628" y="1270"/>
                    </a:lnTo>
                    <a:lnTo>
                      <a:pt x="5600" y="1263"/>
                    </a:lnTo>
                    <a:lnTo>
                      <a:pt x="5570" y="1256"/>
                    </a:lnTo>
                    <a:lnTo>
                      <a:pt x="5540" y="1249"/>
                    </a:lnTo>
                    <a:lnTo>
                      <a:pt x="5508" y="1241"/>
                    </a:lnTo>
                    <a:lnTo>
                      <a:pt x="5503" y="1252"/>
                    </a:lnTo>
                    <a:lnTo>
                      <a:pt x="5500" y="1265"/>
                    </a:lnTo>
                    <a:lnTo>
                      <a:pt x="5498" y="1272"/>
                    </a:lnTo>
                    <a:lnTo>
                      <a:pt x="5496" y="1279"/>
                    </a:lnTo>
                    <a:lnTo>
                      <a:pt x="5492" y="1285"/>
                    </a:lnTo>
                    <a:lnTo>
                      <a:pt x="5488" y="1291"/>
                    </a:lnTo>
                    <a:lnTo>
                      <a:pt x="5483" y="1284"/>
                    </a:lnTo>
                    <a:lnTo>
                      <a:pt x="5476" y="1278"/>
                    </a:lnTo>
                    <a:lnTo>
                      <a:pt x="5469" y="1275"/>
                    </a:lnTo>
                    <a:lnTo>
                      <a:pt x="5462" y="1272"/>
                    </a:lnTo>
                    <a:lnTo>
                      <a:pt x="5446" y="1267"/>
                    </a:lnTo>
                    <a:lnTo>
                      <a:pt x="5431" y="1264"/>
                    </a:lnTo>
                    <a:lnTo>
                      <a:pt x="5423" y="1262"/>
                    </a:lnTo>
                    <a:lnTo>
                      <a:pt x="5417" y="1260"/>
                    </a:lnTo>
                    <a:lnTo>
                      <a:pt x="5411" y="1257"/>
                    </a:lnTo>
                    <a:lnTo>
                      <a:pt x="5406" y="1254"/>
                    </a:lnTo>
                    <a:lnTo>
                      <a:pt x="5401" y="1249"/>
                    </a:lnTo>
                    <a:lnTo>
                      <a:pt x="5398" y="1244"/>
                    </a:lnTo>
                    <a:lnTo>
                      <a:pt x="5396" y="1237"/>
                    </a:lnTo>
                    <a:lnTo>
                      <a:pt x="5395" y="1229"/>
                    </a:lnTo>
                    <a:lnTo>
                      <a:pt x="5378" y="1226"/>
                    </a:lnTo>
                    <a:lnTo>
                      <a:pt x="5341" y="1218"/>
                    </a:lnTo>
                    <a:lnTo>
                      <a:pt x="5322" y="1214"/>
                    </a:lnTo>
                    <a:lnTo>
                      <a:pt x="5305" y="1210"/>
                    </a:lnTo>
                    <a:lnTo>
                      <a:pt x="5293" y="1207"/>
                    </a:lnTo>
                    <a:lnTo>
                      <a:pt x="5288" y="1204"/>
                    </a:lnTo>
                    <a:lnTo>
                      <a:pt x="5289" y="1197"/>
                    </a:lnTo>
                    <a:lnTo>
                      <a:pt x="5293" y="1191"/>
                    </a:lnTo>
                    <a:lnTo>
                      <a:pt x="5298" y="1185"/>
                    </a:lnTo>
                    <a:lnTo>
                      <a:pt x="5304" y="1180"/>
                    </a:lnTo>
                    <a:lnTo>
                      <a:pt x="5319" y="1167"/>
                    </a:lnTo>
                    <a:lnTo>
                      <a:pt x="5334" y="1154"/>
                    </a:lnTo>
                    <a:lnTo>
                      <a:pt x="5331" y="1147"/>
                    </a:lnTo>
                    <a:lnTo>
                      <a:pt x="5329" y="1140"/>
                    </a:lnTo>
                    <a:lnTo>
                      <a:pt x="5328" y="1132"/>
                    </a:lnTo>
                    <a:lnTo>
                      <a:pt x="5329" y="1125"/>
                    </a:lnTo>
                    <a:lnTo>
                      <a:pt x="5331" y="1117"/>
                    </a:lnTo>
                    <a:lnTo>
                      <a:pt x="5334" y="1108"/>
                    </a:lnTo>
                    <a:lnTo>
                      <a:pt x="5339" y="1100"/>
                    </a:lnTo>
                    <a:lnTo>
                      <a:pt x="5343" y="1092"/>
                    </a:lnTo>
                    <a:lnTo>
                      <a:pt x="5365" y="1064"/>
                    </a:lnTo>
                    <a:lnTo>
                      <a:pt x="5382" y="1043"/>
                    </a:lnTo>
                    <a:lnTo>
                      <a:pt x="5382" y="964"/>
                    </a:lnTo>
                    <a:lnTo>
                      <a:pt x="5388" y="962"/>
                    </a:lnTo>
                    <a:lnTo>
                      <a:pt x="5396" y="961"/>
                    </a:lnTo>
                    <a:lnTo>
                      <a:pt x="5402" y="961"/>
                    </a:lnTo>
                    <a:lnTo>
                      <a:pt x="5409" y="962"/>
                    </a:lnTo>
                    <a:lnTo>
                      <a:pt x="5423" y="963"/>
                    </a:lnTo>
                    <a:lnTo>
                      <a:pt x="5441" y="964"/>
                    </a:lnTo>
                    <a:lnTo>
                      <a:pt x="5465" y="964"/>
                    </a:lnTo>
                    <a:lnTo>
                      <a:pt x="5492" y="966"/>
                    </a:lnTo>
                    <a:lnTo>
                      <a:pt x="5521" y="968"/>
                    </a:lnTo>
                    <a:lnTo>
                      <a:pt x="5552" y="970"/>
                    </a:lnTo>
                    <a:lnTo>
                      <a:pt x="5583" y="972"/>
                    </a:lnTo>
                    <a:lnTo>
                      <a:pt x="5612" y="974"/>
                    </a:lnTo>
                    <a:lnTo>
                      <a:pt x="5641" y="975"/>
                    </a:lnTo>
                    <a:lnTo>
                      <a:pt x="5667" y="976"/>
                    </a:lnTo>
                    <a:lnTo>
                      <a:pt x="5671" y="975"/>
                    </a:lnTo>
                    <a:lnTo>
                      <a:pt x="5677" y="972"/>
                    </a:lnTo>
                    <a:lnTo>
                      <a:pt x="5682" y="968"/>
                    </a:lnTo>
                    <a:lnTo>
                      <a:pt x="5687" y="964"/>
                    </a:lnTo>
                    <a:lnTo>
                      <a:pt x="5674" y="945"/>
                    </a:lnTo>
                    <a:lnTo>
                      <a:pt x="5807" y="945"/>
                    </a:lnTo>
                    <a:lnTo>
                      <a:pt x="5809" y="949"/>
                    </a:lnTo>
                    <a:lnTo>
                      <a:pt x="5816" y="955"/>
                    </a:lnTo>
                    <a:lnTo>
                      <a:pt x="5825" y="962"/>
                    </a:lnTo>
                    <a:lnTo>
                      <a:pt x="5836" y="969"/>
                    </a:lnTo>
                    <a:lnTo>
                      <a:pt x="5857" y="982"/>
                    </a:lnTo>
                    <a:lnTo>
                      <a:pt x="5867" y="988"/>
                    </a:lnTo>
                    <a:lnTo>
                      <a:pt x="5871" y="988"/>
                    </a:lnTo>
                    <a:lnTo>
                      <a:pt x="5875" y="987"/>
                    </a:lnTo>
                    <a:lnTo>
                      <a:pt x="5878" y="985"/>
                    </a:lnTo>
                    <a:lnTo>
                      <a:pt x="5880" y="983"/>
                    </a:lnTo>
                    <a:lnTo>
                      <a:pt x="5884" y="979"/>
                    </a:lnTo>
                    <a:lnTo>
                      <a:pt x="5888" y="973"/>
                    </a:lnTo>
                    <a:lnTo>
                      <a:pt x="5892" y="967"/>
                    </a:lnTo>
                    <a:lnTo>
                      <a:pt x="5898" y="963"/>
                    </a:lnTo>
                    <a:lnTo>
                      <a:pt x="5902" y="961"/>
                    </a:lnTo>
                    <a:lnTo>
                      <a:pt x="5906" y="959"/>
                    </a:lnTo>
                    <a:lnTo>
                      <a:pt x="5913" y="958"/>
                    </a:lnTo>
                    <a:lnTo>
                      <a:pt x="5920" y="958"/>
                    </a:lnTo>
                    <a:lnTo>
                      <a:pt x="5911" y="954"/>
                    </a:lnTo>
                    <a:lnTo>
                      <a:pt x="5904" y="950"/>
                    </a:lnTo>
                    <a:lnTo>
                      <a:pt x="5900" y="945"/>
                    </a:lnTo>
                    <a:lnTo>
                      <a:pt x="5897" y="941"/>
                    </a:lnTo>
                    <a:lnTo>
                      <a:pt x="5894" y="935"/>
                    </a:lnTo>
                    <a:lnTo>
                      <a:pt x="5893" y="927"/>
                    </a:lnTo>
                    <a:lnTo>
                      <a:pt x="5893" y="916"/>
                    </a:lnTo>
                    <a:lnTo>
                      <a:pt x="5893" y="902"/>
                    </a:lnTo>
                    <a:lnTo>
                      <a:pt x="5893" y="886"/>
                    </a:lnTo>
                    <a:lnTo>
                      <a:pt x="5894" y="871"/>
                    </a:lnTo>
                    <a:lnTo>
                      <a:pt x="5897" y="858"/>
                    </a:lnTo>
                    <a:lnTo>
                      <a:pt x="5900" y="846"/>
                    </a:lnTo>
                    <a:lnTo>
                      <a:pt x="5902" y="841"/>
                    </a:lnTo>
                    <a:lnTo>
                      <a:pt x="5904" y="835"/>
                    </a:lnTo>
                    <a:lnTo>
                      <a:pt x="5906" y="831"/>
                    </a:lnTo>
                    <a:lnTo>
                      <a:pt x="5910" y="828"/>
                    </a:lnTo>
                    <a:lnTo>
                      <a:pt x="5913" y="825"/>
                    </a:lnTo>
                    <a:lnTo>
                      <a:pt x="5917" y="823"/>
                    </a:lnTo>
                    <a:lnTo>
                      <a:pt x="5922" y="822"/>
                    </a:lnTo>
                    <a:lnTo>
                      <a:pt x="5926" y="822"/>
                    </a:lnTo>
                    <a:lnTo>
                      <a:pt x="5945" y="822"/>
                    </a:lnTo>
                    <a:lnTo>
                      <a:pt x="5974" y="822"/>
                    </a:lnTo>
                    <a:lnTo>
                      <a:pt x="6006" y="822"/>
                    </a:lnTo>
                    <a:lnTo>
                      <a:pt x="6033" y="822"/>
                    </a:lnTo>
                    <a:lnTo>
                      <a:pt x="6037" y="828"/>
                    </a:lnTo>
                    <a:lnTo>
                      <a:pt x="6045" y="838"/>
                    </a:lnTo>
                    <a:lnTo>
                      <a:pt x="6055" y="849"/>
                    </a:lnTo>
                    <a:lnTo>
                      <a:pt x="6066" y="860"/>
                    </a:lnTo>
                    <a:lnTo>
                      <a:pt x="6077" y="871"/>
                    </a:lnTo>
                    <a:lnTo>
                      <a:pt x="6086" y="881"/>
                    </a:lnTo>
                    <a:lnTo>
                      <a:pt x="6094" y="887"/>
                    </a:lnTo>
                    <a:lnTo>
                      <a:pt x="6099" y="889"/>
                    </a:lnTo>
                    <a:lnTo>
                      <a:pt x="6102" y="881"/>
                    </a:lnTo>
                    <a:lnTo>
                      <a:pt x="6105" y="874"/>
                    </a:lnTo>
                    <a:lnTo>
                      <a:pt x="6108" y="867"/>
                    </a:lnTo>
                    <a:lnTo>
                      <a:pt x="6112" y="861"/>
                    </a:lnTo>
                    <a:lnTo>
                      <a:pt x="6116" y="855"/>
                    </a:lnTo>
                    <a:lnTo>
                      <a:pt x="6119" y="848"/>
                    </a:lnTo>
                    <a:lnTo>
                      <a:pt x="6123" y="839"/>
                    </a:lnTo>
                    <a:lnTo>
                      <a:pt x="6125" y="828"/>
                    </a:lnTo>
                    <a:lnTo>
                      <a:pt x="6128" y="830"/>
                    </a:lnTo>
                    <a:lnTo>
                      <a:pt x="6132" y="831"/>
                    </a:lnTo>
                    <a:lnTo>
                      <a:pt x="6135" y="832"/>
                    </a:lnTo>
                    <a:lnTo>
                      <a:pt x="6139" y="832"/>
                    </a:lnTo>
                    <a:lnTo>
                      <a:pt x="6144" y="832"/>
                    </a:lnTo>
                    <a:lnTo>
                      <a:pt x="6149" y="831"/>
                    </a:lnTo>
                    <a:lnTo>
                      <a:pt x="6153" y="830"/>
                    </a:lnTo>
                    <a:lnTo>
                      <a:pt x="6159" y="828"/>
                    </a:lnTo>
                    <a:lnTo>
                      <a:pt x="6148" y="815"/>
                    </a:lnTo>
                    <a:lnTo>
                      <a:pt x="6137" y="803"/>
                    </a:lnTo>
                    <a:lnTo>
                      <a:pt x="6133" y="796"/>
                    </a:lnTo>
                    <a:lnTo>
                      <a:pt x="6128" y="789"/>
                    </a:lnTo>
                    <a:lnTo>
                      <a:pt x="6126" y="782"/>
                    </a:lnTo>
                    <a:lnTo>
                      <a:pt x="6125" y="772"/>
                    </a:lnTo>
                    <a:lnTo>
                      <a:pt x="6126" y="767"/>
                    </a:lnTo>
                    <a:lnTo>
                      <a:pt x="6128" y="764"/>
                    </a:lnTo>
                    <a:lnTo>
                      <a:pt x="6132" y="761"/>
                    </a:lnTo>
                    <a:lnTo>
                      <a:pt x="6135" y="760"/>
                    </a:lnTo>
                    <a:lnTo>
                      <a:pt x="6140" y="759"/>
                    </a:lnTo>
                    <a:lnTo>
                      <a:pt x="6146" y="759"/>
                    </a:lnTo>
                    <a:lnTo>
                      <a:pt x="6152" y="760"/>
                    </a:lnTo>
                    <a:lnTo>
                      <a:pt x="6159" y="762"/>
                    </a:lnTo>
                    <a:lnTo>
                      <a:pt x="6188" y="771"/>
                    </a:lnTo>
                    <a:lnTo>
                      <a:pt x="6212" y="778"/>
                    </a:lnTo>
                    <a:lnTo>
                      <a:pt x="6202" y="779"/>
                    </a:lnTo>
                    <a:lnTo>
                      <a:pt x="6193" y="782"/>
                    </a:lnTo>
                    <a:lnTo>
                      <a:pt x="6184" y="784"/>
                    </a:lnTo>
                    <a:lnTo>
                      <a:pt x="6179" y="785"/>
                    </a:lnTo>
                    <a:lnTo>
                      <a:pt x="6180" y="792"/>
                    </a:lnTo>
                    <a:lnTo>
                      <a:pt x="6183" y="797"/>
                    </a:lnTo>
                    <a:lnTo>
                      <a:pt x="6186" y="802"/>
                    </a:lnTo>
                    <a:lnTo>
                      <a:pt x="6191" y="807"/>
                    </a:lnTo>
                    <a:lnTo>
                      <a:pt x="6201" y="815"/>
                    </a:lnTo>
                    <a:lnTo>
                      <a:pt x="6211" y="822"/>
                    </a:lnTo>
                    <a:lnTo>
                      <a:pt x="6222" y="829"/>
                    </a:lnTo>
                    <a:lnTo>
                      <a:pt x="6230" y="837"/>
                    </a:lnTo>
                    <a:lnTo>
                      <a:pt x="6234" y="842"/>
                    </a:lnTo>
                    <a:lnTo>
                      <a:pt x="6236" y="847"/>
                    </a:lnTo>
                    <a:lnTo>
                      <a:pt x="6238" y="853"/>
                    </a:lnTo>
                    <a:lnTo>
                      <a:pt x="6238" y="859"/>
                    </a:lnTo>
                    <a:lnTo>
                      <a:pt x="6237" y="867"/>
                    </a:lnTo>
                    <a:lnTo>
                      <a:pt x="6231" y="878"/>
                    </a:lnTo>
                    <a:lnTo>
                      <a:pt x="6224" y="893"/>
                    </a:lnTo>
                    <a:lnTo>
                      <a:pt x="6215" y="907"/>
                    </a:lnTo>
                    <a:lnTo>
                      <a:pt x="6206" y="922"/>
                    </a:lnTo>
                    <a:lnTo>
                      <a:pt x="6200" y="937"/>
                    </a:lnTo>
                    <a:lnTo>
                      <a:pt x="6196" y="944"/>
                    </a:lnTo>
                    <a:lnTo>
                      <a:pt x="6194" y="952"/>
                    </a:lnTo>
                    <a:lnTo>
                      <a:pt x="6192" y="958"/>
                    </a:lnTo>
                    <a:lnTo>
                      <a:pt x="6192" y="964"/>
                    </a:lnTo>
                    <a:lnTo>
                      <a:pt x="6193" y="970"/>
                    </a:lnTo>
                    <a:lnTo>
                      <a:pt x="6195" y="974"/>
                    </a:lnTo>
                    <a:lnTo>
                      <a:pt x="6198" y="977"/>
                    </a:lnTo>
                    <a:lnTo>
                      <a:pt x="6202" y="979"/>
                    </a:lnTo>
                    <a:lnTo>
                      <a:pt x="6205" y="981"/>
                    </a:lnTo>
                    <a:lnTo>
                      <a:pt x="6208" y="984"/>
                    </a:lnTo>
                    <a:lnTo>
                      <a:pt x="6211" y="988"/>
                    </a:lnTo>
                    <a:lnTo>
                      <a:pt x="6212" y="994"/>
                    </a:lnTo>
                    <a:lnTo>
                      <a:pt x="6212" y="1001"/>
                    </a:lnTo>
                    <a:lnTo>
                      <a:pt x="6211" y="1010"/>
                    </a:lnTo>
                    <a:lnTo>
                      <a:pt x="6208" y="1018"/>
                    </a:lnTo>
                    <a:lnTo>
                      <a:pt x="6204" y="1026"/>
                    </a:lnTo>
                    <a:lnTo>
                      <a:pt x="6202" y="1030"/>
                    </a:lnTo>
                    <a:lnTo>
                      <a:pt x="6200" y="1033"/>
                    </a:lnTo>
                    <a:lnTo>
                      <a:pt x="6196" y="1036"/>
                    </a:lnTo>
                    <a:lnTo>
                      <a:pt x="6192" y="1039"/>
                    </a:lnTo>
                    <a:lnTo>
                      <a:pt x="6188" y="1041"/>
                    </a:lnTo>
                    <a:lnTo>
                      <a:pt x="6183" y="1042"/>
                    </a:lnTo>
                    <a:lnTo>
                      <a:pt x="6178" y="1043"/>
                    </a:lnTo>
                    <a:lnTo>
                      <a:pt x="6172" y="1043"/>
                    </a:lnTo>
                    <a:lnTo>
                      <a:pt x="6173" y="1062"/>
                    </a:lnTo>
                    <a:lnTo>
                      <a:pt x="6175" y="1079"/>
                    </a:lnTo>
                    <a:lnTo>
                      <a:pt x="6181" y="1095"/>
                    </a:lnTo>
                    <a:lnTo>
                      <a:pt x="6186" y="1111"/>
                    </a:lnTo>
                    <a:lnTo>
                      <a:pt x="6194" y="1126"/>
                    </a:lnTo>
                    <a:lnTo>
                      <a:pt x="6204" y="1140"/>
                    </a:lnTo>
                    <a:lnTo>
                      <a:pt x="6214" y="1153"/>
                    </a:lnTo>
                    <a:lnTo>
                      <a:pt x="6226" y="1166"/>
                    </a:lnTo>
                    <a:lnTo>
                      <a:pt x="6238" y="1179"/>
                    </a:lnTo>
                    <a:lnTo>
                      <a:pt x="6252" y="1190"/>
                    </a:lnTo>
                    <a:lnTo>
                      <a:pt x="6267" y="1201"/>
                    </a:lnTo>
                    <a:lnTo>
                      <a:pt x="6281" y="1211"/>
                    </a:lnTo>
                    <a:lnTo>
                      <a:pt x="6296" y="1220"/>
                    </a:lnTo>
                    <a:lnTo>
                      <a:pt x="6313" y="1230"/>
                    </a:lnTo>
                    <a:lnTo>
                      <a:pt x="6328" y="1239"/>
                    </a:lnTo>
                    <a:lnTo>
                      <a:pt x="6345" y="1247"/>
                    </a:lnTo>
                    <a:lnTo>
                      <a:pt x="6352" y="1251"/>
                    </a:lnTo>
                    <a:lnTo>
                      <a:pt x="6360" y="1256"/>
                    </a:lnTo>
                    <a:lnTo>
                      <a:pt x="6365" y="1261"/>
                    </a:lnTo>
                    <a:lnTo>
                      <a:pt x="6371" y="1267"/>
                    </a:lnTo>
                    <a:lnTo>
                      <a:pt x="6379" y="1282"/>
                    </a:lnTo>
                    <a:lnTo>
                      <a:pt x="6387" y="1297"/>
                    </a:lnTo>
                    <a:lnTo>
                      <a:pt x="6392" y="1304"/>
                    </a:lnTo>
                    <a:lnTo>
                      <a:pt x="6396" y="1311"/>
                    </a:lnTo>
                    <a:lnTo>
                      <a:pt x="6402" y="1318"/>
                    </a:lnTo>
                    <a:lnTo>
                      <a:pt x="6407" y="1325"/>
                    </a:lnTo>
                    <a:lnTo>
                      <a:pt x="6415" y="1331"/>
                    </a:lnTo>
                    <a:lnTo>
                      <a:pt x="6422" y="1337"/>
                    </a:lnTo>
                    <a:lnTo>
                      <a:pt x="6432" y="1342"/>
                    </a:lnTo>
                    <a:lnTo>
                      <a:pt x="6444" y="1346"/>
                    </a:lnTo>
                    <a:lnTo>
                      <a:pt x="6452" y="1347"/>
                    </a:lnTo>
                    <a:lnTo>
                      <a:pt x="6464" y="1351"/>
                    </a:lnTo>
                    <a:lnTo>
                      <a:pt x="6471" y="1353"/>
                    </a:lnTo>
                    <a:lnTo>
                      <a:pt x="6476" y="1356"/>
                    </a:lnTo>
                    <a:lnTo>
                      <a:pt x="6481" y="1360"/>
                    </a:lnTo>
                    <a:lnTo>
                      <a:pt x="6484" y="1364"/>
                    </a:lnTo>
                    <a:lnTo>
                      <a:pt x="6491" y="1374"/>
                    </a:lnTo>
                    <a:lnTo>
                      <a:pt x="6497" y="1384"/>
                    </a:lnTo>
                    <a:lnTo>
                      <a:pt x="6506" y="1395"/>
                    </a:lnTo>
                    <a:lnTo>
                      <a:pt x="6515" y="1404"/>
                    </a:lnTo>
                    <a:lnTo>
                      <a:pt x="6525" y="1413"/>
                    </a:lnTo>
                    <a:lnTo>
                      <a:pt x="6533" y="1420"/>
                    </a:lnTo>
                    <a:lnTo>
                      <a:pt x="6538" y="1422"/>
                    </a:lnTo>
                    <a:lnTo>
                      <a:pt x="6542" y="1424"/>
                    </a:lnTo>
                    <a:lnTo>
                      <a:pt x="6547" y="1425"/>
                    </a:lnTo>
                    <a:lnTo>
                      <a:pt x="6551" y="1426"/>
                    </a:lnTo>
                    <a:lnTo>
                      <a:pt x="6554" y="1425"/>
                    </a:lnTo>
                    <a:lnTo>
                      <a:pt x="6558" y="1425"/>
                    </a:lnTo>
                    <a:lnTo>
                      <a:pt x="6561" y="1423"/>
                    </a:lnTo>
                    <a:lnTo>
                      <a:pt x="6564" y="1421"/>
                    </a:lnTo>
                    <a:lnTo>
                      <a:pt x="6570" y="1416"/>
                    </a:lnTo>
                    <a:lnTo>
                      <a:pt x="6575" y="1410"/>
                    </a:lnTo>
                    <a:lnTo>
                      <a:pt x="6578" y="1402"/>
                    </a:lnTo>
                    <a:lnTo>
                      <a:pt x="6582" y="1391"/>
                    </a:lnTo>
                    <a:lnTo>
                      <a:pt x="6583" y="1381"/>
                    </a:lnTo>
                    <a:lnTo>
                      <a:pt x="6584" y="1370"/>
                    </a:lnTo>
                    <a:lnTo>
                      <a:pt x="6583" y="1366"/>
                    </a:lnTo>
                    <a:lnTo>
                      <a:pt x="6582" y="1362"/>
                    </a:lnTo>
                    <a:lnTo>
                      <a:pt x="6579" y="1359"/>
                    </a:lnTo>
                    <a:lnTo>
                      <a:pt x="6576" y="1356"/>
                    </a:lnTo>
                    <a:lnTo>
                      <a:pt x="6570" y="1350"/>
                    </a:lnTo>
                    <a:lnTo>
                      <a:pt x="6561" y="1345"/>
                    </a:lnTo>
                    <a:lnTo>
                      <a:pt x="6552" y="1340"/>
                    </a:lnTo>
                    <a:lnTo>
                      <a:pt x="6544" y="1333"/>
                    </a:lnTo>
                    <a:lnTo>
                      <a:pt x="6542" y="1329"/>
                    </a:lnTo>
                    <a:lnTo>
                      <a:pt x="6539" y="1325"/>
                    </a:lnTo>
                    <a:lnTo>
                      <a:pt x="6538" y="1320"/>
                    </a:lnTo>
                    <a:lnTo>
                      <a:pt x="6538" y="1315"/>
                    </a:lnTo>
                    <a:lnTo>
                      <a:pt x="6539" y="1313"/>
                    </a:lnTo>
                    <a:lnTo>
                      <a:pt x="6542" y="1310"/>
                    </a:lnTo>
                    <a:lnTo>
                      <a:pt x="6547" y="1308"/>
                    </a:lnTo>
                    <a:lnTo>
                      <a:pt x="6552" y="1306"/>
                    </a:lnTo>
                    <a:lnTo>
                      <a:pt x="6565" y="1301"/>
                    </a:lnTo>
                    <a:lnTo>
                      <a:pt x="6577" y="1297"/>
                    </a:lnTo>
                    <a:lnTo>
                      <a:pt x="6569" y="1280"/>
                    </a:lnTo>
                    <a:lnTo>
                      <a:pt x="6560" y="1268"/>
                    </a:lnTo>
                    <a:lnTo>
                      <a:pt x="6550" y="1256"/>
                    </a:lnTo>
                    <a:lnTo>
                      <a:pt x="6538" y="1241"/>
                    </a:lnTo>
                    <a:lnTo>
                      <a:pt x="6540" y="1239"/>
                    </a:lnTo>
                    <a:lnTo>
                      <a:pt x="6544" y="1238"/>
                    </a:lnTo>
                    <a:lnTo>
                      <a:pt x="6550" y="1237"/>
                    </a:lnTo>
                    <a:lnTo>
                      <a:pt x="6556" y="1236"/>
                    </a:lnTo>
                    <a:lnTo>
                      <a:pt x="6572" y="1235"/>
                    </a:lnTo>
                    <a:lnTo>
                      <a:pt x="6590" y="1235"/>
                    </a:lnTo>
                    <a:lnTo>
                      <a:pt x="6583" y="1229"/>
                    </a:lnTo>
                    <a:lnTo>
                      <a:pt x="6572" y="1219"/>
                    </a:lnTo>
                    <a:lnTo>
                      <a:pt x="6566" y="1214"/>
                    </a:lnTo>
                    <a:lnTo>
                      <a:pt x="6562" y="1210"/>
                    </a:lnTo>
                    <a:lnTo>
                      <a:pt x="6559" y="1207"/>
                    </a:lnTo>
                    <a:lnTo>
                      <a:pt x="6558" y="1204"/>
                    </a:lnTo>
                    <a:lnTo>
                      <a:pt x="6550" y="1199"/>
                    </a:lnTo>
                    <a:lnTo>
                      <a:pt x="6544" y="1194"/>
                    </a:lnTo>
                    <a:lnTo>
                      <a:pt x="6540" y="1187"/>
                    </a:lnTo>
                    <a:lnTo>
                      <a:pt x="6537" y="1180"/>
                    </a:lnTo>
                    <a:lnTo>
                      <a:pt x="6533" y="1173"/>
                    </a:lnTo>
                    <a:lnTo>
                      <a:pt x="6532" y="1163"/>
                    </a:lnTo>
                    <a:lnTo>
                      <a:pt x="6531" y="1153"/>
                    </a:lnTo>
                    <a:lnTo>
                      <a:pt x="6531" y="1142"/>
                    </a:lnTo>
                    <a:lnTo>
                      <a:pt x="6536" y="1142"/>
                    </a:lnTo>
                    <a:lnTo>
                      <a:pt x="6540" y="1140"/>
                    </a:lnTo>
                    <a:lnTo>
                      <a:pt x="6545" y="1138"/>
                    </a:lnTo>
                    <a:lnTo>
                      <a:pt x="6549" y="1136"/>
                    </a:lnTo>
                    <a:lnTo>
                      <a:pt x="6552" y="1133"/>
                    </a:lnTo>
                    <a:lnTo>
                      <a:pt x="6555" y="1130"/>
                    </a:lnTo>
                    <a:lnTo>
                      <a:pt x="6556" y="1127"/>
                    </a:lnTo>
                    <a:lnTo>
                      <a:pt x="6558" y="1124"/>
                    </a:lnTo>
                    <a:lnTo>
                      <a:pt x="6539" y="1118"/>
                    </a:lnTo>
                    <a:lnTo>
                      <a:pt x="6522" y="1110"/>
                    </a:lnTo>
                    <a:lnTo>
                      <a:pt x="6508" y="1103"/>
                    </a:lnTo>
                    <a:lnTo>
                      <a:pt x="6496" y="1095"/>
                    </a:lnTo>
                    <a:lnTo>
                      <a:pt x="6476" y="1078"/>
                    </a:lnTo>
                    <a:lnTo>
                      <a:pt x="6460" y="1063"/>
                    </a:lnTo>
                    <a:lnTo>
                      <a:pt x="6452" y="1055"/>
                    </a:lnTo>
                    <a:lnTo>
                      <a:pt x="6444" y="1048"/>
                    </a:lnTo>
                    <a:lnTo>
                      <a:pt x="6437" y="1043"/>
                    </a:lnTo>
                    <a:lnTo>
                      <a:pt x="6427" y="1039"/>
                    </a:lnTo>
                    <a:lnTo>
                      <a:pt x="6417" y="1036"/>
                    </a:lnTo>
                    <a:lnTo>
                      <a:pt x="6406" y="1035"/>
                    </a:lnTo>
                    <a:lnTo>
                      <a:pt x="6393" y="1035"/>
                    </a:lnTo>
                    <a:lnTo>
                      <a:pt x="6377" y="1037"/>
                    </a:lnTo>
                    <a:lnTo>
                      <a:pt x="6375" y="1038"/>
                    </a:lnTo>
                    <a:lnTo>
                      <a:pt x="6373" y="1037"/>
                    </a:lnTo>
                    <a:lnTo>
                      <a:pt x="6372" y="1036"/>
                    </a:lnTo>
                    <a:lnTo>
                      <a:pt x="6370" y="1035"/>
                    </a:lnTo>
                    <a:lnTo>
                      <a:pt x="6368" y="1031"/>
                    </a:lnTo>
                    <a:lnTo>
                      <a:pt x="6365" y="1025"/>
                    </a:lnTo>
                    <a:lnTo>
                      <a:pt x="6363" y="1009"/>
                    </a:lnTo>
                    <a:lnTo>
                      <a:pt x="6360" y="990"/>
                    </a:lnTo>
                    <a:lnTo>
                      <a:pt x="6358" y="981"/>
                    </a:lnTo>
                    <a:lnTo>
                      <a:pt x="6354" y="972"/>
                    </a:lnTo>
                    <a:lnTo>
                      <a:pt x="6351" y="963"/>
                    </a:lnTo>
                    <a:lnTo>
                      <a:pt x="6346" y="956"/>
                    </a:lnTo>
                    <a:lnTo>
                      <a:pt x="6340" y="949"/>
                    </a:lnTo>
                    <a:lnTo>
                      <a:pt x="6332" y="943"/>
                    </a:lnTo>
                    <a:lnTo>
                      <a:pt x="6328" y="941"/>
                    </a:lnTo>
                    <a:lnTo>
                      <a:pt x="6323" y="940"/>
                    </a:lnTo>
                    <a:lnTo>
                      <a:pt x="6317" y="939"/>
                    </a:lnTo>
                    <a:lnTo>
                      <a:pt x="6312" y="939"/>
                    </a:lnTo>
                    <a:lnTo>
                      <a:pt x="6392" y="889"/>
                    </a:lnTo>
                    <a:lnTo>
                      <a:pt x="6396" y="890"/>
                    </a:lnTo>
                    <a:lnTo>
                      <a:pt x="6399" y="894"/>
                    </a:lnTo>
                    <a:lnTo>
                      <a:pt x="6403" y="898"/>
                    </a:lnTo>
                    <a:lnTo>
                      <a:pt x="6405" y="902"/>
                    </a:lnTo>
                    <a:lnTo>
                      <a:pt x="6408" y="907"/>
                    </a:lnTo>
                    <a:lnTo>
                      <a:pt x="6413" y="911"/>
                    </a:lnTo>
                    <a:lnTo>
                      <a:pt x="6415" y="912"/>
                    </a:lnTo>
                    <a:lnTo>
                      <a:pt x="6418" y="913"/>
                    </a:lnTo>
                    <a:lnTo>
                      <a:pt x="6421" y="914"/>
                    </a:lnTo>
                    <a:lnTo>
                      <a:pt x="6425" y="914"/>
                    </a:lnTo>
                    <a:lnTo>
                      <a:pt x="6435" y="913"/>
                    </a:lnTo>
                    <a:lnTo>
                      <a:pt x="6446" y="910"/>
                    </a:lnTo>
                    <a:lnTo>
                      <a:pt x="6458" y="906"/>
                    </a:lnTo>
                    <a:lnTo>
                      <a:pt x="6470" y="901"/>
                    </a:lnTo>
                    <a:lnTo>
                      <a:pt x="6495" y="888"/>
                    </a:lnTo>
                    <a:lnTo>
                      <a:pt x="6525" y="877"/>
                    </a:lnTo>
                    <a:lnTo>
                      <a:pt x="6544" y="877"/>
                    </a:lnTo>
                    <a:lnTo>
                      <a:pt x="6547" y="885"/>
                    </a:lnTo>
                    <a:lnTo>
                      <a:pt x="6551" y="893"/>
                    </a:lnTo>
                    <a:lnTo>
                      <a:pt x="6556" y="899"/>
                    </a:lnTo>
                    <a:lnTo>
                      <a:pt x="6562" y="905"/>
                    </a:lnTo>
                    <a:lnTo>
                      <a:pt x="6576" y="915"/>
                    </a:lnTo>
                    <a:lnTo>
                      <a:pt x="6590" y="927"/>
                    </a:lnTo>
                    <a:lnTo>
                      <a:pt x="6596" y="906"/>
                    </a:lnTo>
                    <a:lnTo>
                      <a:pt x="6601" y="884"/>
                    </a:lnTo>
                    <a:lnTo>
                      <a:pt x="6605" y="873"/>
                    </a:lnTo>
                    <a:lnTo>
                      <a:pt x="6609" y="863"/>
                    </a:lnTo>
                    <a:lnTo>
                      <a:pt x="6614" y="854"/>
                    </a:lnTo>
                    <a:lnTo>
                      <a:pt x="6619" y="845"/>
                    </a:lnTo>
                    <a:lnTo>
                      <a:pt x="6626" y="835"/>
                    </a:lnTo>
                    <a:lnTo>
                      <a:pt x="6633" y="827"/>
                    </a:lnTo>
                    <a:lnTo>
                      <a:pt x="6642" y="821"/>
                    </a:lnTo>
                    <a:lnTo>
                      <a:pt x="6651" y="815"/>
                    </a:lnTo>
                    <a:lnTo>
                      <a:pt x="6662" y="810"/>
                    </a:lnTo>
                    <a:lnTo>
                      <a:pt x="6674" y="806"/>
                    </a:lnTo>
                    <a:lnTo>
                      <a:pt x="6688" y="804"/>
                    </a:lnTo>
                    <a:lnTo>
                      <a:pt x="6704" y="803"/>
                    </a:lnTo>
                    <a:lnTo>
                      <a:pt x="6701" y="799"/>
                    </a:lnTo>
                    <a:lnTo>
                      <a:pt x="6700" y="794"/>
                    </a:lnTo>
                    <a:lnTo>
                      <a:pt x="6700" y="790"/>
                    </a:lnTo>
                    <a:lnTo>
                      <a:pt x="6701" y="785"/>
                    </a:lnTo>
                    <a:lnTo>
                      <a:pt x="6702" y="775"/>
                    </a:lnTo>
                    <a:lnTo>
                      <a:pt x="6704" y="766"/>
                    </a:lnTo>
                    <a:lnTo>
                      <a:pt x="6709" y="770"/>
                    </a:lnTo>
                    <a:lnTo>
                      <a:pt x="6715" y="773"/>
                    </a:lnTo>
                    <a:lnTo>
                      <a:pt x="6721" y="775"/>
                    </a:lnTo>
                    <a:lnTo>
                      <a:pt x="6729" y="777"/>
                    </a:lnTo>
                    <a:lnTo>
                      <a:pt x="6744" y="778"/>
                    </a:lnTo>
                    <a:lnTo>
                      <a:pt x="6763" y="778"/>
                    </a:lnTo>
                    <a:lnTo>
                      <a:pt x="6774" y="781"/>
                    </a:lnTo>
                    <a:lnTo>
                      <a:pt x="6787" y="784"/>
                    </a:lnTo>
                    <a:lnTo>
                      <a:pt x="6795" y="785"/>
                    </a:lnTo>
                    <a:lnTo>
                      <a:pt x="6801" y="784"/>
                    </a:lnTo>
                    <a:lnTo>
                      <a:pt x="6809" y="783"/>
                    </a:lnTo>
                    <a:lnTo>
                      <a:pt x="6817" y="778"/>
                    </a:lnTo>
                    <a:lnTo>
                      <a:pt x="6813" y="767"/>
                    </a:lnTo>
                    <a:lnTo>
                      <a:pt x="6813" y="762"/>
                    </a:lnTo>
                    <a:lnTo>
                      <a:pt x="6816" y="757"/>
                    </a:lnTo>
                    <a:lnTo>
                      <a:pt x="6817" y="742"/>
                    </a:lnTo>
                    <a:lnTo>
                      <a:pt x="6790" y="738"/>
                    </a:lnTo>
                    <a:lnTo>
                      <a:pt x="6766" y="733"/>
                    </a:lnTo>
                    <a:lnTo>
                      <a:pt x="6743" y="727"/>
                    </a:lnTo>
                    <a:lnTo>
                      <a:pt x="6722" y="720"/>
                    </a:lnTo>
                    <a:lnTo>
                      <a:pt x="6685" y="706"/>
                    </a:lnTo>
                    <a:lnTo>
                      <a:pt x="6650" y="692"/>
                    </a:lnTo>
                    <a:lnTo>
                      <a:pt x="6632" y="685"/>
                    </a:lnTo>
                    <a:lnTo>
                      <a:pt x="6616" y="678"/>
                    </a:lnTo>
                    <a:lnTo>
                      <a:pt x="6598" y="672"/>
                    </a:lnTo>
                    <a:lnTo>
                      <a:pt x="6579" y="666"/>
                    </a:lnTo>
                    <a:lnTo>
                      <a:pt x="6561" y="662"/>
                    </a:lnTo>
                    <a:lnTo>
                      <a:pt x="6541" y="658"/>
                    </a:lnTo>
                    <a:lnTo>
                      <a:pt x="6520" y="656"/>
                    </a:lnTo>
                    <a:lnTo>
                      <a:pt x="6497" y="655"/>
                    </a:lnTo>
                    <a:lnTo>
                      <a:pt x="6543" y="659"/>
                    </a:lnTo>
                    <a:lnTo>
                      <a:pt x="6582" y="663"/>
                    </a:lnTo>
                    <a:lnTo>
                      <a:pt x="6592" y="663"/>
                    </a:lnTo>
                    <a:lnTo>
                      <a:pt x="6600" y="663"/>
                    </a:lnTo>
                    <a:lnTo>
                      <a:pt x="6610" y="662"/>
                    </a:lnTo>
                    <a:lnTo>
                      <a:pt x="6619" y="660"/>
                    </a:lnTo>
                    <a:lnTo>
                      <a:pt x="6628" y="658"/>
                    </a:lnTo>
                    <a:lnTo>
                      <a:pt x="6638" y="654"/>
                    </a:lnTo>
                    <a:lnTo>
                      <a:pt x="6648" y="649"/>
                    </a:lnTo>
                    <a:lnTo>
                      <a:pt x="6657" y="643"/>
                    </a:lnTo>
                    <a:lnTo>
                      <a:pt x="6653" y="637"/>
                    </a:lnTo>
                    <a:lnTo>
                      <a:pt x="6649" y="632"/>
                    </a:lnTo>
                    <a:lnTo>
                      <a:pt x="6644" y="627"/>
                    </a:lnTo>
                    <a:lnTo>
                      <a:pt x="6639" y="624"/>
                    </a:lnTo>
                    <a:lnTo>
                      <a:pt x="6628" y="618"/>
                    </a:lnTo>
                    <a:lnTo>
                      <a:pt x="6616" y="612"/>
                    </a:lnTo>
                    <a:lnTo>
                      <a:pt x="6605" y="607"/>
                    </a:lnTo>
                    <a:lnTo>
                      <a:pt x="6593" y="601"/>
                    </a:lnTo>
                    <a:lnTo>
                      <a:pt x="6587" y="598"/>
                    </a:lnTo>
                    <a:lnTo>
                      <a:pt x="6581" y="593"/>
                    </a:lnTo>
                    <a:lnTo>
                      <a:pt x="6576" y="588"/>
                    </a:lnTo>
                    <a:lnTo>
                      <a:pt x="6571" y="582"/>
                    </a:lnTo>
                    <a:lnTo>
                      <a:pt x="6597" y="582"/>
                    </a:lnTo>
                    <a:lnTo>
                      <a:pt x="6600" y="587"/>
                    </a:lnTo>
                    <a:lnTo>
                      <a:pt x="6605" y="592"/>
                    </a:lnTo>
                    <a:lnTo>
                      <a:pt x="6610" y="599"/>
                    </a:lnTo>
                    <a:lnTo>
                      <a:pt x="6617" y="604"/>
                    </a:lnTo>
                    <a:lnTo>
                      <a:pt x="6626" y="610"/>
                    </a:lnTo>
                    <a:lnTo>
                      <a:pt x="6634" y="615"/>
                    </a:lnTo>
                    <a:lnTo>
                      <a:pt x="6640" y="617"/>
                    </a:lnTo>
                    <a:lnTo>
                      <a:pt x="6645" y="618"/>
                    </a:lnTo>
                    <a:lnTo>
                      <a:pt x="6651" y="619"/>
                    </a:lnTo>
                    <a:lnTo>
                      <a:pt x="6657" y="619"/>
                    </a:lnTo>
                    <a:lnTo>
                      <a:pt x="6665" y="618"/>
                    </a:lnTo>
                    <a:lnTo>
                      <a:pt x="6670" y="617"/>
                    </a:lnTo>
                    <a:lnTo>
                      <a:pt x="6673" y="615"/>
                    </a:lnTo>
                    <a:lnTo>
                      <a:pt x="6675" y="612"/>
                    </a:lnTo>
                    <a:lnTo>
                      <a:pt x="6678" y="610"/>
                    </a:lnTo>
                    <a:lnTo>
                      <a:pt x="6683" y="608"/>
                    </a:lnTo>
                    <a:lnTo>
                      <a:pt x="6691" y="606"/>
                    </a:lnTo>
                    <a:lnTo>
                      <a:pt x="6704" y="606"/>
                    </a:lnTo>
                    <a:lnTo>
                      <a:pt x="6718" y="606"/>
                    </a:lnTo>
                    <a:lnTo>
                      <a:pt x="6730" y="607"/>
                    </a:lnTo>
                    <a:lnTo>
                      <a:pt x="6742" y="609"/>
                    </a:lnTo>
                    <a:lnTo>
                      <a:pt x="6752" y="612"/>
                    </a:lnTo>
                    <a:lnTo>
                      <a:pt x="6762" y="616"/>
                    </a:lnTo>
                    <a:lnTo>
                      <a:pt x="6771" y="619"/>
                    </a:lnTo>
                    <a:lnTo>
                      <a:pt x="6778" y="623"/>
                    </a:lnTo>
                    <a:lnTo>
                      <a:pt x="6786" y="627"/>
                    </a:lnTo>
                    <a:lnTo>
                      <a:pt x="6799" y="636"/>
                    </a:lnTo>
                    <a:lnTo>
                      <a:pt x="6812" y="645"/>
                    </a:lnTo>
                    <a:lnTo>
                      <a:pt x="6827" y="654"/>
                    </a:lnTo>
                    <a:lnTo>
                      <a:pt x="6843" y="661"/>
                    </a:lnTo>
                    <a:lnTo>
                      <a:pt x="6943" y="661"/>
                    </a:lnTo>
                    <a:lnTo>
                      <a:pt x="6945" y="667"/>
                    </a:lnTo>
                    <a:lnTo>
                      <a:pt x="6950" y="673"/>
                    </a:lnTo>
                    <a:lnTo>
                      <a:pt x="6955" y="676"/>
                    </a:lnTo>
                    <a:lnTo>
                      <a:pt x="6961" y="678"/>
                    </a:lnTo>
                    <a:lnTo>
                      <a:pt x="6971" y="680"/>
                    </a:lnTo>
                    <a:lnTo>
                      <a:pt x="6982" y="680"/>
                    </a:lnTo>
                    <a:lnTo>
                      <a:pt x="6989" y="680"/>
                    </a:lnTo>
                    <a:lnTo>
                      <a:pt x="7006" y="680"/>
                    </a:lnTo>
                    <a:lnTo>
                      <a:pt x="7027" y="678"/>
                    </a:lnTo>
                    <a:lnTo>
                      <a:pt x="7049" y="674"/>
                    </a:lnTo>
                    <a:lnTo>
                      <a:pt x="7031" y="668"/>
                    </a:lnTo>
                    <a:lnTo>
                      <a:pt x="7011" y="659"/>
                    </a:lnTo>
                    <a:lnTo>
                      <a:pt x="7002" y="654"/>
                    </a:lnTo>
                    <a:lnTo>
                      <a:pt x="6996" y="647"/>
                    </a:lnTo>
                    <a:lnTo>
                      <a:pt x="6993" y="644"/>
                    </a:lnTo>
                    <a:lnTo>
                      <a:pt x="6991" y="640"/>
                    </a:lnTo>
                    <a:lnTo>
                      <a:pt x="6989" y="636"/>
                    </a:lnTo>
                    <a:lnTo>
                      <a:pt x="6989" y="631"/>
                    </a:lnTo>
                    <a:lnTo>
                      <a:pt x="6990" y="621"/>
                    </a:lnTo>
                    <a:lnTo>
                      <a:pt x="6991" y="614"/>
                    </a:lnTo>
                    <a:lnTo>
                      <a:pt x="6992" y="608"/>
                    </a:lnTo>
                    <a:lnTo>
                      <a:pt x="6992" y="602"/>
                    </a:lnTo>
                    <a:lnTo>
                      <a:pt x="6991" y="593"/>
                    </a:lnTo>
                    <a:lnTo>
                      <a:pt x="6989" y="582"/>
                    </a:lnTo>
                    <a:lnTo>
                      <a:pt x="6975" y="581"/>
                    </a:lnTo>
                    <a:lnTo>
                      <a:pt x="6961" y="579"/>
                    </a:lnTo>
                    <a:lnTo>
                      <a:pt x="6947" y="577"/>
                    </a:lnTo>
                    <a:lnTo>
                      <a:pt x="6934" y="573"/>
                    </a:lnTo>
                    <a:lnTo>
                      <a:pt x="6910" y="564"/>
                    </a:lnTo>
                    <a:lnTo>
                      <a:pt x="6886" y="553"/>
                    </a:lnTo>
                    <a:lnTo>
                      <a:pt x="6861" y="543"/>
                    </a:lnTo>
                    <a:lnTo>
                      <a:pt x="6835" y="535"/>
                    </a:lnTo>
                    <a:lnTo>
                      <a:pt x="6821" y="531"/>
                    </a:lnTo>
                    <a:lnTo>
                      <a:pt x="6807" y="529"/>
                    </a:lnTo>
                    <a:lnTo>
                      <a:pt x="6793" y="527"/>
                    </a:lnTo>
                    <a:lnTo>
                      <a:pt x="6776" y="526"/>
                    </a:lnTo>
                    <a:lnTo>
                      <a:pt x="6769" y="527"/>
                    </a:lnTo>
                    <a:lnTo>
                      <a:pt x="6761" y="531"/>
                    </a:lnTo>
                    <a:lnTo>
                      <a:pt x="6756" y="533"/>
                    </a:lnTo>
                    <a:lnTo>
                      <a:pt x="6753" y="536"/>
                    </a:lnTo>
                    <a:lnTo>
                      <a:pt x="6751" y="540"/>
                    </a:lnTo>
                    <a:lnTo>
                      <a:pt x="6750" y="544"/>
                    </a:lnTo>
                    <a:lnTo>
                      <a:pt x="6751" y="547"/>
                    </a:lnTo>
                    <a:lnTo>
                      <a:pt x="6752" y="548"/>
                    </a:lnTo>
                    <a:lnTo>
                      <a:pt x="6754" y="550"/>
                    </a:lnTo>
                    <a:lnTo>
                      <a:pt x="6757" y="552"/>
                    </a:lnTo>
                    <a:lnTo>
                      <a:pt x="6765" y="555"/>
                    </a:lnTo>
                    <a:lnTo>
                      <a:pt x="6775" y="559"/>
                    </a:lnTo>
                    <a:lnTo>
                      <a:pt x="6785" y="563"/>
                    </a:lnTo>
                    <a:lnTo>
                      <a:pt x="6795" y="567"/>
                    </a:lnTo>
                    <a:lnTo>
                      <a:pt x="6799" y="570"/>
                    </a:lnTo>
                    <a:lnTo>
                      <a:pt x="6803" y="574"/>
                    </a:lnTo>
                    <a:lnTo>
                      <a:pt x="6807" y="577"/>
                    </a:lnTo>
                    <a:lnTo>
                      <a:pt x="6810" y="582"/>
                    </a:lnTo>
                    <a:lnTo>
                      <a:pt x="6778" y="567"/>
                    </a:lnTo>
                    <a:lnTo>
                      <a:pt x="6751" y="552"/>
                    </a:lnTo>
                    <a:lnTo>
                      <a:pt x="6728" y="539"/>
                    </a:lnTo>
                    <a:lnTo>
                      <a:pt x="6706" y="528"/>
                    </a:lnTo>
                    <a:lnTo>
                      <a:pt x="6684" y="517"/>
                    </a:lnTo>
                    <a:lnTo>
                      <a:pt x="6660" y="506"/>
                    </a:lnTo>
                    <a:lnTo>
                      <a:pt x="6631" y="494"/>
                    </a:lnTo>
                    <a:lnTo>
                      <a:pt x="6597" y="483"/>
                    </a:lnTo>
                    <a:lnTo>
                      <a:pt x="6573" y="477"/>
                    </a:lnTo>
                    <a:lnTo>
                      <a:pt x="6548" y="471"/>
                    </a:lnTo>
                    <a:lnTo>
                      <a:pt x="6525" y="466"/>
                    </a:lnTo>
                    <a:lnTo>
                      <a:pt x="6500" y="462"/>
                    </a:lnTo>
                    <a:lnTo>
                      <a:pt x="6454" y="455"/>
                    </a:lnTo>
                    <a:lnTo>
                      <a:pt x="6408" y="450"/>
                    </a:lnTo>
                    <a:lnTo>
                      <a:pt x="6363" y="443"/>
                    </a:lnTo>
                    <a:lnTo>
                      <a:pt x="6318" y="436"/>
                    </a:lnTo>
                    <a:lnTo>
                      <a:pt x="6295" y="432"/>
                    </a:lnTo>
                    <a:lnTo>
                      <a:pt x="6272" y="427"/>
                    </a:lnTo>
                    <a:lnTo>
                      <a:pt x="6249" y="422"/>
                    </a:lnTo>
                    <a:lnTo>
                      <a:pt x="6225" y="415"/>
                    </a:lnTo>
                    <a:lnTo>
                      <a:pt x="6146" y="415"/>
                    </a:lnTo>
                    <a:lnTo>
                      <a:pt x="6133" y="407"/>
                    </a:lnTo>
                    <a:lnTo>
                      <a:pt x="6121" y="402"/>
                    </a:lnTo>
                    <a:lnTo>
                      <a:pt x="6114" y="400"/>
                    </a:lnTo>
                    <a:lnTo>
                      <a:pt x="6106" y="398"/>
                    </a:lnTo>
                    <a:lnTo>
                      <a:pt x="6096" y="397"/>
                    </a:lnTo>
                    <a:lnTo>
                      <a:pt x="6085" y="397"/>
                    </a:lnTo>
                    <a:lnTo>
                      <a:pt x="6071" y="398"/>
                    </a:lnTo>
                    <a:lnTo>
                      <a:pt x="6058" y="400"/>
                    </a:lnTo>
                    <a:lnTo>
                      <a:pt x="6045" y="403"/>
                    </a:lnTo>
                    <a:lnTo>
                      <a:pt x="6033" y="406"/>
                    </a:lnTo>
                    <a:lnTo>
                      <a:pt x="6020" y="410"/>
                    </a:lnTo>
                    <a:lnTo>
                      <a:pt x="6007" y="412"/>
                    </a:lnTo>
                    <a:lnTo>
                      <a:pt x="5993" y="415"/>
                    </a:lnTo>
                    <a:lnTo>
                      <a:pt x="5979" y="415"/>
                    </a:lnTo>
                    <a:lnTo>
                      <a:pt x="5971" y="415"/>
                    </a:lnTo>
                    <a:lnTo>
                      <a:pt x="5960" y="412"/>
                    </a:lnTo>
                    <a:lnTo>
                      <a:pt x="5945" y="409"/>
                    </a:lnTo>
                    <a:lnTo>
                      <a:pt x="5929" y="405"/>
                    </a:lnTo>
                    <a:lnTo>
                      <a:pt x="5913" y="400"/>
                    </a:lnTo>
                    <a:lnTo>
                      <a:pt x="5899" y="395"/>
                    </a:lnTo>
                    <a:lnTo>
                      <a:pt x="5887" y="389"/>
                    </a:lnTo>
                    <a:lnTo>
                      <a:pt x="5880" y="384"/>
                    </a:lnTo>
                    <a:lnTo>
                      <a:pt x="5833" y="384"/>
                    </a:lnTo>
                    <a:lnTo>
                      <a:pt x="5835" y="394"/>
                    </a:lnTo>
                    <a:lnTo>
                      <a:pt x="5838" y="402"/>
                    </a:lnTo>
                    <a:lnTo>
                      <a:pt x="5843" y="410"/>
                    </a:lnTo>
                    <a:lnTo>
                      <a:pt x="5847" y="417"/>
                    </a:lnTo>
                    <a:lnTo>
                      <a:pt x="5853" y="423"/>
                    </a:lnTo>
                    <a:lnTo>
                      <a:pt x="5859" y="429"/>
                    </a:lnTo>
                    <a:lnTo>
                      <a:pt x="5866" y="435"/>
                    </a:lnTo>
                    <a:lnTo>
                      <a:pt x="5872" y="439"/>
                    </a:lnTo>
                    <a:lnTo>
                      <a:pt x="5895" y="454"/>
                    </a:lnTo>
                    <a:lnTo>
                      <a:pt x="5906" y="459"/>
                    </a:lnTo>
                    <a:lnTo>
                      <a:pt x="5883" y="448"/>
                    </a:lnTo>
                    <a:lnTo>
                      <a:pt x="5860" y="435"/>
                    </a:lnTo>
                    <a:lnTo>
                      <a:pt x="5848" y="430"/>
                    </a:lnTo>
                    <a:lnTo>
                      <a:pt x="5834" y="425"/>
                    </a:lnTo>
                    <a:lnTo>
                      <a:pt x="5826" y="424"/>
                    </a:lnTo>
                    <a:lnTo>
                      <a:pt x="5819" y="422"/>
                    </a:lnTo>
                    <a:lnTo>
                      <a:pt x="5810" y="422"/>
                    </a:lnTo>
                    <a:lnTo>
                      <a:pt x="5800" y="421"/>
                    </a:lnTo>
                    <a:lnTo>
                      <a:pt x="5804" y="417"/>
                    </a:lnTo>
                    <a:lnTo>
                      <a:pt x="5807" y="412"/>
                    </a:lnTo>
                    <a:lnTo>
                      <a:pt x="5809" y="405"/>
                    </a:lnTo>
                    <a:lnTo>
                      <a:pt x="5813" y="397"/>
                    </a:lnTo>
                    <a:lnTo>
                      <a:pt x="5796" y="397"/>
                    </a:lnTo>
                    <a:lnTo>
                      <a:pt x="5781" y="396"/>
                    </a:lnTo>
                    <a:lnTo>
                      <a:pt x="5767" y="395"/>
                    </a:lnTo>
                    <a:lnTo>
                      <a:pt x="5754" y="390"/>
                    </a:lnTo>
                    <a:lnTo>
                      <a:pt x="5753" y="395"/>
                    </a:lnTo>
                    <a:lnTo>
                      <a:pt x="5752" y="399"/>
                    </a:lnTo>
                    <a:lnTo>
                      <a:pt x="5751" y="402"/>
                    </a:lnTo>
                    <a:lnTo>
                      <a:pt x="5748" y="405"/>
                    </a:lnTo>
                    <a:lnTo>
                      <a:pt x="5745" y="407"/>
                    </a:lnTo>
                    <a:lnTo>
                      <a:pt x="5742" y="409"/>
                    </a:lnTo>
                    <a:lnTo>
                      <a:pt x="5737" y="411"/>
                    </a:lnTo>
                    <a:lnTo>
                      <a:pt x="5733" y="412"/>
                    </a:lnTo>
                    <a:lnTo>
                      <a:pt x="5724" y="414"/>
                    </a:lnTo>
                    <a:lnTo>
                      <a:pt x="5714" y="415"/>
                    </a:lnTo>
                    <a:lnTo>
                      <a:pt x="5703" y="415"/>
                    </a:lnTo>
                    <a:lnTo>
                      <a:pt x="5693" y="415"/>
                    </a:lnTo>
                    <a:lnTo>
                      <a:pt x="5667" y="415"/>
                    </a:lnTo>
                    <a:lnTo>
                      <a:pt x="5643" y="413"/>
                    </a:lnTo>
                    <a:lnTo>
                      <a:pt x="5621" y="411"/>
                    </a:lnTo>
                    <a:lnTo>
                      <a:pt x="5599" y="409"/>
                    </a:lnTo>
                    <a:lnTo>
                      <a:pt x="5578" y="407"/>
                    </a:lnTo>
                    <a:lnTo>
                      <a:pt x="5557" y="408"/>
                    </a:lnTo>
                    <a:lnTo>
                      <a:pt x="5546" y="409"/>
                    </a:lnTo>
                    <a:lnTo>
                      <a:pt x="5536" y="410"/>
                    </a:lnTo>
                    <a:lnTo>
                      <a:pt x="5525" y="412"/>
                    </a:lnTo>
                    <a:lnTo>
                      <a:pt x="5514" y="415"/>
                    </a:lnTo>
                    <a:lnTo>
                      <a:pt x="5528" y="430"/>
                    </a:lnTo>
                    <a:lnTo>
                      <a:pt x="5539" y="439"/>
                    </a:lnTo>
                    <a:lnTo>
                      <a:pt x="5551" y="450"/>
                    </a:lnTo>
                    <a:lnTo>
                      <a:pt x="5567" y="465"/>
                    </a:lnTo>
                    <a:lnTo>
                      <a:pt x="5531" y="450"/>
                    </a:lnTo>
                    <a:lnTo>
                      <a:pt x="5497" y="437"/>
                    </a:lnTo>
                    <a:lnTo>
                      <a:pt x="5465" y="426"/>
                    </a:lnTo>
                    <a:lnTo>
                      <a:pt x="5433" y="414"/>
                    </a:lnTo>
                    <a:lnTo>
                      <a:pt x="5419" y="407"/>
                    </a:lnTo>
                    <a:lnTo>
                      <a:pt x="5404" y="400"/>
                    </a:lnTo>
                    <a:lnTo>
                      <a:pt x="5388" y="392"/>
                    </a:lnTo>
                    <a:lnTo>
                      <a:pt x="5374" y="383"/>
                    </a:lnTo>
                    <a:lnTo>
                      <a:pt x="5360" y="373"/>
                    </a:lnTo>
                    <a:lnTo>
                      <a:pt x="5344" y="362"/>
                    </a:lnTo>
                    <a:lnTo>
                      <a:pt x="5330" y="350"/>
                    </a:lnTo>
                    <a:lnTo>
                      <a:pt x="5315" y="336"/>
                    </a:lnTo>
                    <a:lnTo>
                      <a:pt x="5109" y="336"/>
                    </a:lnTo>
                    <a:lnTo>
                      <a:pt x="5104" y="337"/>
                    </a:lnTo>
                    <a:lnTo>
                      <a:pt x="5099" y="339"/>
                    </a:lnTo>
                    <a:lnTo>
                      <a:pt x="5094" y="343"/>
                    </a:lnTo>
                    <a:lnTo>
                      <a:pt x="5090" y="348"/>
                    </a:lnTo>
                    <a:lnTo>
                      <a:pt x="5009" y="354"/>
                    </a:lnTo>
                    <a:lnTo>
                      <a:pt x="5003" y="353"/>
                    </a:lnTo>
                    <a:lnTo>
                      <a:pt x="4996" y="353"/>
                    </a:lnTo>
                    <a:lnTo>
                      <a:pt x="4991" y="351"/>
                    </a:lnTo>
                    <a:lnTo>
                      <a:pt x="4986" y="349"/>
                    </a:lnTo>
                    <a:lnTo>
                      <a:pt x="4979" y="344"/>
                    </a:lnTo>
                    <a:lnTo>
                      <a:pt x="4972" y="339"/>
                    </a:lnTo>
                    <a:lnTo>
                      <a:pt x="4964" y="332"/>
                    </a:lnTo>
                    <a:lnTo>
                      <a:pt x="4956" y="327"/>
                    </a:lnTo>
                    <a:lnTo>
                      <a:pt x="4951" y="325"/>
                    </a:lnTo>
                    <a:lnTo>
                      <a:pt x="4945" y="324"/>
                    </a:lnTo>
                    <a:lnTo>
                      <a:pt x="4938" y="323"/>
                    </a:lnTo>
                    <a:lnTo>
                      <a:pt x="4929" y="323"/>
                    </a:lnTo>
                    <a:lnTo>
                      <a:pt x="4924" y="323"/>
                    </a:lnTo>
                    <a:lnTo>
                      <a:pt x="4918" y="324"/>
                    </a:lnTo>
                    <a:lnTo>
                      <a:pt x="4916" y="326"/>
                    </a:lnTo>
                    <a:lnTo>
                      <a:pt x="4913" y="329"/>
                    </a:lnTo>
                    <a:lnTo>
                      <a:pt x="4911" y="331"/>
                    </a:lnTo>
                    <a:lnTo>
                      <a:pt x="4907" y="333"/>
                    </a:lnTo>
                    <a:lnTo>
                      <a:pt x="4903" y="334"/>
                    </a:lnTo>
                    <a:lnTo>
                      <a:pt x="4896" y="336"/>
                    </a:lnTo>
                    <a:lnTo>
                      <a:pt x="4884" y="334"/>
                    </a:lnTo>
                    <a:lnTo>
                      <a:pt x="4873" y="332"/>
                    </a:lnTo>
                    <a:lnTo>
                      <a:pt x="4863" y="328"/>
                    </a:lnTo>
                    <a:lnTo>
                      <a:pt x="4853" y="324"/>
                    </a:lnTo>
                    <a:lnTo>
                      <a:pt x="4836" y="314"/>
                    </a:lnTo>
                    <a:lnTo>
                      <a:pt x="4816" y="304"/>
                    </a:lnTo>
                    <a:lnTo>
                      <a:pt x="4830" y="292"/>
                    </a:lnTo>
                    <a:lnTo>
                      <a:pt x="4826" y="290"/>
                    </a:lnTo>
                    <a:lnTo>
                      <a:pt x="4816" y="286"/>
                    </a:lnTo>
                    <a:lnTo>
                      <a:pt x="4808" y="284"/>
                    </a:lnTo>
                    <a:lnTo>
                      <a:pt x="4799" y="282"/>
                    </a:lnTo>
                    <a:lnTo>
                      <a:pt x="4789" y="281"/>
                    </a:lnTo>
                    <a:lnTo>
                      <a:pt x="4777" y="279"/>
                    </a:lnTo>
                    <a:lnTo>
                      <a:pt x="4766" y="281"/>
                    </a:lnTo>
                    <a:lnTo>
                      <a:pt x="4757" y="281"/>
                    </a:lnTo>
                    <a:lnTo>
                      <a:pt x="4748" y="283"/>
                    </a:lnTo>
                    <a:lnTo>
                      <a:pt x="4740" y="285"/>
                    </a:lnTo>
                    <a:lnTo>
                      <a:pt x="4728" y="290"/>
                    </a:lnTo>
                    <a:lnTo>
                      <a:pt x="4717" y="295"/>
                    </a:lnTo>
                    <a:lnTo>
                      <a:pt x="4710" y="301"/>
                    </a:lnTo>
                    <a:lnTo>
                      <a:pt x="4701" y="306"/>
                    </a:lnTo>
                    <a:lnTo>
                      <a:pt x="4698" y="308"/>
                    </a:lnTo>
                    <a:lnTo>
                      <a:pt x="4693" y="309"/>
                    </a:lnTo>
                    <a:lnTo>
                      <a:pt x="4689" y="310"/>
                    </a:lnTo>
                    <a:lnTo>
                      <a:pt x="4683" y="310"/>
                    </a:lnTo>
                    <a:lnTo>
                      <a:pt x="4670" y="310"/>
                    </a:lnTo>
                    <a:lnTo>
                      <a:pt x="4657" y="310"/>
                    </a:lnTo>
                    <a:lnTo>
                      <a:pt x="4657" y="279"/>
                    </a:lnTo>
                    <a:lnTo>
                      <a:pt x="4650" y="275"/>
                    </a:lnTo>
                    <a:lnTo>
                      <a:pt x="4644" y="272"/>
                    </a:lnTo>
                    <a:lnTo>
                      <a:pt x="4638" y="271"/>
                    </a:lnTo>
                    <a:lnTo>
                      <a:pt x="4633" y="270"/>
                    </a:lnTo>
                    <a:lnTo>
                      <a:pt x="4627" y="271"/>
                    </a:lnTo>
                    <a:lnTo>
                      <a:pt x="4621" y="272"/>
                    </a:lnTo>
                    <a:lnTo>
                      <a:pt x="4613" y="275"/>
                    </a:lnTo>
                    <a:lnTo>
                      <a:pt x="4604" y="279"/>
                    </a:lnTo>
                    <a:lnTo>
                      <a:pt x="4603" y="277"/>
                    </a:lnTo>
                    <a:lnTo>
                      <a:pt x="4601" y="275"/>
                    </a:lnTo>
                    <a:lnTo>
                      <a:pt x="4599" y="273"/>
                    </a:lnTo>
                    <a:lnTo>
                      <a:pt x="4597" y="272"/>
                    </a:lnTo>
                    <a:lnTo>
                      <a:pt x="4589" y="270"/>
                    </a:lnTo>
                    <a:lnTo>
                      <a:pt x="4579" y="268"/>
                    </a:lnTo>
                    <a:lnTo>
                      <a:pt x="4557" y="267"/>
                    </a:lnTo>
                    <a:lnTo>
                      <a:pt x="4532" y="267"/>
                    </a:lnTo>
                    <a:lnTo>
                      <a:pt x="4486" y="271"/>
                    </a:lnTo>
                    <a:lnTo>
                      <a:pt x="4465" y="273"/>
                    </a:lnTo>
                    <a:lnTo>
                      <a:pt x="4398" y="273"/>
                    </a:lnTo>
                    <a:lnTo>
                      <a:pt x="4399" y="276"/>
                    </a:lnTo>
                    <a:lnTo>
                      <a:pt x="4400" y="279"/>
                    </a:lnTo>
                    <a:lnTo>
                      <a:pt x="4402" y="283"/>
                    </a:lnTo>
                    <a:lnTo>
                      <a:pt x="4405" y="285"/>
                    </a:lnTo>
                    <a:lnTo>
                      <a:pt x="4409" y="288"/>
                    </a:lnTo>
                    <a:lnTo>
                      <a:pt x="4412" y="290"/>
                    </a:lnTo>
                    <a:lnTo>
                      <a:pt x="4415" y="292"/>
                    </a:lnTo>
                    <a:lnTo>
                      <a:pt x="4418" y="292"/>
                    </a:lnTo>
                    <a:lnTo>
                      <a:pt x="4420" y="299"/>
                    </a:lnTo>
                    <a:lnTo>
                      <a:pt x="4425" y="307"/>
                    </a:lnTo>
                    <a:lnTo>
                      <a:pt x="4432" y="316"/>
                    </a:lnTo>
                    <a:lnTo>
                      <a:pt x="4438" y="323"/>
                    </a:lnTo>
                    <a:lnTo>
                      <a:pt x="4429" y="323"/>
                    </a:lnTo>
                    <a:lnTo>
                      <a:pt x="4420" y="324"/>
                    </a:lnTo>
                    <a:lnTo>
                      <a:pt x="4412" y="326"/>
                    </a:lnTo>
                    <a:lnTo>
                      <a:pt x="4403" y="329"/>
                    </a:lnTo>
                    <a:lnTo>
                      <a:pt x="4394" y="331"/>
                    </a:lnTo>
                    <a:lnTo>
                      <a:pt x="4383" y="333"/>
                    </a:lnTo>
                    <a:lnTo>
                      <a:pt x="4373" y="334"/>
                    </a:lnTo>
                    <a:lnTo>
                      <a:pt x="4358" y="336"/>
                    </a:lnTo>
                    <a:lnTo>
                      <a:pt x="4337" y="334"/>
                    </a:lnTo>
                    <a:lnTo>
                      <a:pt x="4317" y="331"/>
                    </a:lnTo>
                    <a:lnTo>
                      <a:pt x="4295" y="327"/>
                    </a:lnTo>
                    <a:lnTo>
                      <a:pt x="4272" y="323"/>
                    </a:lnTo>
                    <a:lnTo>
                      <a:pt x="4250" y="318"/>
                    </a:lnTo>
                    <a:lnTo>
                      <a:pt x="4228" y="314"/>
                    </a:lnTo>
                    <a:lnTo>
                      <a:pt x="4206" y="311"/>
                    </a:lnTo>
                    <a:lnTo>
                      <a:pt x="4186" y="310"/>
                    </a:lnTo>
                    <a:lnTo>
                      <a:pt x="4176" y="310"/>
                    </a:lnTo>
                    <a:lnTo>
                      <a:pt x="4166" y="310"/>
                    </a:lnTo>
                    <a:lnTo>
                      <a:pt x="4166" y="348"/>
                    </a:lnTo>
                    <a:lnTo>
                      <a:pt x="4139" y="348"/>
                    </a:lnTo>
                    <a:lnTo>
                      <a:pt x="4131" y="345"/>
                    </a:lnTo>
                    <a:lnTo>
                      <a:pt x="4122" y="342"/>
                    </a:lnTo>
                    <a:lnTo>
                      <a:pt x="4113" y="340"/>
                    </a:lnTo>
                    <a:lnTo>
                      <a:pt x="4102" y="338"/>
                    </a:lnTo>
                    <a:lnTo>
                      <a:pt x="4082" y="333"/>
                    </a:lnTo>
                    <a:lnTo>
                      <a:pt x="4060" y="330"/>
                    </a:lnTo>
                    <a:lnTo>
                      <a:pt x="4039" y="326"/>
                    </a:lnTo>
                    <a:lnTo>
                      <a:pt x="4019" y="321"/>
                    </a:lnTo>
                    <a:lnTo>
                      <a:pt x="4009" y="318"/>
                    </a:lnTo>
                    <a:lnTo>
                      <a:pt x="4000" y="314"/>
                    </a:lnTo>
                    <a:lnTo>
                      <a:pt x="3993" y="310"/>
                    </a:lnTo>
                    <a:lnTo>
                      <a:pt x="3986" y="304"/>
                    </a:lnTo>
                    <a:lnTo>
                      <a:pt x="3946" y="304"/>
                    </a:lnTo>
                    <a:lnTo>
                      <a:pt x="3953" y="317"/>
                    </a:lnTo>
                    <a:lnTo>
                      <a:pt x="3960" y="329"/>
                    </a:lnTo>
                    <a:lnTo>
                      <a:pt x="3941" y="318"/>
                    </a:lnTo>
                    <a:lnTo>
                      <a:pt x="3920" y="305"/>
                    </a:lnTo>
                    <a:lnTo>
                      <a:pt x="3898" y="294"/>
                    </a:lnTo>
                    <a:lnTo>
                      <a:pt x="3880" y="286"/>
                    </a:lnTo>
                    <a:lnTo>
                      <a:pt x="3820" y="286"/>
                    </a:lnTo>
                    <a:lnTo>
                      <a:pt x="3820" y="287"/>
                    </a:lnTo>
                    <a:lnTo>
                      <a:pt x="3819" y="288"/>
                    </a:lnTo>
                    <a:lnTo>
                      <a:pt x="3818" y="288"/>
                    </a:lnTo>
                    <a:lnTo>
                      <a:pt x="3816" y="287"/>
                    </a:lnTo>
                    <a:lnTo>
                      <a:pt x="3809" y="286"/>
                    </a:lnTo>
                    <a:lnTo>
                      <a:pt x="3800" y="283"/>
                    </a:lnTo>
                    <a:lnTo>
                      <a:pt x="3777" y="274"/>
                    </a:lnTo>
                    <a:lnTo>
                      <a:pt x="3752" y="265"/>
                    </a:lnTo>
                    <a:lnTo>
                      <a:pt x="3727" y="256"/>
                    </a:lnTo>
                    <a:lnTo>
                      <a:pt x="3706" y="249"/>
                    </a:lnTo>
                    <a:lnTo>
                      <a:pt x="3698" y="247"/>
                    </a:lnTo>
                    <a:lnTo>
                      <a:pt x="3694" y="246"/>
                    </a:lnTo>
                    <a:lnTo>
                      <a:pt x="3693" y="246"/>
                    </a:lnTo>
                    <a:lnTo>
                      <a:pt x="3692" y="247"/>
                    </a:lnTo>
                    <a:lnTo>
                      <a:pt x="3693" y="248"/>
                    </a:lnTo>
                    <a:lnTo>
                      <a:pt x="3694" y="249"/>
                    </a:lnTo>
                    <a:lnTo>
                      <a:pt x="3677" y="249"/>
                    </a:lnTo>
                    <a:lnTo>
                      <a:pt x="3663" y="251"/>
                    </a:lnTo>
                    <a:lnTo>
                      <a:pt x="3650" y="253"/>
                    </a:lnTo>
                    <a:lnTo>
                      <a:pt x="3637" y="255"/>
                    </a:lnTo>
                    <a:lnTo>
                      <a:pt x="3624" y="257"/>
                    </a:lnTo>
                    <a:lnTo>
                      <a:pt x="3608" y="259"/>
                    </a:lnTo>
                    <a:lnTo>
                      <a:pt x="3593" y="261"/>
                    </a:lnTo>
                    <a:lnTo>
                      <a:pt x="3574" y="261"/>
                    </a:lnTo>
                    <a:lnTo>
                      <a:pt x="3559" y="261"/>
                    </a:lnTo>
                    <a:lnTo>
                      <a:pt x="3544" y="260"/>
                    </a:lnTo>
                    <a:lnTo>
                      <a:pt x="3528" y="258"/>
                    </a:lnTo>
                    <a:lnTo>
                      <a:pt x="3515" y="256"/>
                    </a:lnTo>
                    <a:lnTo>
                      <a:pt x="3488" y="252"/>
                    </a:lnTo>
                    <a:lnTo>
                      <a:pt x="3461" y="246"/>
                    </a:lnTo>
                    <a:lnTo>
                      <a:pt x="3435" y="240"/>
                    </a:lnTo>
                    <a:lnTo>
                      <a:pt x="3408" y="236"/>
                    </a:lnTo>
                    <a:lnTo>
                      <a:pt x="3394" y="234"/>
                    </a:lnTo>
                    <a:lnTo>
                      <a:pt x="3379" y="232"/>
                    </a:lnTo>
                    <a:lnTo>
                      <a:pt x="3365" y="231"/>
                    </a:lnTo>
                    <a:lnTo>
                      <a:pt x="3348" y="231"/>
                    </a:lnTo>
                    <a:lnTo>
                      <a:pt x="3334" y="227"/>
                    </a:lnTo>
                    <a:lnTo>
                      <a:pt x="3313" y="219"/>
                    </a:lnTo>
                    <a:lnTo>
                      <a:pt x="3304" y="216"/>
                    </a:lnTo>
                    <a:lnTo>
                      <a:pt x="3296" y="214"/>
                    </a:lnTo>
                    <a:lnTo>
                      <a:pt x="3293" y="214"/>
                    </a:lnTo>
                    <a:lnTo>
                      <a:pt x="3291" y="215"/>
                    </a:lnTo>
                    <a:lnTo>
                      <a:pt x="3289" y="216"/>
                    </a:lnTo>
                    <a:lnTo>
                      <a:pt x="3289" y="218"/>
                    </a:lnTo>
                    <a:lnTo>
                      <a:pt x="3289" y="221"/>
                    </a:lnTo>
                    <a:lnTo>
                      <a:pt x="3290" y="226"/>
                    </a:lnTo>
                    <a:lnTo>
                      <a:pt x="3292" y="229"/>
                    </a:lnTo>
                    <a:lnTo>
                      <a:pt x="3295" y="233"/>
                    </a:lnTo>
                    <a:lnTo>
                      <a:pt x="3302" y="240"/>
                    </a:lnTo>
                    <a:lnTo>
                      <a:pt x="3310" y="247"/>
                    </a:lnTo>
                    <a:lnTo>
                      <a:pt x="3320" y="252"/>
                    </a:lnTo>
                    <a:lnTo>
                      <a:pt x="3328" y="257"/>
                    </a:lnTo>
                    <a:lnTo>
                      <a:pt x="3336" y="260"/>
                    </a:lnTo>
                    <a:lnTo>
                      <a:pt x="3341" y="261"/>
                    </a:lnTo>
                    <a:lnTo>
                      <a:pt x="3332" y="260"/>
                    </a:lnTo>
                    <a:lnTo>
                      <a:pt x="3323" y="257"/>
                    </a:lnTo>
                    <a:lnTo>
                      <a:pt x="3314" y="255"/>
                    </a:lnTo>
                    <a:lnTo>
                      <a:pt x="3305" y="251"/>
                    </a:lnTo>
                    <a:lnTo>
                      <a:pt x="3290" y="244"/>
                    </a:lnTo>
                    <a:lnTo>
                      <a:pt x="3273" y="235"/>
                    </a:lnTo>
                    <a:lnTo>
                      <a:pt x="3257" y="225"/>
                    </a:lnTo>
                    <a:lnTo>
                      <a:pt x="3239" y="213"/>
                    </a:lnTo>
                    <a:lnTo>
                      <a:pt x="3219" y="203"/>
                    </a:lnTo>
                    <a:lnTo>
                      <a:pt x="3195" y="193"/>
                    </a:lnTo>
                    <a:lnTo>
                      <a:pt x="3198" y="192"/>
                    </a:lnTo>
                    <a:lnTo>
                      <a:pt x="3200" y="190"/>
                    </a:lnTo>
                    <a:lnTo>
                      <a:pt x="3201" y="186"/>
                    </a:lnTo>
                    <a:lnTo>
                      <a:pt x="3201" y="181"/>
                    </a:lnTo>
                    <a:lnTo>
                      <a:pt x="3202" y="173"/>
                    </a:lnTo>
                    <a:lnTo>
                      <a:pt x="3202" y="169"/>
                    </a:lnTo>
                    <a:lnTo>
                      <a:pt x="3169" y="169"/>
                    </a:lnTo>
                    <a:lnTo>
                      <a:pt x="3164" y="170"/>
                    </a:lnTo>
                    <a:lnTo>
                      <a:pt x="3159" y="173"/>
                    </a:lnTo>
                    <a:lnTo>
                      <a:pt x="3154" y="177"/>
                    </a:lnTo>
                    <a:lnTo>
                      <a:pt x="3149" y="181"/>
                    </a:lnTo>
                    <a:lnTo>
                      <a:pt x="3153" y="187"/>
                    </a:lnTo>
                    <a:lnTo>
                      <a:pt x="3156" y="193"/>
                    </a:lnTo>
                    <a:lnTo>
                      <a:pt x="3144" y="196"/>
                    </a:lnTo>
                    <a:lnTo>
                      <a:pt x="3133" y="199"/>
                    </a:lnTo>
                    <a:lnTo>
                      <a:pt x="3122" y="203"/>
                    </a:lnTo>
                    <a:lnTo>
                      <a:pt x="3112" y="206"/>
                    </a:lnTo>
                    <a:lnTo>
                      <a:pt x="3093" y="215"/>
                    </a:lnTo>
                    <a:lnTo>
                      <a:pt x="3076" y="225"/>
                    </a:lnTo>
                    <a:lnTo>
                      <a:pt x="3058" y="235"/>
                    </a:lnTo>
                    <a:lnTo>
                      <a:pt x="3040" y="245"/>
                    </a:lnTo>
                    <a:lnTo>
                      <a:pt x="3030" y="249"/>
                    </a:lnTo>
                    <a:lnTo>
                      <a:pt x="3020" y="253"/>
                    </a:lnTo>
                    <a:lnTo>
                      <a:pt x="3008" y="257"/>
                    </a:lnTo>
                    <a:lnTo>
                      <a:pt x="2997" y="261"/>
                    </a:lnTo>
                    <a:lnTo>
                      <a:pt x="2997" y="257"/>
                    </a:lnTo>
                    <a:lnTo>
                      <a:pt x="2998" y="252"/>
                    </a:lnTo>
                    <a:lnTo>
                      <a:pt x="2999" y="248"/>
                    </a:lnTo>
                    <a:lnTo>
                      <a:pt x="3002" y="243"/>
                    </a:lnTo>
                    <a:lnTo>
                      <a:pt x="3008" y="235"/>
                    </a:lnTo>
                    <a:lnTo>
                      <a:pt x="3016" y="226"/>
                    </a:lnTo>
                    <a:lnTo>
                      <a:pt x="3026" y="217"/>
                    </a:lnTo>
                    <a:lnTo>
                      <a:pt x="3038" y="209"/>
                    </a:lnTo>
                    <a:lnTo>
                      <a:pt x="3052" y="201"/>
                    </a:lnTo>
                    <a:lnTo>
                      <a:pt x="3065" y="193"/>
                    </a:lnTo>
                    <a:lnTo>
                      <a:pt x="3093" y="179"/>
                    </a:lnTo>
                    <a:lnTo>
                      <a:pt x="3122" y="165"/>
                    </a:lnTo>
                    <a:lnTo>
                      <a:pt x="3148" y="154"/>
                    </a:lnTo>
                    <a:lnTo>
                      <a:pt x="3169" y="144"/>
                    </a:lnTo>
                    <a:lnTo>
                      <a:pt x="3157" y="136"/>
                    </a:lnTo>
                    <a:lnTo>
                      <a:pt x="3144" y="129"/>
                    </a:lnTo>
                    <a:lnTo>
                      <a:pt x="3130" y="122"/>
                    </a:lnTo>
                    <a:lnTo>
                      <a:pt x="3114" y="115"/>
                    </a:lnTo>
                    <a:lnTo>
                      <a:pt x="3098" y="107"/>
                    </a:lnTo>
                    <a:lnTo>
                      <a:pt x="3080" y="102"/>
                    </a:lnTo>
                    <a:lnTo>
                      <a:pt x="3063" y="96"/>
                    </a:lnTo>
                    <a:lnTo>
                      <a:pt x="3044" y="91"/>
                    </a:lnTo>
                    <a:lnTo>
                      <a:pt x="3024" y="86"/>
                    </a:lnTo>
                    <a:lnTo>
                      <a:pt x="3004" y="82"/>
                    </a:lnTo>
                    <a:lnTo>
                      <a:pt x="2985" y="79"/>
                    </a:lnTo>
                    <a:lnTo>
                      <a:pt x="2965" y="76"/>
                    </a:lnTo>
                    <a:lnTo>
                      <a:pt x="2944" y="74"/>
                    </a:lnTo>
                    <a:lnTo>
                      <a:pt x="2923" y="72"/>
                    </a:lnTo>
                    <a:lnTo>
                      <a:pt x="2903" y="71"/>
                    </a:lnTo>
                    <a:lnTo>
                      <a:pt x="2884" y="70"/>
                    </a:lnTo>
                    <a:lnTo>
                      <a:pt x="2875" y="71"/>
                    </a:lnTo>
                    <a:lnTo>
                      <a:pt x="2867" y="72"/>
                    </a:lnTo>
                    <a:lnTo>
                      <a:pt x="2862" y="74"/>
                    </a:lnTo>
                    <a:lnTo>
                      <a:pt x="2856" y="76"/>
                    </a:lnTo>
                    <a:lnTo>
                      <a:pt x="2850" y="79"/>
                    </a:lnTo>
                    <a:lnTo>
                      <a:pt x="2843" y="81"/>
                    </a:lnTo>
                    <a:lnTo>
                      <a:pt x="2834" y="82"/>
                    </a:lnTo>
                    <a:lnTo>
                      <a:pt x="2823" y="83"/>
                    </a:lnTo>
                    <a:lnTo>
                      <a:pt x="2723" y="64"/>
                    </a:lnTo>
                    <a:lnTo>
                      <a:pt x="2724" y="58"/>
                    </a:lnTo>
                    <a:lnTo>
                      <a:pt x="2726" y="52"/>
                    </a:lnTo>
                    <a:lnTo>
                      <a:pt x="2729" y="47"/>
                    </a:lnTo>
                    <a:lnTo>
                      <a:pt x="2731" y="42"/>
                    </a:lnTo>
                    <a:lnTo>
                      <a:pt x="2738" y="33"/>
                    </a:lnTo>
                    <a:lnTo>
                      <a:pt x="2744" y="21"/>
                    </a:lnTo>
                    <a:lnTo>
                      <a:pt x="2743" y="19"/>
                    </a:lnTo>
                    <a:lnTo>
                      <a:pt x="2742" y="17"/>
                    </a:lnTo>
                    <a:lnTo>
                      <a:pt x="2739" y="15"/>
                    </a:lnTo>
                    <a:lnTo>
                      <a:pt x="2735" y="13"/>
                    </a:lnTo>
                    <a:lnTo>
                      <a:pt x="2727" y="10"/>
                    </a:lnTo>
                    <a:lnTo>
                      <a:pt x="2717" y="9"/>
                    </a:lnTo>
                    <a:lnTo>
                      <a:pt x="2712" y="5"/>
                    </a:lnTo>
                    <a:lnTo>
                      <a:pt x="2707" y="1"/>
                    </a:lnTo>
                    <a:lnTo>
                      <a:pt x="2701" y="0"/>
                    </a:lnTo>
                    <a:lnTo>
                      <a:pt x="2696" y="0"/>
                    </a:lnTo>
                    <a:lnTo>
                      <a:pt x="2691" y="3"/>
                    </a:lnTo>
                    <a:lnTo>
                      <a:pt x="2687" y="7"/>
                    </a:lnTo>
                    <a:lnTo>
                      <a:pt x="2685" y="13"/>
                    </a:lnTo>
                    <a:lnTo>
                      <a:pt x="2684" y="21"/>
                    </a:lnTo>
                    <a:lnTo>
                      <a:pt x="2667" y="24"/>
                    </a:lnTo>
                    <a:lnTo>
                      <a:pt x="2653" y="29"/>
                    </a:lnTo>
                    <a:lnTo>
                      <a:pt x="2641" y="34"/>
                    </a:lnTo>
                    <a:lnTo>
                      <a:pt x="2630" y="40"/>
                    </a:lnTo>
                    <a:lnTo>
                      <a:pt x="2610" y="53"/>
                    </a:lnTo>
                    <a:lnTo>
                      <a:pt x="2590" y="64"/>
                    </a:lnTo>
                    <a:lnTo>
                      <a:pt x="2618" y="83"/>
                    </a:lnTo>
                    <a:lnTo>
                      <a:pt x="2611" y="83"/>
                    </a:lnTo>
                    <a:lnTo>
                      <a:pt x="2597" y="83"/>
                    </a:lnTo>
                    <a:lnTo>
                      <a:pt x="2575" y="83"/>
                    </a:lnTo>
                    <a:lnTo>
                      <a:pt x="2551" y="83"/>
                    </a:lnTo>
                    <a:lnTo>
                      <a:pt x="2567" y="97"/>
                    </a:lnTo>
                    <a:lnTo>
                      <a:pt x="2587" y="118"/>
                    </a:lnTo>
                    <a:lnTo>
                      <a:pt x="2598" y="128"/>
                    </a:lnTo>
                    <a:lnTo>
                      <a:pt x="2610" y="136"/>
                    </a:lnTo>
                    <a:lnTo>
                      <a:pt x="2617" y="140"/>
                    </a:lnTo>
                    <a:lnTo>
                      <a:pt x="2623" y="142"/>
                    </a:lnTo>
                    <a:lnTo>
                      <a:pt x="2630" y="144"/>
                    </a:lnTo>
                    <a:lnTo>
                      <a:pt x="2638" y="144"/>
                    </a:lnTo>
                    <a:lnTo>
                      <a:pt x="2630" y="144"/>
                    </a:lnTo>
                    <a:lnTo>
                      <a:pt x="2623" y="142"/>
                    </a:lnTo>
                    <a:lnTo>
                      <a:pt x="2618" y="140"/>
                    </a:lnTo>
                    <a:lnTo>
                      <a:pt x="2611" y="137"/>
                    </a:lnTo>
                    <a:lnTo>
                      <a:pt x="2600" y="130"/>
                    </a:lnTo>
                    <a:lnTo>
                      <a:pt x="2590" y="121"/>
                    </a:lnTo>
                    <a:lnTo>
                      <a:pt x="2579" y="110"/>
                    </a:lnTo>
                    <a:lnTo>
                      <a:pt x="2567" y="100"/>
                    </a:lnTo>
                    <a:lnTo>
                      <a:pt x="2561" y="95"/>
                    </a:lnTo>
                    <a:lnTo>
                      <a:pt x="2554" y="90"/>
                    </a:lnTo>
                    <a:lnTo>
                      <a:pt x="2547" y="86"/>
                    </a:lnTo>
                    <a:lnTo>
                      <a:pt x="2538" y="83"/>
                    </a:lnTo>
                    <a:lnTo>
                      <a:pt x="2465" y="114"/>
                    </a:lnTo>
                    <a:lnTo>
                      <a:pt x="2462" y="110"/>
                    </a:lnTo>
                    <a:lnTo>
                      <a:pt x="2455" y="104"/>
                    </a:lnTo>
                    <a:lnTo>
                      <a:pt x="2451" y="100"/>
                    </a:lnTo>
                    <a:lnTo>
                      <a:pt x="2446" y="98"/>
                    </a:lnTo>
                    <a:lnTo>
                      <a:pt x="2439" y="95"/>
                    </a:lnTo>
                    <a:lnTo>
                      <a:pt x="2431" y="95"/>
                    </a:lnTo>
                    <a:lnTo>
                      <a:pt x="2410" y="95"/>
                    </a:lnTo>
                    <a:lnTo>
                      <a:pt x="2391" y="98"/>
                    </a:lnTo>
                    <a:lnTo>
                      <a:pt x="2372" y="101"/>
                    </a:lnTo>
                    <a:lnTo>
                      <a:pt x="2354" y="105"/>
                    </a:lnTo>
                    <a:lnTo>
                      <a:pt x="2319" y="117"/>
                    </a:lnTo>
                    <a:lnTo>
                      <a:pt x="2284" y="129"/>
                    </a:lnTo>
                    <a:lnTo>
                      <a:pt x="2250" y="141"/>
                    </a:lnTo>
                    <a:lnTo>
                      <a:pt x="2214" y="152"/>
                    </a:lnTo>
                    <a:lnTo>
                      <a:pt x="2195" y="156"/>
                    </a:lnTo>
                    <a:lnTo>
                      <a:pt x="2175" y="159"/>
                    </a:lnTo>
                    <a:lnTo>
                      <a:pt x="2155" y="161"/>
                    </a:lnTo>
                    <a:lnTo>
                      <a:pt x="2133" y="162"/>
                    </a:lnTo>
                    <a:lnTo>
                      <a:pt x="2134" y="167"/>
                    </a:lnTo>
                    <a:lnTo>
                      <a:pt x="2137" y="173"/>
                    </a:lnTo>
                    <a:lnTo>
                      <a:pt x="2142" y="178"/>
                    </a:lnTo>
                    <a:lnTo>
                      <a:pt x="2149" y="183"/>
                    </a:lnTo>
                    <a:lnTo>
                      <a:pt x="2157" y="187"/>
                    </a:lnTo>
                    <a:lnTo>
                      <a:pt x="2167" y="190"/>
                    </a:lnTo>
                    <a:lnTo>
                      <a:pt x="2175" y="193"/>
                    </a:lnTo>
                    <a:lnTo>
                      <a:pt x="2185" y="193"/>
                    </a:lnTo>
                    <a:lnTo>
                      <a:pt x="2186" y="198"/>
                    </a:lnTo>
                    <a:lnTo>
                      <a:pt x="2187" y="203"/>
                    </a:lnTo>
                    <a:lnTo>
                      <a:pt x="2190" y="208"/>
                    </a:lnTo>
                    <a:lnTo>
                      <a:pt x="2192" y="213"/>
                    </a:lnTo>
                    <a:lnTo>
                      <a:pt x="2198" y="225"/>
                    </a:lnTo>
                    <a:lnTo>
                      <a:pt x="2207" y="235"/>
                    </a:lnTo>
                    <a:lnTo>
                      <a:pt x="2216" y="244"/>
                    </a:lnTo>
                    <a:lnTo>
                      <a:pt x="2225" y="251"/>
                    </a:lnTo>
                    <a:lnTo>
                      <a:pt x="2233" y="257"/>
                    </a:lnTo>
                    <a:lnTo>
                      <a:pt x="2239" y="261"/>
                    </a:lnTo>
                    <a:lnTo>
                      <a:pt x="2233" y="261"/>
                    </a:lnTo>
                    <a:lnTo>
                      <a:pt x="2227" y="260"/>
                    </a:lnTo>
                    <a:lnTo>
                      <a:pt x="2223" y="259"/>
                    </a:lnTo>
                    <a:lnTo>
                      <a:pt x="2217" y="257"/>
                    </a:lnTo>
                    <a:lnTo>
                      <a:pt x="2214" y="254"/>
                    </a:lnTo>
                    <a:lnTo>
                      <a:pt x="2209" y="251"/>
                    </a:lnTo>
                    <a:lnTo>
                      <a:pt x="2206" y="248"/>
                    </a:lnTo>
                    <a:lnTo>
                      <a:pt x="2203" y="244"/>
                    </a:lnTo>
                    <a:lnTo>
                      <a:pt x="2198" y="236"/>
                    </a:lnTo>
                    <a:lnTo>
                      <a:pt x="2195" y="225"/>
                    </a:lnTo>
                    <a:lnTo>
                      <a:pt x="2193" y="213"/>
                    </a:lnTo>
                    <a:lnTo>
                      <a:pt x="2192" y="200"/>
                    </a:lnTo>
                    <a:lnTo>
                      <a:pt x="2190" y="201"/>
                    </a:lnTo>
                    <a:lnTo>
                      <a:pt x="2186" y="202"/>
                    </a:lnTo>
                    <a:lnTo>
                      <a:pt x="2182" y="202"/>
                    </a:lnTo>
                    <a:lnTo>
                      <a:pt x="2179" y="202"/>
                    </a:lnTo>
                    <a:lnTo>
                      <a:pt x="2169" y="200"/>
                    </a:lnTo>
                    <a:lnTo>
                      <a:pt x="2159" y="200"/>
                    </a:lnTo>
                    <a:lnTo>
                      <a:pt x="2150" y="200"/>
                    </a:lnTo>
                    <a:lnTo>
                      <a:pt x="2141" y="202"/>
                    </a:lnTo>
                    <a:lnTo>
                      <a:pt x="2134" y="205"/>
                    </a:lnTo>
                    <a:lnTo>
                      <a:pt x="2126" y="209"/>
                    </a:lnTo>
                    <a:lnTo>
                      <a:pt x="2118" y="212"/>
                    </a:lnTo>
                    <a:lnTo>
                      <a:pt x="2111" y="215"/>
                    </a:lnTo>
                    <a:lnTo>
                      <a:pt x="2102" y="217"/>
                    </a:lnTo>
                    <a:lnTo>
                      <a:pt x="2093" y="218"/>
                    </a:lnTo>
                    <a:lnTo>
                      <a:pt x="2083" y="217"/>
                    </a:lnTo>
                    <a:lnTo>
                      <a:pt x="2073" y="214"/>
                    </a:lnTo>
                    <a:lnTo>
                      <a:pt x="2066" y="210"/>
                    </a:lnTo>
                    <a:lnTo>
                      <a:pt x="2059" y="206"/>
                    </a:lnTo>
                    <a:lnTo>
                      <a:pt x="2020" y="218"/>
                    </a:lnTo>
                    <a:lnTo>
                      <a:pt x="2013" y="218"/>
                    </a:lnTo>
                    <a:lnTo>
                      <a:pt x="2000" y="219"/>
                    </a:lnTo>
                    <a:lnTo>
                      <a:pt x="1992" y="221"/>
                    </a:lnTo>
                    <a:lnTo>
                      <a:pt x="1985" y="223"/>
                    </a:lnTo>
                    <a:lnTo>
                      <a:pt x="1983" y="225"/>
                    </a:lnTo>
                    <a:lnTo>
                      <a:pt x="1981" y="227"/>
                    </a:lnTo>
                    <a:lnTo>
                      <a:pt x="1980" y="229"/>
                    </a:lnTo>
                    <a:lnTo>
                      <a:pt x="1980" y="231"/>
                    </a:lnTo>
                    <a:lnTo>
                      <a:pt x="1980" y="234"/>
                    </a:lnTo>
                    <a:lnTo>
                      <a:pt x="1982" y="238"/>
                    </a:lnTo>
                    <a:lnTo>
                      <a:pt x="1984" y="242"/>
                    </a:lnTo>
                    <a:lnTo>
                      <a:pt x="1988" y="245"/>
                    </a:lnTo>
                    <a:lnTo>
                      <a:pt x="1996" y="253"/>
                    </a:lnTo>
                    <a:lnTo>
                      <a:pt x="2009" y="261"/>
                    </a:lnTo>
                    <a:lnTo>
                      <a:pt x="2023" y="270"/>
                    </a:lnTo>
                    <a:lnTo>
                      <a:pt x="2038" y="278"/>
                    </a:lnTo>
                    <a:lnTo>
                      <a:pt x="2056" y="287"/>
                    </a:lnTo>
                    <a:lnTo>
                      <a:pt x="2074" y="295"/>
                    </a:lnTo>
                    <a:lnTo>
                      <a:pt x="2112" y="311"/>
                    </a:lnTo>
                    <a:lnTo>
                      <a:pt x="2148" y="324"/>
                    </a:lnTo>
                    <a:lnTo>
                      <a:pt x="2178" y="334"/>
                    </a:lnTo>
                    <a:lnTo>
                      <a:pt x="2198" y="342"/>
                    </a:lnTo>
                    <a:lnTo>
                      <a:pt x="2200" y="352"/>
                    </a:lnTo>
                    <a:lnTo>
                      <a:pt x="2202" y="361"/>
                    </a:lnTo>
                    <a:lnTo>
                      <a:pt x="2204" y="369"/>
                    </a:lnTo>
                    <a:lnTo>
                      <a:pt x="2207" y="376"/>
                    </a:lnTo>
                    <a:lnTo>
                      <a:pt x="2216" y="389"/>
                    </a:lnTo>
                    <a:lnTo>
                      <a:pt x="2226" y="403"/>
                    </a:lnTo>
                    <a:lnTo>
                      <a:pt x="2214" y="405"/>
                    </a:lnTo>
                    <a:lnTo>
                      <a:pt x="2203" y="404"/>
                    </a:lnTo>
                    <a:lnTo>
                      <a:pt x="2193" y="402"/>
                    </a:lnTo>
                    <a:lnTo>
                      <a:pt x="2184" y="399"/>
                    </a:lnTo>
                    <a:lnTo>
                      <a:pt x="2177" y="394"/>
                    </a:lnTo>
                    <a:lnTo>
                      <a:pt x="2169" y="387"/>
                    </a:lnTo>
                    <a:lnTo>
                      <a:pt x="2161" y="381"/>
                    </a:lnTo>
                    <a:lnTo>
                      <a:pt x="2155" y="374"/>
                    </a:lnTo>
                    <a:lnTo>
                      <a:pt x="2142" y="360"/>
                    </a:lnTo>
                    <a:lnTo>
                      <a:pt x="2129" y="345"/>
                    </a:lnTo>
                    <a:lnTo>
                      <a:pt x="2123" y="339"/>
                    </a:lnTo>
                    <a:lnTo>
                      <a:pt x="2115" y="332"/>
                    </a:lnTo>
                    <a:lnTo>
                      <a:pt x="2107" y="327"/>
                    </a:lnTo>
                    <a:lnTo>
                      <a:pt x="2100" y="323"/>
                    </a:lnTo>
                    <a:lnTo>
                      <a:pt x="2065" y="315"/>
                    </a:lnTo>
                    <a:lnTo>
                      <a:pt x="2020" y="305"/>
                    </a:lnTo>
                    <a:lnTo>
                      <a:pt x="2009" y="302"/>
                    </a:lnTo>
                    <a:lnTo>
                      <a:pt x="1999" y="298"/>
                    </a:lnTo>
                    <a:lnTo>
                      <a:pt x="1989" y="293"/>
                    </a:lnTo>
                    <a:lnTo>
                      <a:pt x="1980" y="288"/>
                    </a:lnTo>
                    <a:lnTo>
                      <a:pt x="1972" y="281"/>
                    </a:lnTo>
                    <a:lnTo>
                      <a:pt x="1967" y="273"/>
                    </a:lnTo>
                    <a:lnTo>
                      <a:pt x="1964" y="269"/>
                    </a:lnTo>
                    <a:lnTo>
                      <a:pt x="1962" y="265"/>
                    </a:lnTo>
                    <a:lnTo>
                      <a:pt x="1960" y="260"/>
                    </a:lnTo>
                    <a:lnTo>
                      <a:pt x="1960" y="255"/>
                    </a:lnTo>
                    <a:lnTo>
                      <a:pt x="1947" y="255"/>
                    </a:lnTo>
                    <a:lnTo>
                      <a:pt x="1940" y="255"/>
                    </a:lnTo>
                    <a:lnTo>
                      <a:pt x="1933" y="256"/>
                    </a:lnTo>
                    <a:lnTo>
                      <a:pt x="1927" y="258"/>
                    </a:lnTo>
                    <a:lnTo>
                      <a:pt x="1922" y="261"/>
                    </a:lnTo>
                    <a:lnTo>
                      <a:pt x="1916" y="264"/>
                    </a:lnTo>
                    <a:lnTo>
                      <a:pt x="1910" y="267"/>
                    </a:lnTo>
                    <a:lnTo>
                      <a:pt x="1903" y="270"/>
                    </a:lnTo>
                    <a:lnTo>
                      <a:pt x="1895" y="272"/>
                    </a:lnTo>
                    <a:lnTo>
                      <a:pt x="1887" y="273"/>
                    </a:lnTo>
                    <a:lnTo>
                      <a:pt x="1882" y="287"/>
                    </a:lnTo>
                    <a:lnTo>
                      <a:pt x="1879" y="297"/>
                    </a:lnTo>
                    <a:lnTo>
                      <a:pt x="1877" y="301"/>
                    </a:lnTo>
                    <a:lnTo>
                      <a:pt x="1875" y="305"/>
                    </a:lnTo>
                    <a:lnTo>
                      <a:pt x="1871" y="308"/>
                    </a:lnTo>
                    <a:lnTo>
                      <a:pt x="1867" y="310"/>
                    </a:lnTo>
                    <a:lnTo>
                      <a:pt x="1871" y="316"/>
                    </a:lnTo>
                    <a:lnTo>
                      <a:pt x="1876" y="320"/>
                    </a:lnTo>
                    <a:lnTo>
                      <a:pt x="1882" y="325"/>
                    </a:lnTo>
                    <a:lnTo>
                      <a:pt x="1889" y="328"/>
                    </a:lnTo>
                    <a:lnTo>
                      <a:pt x="1903" y="334"/>
                    </a:lnTo>
                    <a:lnTo>
                      <a:pt x="1921" y="340"/>
                    </a:lnTo>
                    <a:lnTo>
                      <a:pt x="1959" y="349"/>
                    </a:lnTo>
                    <a:lnTo>
                      <a:pt x="2000" y="360"/>
                    </a:lnTo>
                    <a:lnTo>
                      <a:pt x="1954" y="360"/>
                    </a:lnTo>
                    <a:lnTo>
                      <a:pt x="1929" y="354"/>
                    </a:lnTo>
                    <a:lnTo>
                      <a:pt x="1906" y="349"/>
                    </a:lnTo>
                    <a:lnTo>
                      <a:pt x="1886" y="344"/>
                    </a:lnTo>
                    <a:lnTo>
                      <a:pt x="1866" y="338"/>
                    </a:lnTo>
                    <a:lnTo>
                      <a:pt x="1857" y="333"/>
                    </a:lnTo>
                    <a:lnTo>
                      <a:pt x="1849" y="328"/>
                    </a:lnTo>
                    <a:lnTo>
                      <a:pt x="1842" y="322"/>
                    </a:lnTo>
                    <a:lnTo>
                      <a:pt x="1835" y="315"/>
                    </a:lnTo>
                    <a:lnTo>
                      <a:pt x="1828" y="307"/>
                    </a:lnTo>
                    <a:lnTo>
                      <a:pt x="1823" y="298"/>
                    </a:lnTo>
                    <a:lnTo>
                      <a:pt x="1817" y="287"/>
                    </a:lnTo>
                    <a:lnTo>
                      <a:pt x="1814" y="273"/>
                    </a:lnTo>
                    <a:lnTo>
                      <a:pt x="1787" y="273"/>
                    </a:lnTo>
                    <a:lnTo>
                      <a:pt x="1787" y="282"/>
                    </a:lnTo>
                    <a:lnTo>
                      <a:pt x="1786" y="288"/>
                    </a:lnTo>
                    <a:lnTo>
                      <a:pt x="1785" y="293"/>
                    </a:lnTo>
                    <a:lnTo>
                      <a:pt x="1782" y="298"/>
                    </a:lnTo>
                    <a:lnTo>
                      <a:pt x="1776" y="306"/>
                    </a:lnTo>
                    <a:lnTo>
                      <a:pt x="1767" y="316"/>
                    </a:lnTo>
                    <a:lnTo>
                      <a:pt x="1771" y="323"/>
                    </a:lnTo>
                    <a:lnTo>
                      <a:pt x="1775" y="328"/>
                    </a:lnTo>
                    <a:lnTo>
                      <a:pt x="1779" y="332"/>
                    </a:lnTo>
                    <a:lnTo>
                      <a:pt x="1785" y="336"/>
                    </a:lnTo>
                    <a:lnTo>
                      <a:pt x="1793" y="342"/>
                    </a:lnTo>
                    <a:lnTo>
                      <a:pt x="1803" y="346"/>
                    </a:lnTo>
                    <a:lnTo>
                      <a:pt x="1813" y="351"/>
                    </a:lnTo>
                    <a:lnTo>
                      <a:pt x="1823" y="358"/>
                    </a:lnTo>
                    <a:lnTo>
                      <a:pt x="1827" y="363"/>
                    </a:lnTo>
                    <a:lnTo>
                      <a:pt x="1832" y="369"/>
                    </a:lnTo>
                    <a:lnTo>
                      <a:pt x="1836" y="376"/>
                    </a:lnTo>
                    <a:lnTo>
                      <a:pt x="1841" y="384"/>
                    </a:lnTo>
                    <a:lnTo>
                      <a:pt x="1842" y="389"/>
                    </a:lnTo>
                    <a:lnTo>
                      <a:pt x="1843" y="396"/>
                    </a:lnTo>
                    <a:lnTo>
                      <a:pt x="1844" y="402"/>
                    </a:lnTo>
                    <a:lnTo>
                      <a:pt x="1844" y="409"/>
                    </a:lnTo>
                    <a:lnTo>
                      <a:pt x="1844" y="415"/>
                    </a:lnTo>
                    <a:lnTo>
                      <a:pt x="1844" y="420"/>
                    </a:lnTo>
                    <a:lnTo>
                      <a:pt x="1845" y="424"/>
                    </a:lnTo>
                    <a:lnTo>
                      <a:pt x="1847" y="427"/>
                    </a:lnTo>
                    <a:lnTo>
                      <a:pt x="1859" y="436"/>
                    </a:lnTo>
                    <a:lnTo>
                      <a:pt x="1868" y="444"/>
                    </a:lnTo>
                    <a:lnTo>
                      <a:pt x="1872" y="448"/>
                    </a:lnTo>
                    <a:lnTo>
                      <a:pt x="1878" y="451"/>
                    </a:lnTo>
                    <a:lnTo>
                      <a:pt x="1884" y="452"/>
                    </a:lnTo>
                    <a:lnTo>
                      <a:pt x="1893" y="453"/>
                    </a:lnTo>
                    <a:lnTo>
                      <a:pt x="1902" y="452"/>
                    </a:lnTo>
                    <a:lnTo>
                      <a:pt x="1910" y="450"/>
                    </a:lnTo>
                    <a:lnTo>
                      <a:pt x="1917" y="446"/>
                    </a:lnTo>
                    <a:lnTo>
                      <a:pt x="1923" y="443"/>
                    </a:lnTo>
                    <a:lnTo>
                      <a:pt x="1929" y="439"/>
                    </a:lnTo>
                    <a:lnTo>
                      <a:pt x="1936" y="436"/>
                    </a:lnTo>
                    <a:lnTo>
                      <a:pt x="1944" y="434"/>
                    </a:lnTo>
                    <a:lnTo>
                      <a:pt x="1954" y="433"/>
                    </a:lnTo>
                    <a:lnTo>
                      <a:pt x="1961" y="434"/>
                    </a:lnTo>
                    <a:lnTo>
                      <a:pt x="1970" y="435"/>
                    </a:lnTo>
                    <a:lnTo>
                      <a:pt x="1978" y="437"/>
                    </a:lnTo>
                    <a:lnTo>
                      <a:pt x="1985" y="439"/>
                    </a:lnTo>
                    <a:lnTo>
                      <a:pt x="1999" y="445"/>
                    </a:lnTo>
                    <a:lnTo>
                      <a:pt x="2013" y="453"/>
                    </a:lnTo>
                    <a:lnTo>
                      <a:pt x="2027" y="459"/>
                    </a:lnTo>
                    <a:lnTo>
                      <a:pt x="2041" y="465"/>
                    </a:lnTo>
                    <a:lnTo>
                      <a:pt x="2048" y="467"/>
                    </a:lnTo>
                    <a:lnTo>
                      <a:pt x="2056" y="469"/>
                    </a:lnTo>
                    <a:lnTo>
                      <a:pt x="2065" y="470"/>
                    </a:lnTo>
                    <a:lnTo>
                      <a:pt x="2073" y="471"/>
                    </a:lnTo>
                    <a:lnTo>
                      <a:pt x="2076" y="482"/>
                    </a:lnTo>
                    <a:lnTo>
                      <a:pt x="2078" y="492"/>
                    </a:lnTo>
                    <a:lnTo>
                      <a:pt x="2082" y="503"/>
                    </a:lnTo>
                    <a:lnTo>
                      <a:pt x="2086" y="511"/>
                    </a:lnTo>
                    <a:lnTo>
                      <a:pt x="2090" y="515"/>
                    </a:lnTo>
                    <a:lnTo>
                      <a:pt x="2093" y="518"/>
                    </a:lnTo>
                    <a:lnTo>
                      <a:pt x="2097" y="522"/>
                    </a:lnTo>
                    <a:lnTo>
                      <a:pt x="2102" y="525"/>
                    </a:lnTo>
                    <a:lnTo>
                      <a:pt x="2106" y="527"/>
                    </a:lnTo>
                    <a:lnTo>
                      <a:pt x="2113" y="529"/>
                    </a:lnTo>
                    <a:lnTo>
                      <a:pt x="2118" y="531"/>
                    </a:lnTo>
                    <a:lnTo>
                      <a:pt x="2126" y="532"/>
                    </a:lnTo>
                    <a:lnTo>
                      <a:pt x="2111" y="532"/>
                    </a:lnTo>
                    <a:lnTo>
                      <a:pt x="2100" y="532"/>
                    </a:lnTo>
                    <a:lnTo>
                      <a:pt x="2093" y="532"/>
                    </a:lnTo>
                    <a:lnTo>
                      <a:pt x="2086" y="531"/>
                    </a:lnTo>
                    <a:lnTo>
                      <a:pt x="2081" y="530"/>
                    </a:lnTo>
                    <a:lnTo>
                      <a:pt x="2076" y="529"/>
                    </a:lnTo>
                    <a:lnTo>
                      <a:pt x="2067" y="524"/>
                    </a:lnTo>
                    <a:lnTo>
                      <a:pt x="2059" y="519"/>
                    </a:lnTo>
                    <a:lnTo>
                      <a:pt x="2052" y="513"/>
                    </a:lnTo>
                    <a:lnTo>
                      <a:pt x="2046" y="506"/>
                    </a:lnTo>
                    <a:lnTo>
                      <a:pt x="2040" y="497"/>
                    </a:lnTo>
                    <a:lnTo>
                      <a:pt x="2035" y="489"/>
                    </a:lnTo>
                    <a:lnTo>
                      <a:pt x="2030" y="481"/>
                    </a:lnTo>
                    <a:lnTo>
                      <a:pt x="2024" y="473"/>
                    </a:lnTo>
                    <a:lnTo>
                      <a:pt x="2017" y="466"/>
                    </a:lnTo>
                    <a:lnTo>
                      <a:pt x="2011" y="460"/>
                    </a:lnTo>
                    <a:lnTo>
                      <a:pt x="2002" y="454"/>
                    </a:lnTo>
                    <a:lnTo>
                      <a:pt x="1992" y="450"/>
                    </a:lnTo>
                    <a:lnTo>
                      <a:pt x="1980" y="448"/>
                    </a:lnTo>
                    <a:lnTo>
                      <a:pt x="1967" y="446"/>
                    </a:lnTo>
                    <a:lnTo>
                      <a:pt x="1959" y="446"/>
                    </a:lnTo>
                    <a:lnTo>
                      <a:pt x="1953" y="449"/>
                    </a:lnTo>
                    <a:lnTo>
                      <a:pt x="1946" y="451"/>
                    </a:lnTo>
                    <a:lnTo>
                      <a:pt x="1939" y="453"/>
                    </a:lnTo>
                    <a:lnTo>
                      <a:pt x="1927" y="459"/>
                    </a:lnTo>
                    <a:lnTo>
                      <a:pt x="1913" y="465"/>
                    </a:lnTo>
                    <a:lnTo>
                      <a:pt x="1918" y="477"/>
                    </a:lnTo>
                    <a:lnTo>
                      <a:pt x="1932" y="499"/>
                    </a:lnTo>
                    <a:lnTo>
                      <a:pt x="1939" y="512"/>
                    </a:lnTo>
                    <a:lnTo>
                      <a:pt x="1947" y="523"/>
                    </a:lnTo>
                    <a:lnTo>
                      <a:pt x="1954" y="532"/>
                    </a:lnTo>
                    <a:lnTo>
                      <a:pt x="1960" y="538"/>
                    </a:lnTo>
                    <a:lnTo>
                      <a:pt x="1945" y="554"/>
                    </a:lnTo>
                    <a:lnTo>
                      <a:pt x="1929" y="573"/>
                    </a:lnTo>
                    <a:lnTo>
                      <a:pt x="1924" y="578"/>
                    </a:lnTo>
                    <a:lnTo>
                      <a:pt x="1918" y="581"/>
                    </a:lnTo>
                    <a:lnTo>
                      <a:pt x="1913" y="585"/>
                    </a:lnTo>
                    <a:lnTo>
                      <a:pt x="1906" y="588"/>
                    </a:lnTo>
                    <a:lnTo>
                      <a:pt x="1900" y="590"/>
                    </a:lnTo>
                    <a:lnTo>
                      <a:pt x="1892" y="592"/>
                    </a:lnTo>
                    <a:lnTo>
                      <a:pt x="1883" y="593"/>
                    </a:lnTo>
                    <a:lnTo>
                      <a:pt x="1873" y="594"/>
                    </a:lnTo>
                    <a:lnTo>
                      <a:pt x="1855" y="595"/>
                    </a:lnTo>
                    <a:lnTo>
                      <a:pt x="1838" y="597"/>
                    </a:lnTo>
                    <a:lnTo>
                      <a:pt x="1823" y="600"/>
                    </a:lnTo>
                    <a:lnTo>
                      <a:pt x="1810" y="603"/>
                    </a:lnTo>
                    <a:lnTo>
                      <a:pt x="1797" y="604"/>
                    </a:lnTo>
                    <a:lnTo>
                      <a:pt x="1785" y="604"/>
                    </a:lnTo>
                    <a:lnTo>
                      <a:pt x="1779" y="603"/>
                    </a:lnTo>
                    <a:lnTo>
                      <a:pt x="1772" y="601"/>
                    </a:lnTo>
                    <a:lnTo>
                      <a:pt x="1767" y="598"/>
                    </a:lnTo>
                    <a:lnTo>
                      <a:pt x="1760" y="594"/>
                    </a:lnTo>
                    <a:lnTo>
                      <a:pt x="1778" y="593"/>
                    </a:lnTo>
                    <a:lnTo>
                      <a:pt x="1793" y="591"/>
                    </a:lnTo>
                    <a:lnTo>
                      <a:pt x="1806" y="589"/>
                    </a:lnTo>
                    <a:lnTo>
                      <a:pt x="1821" y="588"/>
                    </a:lnTo>
                    <a:lnTo>
                      <a:pt x="1826" y="587"/>
                    </a:lnTo>
                    <a:lnTo>
                      <a:pt x="1832" y="586"/>
                    </a:lnTo>
                    <a:lnTo>
                      <a:pt x="1837" y="585"/>
                    </a:lnTo>
                    <a:lnTo>
                      <a:pt x="1843" y="583"/>
                    </a:lnTo>
                    <a:lnTo>
                      <a:pt x="1847" y="580"/>
                    </a:lnTo>
                    <a:lnTo>
                      <a:pt x="1852" y="577"/>
                    </a:lnTo>
                    <a:lnTo>
                      <a:pt x="1856" y="573"/>
                    </a:lnTo>
                    <a:lnTo>
                      <a:pt x="1859" y="569"/>
                    </a:lnTo>
                    <a:lnTo>
                      <a:pt x="1866" y="560"/>
                    </a:lnTo>
                    <a:lnTo>
                      <a:pt x="1870" y="548"/>
                    </a:lnTo>
                    <a:lnTo>
                      <a:pt x="1872" y="538"/>
                    </a:lnTo>
                    <a:lnTo>
                      <a:pt x="1873" y="526"/>
                    </a:lnTo>
                    <a:lnTo>
                      <a:pt x="1873" y="520"/>
                    </a:lnTo>
                    <a:lnTo>
                      <a:pt x="1873" y="512"/>
                    </a:lnTo>
                    <a:lnTo>
                      <a:pt x="1873" y="499"/>
                    </a:lnTo>
                    <a:lnTo>
                      <a:pt x="1873" y="483"/>
                    </a:lnTo>
                    <a:lnTo>
                      <a:pt x="1860" y="480"/>
                    </a:lnTo>
                    <a:lnTo>
                      <a:pt x="1849" y="476"/>
                    </a:lnTo>
                    <a:lnTo>
                      <a:pt x="1839" y="470"/>
                    </a:lnTo>
                    <a:lnTo>
                      <a:pt x="1832" y="464"/>
                    </a:lnTo>
                    <a:lnTo>
                      <a:pt x="1824" y="457"/>
                    </a:lnTo>
                    <a:lnTo>
                      <a:pt x="1817" y="449"/>
                    </a:lnTo>
                    <a:lnTo>
                      <a:pt x="1812" y="440"/>
                    </a:lnTo>
                    <a:lnTo>
                      <a:pt x="1806" y="431"/>
                    </a:lnTo>
                    <a:lnTo>
                      <a:pt x="1796" y="413"/>
                    </a:lnTo>
                    <a:lnTo>
                      <a:pt x="1785" y="396"/>
                    </a:lnTo>
                    <a:lnTo>
                      <a:pt x="1778" y="387"/>
                    </a:lnTo>
                    <a:lnTo>
                      <a:pt x="1771" y="379"/>
                    </a:lnTo>
                    <a:lnTo>
                      <a:pt x="1764" y="372"/>
                    </a:lnTo>
                    <a:lnTo>
                      <a:pt x="1754" y="366"/>
                    </a:lnTo>
                    <a:lnTo>
                      <a:pt x="1708" y="348"/>
                    </a:lnTo>
                    <a:lnTo>
                      <a:pt x="1705" y="342"/>
                    </a:lnTo>
                    <a:lnTo>
                      <a:pt x="1707" y="333"/>
                    </a:lnTo>
                    <a:lnTo>
                      <a:pt x="1708" y="324"/>
                    </a:lnTo>
                    <a:lnTo>
                      <a:pt x="1709" y="313"/>
                    </a:lnTo>
                    <a:lnTo>
                      <a:pt x="1710" y="303"/>
                    </a:lnTo>
                    <a:lnTo>
                      <a:pt x="1709" y="294"/>
                    </a:lnTo>
                    <a:lnTo>
                      <a:pt x="1708" y="290"/>
                    </a:lnTo>
                    <a:lnTo>
                      <a:pt x="1707" y="286"/>
                    </a:lnTo>
                    <a:lnTo>
                      <a:pt x="1704" y="283"/>
                    </a:lnTo>
                    <a:lnTo>
                      <a:pt x="1701" y="279"/>
                    </a:lnTo>
                    <a:lnTo>
                      <a:pt x="1698" y="276"/>
                    </a:lnTo>
                    <a:lnTo>
                      <a:pt x="1693" y="273"/>
                    </a:lnTo>
                    <a:lnTo>
                      <a:pt x="1689" y="271"/>
                    </a:lnTo>
                    <a:lnTo>
                      <a:pt x="1682" y="269"/>
                    </a:lnTo>
                    <a:lnTo>
                      <a:pt x="1669" y="266"/>
                    </a:lnTo>
                    <a:lnTo>
                      <a:pt x="1654" y="263"/>
                    </a:lnTo>
                    <a:lnTo>
                      <a:pt x="1618" y="261"/>
                    </a:lnTo>
                    <a:lnTo>
                      <a:pt x="1581" y="261"/>
                    </a:lnTo>
                    <a:lnTo>
                      <a:pt x="1596" y="257"/>
                    </a:lnTo>
                    <a:lnTo>
                      <a:pt x="1609" y="253"/>
                    </a:lnTo>
                    <a:lnTo>
                      <a:pt x="1613" y="249"/>
                    </a:lnTo>
                    <a:lnTo>
                      <a:pt x="1618" y="245"/>
                    </a:lnTo>
                    <a:lnTo>
                      <a:pt x="1620" y="239"/>
                    </a:lnTo>
                    <a:lnTo>
                      <a:pt x="1621" y="231"/>
                    </a:lnTo>
                    <a:lnTo>
                      <a:pt x="1608" y="231"/>
                    </a:lnTo>
                    <a:lnTo>
                      <a:pt x="1596" y="231"/>
                    </a:lnTo>
                    <a:lnTo>
                      <a:pt x="1581" y="231"/>
                    </a:lnTo>
                    <a:lnTo>
                      <a:pt x="1562" y="231"/>
                    </a:lnTo>
                    <a:lnTo>
                      <a:pt x="1559" y="246"/>
                    </a:lnTo>
                    <a:lnTo>
                      <a:pt x="1555" y="263"/>
                    </a:lnTo>
                    <a:lnTo>
                      <a:pt x="1550" y="279"/>
                    </a:lnTo>
                    <a:lnTo>
                      <a:pt x="1548" y="292"/>
                    </a:lnTo>
                    <a:lnTo>
                      <a:pt x="1548" y="294"/>
                    </a:lnTo>
                    <a:lnTo>
                      <a:pt x="1550" y="295"/>
                    </a:lnTo>
                    <a:lnTo>
                      <a:pt x="1552" y="295"/>
                    </a:lnTo>
                    <a:lnTo>
                      <a:pt x="1555" y="295"/>
                    </a:lnTo>
                    <a:lnTo>
                      <a:pt x="1559" y="293"/>
                    </a:lnTo>
                    <a:lnTo>
                      <a:pt x="1562" y="292"/>
                    </a:lnTo>
                    <a:lnTo>
                      <a:pt x="1562" y="323"/>
                    </a:lnTo>
                    <a:lnTo>
                      <a:pt x="1552" y="327"/>
                    </a:lnTo>
                    <a:lnTo>
                      <a:pt x="1543" y="331"/>
                    </a:lnTo>
                    <a:lnTo>
                      <a:pt x="1537" y="332"/>
                    </a:lnTo>
                    <a:lnTo>
                      <a:pt x="1531" y="334"/>
                    </a:lnTo>
                    <a:lnTo>
                      <a:pt x="1524" y="334"/>
                    </a:lnTo>
                    <a:lnTo>
                      <a:pt x="1514" y="336"/>
                    </a:lnTo>
                    <a:lnTo>
                      <a:pt x="1514" y="345"/>
                    </a:lnTo>
                    <a:lnTo>
                      <a:pt x="1514" y="354"/>
                    </a:lnTo>
                    <a:lnTo>
                      <a:pt x="1532" y="375"/>
                    </a:lnTo>
                    <a:lnTo>
                      <a:pt x="1555" y="404"/>
                    </a:lnTo>
                    <a:lnTo>
                      <a:pt x="1562" y="411"/>
                    </a:lnTo>
                    <a:lnTo>
                      <a:pt x="1569" y="418"/>
                    </a:lnTo>
                    <a:lnTo>
                      <a:pt x="1577" y="424"/>
                    </a:lnTo>
                    <a:lnTo>
                      <a:pt x="1585" y="429"/>
                    </a:lnTo>
                    <a:lnTo>
                      <a:pt x="1593" y="433"/>
                    </a:lnTo>
                    <a:lnTo>
                      <a:pt x="1602" y="437"/>
                    </a:lnTo>
                    <a:lnTo>
                      <a:pt x="1611" y="439"/>
                    </a:lnTo>
                    <a:lnTo>
                      <a:pt x="1621" y="439"/>
                    </a:lnTo>
                    <a:lnTo>
                      <a:pt x="1622" y="445"/>
                    </a:lnTo>
                    <a:lnTo>
                      <a:pt x="1623" y="451"/>
                    </a:lnTo>
                    <a:lnTo>
                      <a:pt x="1625" y="455"/>
                    </a:lnTo>
                    <a:lnTo>
                      <a:pt x="1629" y="458"/>
                    </a:lnTo>
                    <a:lnTo>
                      <a:pt x="1636" y="465"/>
                    </a:lnTo>
                    <a:lnTo>
                      <a:pt x="1645" y="471"/>
                    </a:lnTo>
                    <a:lnTo>
                      <a:pt x="1654" y="477"/>
                    </a:lnTo>
                    <a:lnTo>
                      <a:pt x="1663" y="483"/>
                    </a:lnTo>
                    <a:lnTo>
                      <a:pt x="1667" y="487"/>
                    </a:lnTo>
                    <a:lnTo>
                      <a:pt x="1670" y="491"/>
                    </a:lnTo>
                    <a:lnTo>
                      <a:pt x="1673" y="496"/>
                    </a:lnTo>
                    <a:lnTo>
                      <a:pt x="1674" y="501"/>
                    </a:lnTo>
                    <a:lnTo>
                      <a:pt x="1667" y="501"/>
                    </a:lnTo>
                    <a:lnTo>
                      <a:pt x="1654" y="501"/>
                    </a:lnTo>
                    <a:lnTo>
                      <a:pt x="1645" y="499"/>
                    </a:lnTo>
                    <a:lnTo>
                      <a:pt x="1625" y="494"/>
                    </a:lnTo>
                    <a:lnTo>
                      <a:pt x="1599" y="487"/>
                    </a:lnTo>
                    <a:lnTo>
                      <a:pt x="1568" y="478"/>
                    </a:lnTo>
                    <a:lnTo>
                      <a:pt x="1539" y="468"/>
                    </a:lnTo>
                    <a:lnTo>
                      <a:pt x="1513" y="458"/>
                    </a:lnTo>
                    <a:lnTo>
                      <a:pt x="1502" y="453"/>
                    </a:lnTo>
                    <a:lnTo>
                      <a:pt x="1495" y="448"/>
                    </a:lnTo>
                    <a:lnTo>
                      <a:pt x="1492" y="445"/>
                    </a:lnTo>
                    <a:lnTo>
                      <a:pt x="1490" y="443"/>
                    </a:lnTo>
                    <a:lnTo>
                      <a:pt x="1488" y="441"/>
                    </a:lnTo>
                    <a:lnTo>
                      <a:pt x="1488" y="439"/>
                    </a:lnTo>
                    <a:lnTo>
                      <a:pt x="1467" y="439"/>
                    </a:lnTo>
                    <a:lnTo>
                      <a:pt x="1432" y="436"/>
                    </a:lnTo>
                    <a:lnTo>
                      <a:pt x="1389" y="432"/>
                    </a:lnTo>
                    <a:lnTo>
                      <a:pt x="1343" y="425"/>
                    </a:lnTo>
                    <a:lnTo>
                      <a:pt x="1320" y="421"/>
                    </a:lnTo>
                    <a:lnTo>
                      <a:pt x="1298" y="417"/>
                    </a:lnTo>
                    <a:lnTo>
                      <a:pt x="1277" y="412"/>
                    </a:lnTo>
                    <a:lnTo>
                      <a:pt x="1260" y="406"/>
                    </a:lnTo>
                    <a:lnTo>
                      <a:pt x="1251" y="403"/>
                    </a:lnTo>
                    <a:lnTo>
                      <a:pt x="1244" y="400"/>
                    </a:lnTo>
                    <a:lnTo>
                      <a:pt x="1238" y="397"/>
                    </a:lnTo>
                    <a:lnTo>
                      <a:pt x="1232" y="394"/>
                    </a:lnTo>
                    <a:lnTo>
                      <a:pt x="1228" y="389"/>
                    </a:lnTo>
                    <a:lnTo>
                      <a:pt x="1225" y="386"/>
                    </a:lnTo>
                    <a:lnTo>
                      <a:pt x="1223" y="382"/>
                    </a:lnTo>
                    <a:lnTo>
                      <a:pt x="1222" y="378"/>
                    </a:lnTo>
                    <a:lnTo>
                      <a:pt x="1210" y="381"/>
                    </a:lnTo>
                    <a:lnTo>
                      <a:pt x="1203" y="384"/>
                    </a:lnTo>
                    <a:lnTo>
                      <a:pt x="1203" y="389"/>
                    </a:lnTo>
                    <a:lnTo>
                      <a:pt x="1204" y="395"/>
                    </a:lnTo>
                    <a:lnTo>
                      <a:pt x="1205" y="399"/>
                    </a:lnTo>
                    <a:lnTo>
                      <a:pt x="1207" y="403"/>
                    </a:lnTo>
                    <a:lnTo>
                      <a:pt x="1211" y="410"/>
                    </a:lnTo>
                    <a:lnTo>
                      <a:pt x="1218" y="416"/>
                    </a:lnTo>
                    <a:lnTo>
                      <a:pt x="1225" y="421"/>
                    </a:lnTo>
                    <a:lnTo>
                      <a:pt x="1233" y="425"/>
                    </a:lnTo>
                    <a:lnTo>
                      <a:pt x="1243" y="429"/>
                    </a:lnTo>
                    <a:lnTo>
                      <a:pt x="1253" y="433"/>
                    </a:lnTo>
                    <a:lnTo>
                      <a:pt x="1274" y="442"/>
                    </a:lnTo>
                    <a:lnTo>
                      <a:pt x="1295" y="452"/>
                    </a:lnTo>
                    <a:lnTo>
                      <a:pt x="1305" y="458"/>
                    </a:lnTo>
                    <a:lnTo>
                      <a:pt x="1313" y="465"/>
                    </a:lnTo>
                    <a:lnTo>
                      <a:pt x="1322" y="473"/>
                    </a:lnTo>
                    <a:lnTo>
                      <a:pt x="1329" y="483"/>
                    </a:lnTo>
                    <a:lnTo>
                      <a:pt x="1319" y="483"/>
                    </a:lnTo>
                    <a:lnTo>
                      <a:pt x="1309" y="483"/>
                    </a:lnTo>
                    <a:lnTo>
                      <a:pt x="1297" y="481"/>
                    </a:lnTo>
                    <a:lnTo>
                      <a:pt x="1281" y="477"/>
                    </a:lnTo>
                    <a:lnTo>
                      <a:pt x="1272" y="475"/>
                    </a:lnTo>
                    <a:lnTo>
                      <a:pt x="1262" y="473"/>
                    </a:lnTo>
                    <a:lnTo>
                      <a:pt x="1252" y="471"/>
                    </a:lnTo>
                    <a:lnTo>
                      <a:pt x="1242" y="471"/>
                    </a:lnTo>
                    <a:lnTo>
                      <a:pt x="1232" y="471"/>
                    </a:lnTo>
                    <a:lnTo>
                      <a:pt x="1221" y="473"/>
                    </a:lnTo>
                    <a:lnTo>
                      <a:pt x="1210" y="475"/>
                    </a:lnTo>
                    <a:lnTo>
                      <a:pt x="1198" y="477"/>
                    </a:lnTo>
                    <a:lnTo>
                      <a:pt x="1174" y="484"/>
                    </a:lnTo>
                    <a:lnTo>
                      <a:pt x="1149" y="492"/>
                    </a:lnTo>
                    <a:lnTo>
                      <a:pt x="1122" y="500"/>
                    </a:lnTo>
                    <a:lnTo>
                      <a:pt x="1097" y="508"/>
                    </a:lnTo>
                    <a:lnTo>
                      <a:pt x="1085" y="510"/>
                    </a:lnTo>
                    <a:lnTo>
                      <a:pt x="1073" y="512"/>
                    </a:lnTo>
                    <a:lnTo>
                      <a:pt x="1061" y="514"/>
                    </a:lnTo>
                    <a:lnTo>
                      <a:pt x="1050" y="514"/>
                    </a:lnTo>
                    <a:lnTo>
                      <a:pt x="1046" y="513"/>
                    </a:lnTo>
                    <a:lnTo>
                      <a:pt x="1042" y="511"/>
                    </a:lnTo>
                    <a:lnTo>
                      <a:pt x="1040" y="507"/>
                    </a:lnTo>
                    <a:lnTo>
                      <a:pt x="1040" y="503"/>
                    </a:lnTo>
                    <a:lnTo>
                      <a:pt x="1040" y="496"/>
                    </a:lnTo>
                    <a:lnTo>
                      <a:pt x="1042" y="490"/>
                    </a:lnTo>
                    <a:lnTo>
                      <a:pt x="1046" y="484"/>
                    </a:lnTo>
                    <a:lnTo>
                      <a:pt x="1050" y="477"/>
                    </a:lnTo>
                    <a:lnTo>
                      <a:pt x="1040" y="473"/>
                    </a:lnTo>
                    <a:lnTo>
                      <a:pt x="1030" y="472"/>
                    </a:lnTo>
                    <a:lnTo>
                      <a:pt x="1019" y="471"/>
                    </a:lnTo>
                    <a:lnTo>
                      <a:pt x="1009" y="471"/>
                    </a:lnTo>
                    <a:lnTo>
                      <a:pt x="1007" y="475"/>
                    </a:lnTo>
                    <a:lnTo>
                      <a:pt x="1004" y="477"/>
                    </a:lnTo>
                    <a:lnTo>
                      <a:pt x="999" y="479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72" y="479"/>
                    </a:lnTo>
                    <a:lnTo>
                      <a:pt x="961" y="477"/>
                    </a:lnTo>
                    <a:lnTo>
                      <a:pt x="949" y="477"/>
                    </a:lnTo>
                    <a:lnTo>
                      <a:pt x="943" y="477"/>
                    </a:lnTo>
                    <a:lnTo>
                      <a:pt x="939" y="478"/>
                    </a:lnTo>
                    <a:lnTo>
                      <a:pt x="934" y="480"/>
                    </a:lnTo>
                    <a:lnTo>
                      <a:pt x="930" y="483"/>
                    </a:lnTo>
                    <a:lnTo>
                      <a:pt x="924" y="489"/>
                    </a:lnTo>
                    <a:lnTo>
                      <a:pt x="916" y="495"/>
                    </a:lnTo>
                    <a:lnTo>
                      <a:pt x="908" y="500"/>
                    </a:lnTo>
                    <a:lnTo>
                      <a:pt x="900" y="505"/>
                    </a:lnTo>
                    <a:lnTo>
                      <a:pt x="882" y="513"/>
                    </a:lnTo>
                    <a:lnTo>
                      <a:pt x="864" y="522"/>
                    </a:lnTo>
                    <a:lnTo>
                      <a:pt x="857" y="526"/>
                    </a:lnTo>
                    <a:lnTo>
                      <a:pt x="849" y="532"/>
                    </a:lnTo>
                    <a:lnTo>
                      <a:pt x="841" y="538"/>
                    </a:lnTo>
                    <a:lnTo>
                      <a:pt x="836" y="545"/>
                    </a:lnTo>
                    <a:lnTo>
                      <a:pt x="830" y="553"/>
                    </a:lnTo>
                    <a:lnTo>
                      <a:pt x="827" y="564"/>
                    </a:lnTo>
                    <a:lnTo>
                      <a:pt x="825" y="575"/>
                    </a:lnTo>
                    <a:lnTo>
                      <a:pt x="824" y="588"/>
                    </a:lnTo>
                    <a:lnTo>
                      <a:pt x="810" y="584"/>
                    </a:lnTo>
                    <a:lnTo>
                      <a:pt x="797" y="581"/>
                    </a:lnTo>
                    <a:lnTo>
                      <a:pt x="791" y="581"/>
                    </a:lnTo>
                    <a:lnTo>
                      <a:pt x="784" y="582"/>
                    </a:lnTo>
                    <a:lnTo>
                      <a:pt x="778" y="584"/>
                    </a:lnTo>
                    <a:lnTo>
                      <a:pt x="771" y="588"/>
                    </a:lnTo>
                    <a:lnTo>
                      <a:pt x="758" y="582"/>
                    </a:lnTo>
                    <a:lnTo>
                      <a:pt x="740" y="575"/>
                    </a:lnTo>
                    <a:lnTo>
                      <a:pt x="732" y="571"/>
                    </a:lnTo>
                    <a:lnTo>
                      <a:pt x="724" y="566"/>
                    </a:lnTo>
                    <a:lnTo>
                      <a:pt x="716" y="562"/>
                    </a:lnTo>
                    <a:lnTo>
                      <a:pt x="711" y="556"/>
                    </a:lnTo>
                    <a:lnTo>
                      <a:pt x="711" y="526"/>
                    </a:lnTo>
                    <a:lnTo>
                      <a:pt x="721" y="526"/>
                    </a:lnTo>
                    <a:lnTo>
                      <a:pt x="730" y="526"/>
                    </a:lnTo>
                    <a:lnTo>
                      <a:pt x="738" y="526"/>
                    </a:lnTo>
                    <a:lnTo>
                      <a:pt x="744" y="526"/>
                    </a:lnTo>
                    <a:lnTo>
                      <a:pt x="740" y="516"/>
                    </a:lnTo>
                    <a:lnTo>
                      <a:pt x="736" y="507"/>
                    </a:lnTo>
                    <a:lnTo>
                      <a:pt x="730" y="499"/>
                    </a:lnTo>
                    <a:lnTo>
                      <a:pt x="723" y="493"/>
                    </a:lnTo>
                    <a:lnTo>
                      <a:pt x="714" y="488"/>
                    </a:lnTo>
                    <a:lnTo>
                      <a:pt x="704" y="485"/>
                    </a:lnTo>
                    <a:lnTo>
                      <a:pt x="692" y="483"/>
                    </a:lnTo>
                    <a:lnTo>
                      <a:pt x="678" y="483"/>
                    </a:lnTo>
                    <a:lnTo>
                      <a:pt x="668" y="483"/>
                    </a:lnTo>
                    <a:lnTo>
                      <a:pt x="656" y="483"/>
                    </a:lnTo>
                    <a:lnTo>
                      <a:pt x="643" y="483"/>
                    </a:lnTo>
                    <a:lnTo>
                      <a:pt x="624" y="483"/>
                    </a:lnTo>
                    <a:lnTo>
                      <a:pt x="627" y="487"/>
                    </a:lnTo>
                    <a:lnTo>
                      <a:pt x="632" y="491"/>
                    </a:lnTo>
                    <a:lnTo>
                      <a:pt x="636" y="495"/>
                    </a:lnTo>
                    <a:lnTo>
                      <a:pt x="640" y="498"/>
                    </a:lnTo>
                    <a:lnTo>
                      <a:pt x="645" y="501"/>
                    </a:lnTo>
                    <a:lnTo>
                      <a:pt x="648" y="506"/>
                    </a:lnTo>
                    <a:lnTo>
                      <a:pt x="650" y="510"/>
                    </a:lnTo>
                    <a:lnTo>
                      <a:pt x="651" y="514"/>
                    </a:lnTo>
                    <a:lnTo>
                      <a:pt x="650" y="519"/>
                    </a:lnTo>
                    <a:lnTo>
                      <a:pt x="649" y="523"/>
                    </a:lnTo>
                    <a:lnTo>
                      <a:pt x="648" y="525"/>
                    </a:lnTo>
                    <a:lnTo>
                      <a:pt x="646" y="528"/>
                    </a:lnTo>
                    <a:lnTo>
                      <a:pt x="643" y="530"/>
                    </a:lnTo>
                    <a:lnTo>
                      <a:pt x="638" y="532"/>
                    </a:lnTo>
                    <a:lnTo>
                      <a:pt x="647" y="541"/>
                    </a:lnTo>
                    <a:lnTo>
                      <a:pt x="656" y="550"/>
                    </a:lnTo>
                    <a:lnTo>
                      <a:pt x="661" y="554"/>
                    </a:lnTo>
                    <a:lnTo>
                      <a:pt x="668" y="557"/>
                    </a:lnTo>
                    <a:lnTo>
                      <a:pt x="676" y="561"/>
                    </a:lnTo>
                    <a:lnTo>
                      <a:pt x="684" y="564"/>
                    </a:lnTo>
                    <a:lnTo>
                      <a:pt x="684" y="619"/>
                    </a:lnTo>
                    <a:lnTo>
                      <a:pt x="677" y="619"/>
                    </a:lnTo>
                    <a:lnTo>
                      <a:pt x="665" y="619"/>
                    </a:lnTo>
                    <a:lnTo>
                      <a:pt x="659" y="610"/>
                    </a:lnTo>
                    <a:lnTo>
                      <a:pt x="654" y="604"/>
                    </a:lnTo>
                    <a:lnTo>
                      <a:pt x="647" y="599"/>
                    </a:lnTo>
                    <a:lnTo>
                      <a:pt x="639" y="595"/>
                    </a:lnTo>
                    <a:lnTo>
                      <a:pt x="623" y="589"/>
                    </a:lnTo>
                    <a:lnTo>
                      <a:pt x="604" y="582"/>
                    </a:lnTo>
                    <a:lnTo>
                      <a:pt x="602" y="585"/>
                    </a:lnTo>
                    <a:lnTo>
                      <a:pt x="599" y="589"/>
                    </a:lnTo>
                    <a:lnTo>
                      <a:pt x="594" y="593"/>
                    </a:lnTo>
                    <a:lnTo>
                      <a:pt x="588" y="597"/>
                    </a:lnTo>
                    <a:lnTo>
                      <a:pt x="575" y="606"/>
                    </a:lnTo>
                    <a:lnTo>
                      <a:pt x="559" y="615"/>
                    </a:lnTo>
                    <a:lnTo>
                      <a:pt x="544" y="624"/>
                    </a:lnTo>
                    <a:lnTo>
                      <a:pt x="531" y="631"/>
                    </a:lnTo>
                    <a:lnTo>
                      <a:pt x="525" y="635"/>
                    </a:lnTo>
                    <a:lnTo>
                      <a:pt x="522" y="638"/>
                    </a:lnTo>
                    <a:lnTo>
                      <a:pt x="519" y="641"/>
                    </a:lnTo>
                    <a:lnTo>
                      <a:pt x="519" y="643"/>
                    </a:lnTo>
                    <a:lnTo>
                      <a:pt x="519" y="647"/>
                    </a:lnTo>
                    <a:lnTo>
                      <a:pt x="520" y="651"/>
                    </a:lnTo>
                    <a:lnTo>
                      <a:pt x="521" y="655"/>
                    </a:lnTo>
                    <a:lnTo>
                      <a:pt x="523" y="658"/>
                    </a:lnTo>
                    <a:lnTo>
                      <a:pt x="528" y="663"/>
                    </a:lnTo>
                    <a:lnTo>
                      <a:pt x="536" y="667"/>
                    </a:lnTo>
                    <a:lnTo>
                      <a:pt x="543" y="673"/>
                    </a:lnTo>
                    <a:lnTo>
                      <a:pt x="549" y="678"/>
                    </a:lnTo>
                    <a:lnTo>
                      <a:pt x="551" y="681"/>
                    </a:lnTo>
                    <a:lnTo>
                      <a:pt x="555" y="685"/>
                    </a:lnTo>
                    <a:lnTo>
                      <a:pt x="557" y="688"/>
                    </a:lnTo>
                    <a:lnTo>
                      <a:pt x="558" y="693"/>
                    </a:lnTo>
                    <a:lnTo>
                      <a:pt x="471" y="693"/>
                    </a:lnTo>
                    <a:lnTo>
                      <a:pt x="467" y="705"/>
                    </a:lnTo>
                    <a:lnTo>
                      <a:pt x="464" y="721"/>
                    </a:lnTo>
                    <a:lnTo>
                      <a:pt x="460" y="730"/>
                    </a:lnTo>
                    <a:lnTo>
                      <a:pt x="457" y="736"/>
                    </a:lnTo>
                    <a:lnTo>
                      <a:pt x="454" y="739"/>
                    </a:lnTo>
                    <a:lnTo>
                      <a:pt x="452" y="740"/>
                    </a:lnTo>
                    <a:lnTo>
                      <a:pt x="448" y="742"/>
                    </a:lnTo>
                    <a:lnTo>
                      <a:pt x="445" y="742"/>
                    </a:lnTo>
                    <a:lnTo>
                      <a:pt x="433" y="742"/>
                    </a:lnTo>
                    <a:lnTo>
                      <a:pt x="420" y="741"/>
                    </a:lnTo>
                    <a:lnTo>
                      <a:pt x="407" y="739"/>
                    </a:lnTo>
                    <a:lnTo>
                      <a:pt x="393" y="736"/>
                    </a:lnTo>
                    <a:lnTo>
                      <a:pt x="380" y="733"/>
                    </a:lnTo>
                    <a:lnTo>
                      <a:pt x="367" y="729"/>
                    </a:lnTo>
                    <a:lnTo>
                      <a:pt x="355" y="723"/>
                    </a:lnTo>
                    <a:lnTo>
                      <a:pt x="344" y="718"/>
                    </a:lnTo>
                    <a:lnTo>
                      <a:pt x="333" y="711"/>
                    </a:lnTo>
                    <a:lnTo>
                      <a:pt x="323" y="704"/>
                    </a:lnTo>
                    <a:lnTo>
                      <a:pt x="314" y="696"/>
                    </a:lnTo>
                    <a:lnTo>
                      <a:pt x="307" y="687"/>
                    </a:lnTo>
                    <a:lnTo>
                      <a:pt x="301" y="678"/>
                    </a:lnTo>
                    <a:lnTo>
                      <a:pt x="296" y="666"/>
                    </a:lnTo>
                    <a:lnTo>
                      <a:pt x="293" y="655"/>
                    </a:lnTo>
                    <a:lnTo>
                      <a:pt x="292" y="643"/>
                    </a:lnTo>
                    <a:lnTo>
                      <a:pt x="289" y="636"/>
                    </a:lnTo>
                    <a:lnTo>
                      <a:pt x="286" y="625"/>
                    </a:lnTo>
                    <a:lnTo>
                      <a:pt x="273" y="622"/>
                    </a:lnTo>
                    <a:lnTo>
                      <a:pt x="254" y="616"/>
                    </a:lnTo>
                    <a:lnTo>
                      <a:pt x="232" y="609"/>
                    </a:lnTo>
                    <a:lnTo>
                      <a:pt x="209" y="601"/>
                    </a:lnTo>
                    <a:lnTo>
                      <a:pt x="188" y="592"/>
                    </a:lnTo>
                    <a:lnTo>
                      <a:pt x="169" y="582"/>
                    </a:lnTo>
                    <a:lnTo>
                      <a:pt x="163" y="578"/>
                    </a:lnTo>
                    <a:lnTo>
                      <a:pt x="157" y="573"/>
                    </a:lnTo>
                    <a:lnTo>
                      <a:pt x="154" y="568"/>
                    </a:lnTo>
                    <a:lnTo>
                      <a:pt x="153" y="564"/>
                    </a:lnTo>
                    <a:lnTo>
                      <a:pt x="162" y="567"/>
                    </a:lnTo>
                    <a:lnTo>
                      <a:pt x="183" y="574"/>
                    </a:lnTo>
                    <a:lnTo>
                      <a:pt x="211" y="582"/>
                    </a:lnTo>
                    <a:lnTo>
                      <a:pt x="244" y="590"/>
                    </a:lnTo>
                    <a:lnTo>
                      <a:pt x="277" y="598"/>
                    </a:lnTo>
                    <a:lnTo>
                      <a:pt x="308" y="605"/>
                    </a:lnTo>
                    <a:lnTo>
                      <a:pt x="332" y="610"/>
                    </a:lnTo>
                    <a:lnTo>
                      <a:pt x="345" y="612"/>
                    </a:lnTo>
                    <a:lnTo>
                      <a:pt x="368" y="612"/>
                    </a:lnTo>
                    <a:lnTo>
                      <a:pt x="390" y="612"/>
                    </a:lnTo>
                    <a:lnTo>
                      <a:pt x="414" y="612"/>
                    </a:lnTo>
                    <a:lnTo>
                      <a:pt x="445" y="612"/>
                    </a:lnTo>
                    <a:lnTo>
                      <a:pt x="454" y="612"/>
                    </a:lnTo>
                    <a:lnTo>
                      <a:pt x="461" y="611"/>
                    </a:lnTo>
                    <a:lnTo>
                      <a:pt x="469" y="609"/>
                    </a:lnTo>
                    <a:lnTo>
                      <a:pt x="477" y="607"/>
                    </a:lnTo>
                    <a:lnTo>
                      <a:pt x="490" y="601"/>
                    </a:lnTo>
                    <a:lnTo>
                      <a:pt x="502" y="594"/>
                    </a:lnTo>
                    <a:lnTo>
                      <a:pt x="514" y="585"/>
                    </a:lnTo>
                    <a:lnTo>
                      <a:pt x="524" y="576"/>
                    </a:lnTo>
                    <a:lnTo>
                      <a:pt x="535" y="567"/>
                    </a:lnTo>
                    <a:lnTo>
                      <a:pt x="545" y="556"/>
                    </a:lnTo>
                    <a:lnTo>
                      <a:pt x="536" y="547"/>
                    </a:lnTo>
                    <a:lnTo>
                      <a:pt x="527" y="536"/>
                    </a:lnTo>
                    <a:lnTo>
                      <a:pt x="523" y="531"/>
                    </a:lnTo>
                    <a:lnTo>
                      <a:pt x="517" y="527"/>
                    </a:lnTo>
                    <a:lnTo>
                      <a:pt x="512" y="523"/>
                    </a:lnTo>
                    <a:lnTo>
                      <a:pt x="505" y="520"/>
                    </a:lnTo>
                    <a:lnTo>
                      <a:pt x="500" y="518"/>
                    </a:lnTo>
                    <a:lnTo>
                      <a:pt x="484" y="511"/>
                    </a:lnTo>
                    <a:lnTo>
                      <a:pt x="459" y="499"/>
                    </a:lnTo>
                    <a:lnTo>
                      <a:pt x="424" y="487"/>
                    </a:lnTo>
                    <a:lnTo>
                      <a:pt x="403" y="481"/>
                    </a:lnTo>
                    <a:lnTo>
                      <a:pt x="379" y="475"/>
                    </a:lnTo>
                    <a:lnTo>
                      <a:pt x="352" y="469"/>
                    </a:lnTo>
                    <a:lnTo>
                      <a:pt x="323" y="463"/>
                    </a:lnTo>
                    <a:lnTo>
                      <a:pt x="291" y="458"/>
                    </a:lnTo>
                    <a:lnTo>
                      <a:pt x="256" y="453"/>
                    </a:lnTo>
                    <a:lnTo>
                      <a:pt x="219" y="449"/>
                    </a:lnTo>
                    <a:lnTo>
                      <a:pt x="179" y="446"/>
                    </a:lnTo>
                    <a:lnTo>
                      <a:pt x="172" y="446"/>
                    </a:lnTo>
                    <a:lnTo>
                      <a:pt x="165" y="445"/>
                    </a:lnTo>
                    <a:lnTo>
                      <a:pt x="158" y="444"/>
                    </a:lnTo>
                    <a:lnTo>
                      <a:pt x="152" y="442"/>
                    </a:lnTo>
                    <a:lnTo>
                      <a:pt x="150" y="440"/>
                    </a:lnTo>
                    <a:lnTo>
                      <a:pt x="146" y="438"/>
                    </a:lnTo>
                    <a:lnTo>
                      <a:pt x="144" y="436"/>
                    </a:lnTo>
                    <a:lnTo>
                      <a:pt x="143" y="433"/>
                    </a:lnTo>
                    <a:lnTo>
                      <a:pt x="141" y="425"/>
                    </a:lnTo>
                    <a:lnTo>
                      <a:pt x="140" y="415"/>
                    </a:lnTo>
                    <a:lnTo>
                      <a:pt x="120" y="420"/>
                    </a:lnTo>
                    <a:lnTo>
                      <a:pt x="99" y="425"/>
                    </a:lnTo>
                    <a:lnTo>
                      <a:pt x="77" y="431"/>
                    </a:lnTo>
                    <a:lnTo>
                      <a:pt x="53" y="439"/>
                    </a:lnTo>
                    <a:lnTo>
                      <a:pt x="50" y="441"/>
                    </a:lnTo>
                    <a:lnTo>
                      <a:pt x="43" y="445"/>
                    </a:lnTo>
                    <a:lnTo>
                      <a:pt x="40" y="446"/>
                    </a:lnTo>
                    <a:lnTo>
                      <a:pt x="37" y="448"/>
                    </a:lnTo>
                    <a:lnTo>
                      <a:pt x="34" y="448"/>
                    </a:lnTo>
                    <a:lnTo>
                      <a:pt x="33" y="446"/>
                    </a:lnTo>
                    <a:lnTo>
                      <a:pt x="0" y="483"/>
                    </a:lnTo>
                    <a:lnTo>
                      <a:pt x="4" y="488"/>
                    </a:lnTo>
                    <a:lnTo>
                      <a:pt x="8" y="493"/>
                    </a:lnTo>
                    <a:lnTo>
                      <a:pt x="13" y="498"/>
                    </a:lnTo>
                    <a:lnTo>
                      <a:pt x="18" y="503"/>
                    </a:lnTo>
                    <a:lnTo>
                      <a:pt x="29" y="509"/>
                    </a:lnTo>
                    <a:lnTo>
                      <a:pt x="40" y="515"/>
                    </a:lnTo>
                    <a:lnTo>
                      <a:pt x="62" y="524"/>
                    </a:lnTo>
                    <a:lnTo>
                      <a:pt x="79" y="532"/>
                    </a:lnTo>
                    <a:lnTo>
                      <a:pt x="77" y="540"/>
                    </a:lnTo>
                    <a:lnTo>
                      <a:pt x="74" y="547"/>
                    </a:lnTo>
                    <a:lnTo>
                      <a:pt x="71" y="552"/>
                    </a:lnTo>
                    <a:lnTo>
                      <a:pt x="67" y="556"/>
                    </a:lnTo>
                    <a:lnTo>
                      <a:pt x="64" y="562"/>
                    </a:lnTo>
                    <a:lnTo>
                      <a:pt x="62" y="567"/>
                    </a:lnTo>
                    <a:lnTo>
                      <a:pt x="61" y="574"/>
                    </a:lnTo>
                    <a:lnTo>
                      <a:pt x="60" y="582"/>
                    </a:lnTo>
                    <a:lnTo>
                      <a:pt x="61" y="589"/>
                    </a:lnTo>
                    <a:lnTo>
                      <a:pt x="65" y="597"/>
                    </a:lnTo>
                    <a:lnTo>
                      <a:pt x="71" y="605"/>
                    </a:lnTo>
                    <a:lnTo>
                      <a:pt x="77" y="614"/>
                    </a:lnTo>
                    <a:lnTo>
                      <a:pt x="84" y="621"/>
                    </a:lnTo>
                    <a:lnTo>
                      <a:pt x="90" y="626"/>
                    </a:lnTo>
                    <a:lnTo>
                      <a:pt x="96" y="630"/>
                    </a:lnTo>
                    <a:lnTo>
                      <a:pt x="99" y="631"/>
                    </a:lnTo>
                    <a:lnTo>
                      <a:pt x="100" y="647"/>
                    </a:lnTo>
                    <a:lnTo>
                      <a:pt x="102" y="662"/>
                    </a:lnTo>
                    <a:lnTo>
                      <a:pt x="106" y="677"/>
                    </a:lnTo>
                    <a:lnTo>
                      <a:pt x="111" y="689"/>
                    </a:lnTo>
                    <a:lnTo>
                      <a:pt x="117" y="700"/>
                    </a:lnTo>
                    <a:lnTo>
                      <a:pt x="123" y="710"/>
                    </a:lnTo>
                    <a:lnTo>
                      <a:pt x="131" y="719"/>
                    </a:lnTo>
                    <a:lnTo>
                      <a:pt x="140" y="728"/>
                    </a:lnTo>
                    <a:lnTo>
                      <a:pt x="149" y="736"/>
                    </a:lnTo>
                    <a:lnTo>
                      <a:pt x="158" y="743"/>
                    </a:lnTo>
                    <a:lnTo>
                      <a:pt x="168" y="750"/>
                    </a:lnTo>
                    <a:lnTo>
                      <a:pt x="178" y="756"/>
                    </a:lnTo>
                    <a:lnTo>
                      <a:pt x="199" y="767"/>
                    </a:lnTo>
                    <a:lnTo>
                      <a:pt x="219" y="778"/>
                    </a:lnTo>
                    <a:lnTo>
                      <a:pt x="184" y="815"/>
                    </a:lnTo>
                    <a:lnTo>
                      <a:pt x="146" y="856"/>
                    </a:lnTo>
                    <a:lnTo>
                      <a:pt x="128" y="875"/>
                    </a:lnTo>
                    <a:lnTo>
                      <a:pt x="109" y="892"/>
                    </a:lnTo>
                    <a:lnTo>
                      <a:pt x="100" y="899"/>
                    </a:lnTo>
                    <a:lnTo>
                      <a:pt x="90" y="905"/>
                    </a:lnTo>
                    <a:lnTo>
                      <a:pt x="82" y="910"/>
                    </a:lnTo>
                    <a:lnTo>
                      <a:pt x="73" y="914"/>
                    </a:lnTo>
                    <a:lnTo>
                      <a:pt x="74" y="917"/>
                    </a:lnTo>
                    <a:lnTo>
                      <a:pt x="75" y="920"/>
                    </a:lnTo>
                    <a:lnTo>
                      <a:pt x="77" y="923"/>
                    </a:lnTo>
                    <a:lnTo>
                      <a:pt x="80" y="926"/>
                    </a:lnTo>
                    <a:lnTo>
                      <a:pt x="88" y="934"/>
                    </a:lnTo>
                    <a:lnTo>
                      <a:pt x="96" y="942"/>
                    </a:lnTo>
                    <a:lnTo>
                      <a:pt x="105" y="951"/>
                    </a:lnTo>
                    <a:lnTo>
                      <a:pt x="112" y="958"/>
                    </a:lnTo>
                    <a:lnTo>
                      <a:pt x="118" y="965"/>
                    </a:lnTo>
                    <a:lnTo>
                      <a:pt x="120" y="970"/>
                    </a:lnTo>
                    <a:lnTo>
                      <a:pt x="116" y="976"/>
                    </a:lnTo>
                    <a:lnTo>
                      <a:pt x="112" y="981"/>
                    </a:lnTo>
                    <a:lnTo>
                      <a:pt x="110" y="987"/>
                    </a:lnTo>
                    <a:lnTo>
                      <a:pt x="109" y="993"/>
                    </a:lnTo>
                    <a:lnTo>
                      <a:pt x="109" y="1005"/>
                    </a:lnTo>
                    <a:lnTo>
                      <a:pt x="111" y="1017"/>
                    </a:lnTo>
                    <a:lnTo>
                      <a:pt x="113" y="1029"/>
                    </a:lnTo>
                    <a:lnTo>
                      <a:pt x="116" y="1042"/>
                    </a:lnTo>
                    <a:lnTo>
                      <a:pt x="117" y="1048"/>
                    </a:lnTo>
                    <a:lnTo>
                      <a:pt x="116" y="1054"/>
                    </a:lnTo>
                    <a:lnTo>
                      <a:pt x="114" y="1062"/>
                    </a:lnTo>
                    <a:lnTo>
                      <a:pt x="113" y="1069"/>
                    </a:lnTo>
                    <a:lnTo>
                      <a:pt x="120" y="1090"/>
                    </a:lnTo>
                    <a:lnTo>
                      <a:pt x="130" y="1115"/>
                    </a:lnTo>
                    <a:lnTo>
                      <a:pt x="142" y="1139"/>
                    </a:lnTo>
                    <a:lnTo>
                      <a:pt x="153" y="1160"/>
                    </a:lnTo>
                    <a:lnTo>
                      <a:pt x="192" y="1180"/>
                    </a:lnTo>
                    <a:lnTo>
                      <a:pt x="232" y="1180"/>
                    </a:lnTo>
                    <a:lnTo>
                      <a:pt x="240" y="1204"/>
                    </a:lnTo>
                    <a:lnTo>
                      <a:pt x="279" y="1192"/>
                    </a:lnTo>
                    <a:lnTo>
                      <a:pt x="312" y="1204"/>
                    </a:lnTo>
                    <a:lnTo>
                      <a:pt x="319" y="1253"/>
                    </a:lnTo>
                    <a:lnTo>
                      <a:pt x="365" y="1291"/>
                    </a:lnTo>
                    <a:lnTo>
                      <a:pt x="399" y="1309"/>
                    </a:lnTo>
                    <a:lnTo>
                      <a:pt x="425" y="1327"/>
                    </a:lnTo>
                    <a:lnTo>
                      <a:pt x="399" y="1346"/>
                    </a:lnTo>
                    <a:lnTo>
                      <a:pt x="352" y="1333"/>
                    </a:lnTo>
                    <a:lnTo>
                      <a:pt x="358" y="1358"/>
                    </a:lnTo>
                    <a:lnTo>
                      <a:pt x="373" y="1370"/>
                    </a:lnTo>
                    <a:lnTo>
                      <a:pt x="373" y="1401"/>
                    </a:lnTo>
                    <a:lnTo>
                      <a:pt x="365" y="1401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" name="Freeform 23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9795143" y="2753885"/>
                <a:ext cx="280987" cy="247650"/>
              </a:xfrm>
              <a:custGeom>
                <a:avLst/>
                <a:gdLst>
                  <a:gd name="T0" fmla="*/ 2147483647 w 647"/>
                  <a:gd name="T1" fmla="*/ 2147483647 h 470"/>
                  <a:gd name="T2" fmla="*/ 2147483647 w 647"/>
                  <a:gd name="T3" fmla="*/ 2147483647 h 470"/>
                  <a:gd name="T4" fmla="*/ 2147483647 w 647"/>
                  <a:gd name="T5" fmla="*/ 2147483647 h 470"/>
                  <a:gd name="T6" fmla="*/ 2147483647 w 647"/>
                  <a:gd name="T7" fmla="*/ 2147483647 h 470"/>
                  <a:gd name="T8" fmla="*/ 2147483647 w 647"/>
                  <a:gd name="T9" fmla="*/ 2147483647 h 470"/>
                  <a:gd name="T10" fmla="*/ 2147483647 w 647"/>
                  <a:gd name="T11" fmla="*/ 2147483647 h 470"/>
                  <a:gd name="T12" fmla="*/ 2147483647 w 647"/>
                  <a:gd name="T13" fmla="*/ 2147483647 h 470"/>
                  <a:gd name="T14" fmla="*/ 2147483647 w 647"/>
                  <a:gd name="T15" fmla="*/ 2147483647 h 470"/>
                  <a:gd name="T16" fmla="*/ 2147483647 w 647"/>
                  <a:gd name="T17" fmla="*/ 2147483647 h 470"/>
                  <a:gd name="T18" fmla="*/ 2147483647 w 647"/>
                  <a:gd name="T19" fmla="*/ 2147483647 h 470"/>
                  <a:gd name="T20" fmla="*/ 2147483647 w 647"/>
                  <a:gd name="T21" fmla="*/ 2147483647 h 470"/>
                  <a:gd name="T22" fmla="*/ 2147483647 w 647"/>
                  <a:gd name="T23" fmla="*/ 2147483647 h 470"/>
                  <a:gd name="T24" fmla="*/ 2147483647 w 647"/>
                  <a:gd name="T25" fmla="*/ 2147483647 h 470"/>
                  <a:gd name="T26" fmla="*/ 2147483647 w 647"/>
                  <a:gd name="T27" fmla="*/ 2147483647 h 470"/>
                  <a:gd name="T28" fmla="*/ 2147483647 w 647"/>
                  <a:gd name="T29" fmla="*/ 2147483647 h 470"/>
                  <a:gd name="T30" fmla="*/ 2147483647 w 647"/>
                  <a:gd name="T31" fmla="*/ 2147483647 h 470"/>
                  <a:gd name="T32" fmla="*/ 2147483647 w 647"/>
                  <a:gd name="T33" fmla="*/ 2147483647 h 470"/>
                  <a:gd name="T34" fmla="*/ 2147483647 w 647"/>
                  <a:gd name="T35" fmla="*/ 2147483647 h 470"/>
                  <a:gd name="T36" fmla="*/ 2147483647 w 647"/>
                  <a:gd name="T37" fmla="*/ 2147483647 h 470"/>
                  <a:gd name="T38" fmla="*/ 2147483647 w 647"/>
                  <a:gd name="T39" fmla="*/ 2147483647 h 470"/>
                  <a:gd name="T40" fmla="*/ 2147483647 w 647"/>
                  <a:gd name="T41" fmla="*/ 2147483647 h 470"/>
                  <a:gd name="T42" fmla="*/ 2147483647 w 647"/>
                  <a:gd name="T43" fmla="*/ 2147483647 h 470"/>
                  <a:gd name="T44" fmla="*/ 2147483647 w 647"/>
                  <a:gd name="T45" fmla="*/ 2147483647 h 470"/>
                  <a:gd name="T46" fmla="*/ 2147483647 w 647"/>
                  <a:gd name="T47" fmla="*/ 2147483647 h 470"/>
                  <a:gd name="T48" fmla="*/ 2147483647 w 647"/>
                  <a:gd name="T49" fmla="*/ 2147483647 h 470"/>
                  <a:gd name="T50" fmla="*/ 2147483647 w 647"/>
                  <a:gd name="T51" fmla="*/ 2147483647 h 470"/>
                  <a:gd name="T52" fmla="*/ 2147483647 w 647"/>
                  <a:gd name="T53" fmla="*/ 2147483647 h 470"/>
                  <a:gd name="T54" fmla="*/ 2147483647 w 647"/>
                  <a:gd name="T55" fmla="*/ 2147483647 h 470"/>
                  <a:gd name="T56" fmla="*/ 2147483647 w 647"/>
                  <a:gd name="T57" fmla="*/ 2147483647 h 470"/>
                  <a:gd name="T58" fmla="*/ 2147483647 w 647"/>
                  <a:gd name="T59" fmla="*/ 2147483647 h 470"/>
                  <a:gd name="T60" fmla="*/ 2147483647 w 647"/>
                  <a:gd name="T61" fmla="*/ 2147483647 h 470"/>
                  <a:gd name="T62" fmla="*/ 2147483647 w 647"/>
                  <a:gd name="T63" fmla="*/ 2147483647 h 470"/>
                  <a:gd name="T64" fmla="*/ 2147483647 w 647"/>
                  <a:gd name="T65" fmla="*/ 2147483647 h 470"/>
                  <a:gd name="T66" fmla="*/ 2147483647 w 647"/>
                  <a:gd name="T67" fmla="*/ 2147483647 h 470"/>
                  <a:gd name="T68" fmla="*/ 2147483647 w 647"/>
                  <a:gd name="T69" fmla="*/ 2147483647 h 470"/>
                  <a:gd name="T70" fmla="*/ 2147483647 w 647"/>
                  <a:gd name="T71" fmla="*/ 2147483647 h 470"/>
                  <a:gd name="T72" fmla="*/ 2147483647 w 647"/>
                  <a:gd name="T73" fmla="*/ 2147483647 h 470"/>
                  <a:gd name="T74" fmla="*/ 2147483647 w 647"/>
                  <a:gd name="T75" fmla="*/ 2147483647 h 470"/>
                  <a:gd name="T76" fmla="*/ 2147483647 w 647"/>
                  <a:gd name="T77" fmla="*/ 2147483647 h 470"/>
                  <a:gd name="T78" fmla="*/ 2147483647 w 647"/>
                  <a:gd name="T79" fmla="*/ 2147483647 h 470"/>
                  <a:gd name="T80" fmla="*/ 2147483647 w 647"/>
                  <a:gd name="T81" fmla="*/ 2147483647 h 470"/>
                  <a:gd name="T82" fmla="*/ 2147483647 w 647"/>
                  <a:gd name="T83" fmla="*/ 2147483647 h 470"/>
                  <a:gd name="T84" fmla="*/ 2147483647 w 647"/>
                  <a:gd name="T85" fmla="*/ 2147483647 h 470"/>
                  <a:gd name="T86" fmla="*/ 2147483647 w 647"/>
                  <a:gd name="T87" fmla="*/ 2147483647 h 470"/>
                  <a:gd name="T88" fmla="*/ 2147483647 w 647"/>
                  <a:gd name="T89" fmla="*/ 2147483647 h 470"/>
                  <a:gd name="T90" fmla="*/ 1392505125 w 647"/>
                  <a:gd name="T91" fmla="*/ 2147483647 h 470"/>
                  <a:gd name="T92" fmla="*/ 0 w 647"/>
                  <a:gd name="T93" fmla="*/ 2147483647 h 470"/>
                  <a:gd name="T94" fmla="*/ 1884021744 w 647"/>
                  <a:gd name="T95" fmla="*/ 2147483647 h 470"/>
                  <a:gd name="T96" fmla="*/ 2147483647 w 647"/>
                  <a:gd name="T97" fmla="*/ 2147483647 h 470"/>
                  <a:gd name="T98" fmla="*/ 2147483647 w 647"/>
                  <a:gd name="T99" fmla="*/ 585263868 h 470"/>
                  <a:gd name="T100" fmla="*/ 2147483647 w 647"/>
                  <a:gd name="T101" fmla="*/ 0 h 470"/>
                  <a:gd name="T102" fmla="*/ 2147483647 w 647"/>
                  <a:gd name="T103" fmla="*/ 1023933690 h 470"/>
                  <a:gd name="T104" fmla="*/ 2147483647 w 647"/>
                  <a:gd name="T105" fmla="*/ 2147483647 h 470"/>
                  <a:gd name="T106" fmla="*/ 2147483647 w 647"/>
                  <a:gd name="T107" fmla="*/ 2147483647 h 470"/>
                  <a:gd name="T108" fmla="*/ 2147483647 w 647"/>
                  <a:gd name="T109" fmla="*/ 2147483647 h 470"/>
                  <a:gd name="T110" fmla="*/ 2147483647 w 647"/>
                  <a:gd name="T111" fmla="*/ 2147483647 h 470"/>
                  <a:gd name="T112" fmla="*/ 2147483647 w 647"/>
                  <a:gd name="T113" fmla="*/ 2147483647 h 4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" name="Freeform 24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2427218" y="3492072"/>
                <a:ext cx="207962" cy="455613"/>
              </a:xfrm>
              <a:custGeom>
                <a:avLst/>
                <a:gdLst>
                  <a:gd name="T0" fmla="*/ 2147483647 w 479"/>
                  <a:gd name="T1" fmla="*/ 2147483647 h 868"/>
                  <a:gd name="T2" fmla="*/ 2147483647 w 479"/>
                  <a:gd name="T3" fmla="*/ 2147483647 h 868"/>
                  <a:gd name="T4" fmla="*/ 2147483647 w 479"/>
                  <a:gd name="T5" fmla="*/ 2147483647 h 868"/>
                  <a:gd name="T6" fmla="*/ 2147483647 w 479"/>
                  <a:gd name="T7" fmla="*/ 2147483647 h 868"/>
                  <a:gd name="T8" fmla="*/ 2147483647 w 479"/>
                  <a:gd name="T9" fmla="*/ 2147483647 h 868"/>
                  <a:gd name="T10" fmla="*/ 2147483647 w 479"/>
                  <a:gd name="T11" fmla="*/ 2147483647 h 868"/>
                  <a:gd name="T12" fmla="*/ 2147483647 w 479"/>
                  <a:gd name="T13" fmla="*/ 2147483647 h 868"/>
                  <a:gd name="T14" fmla="*/ 2147483647 w 479"/>
                  <a:gd name="T15" fmla="*/ 2147483647 h 868"/>
                  <a:gd name="T16" fmla="*/ 2147483647 w 479"/>
                  <a:gd name="T17" fmla="*/ 2147483647 h 868"/>
                  <a:gd name="T18" fmla="*/ 2147483647 w 479"/>
                  <a:gd name="T19" fmla="*/ 2147483647 h 868"/>
                  <a:gd name="T20" fmla="*/ 2147483647 w 479"/>
                  <a:gd name="T21" fmla="*/ 2147483647 h 868"/>
                  <a:gd name="T22" fmla="*/ 2147483647 w 479"/>
                  <a:gd name="T23" fmla="*/ 2147483647 h 868"/>
                  <a:gd name="T24" fmla="*/ 2147483647 w 479"/>
                  <a:gd name="T25" fmla="*/ 2147483647 h 868"/>
                  <a:gd name="T26" fmla="*/ 2147483647 w 479"/>
                  <a:gd name="T27" fmla="*/ 2147483647 h 868"/>
                  <a:gd name="T28" fmla="*/ 2147483647 w 479"/>
                  <a:gd name="T29" fmla="*/ 2147483647 h 868"/>
                  <a:gd name="T30" fmla="*/ 2147483647 w 479"/>
                  <a:gd name="T31" fmla="*/ 2147483647 h 868"/>
                  <a:gd name="T32" fmla="*/ 2147483647 w 479"/>
                  <a:gd name="T33" fmla="*/ 2147483647 h 868"/>
                  <a:gd name="T34" fmla="*/ 2147483647 w 479"/>
                  <a:gd name="T35" fmla="*/ 2147483647 h 868"/>
                  <a:gd name="T36" fmla="*/ 2147483647 w 479"/>
                  <a:gd name="T37" fmla="*/ 2147483647 h 868"/>
                  <a:gd name="T38" fmla="*/ 2147483647 w 479"/>
                  <a:gd name="T39" fmla="*/ 2147483647 h 868"/>
                  <a:gd name="T40" fmla="*/ 2147483647 w 479"/>
                  <a:gd name="T41" fmla="*/ 2147483647 h 868"/>
                  <a:gd name="T42" fmla="*/ 2147483647 w 479"/>
                  <a:gd name="T43" fmla="*/ 2147483647 h 868"/>
                  <a:gd name="T44" fmla="*/ 2147483647 w 479"/>
                  <a:gd name="T45" fmla="*/ 2147483647 h 868"/>
                  <a:gd name="T46" fmla="*/ 2147483647 w 479"/>
                  <a:gd name="T47" fmla="*/ 2147483647 h 868"/>
                  <a:gd name="T48" fmla="*/ 2147483647 w 479"/>
                  <a:gd name="T49" fmla="*/ 2147483647 h 868"/>
                  <a:gd name="T50" fmla="*/ 2147483647 w 479"/>
                  <a:gd name="T51" fmla="*/ 2147483647 h 868"/>
                  <a:gd name="T52" fmla="*/ 2147483647 w 479"/>
                  <a:gd name="T53" fmla="*/ 2147483647 h 868"/>
                  <a:gd name="T54" fmla="*/ 2147483647 w 479"/>
                  <a:gd name="T55" fmla="*/ 2147483647 h 868"/>
                  <a:gd name="T56" fmla="*/ 2147483647 w 479"/>
                  <a:gd name="T57" fmla="*/ 2147483647 h 868"/>
                  <a:gd name="T58" fmla="*/ 2147483647 w 479"/>
                  <a:gd name="T59" fmla="*/ 2147483647 h 868"/>
                  <a:gd name="T60" fmla="*/ 2147483647 w 479"/>
                  <a:gd name="T61" fmla="*/ 2147483647 h 868"/>
                  <a:gd name="T62" fmla="*/ 2147483647 w 479"/>
                  <a:gd name="T63" fmla="*/ 2147483647 h 868"/>
                  <a:gd name="T64" fmla="*/ 2147483647 w 479"/>
                  <a:gd name="T65" fmla="*/ 2147483647 h 868"/>
                  <a:gd name="T66" fmla="*/ 2147483647 w 479"/>
                  <a:gd name="T67" fmla="*/ 2147483647 h 868"/>
                  <a:gd name="T68" fmla="*/ 2147483647 w 479"/>
                  <a:gd name="T69" fmla="*/ 2147483647 h 868"/>
                  <a:gd name="T70" fmla="*/ 2147483647 w 479"/>
                  <a:gd name="T71" fmla="*/ 2147483647 h 868"/>
                  <a:gd name="T72" fmla="*/ 2147483647 w 479"/>
                  <a:gd name="T73" fmla="*/ 2147483647 h 868"/>
                  <a:gd name="T74" fmla="*/ 1882298361 w 479"/>
                  <a:gd name="T75" fmla="*/ 2147483647 h 868"/>
                  <a:gd name="T76" fmla="*/ 81806346 w 479"/>
                  <a:gd name="T77" fmla="*/ 2147483647 h 868"/>
                  <a:gd name="T78" fmla="*/ 900246224 w 479"/>
                  <a:gd name="T79" fmla="*/ 2147483647 h 868"/>
                  <a:gd name="T80" fmla="*/ 2147483647 w 479"/>
                  <a:gd name="T81" fmla="*/ 2147483647 h 868"/>
                  <a:gd name="T82" fmla="*/ 2147483647 w 479"/>
                  <a:gd name="T83" fmla="*/ 0 h 868"/>
                  <a:gd name="T84" fmla="*/ 2147483647 w 479"/>
                  <a:gd name="T85" fmla="*/ 2147483647 h 868"/>
                  <a:gd name="T86" fmla="*/ 2147483647 w 479"/>
                  <a:gd name="T87" fmla="*/ 2147483647 h 868"/>
                  <a:gd name="T88" fmla="*/ 2147483647 w 479"/>
                  <a:gd name="T89" fmla="*/ 2147483647 h 868"/>
                  <a:gd name="T90" fmla="*/ 2147483647 w 479"/>
                  <a:gd name="T91" fmla="*/ 2147483647 h 868"/>
                  <a:gd name="T92" fmla="*/ 2147483647 w 479"/>
                  <a:gd name="T93" fmla="*/ 2147483647 h 868"/>
                  <a:gd name="T94" fmla="*/ 2147483647 w 479"/>
                  <a:gd name="T95" fmla="*/ 2147483647 h 868"/>
                  <a:gd name="T96" fmla="*/ 2147483647 w 479"/>
                  <a:gd name="T97" fmla="*/ 2147483647 h 868"/>
                  <a:gd name="T98" fmla="*/ 2147483647 w 479"/>
                  <a:gd name="T99" fmla="*/ 2147483647 h 868"/>
                  <a:gd name="T100" fmla="*/ 2147483647 w 479"/>
                  <a:gd name="T101" fmla="*/ 2147483647 h 868"/>
                  <a:gd name="T102" fmla="*/ 2147483647 w 479"/>
                  <a:gd name="T103" fmla="*/ 2147483647 h 868"/>
                  <a:gd name="T104" fmla="*/ 2147483647 w 479"/>
                  <a:gd name="T105" fmla="*/ 2147483647 h 868"/>
                  <a:gd name="T106" fmla="*/ 2147483647 w 479"/>
                  <a:gd name="T107" fmla="*/ 2147483647 h 868"/>
                  <a:gd name="T108" fmla="*/ 2147483647 w 479"/>
                  <a:gd name="T109" fmla="*/ 2147483647 h 868"/>
                  <a:gd name="T110" fmla="*/ 2147483647 w 479"/>
                  <a:gd name="T111" fmla="*/ 2147483647 h 86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" name="Freeform 30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1041330" y="2404635"/>
                <a:ext cx="874713" cy="452437"/>
              </a:xfrm>
              <a:custGeom>
                <a:avLst/>
                <a:gdLst>
                  <a:gd name="T0" fmla="*/ 2147483647 w 2006"/>
                  <a:gd name="T1" fmla="*/ 2147483647 h 863"/>
                  <a:gd name="T2" fmla="*/ 2147483647 w 2006"/>
                  <a:gd name="T3" fmla="*/ 2147483647 h 863"/>
                  <a:gd name="T4" fmla="*/ 2147483647 w 2006"/>
                  <a:gd name="T5" fmla="*/ 2147483647 h 863"/>
                  <a:gd name="T6" fmla="*/ 2147483647 w 2006"/>
                  <a:gd name="T7" fmla="*/ 2147483647 h 863"/>
                  <a:gd name="T8" fmla="*/ 2147483647 w 2006"/>
                  <a:gd name="T9" fmla="*/ 2147483647 h 863"/>
                  <a:gd name="T10" fmla="*/ 2147483647 w 2006"/>
                  <a:gd name="T11" fmla="*/ 2147483647 h 863"/>
                  <a:gd name="T12" fmla="*/ 2147483647 w 2006"/>
                  <a:gd name="T13" fmla="*/ 2147483647 h 863"/>
                  <a:gd name="T14" fmla="*/ 2147483647 w 2006"/>
                  <a:gd name="T15" fmla="*/ 2147483647 h 863"/>
                  <a:gd name="T16" fmla="*/ 2147483647 w 2006"/>
                  <a:gd name="T17" fmla="*/ 2147483647 h 863"/>
                  <a:gd name="T18" fmla="*/ 2147483647 w 2006"/>
                  <a:gd name="T19" fmla="*/ 2147483647 h 863"/>
                  <a:gd name="T20" fmla="*/ 2147483647 w 2006"/>
                  <a:gd name="T21" fmla="*/ 2147483647 h 863"/>
                  <a:gd name="T22" fmla="*/ 2147483647 w 2006"/>
                  <a:gd name="T23" fmla="*/ 2147483647 h 863"/>
                  <a:gd name="T24" fmla="*/ 2147483647 w 2006"/>
                  <a:gd name="T25" fmla="*/ 2147483647 h 863"/>
                  <a:gd name="T26" fmla="*/ 2147483647 w 2006"/>
                  <a:gd name="T27" fmla="*/ 2147483647 h 863"/>
                  <a:gd name="T28" fmla="*/ 2147483647 w 2006"/>
                  <a:gd name="T29" fmla="*/ 2147483647 h 863"/>
                  <a:gd name="T30" fmla="*/ 2147483647 w 2006"/>
                  <a:gd name="T31" fmla="*/ 2147483647 h 863"/>
                  <a:gd name="T32" fmla="*/ 2147483647 w 2006"/>
                  <a:gd name="T33" fmla="*/ 2147483647 h 863"/>
                  <a:gd name="T34" fmla="*/ 2147483647 w 2006"/>
                  <a:gd name="T35" fmla="*/ 2147483647 h 863"/>
                  <a:gd name="T36" fmla="*/ 2147483647 w 2006"/>
                  <a:gd name="T37" fmla="*/ 2147483647 h 863"/>
                  <a:gd name="T38" fmla="*/ 1658195091 w 2006"/>
                  <a:gd name="T39" fmla="*/ 2147483647 h 863"/>
                  <a:gd name="T40" fmla="*/ 2147483647 w 2006"/>
                  <a:gd name="T41" fmla="*/ 2147483647 h 863"/>
                  <a:gd name="T42" fmla="*/ 2147483647 w 2006"/>
                  <a:gd name="T43" fmla="*/ 2147483647 h 863"/>
                  <a:gd name="T44" fmla="*/ 2147483647 w 2006"/>
                  <a:gd name="T45" fmla="*/ 2147483647 h 863"/>
                  <a:gd name="T46" fmla="*/ 2147483647 w 2006"/>
                  <a:gd name="T47" fmla="*/ 2147483647 h 863"/>
                  <a:gd name="T48" fmla="*/ 2147483647 w 2006"/>
                  <a:gd name="T49" fmla="*/ 2147483647 h 863"/>
                  <a:gd name="T50" fmla="*/ 2147483647 w 2006"/>
                  <a:gd name="T51" fmla="*/ 2147483647 h 863"/>
                  <a:gd name="T52" fmla="*/ 2147483647 w 2006"/>
                  <a:gd name="T53" fmla="*/ 1873098092 h 863"/>
                  <a:gd name="T54" fmla="*/ 2147483647 w 2006"/>
                  <a:gd name="T55" fmla="*/ 2147483647 h 863"/>
                  <a:gd name="T56" fmla="*/ 2147483647 w 2006"/>
                  <a:gd name="T57" fmla="*/ 2147483647 h 863"/>
                  <a:gd name="T58" fmla="*/ 2147483647 w 2006"/>
                  <a:gd name="T59" fmla="*/ 2147483647 h 863"/>
                  <a:gd name="T60" fmla="*/ 2147483647 w 2006"/>
                  <a:gd name="T61" fmla="*/ 2147483647 h 863"/>
                  <a:gd name="T62" fmla="*/ 2147483647 w 2006"/>
                  <a:gd name="T63" fmla="*/ 2147483647 h 863"/>
                  <a:gd name="T64" fmla="*/ 2147483647 w 2006"/>
                  <a:gd name="T65" fmla="*/ 2147483647 h 863"/>
                  <a:gd name="T66" fmla="*/ 2147483647 w 2006"/>
                  <a:gd name="T67" fmla="*/ 2147483647 h 863"/>
                  <a:gd name="T68" fmla="*/ 2147483647 w 2006"/>
                  <a:gd name="T69" fmla="*/ 2147483647 h 863"/>
                  <a:gd name="T70" fmla="*/ 2147483647 w 2006"/>
                  <a:gd name="T71" fmla="*/ 2147483647 h 863"/>
                  <a:gd name="T72" fmla="*/ 2147483647 w 2006"/>
                  <a:gd name="T73" fmla="*/ 2147483647 h 863"/>
                  <a:gd name="T74" fmla="*/ 2147483647 w 2006"/>
                  <a:gd name="T75" fmla="*/ 2147483647 h 863"/>
                  <a:gd name="T76" fmla="*/ 2147483647 w 2006"/>
                  <a:gd name="T77" fmla="*/ 2147483647 h 863"/>
                  <a:gd name="T78" fmla="*/ 2147483647 w 2006"/>
                  <a:gd name="T79" fmla="*/ 2147483647 h 863"/>
                  <a:gd name="T80" fmla="*/ 2147483647 w 2006"/>
                  <a:gd name="T81" fmla="*/ 2147483647 h 863"/>
                  <a:gd name="T82" fmla="*/ 2147483647 w 2006"/>
                  <a:gd name="T83" fmla="*/ 2147483647 h 863"/>
                  <a:gd name="T84" fmla="*/ 2147483647 w 2006"/>
                  <a:gd name="T85" fmla="*/ 2147483647 h 863"/>
                  <a:gd name="T86" fmla="*/ 2147483647 w 2006"/>
                  <a:gd name="T87" fmla="*/ 2147483647 h 863"/>
                  <a:gd name="T88" fmla="*/ 2147483647 w 2006"/>
                  <a:gd name="T89" fmla="*/ 2147483647 h 863"/>
                  <a:gd name="T90" fmla="*/ 2147483647 w 2006"/>
                  <a:gd name="T91" fmla="*/ 2147483647 h 863"/>
                  <a:gd name="T92" fmla="*/ 2147483647 w 2006"/>
                  <a:gd name="T93" fmla="*/ 2147483647 h 863"/>
                  <a:gd name="T94" fmla="*/ 2147483647 w 2006"/>
                  <a:gd name="T95" fmla="*/ 2147483647 h 863"/>
                  <a:gd name="T96" fmla="*/ 2147483647 w 2006"/>
                  <a:gd name="T97" fmla="*/ 2147483647 h 863"/>
                  <a:gd name="T98" fmla="*/ 2147483647 w 2006"/>
                  <a:gd name="T99" fmla="*/ 2147483647 h 863"/>
                  <a:gd name="T100" fmla="*/ 2147483647 w 2006"/>
                  <a:gd name="T101" fmla="*/ 2147483647 h 863"/>
                  <a:gd name="T102" fmla="*/ 2147483647 w 2006"/>
                  <a:gd name="T103" fmla="*/ 2147483647 h 863"/>
                  <a:gd name="T104" fmla="*/ 2147483647 w 2006"/>
                  <a:gd name="T105" fmla="*/ 2147483647 h 863"/>
                  <a:gd name="T106" fmla="*/ 2147483647 w 2006"/>
                  <a:gd name="T107" fmla="*/ 2147483647 h 863"/>
                  <a:gd name="T108" fmla="*/ 2147483647 w 2006"/>
                  <a:gd name="T109" fmla="*/ 2147483647 h 863"/>
                  <a:gd name="T110" fmla="*/ 2147483647 w 2006"/>
                  <a:gd name="T111" fmla="*/ 2147483647 h 863"/>
                  <a:gd name="T112" fmla="*/ 2147483647 w 2006"/>
                  <a:gd name="T113" fmla="*/ 2147483647 h 863"/>
                  <a:gd name="T114" fmla="*/ 2147483647 w 2006"/>
                  <a:gd name="T115" fmla="*/ 2147483647 h 86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2006" h="863">
                    <a:moveTo>
                      <a:pt x="571" y="826"/>
                    </a:moveTo>
                    <a:lnTo>
                      <a:pt x="538" y="826"/>
                    </a:lnTo>
                    <a:lnTo>
                      <a:pt x="512" y="789"/>
                    </a:lnTo>
                    <a:lnTo>
                      <a:pt x="438" y="764"/>
                    </a:lnTo>
                    <a:lnTo>
                      <a:pt x="433" y="765"/>
                    </a:lnTo>
                    <a:lnTo>
                      <a:pt x="427" y="766"/>
                    </a:lnTo>
                    <a:lnTo>
                      <a:pt x="424" y="767"/>
                    </a:lnTo>
                    <a:lnTo>
                      <a:pt x="421" y="767"/>
                    </a:lnTo>
                    <a:lnTo>
                      <a:pt x="416" y="766"/>
                    </a:lnTo>
                    <a:lnTo>
                      <a:pt x="412" y="764"/>
                    </a:lnTo>
                    <a:lnTo>
                      <a:pt x="405" y="772"/>
                    </a:lnTo>
                    <a:lnTo>
                      <a:pt x="397" y="778"/>
                    </a:lnTo>
                    <a:lnTo>
                      <a:pt x="393" y="782"/>
                    </a:lnTo>
                    <a:lnTo>
                      <a:pt x="391" y="786"/>
                    </a:lnTo>
                    <a:lnTo>
                      <a:pt x="390" y="794"/>
                    </a:lnTo>
                    <a:lnTo>
                      <a:pt x="392" y="802"/>
                    </a:lnTo>
                    <a:lnTo>
                      <a:pt x="386" y="800"/>
                    </a:lnTo>
                    <a:lnTo>
                      <a:pt x="381" y="798"/>
                    </a:lnTo>
                    <a:lnTo>
                      <a:pt x="378" y="795"/>
                    </a:lnTo>
                    <a:lnTo>
                      <a:pt x="375" y="792"/>
                    </a:lnTo>
                    <a:lnTo>
                      <a:pt x="372" y="787"/>
                    </a:lnTo>
                    <a:lnTo>
                      <a:pt x="371" y="783"/>
                    </a:lnTo>
                    <a:lnTo>
                      <a:pt x="370" y="778"/>
                    </a:lnTo>
                    <a:lnTo>
                      <a:pt x="369" y="773"/>
                    </a:lnTo>
                    <a:lnTo>
                      <a:pt x="370" y="751"/>
                    </a:lnTo>
                    <a:lnTo>
                      <a:pt x="372" y="727"/>
                    </a:lnTo>
                    <a:lnTo>
                      <a:pt x="352" y="727"/>
                    </a:lnTo>
                    <a:lnTo>
                      <a:pt x="332" y="726"/>
                    </a:lnTo>
                    <a:lnTo>
                      <a:pt x="327" y="725"/>
                    </a:lnTo>
                    <a:lnTo>
                      <a:pt x="324" y="724"/>
                    </a:lnTo>
                    <a:lnTo>
                      <a:pt x="321" y="722"/>
                    </a:lnTo>
                    <a:lnTo>
                      <a:pt x="318" y="719"/>
                    </a:lnTo>
                    <a:lnTo>
                      <a:pt x="315" y="716"/>
                    </a:lnTo>
                    <a:lnTo>
                      <a:pt x="313" y="712"/>
                    </a:lnTo>
                    <a:lnTo>
                      <a:pt x="312" y="708"/>
                    </a:lnTo>
                    <a:lnTo>
                      <a:pt x="312" y="703"/>
                    </a:lnTo>
                    <a:lnTo>
                      <a:pt x="305" y="702"/>
                    </a:lnTo>
                    <a:lnTo>
                      <a:pt x="299" y="700"/>
                    </a:lnTo>
                    <a:lnTo>
                      <a:pt x="293" y="697"/>
                    </a:lnTo>
                    <a:lnTo>
                      <a:pt x="288" y="692"/>
                    </a:lnTo>
                    <a:lnTo>
                      <a:pt x="280" y="682"/>
                    </a:lnTo>
                    <a:lnTo>
                      <a:pt x="273" y="668"/>
                    </a:lnTo>
                    <a:lnTo>
                      <a:pt x="265" y="656"/>
                    </a:lnTo>
                    <a:lnTo>
                      <a:pt x="256" y="646"/>
                    </a:lnTo>
                    <a:lnTo>
                      <a:pt x="251" y="641"/>
                    </a:lnTo>
                    <a:lnTo>
                      <a:pt x="245" y="638"/>
                    </a:lnTo>
                    <a:lnTo>
                      <a:pt x="240" y="636"/>
                    </a:lnTo>
                    <a:lnTo>
                      <a:pt x="232" y="635"/>
                    </a:lnTo>
                    <a:lnTo>
                      <a:pt x="232" y="623"/>
                    </a:lnTo>
                    <a:lnTo>
                      <a:pt x="232" y="610"/>
                    </a:lnTo>
                    <a:lnTo>
                      <a:pt x="239" y="608"/>
                    </a:lnTo>
                    <a:lnTo>
                      <a:pt x="245" y="604"/>
                    </a:lnTo>
                    <a:lnTo>
                      <a:pt x="251" y="600"/>
                    </a:lnTo>
                    <a:lnTo>
                      <a:pt x="253" y="598"/>
                    </a:lnTo>
                    <a:lnTo>
                      <a:pt x="253" y="594"/>
                    </a:lnTo>
                    <a:lnTo>
                      <a:pt x="254" y="591"/>
                    </a:lnTo>
                    <a:lnTo>
                      <a:pt x="256" y="588"/>
                    </a:lnTo>
                    <a:lnTo>
                      <a:pt x="259" y="585"/>
                    </a:lnTo>
                    <a:lnTo>
                      <a:pt x="268" y="578"/>
                    </a:lnTo>
                    <a:lnTo>
                      <a:pt x="279" y="573"/>
                    </a:lnTo>
                    <a:lnTo>
                      <a:pt x="292" y="568"/>
                    </a:lnTo>
                    <a:lnTo>
                      <a:pt x="309" y="564"/>
                    </a:lnTo>
                    <a:lnTo>
                      <a:pt x="326" y="561"/>
                    </a:lnTo>
                    <a:lnTo>
                      <a:pt x="345" y="561"/>
                    </a:lnTo>
                    <a:lnTo>
                      <a:pt x="338" y="544"/>
                    </a:lnTo>
                    <a:lnTo>
                      <a:pt x="330" y="529"/>
                    </a:lnTo>
                    <a:lnTo>
                      <a:pt x="325" y="520"/>
                    </a:lnTo>
                    <a:lnTo>
                      <a:pt x="322" y="511"/>
                    </a:lnTo>
                    <a:lnTo>
                      <a:pt x="320" y="499"/>
                    </a:lnTo>
                    <a:lnTo>
                      <a:pt x="319" y="487"/>
                    </a:lnTo>
                    <a:lnTo>
                      <a:pt x="307" y="486"/>
                    </a:lnTo>
                    <a:lnTo>
                      <a:pt x="293" y="484"/>
                    </a:lnTo>
                    <a:lnTo>
                      <a:pt x="281" y="481"/>
                    </a:lnTo>
                    <a:lnTo>
                      <a:pt x="269" y="478"/>
                    </a:lnTo>
                    <a:lnTo>
                      <a:pt x="258" y="475"/>
                    </a:lnTo>
                    <a:lnTo>
                      <a:pt x="247" y="472"/>
                    </a:lnTo>
                    <a:lnTo>
                      <a:pt x="236" y="470"/>
                    </a:lnTo>
                    <a:lnTo>
                      <a:pt x="225" y="469"/>
                    </a:lnTo>
                    <a:lnTo>
                      <a:pt x="218" y="469"/>
                    </a:lnTo>
                    <a:lnTo>
                      <a:pt x="209" y="470"/>
                    </a:lnTo>
                    <a:lnTo>
                      <a:pt x="201" y="472"/>
                    </a:lnTo>
                    <a:lnTo>
                      <a:pt x="195" y="474"/>
                    </a:lnTo>
                    <a:lnTo>
                      <a:pt x="180" y="480"/>
                    </a:lnTo>
                    <a:lnTo>
                      <a:pt x="168" y="487"/>
                    </a:lnTo>
                    <a:lnTo>
                      <a:pt x="157" y="495"/>
                    </a:lnTo>
                    <a:lnTo>
                      <a:pt x="146" y="505"/>
                    </a:lnTo>
                    <a:lnTo>
                      <a:pt x="136" y="515"/>
                    </a:lnTo>
                    <a:lnTo>
                      <a:pt x="127" y="524"/>
                    </a:lnTo>
                    <a:lnTo>
                      <a:pt x="133" y="512"/>
                    </a:lnTo>
                    <a:lnTo>
                      <a:pt x="106" y="505"/>
                    </a:lnTo>
                    <a:lnTo>
                      <a:pt x="133" y="487"/>
                    </a:lnTo>
                    <a:lnTo>
                      <a:pt x="106" y="463"/>
                    </a:lnTo>
                    <a:lnTo>
                      <a:pt x="79" y="438"/>
                    </a:lnTo>
                    <a:lnTo>
                      <a:pt x="40" y="438"/>
                    </a:lnTo>
                    <a:lnTo>
                      <a:pt x="27" y="413"/>
                    </a:lnTo>
                    <a:lnTo>
                      <a:pt x="7" y="401"/>
                    </a:lnTo>
                    <a:lnTo>
                      <a:pt x="0" y="370"/>
                    </a:lnTo>
                    <a:lnTo>
                      <a:pt x="0" y="333"/>
                    </a:lnTo>
                    <a:lnTo>
                      <a:pt x="13" y="308"/>
                    </a:lnTo>
                    <a:lnTo>
                      <a:pt x="20" y="283"/>
                    </a:lnTo>
                    <a:lnTo>
                      <a:pt x="53" y="302"/>
                    </a:lnTo>
                    <a:lnTo>
                      <a:pt x="86" y="314"/>
                    </a:lnTo>
                    <a:lnTo>
                      <a:pt x="106" y="308"/>
                    </a:lnTo>
                    <a:lnTo>
                      <a:pt x="79" y="277"/>
                    </a:lnTo>
                    <a:lnTo>
                      <a:pt x="113" y="259"/>
                    </a:lnTo>
                    <a:lnTo>
                      <a:pt x="146" y="228"/>
                    </a:lnTo>
                    <a:lnTo>
                      <a:pt x="179" y="222"/>
                    </a:lnTo>
                    <a:lnTo>
                      <a:pt x="219" y="222"/>
                    </a:lnTo>
                    <a:lnTo>
                      <a:pt x="246" y="210"/>
                    </a:lnTo>
                    <a:lnTo>
                      <a:pt x="292" y="222"/>
                    </a:lnTo>
                    <a:lnTo>
                      <a:pt x="338" y="241"/>
                    </a:lnTo>
                    <a:lnTo>
                      <a:pt x="379" y="277"/>
                    </a:lnTo>
                    <a:lnTo>
                      <a:pt x="425" y="271"/>
                    </a:lnTo>
                    <a:lnTo>
                      <a:pt x="465" y="253"/>
                    </a:lnTo>
                    <a:lnTo>
                      <a:pt x="498" y="253"/>
                    </a:lnTo>
                    <a:lnTo>
                      <a:pt x="538" y="247"/>
                    </a:lnTo>
                    <a:lnTo>
                      <a:pt x="578" y="265"/>
                    </a:lnTo>
                    <a:lnTo>
                      <a:pt x="624" y="277"/>
                    </a:lnTo>
                    <a:lnTo>
                      <a:pt x="671" y="271"/>
                    </a:lnTo>
                    <a:lnTo>
                      <a:pt x="717" y="253"/>
                    </a:lnTo>
                    <a:lnTo>
                      <a:pt x="717" y="228"/>
                    </a:lnTo>
                    <a:lnTo>
                      <a:pt x="684" y="222"/>
                    </a:lnTo>
                    <a:lnTo>
                      <a:pt x="645" y="210"/>
                    </a:lnTo>
                    <a:lnTo>
                      <a:pt x="617" y="198"/>
                    </a:lnTo>
                    <a:lnTo>
                      <a:pt x="658" y="185"/>
                    </a:lnTo>
                    <a:lnTo>
                      <a:pt x="651" y="148"/>
                    </a:lnTo>
                    <a:lnTo>
                      <a:pt x="704" y="142"/>
                    </a:lnTo>
                    <a:lnTo>
                      <a:pt x="638" y="93"/>
                    </a:lnTo>
                    <a:lnTo>
                      <a:pt x="744" y="75"/>
                    </a:lnTo>
                    <a:lnTo>
                      <a:pt x="830" y="68"/>
                    </a:lnTo>
                    <a:lnTo>
                      <a:pt x="844" y="43"/>
                    </a:lnTo>
                    <a:lnTo>
                      <a:pt x="904" y="37"/>
                    </a:lnTo>
                    <a:lnTo>
                      <a:pt x="963" y="25"/>
                    </a:lnTo>
                    <a:lnTo>
                      <a:pt x="983" y="0"/>
                    </a:lnTo>
                    <a:lnTo>
                      <a:pt x="1050" y="13"/>
                    </a:lnTo>
                    <a:lnTo>
                      <a:pt x="1089" y="6"/>
                    </a:lnTo>
                    <a:lnTo>
                      <a:pt x="1116" y="25"/>
                    </a:lnTo>
                    <a:lnTo>
                      <a:pt x="1122" y="75"/>
                    </a:lnTo>
                    <a:lnTo>
                      <a:pt x="1163" y="75"/>
                    </a:lnTo>
                    <a:lnTo>
                      <a:pt x="1176" y="61"/>
                    </a:lnTo>
                    <a:lnTo>
                      <a:pt x="1196" y="75"/>
                    </a:lnTo>
                    <a:lnTo>
                      <a:pt x="1235" y="81"/>
                    </a:lnTo>
                    <a:lnTo>
                      <a:pt x="1255" y="81"/>
                    </a:lnTo>
                    <a:lnTo>
                      <a:pt x="1255" y="117"/>
                    </a:lnTo>
                    <a:lnTo>
                      <a:pt x="1296" y="111"/>
                    </a:lnTo>
                    <a:lnTo>
                      <a:pt x="1335" y="93"/>
                    </a:lnTo>
                    <a:lnTo>
                      <a:pt x="1375" y="61"/>
                    </a:lnTo>
                    <a:lnTo>
                      <a:pt x="1401" y="49"/>
                    </a:lnTo>
                    <a:lnTo>
                      <a:pt x="1401" y="81"/>
                    </a:lnTo>
                    <a:lnTo>
                      <a:pt x="1442" y="99"/>
                    </a:lnTo>
                    <a:lnTo>
                      <a:pt x="1488" y="117"/>
                    </a:lnTo>
                    <a:lnTo>
                      <a:pt x="1528" y="160"/>
                    </a:lnTo>
                    <a:lnTo>
                      <a:pt x="1581" y="204"/>
                    </a:lnTo>
                    <a:lnTo>
                      <a:pt x="1627" y="241"/>
                    </a:lnTo>
                    <a:lnTo>
                      <a:pt x="1647" y="271"/>
                    </a:lnTo>
                    <a:lnTo>
                      <a:pt x="1660" y="241"/>
                    </a:lnTo>
                    <a:lnTo>
                      <a:pt x="1688" y="235"/>
                    </a:lnTo>
                    <a:lnTo>
                      <a:pt x="1708" y="259"/>
                    </a:lnTo>
                    <a:lnTo>
                      <a:pt x="1747" y="271"/>
                    </a:lnTo>
                    <a:lnTo>
                      <a:pt x="1793" y="265"/>
                    </a:lnTo>
                    <a:lnTo>
                      <a:pt x="1821" y="253"/>
                    </a:lnTo>
                    <a:lnTo>
                      <a:pt x="1860" y="283"/>
                    </a:lnTo>
                    <a:lnTo>
                      <a:pt x="1906" y="308"/>
                    </a:lnTo>
                    <a:lnTo>
                      <a:pt x="1947" y="333"/>
                    </a:lnTo>
                    <a:lnTo>
                      <a:pt x="2000" y="339"/>
                    </a:lnTo>
                    <a:lnTo>
                      <a:pt x="2006" y="346"/>
                    </a:lnTo>
                    <a:lnTo>
                      <a:pt x="2005" y="358"/>
                    </a:lnTo>
                    <a:lnTo>
                      <a:pt x="2004" y="373"/>
                    </a:lnTo>
                    <a:lnTo>
                      <a:pt x="2004" y="377"/>
                    </a:lnTo>
                    <a:lnTo>
                      <a:pt x="2002" y="381"/>
                    </a:lnTo>
                    <a:lnTo>
                      <a:pt x="2000" y="385"/>
                    </a:lnTo>
                    <a:lnTo>
                      <a:pt x="1996" y="388"/>
                    </a:lnTo>
                    <a:lnTo>
                      <a:pt x="1993" y="392"/>
                    </a:lnTo>
                    <a:lnTo>
                      <a:pt x="1988" y="395"/>
                    </a:lnTo>
                    <a:lnTo>
                      <a:pt x="1981" y="399"/>
                    </a:lnTo>
                    <a:lnTo>
                      <a:pt x="1973" y="401"/>
                    </a:lnTo>
                    <a:lnTo>
                      <a:pt x="1969" y="401"/>
                    </a:lnTo>
                    <a:lnTo>
                      <a:pt x="1965" y="402"/>
                    </a:lnTo>
                    <a:lnTo>
                      <a:pt x="1962" y="403"/>
                    </a:lnTo>
                    <a:lnTo>
                      <a:pt x="1960" y="404"/>
                    </a:lnTo>
                    <a:lnTo>
                      <a:pt x="1959" y="406"/>
                    </a:lnTo>
                    <a:lnTo>
                      <a:pt x="1958" y="408"/>
                    </a:lnTo>
                    <a:lnTo>
                      <a:pt x="1958" y="410"/>
                    </a:lnTo>
                    <a:lnTo>
                      <a:pt x="1958" y="413"/>
                    </a:lnTo>
                    <a:lnTo>
                      <a:pt x="1963" y="425"/>
                    </a:lnTo>
                    <a:lnTo>
                      <a:pt x="1972" y="438"/>
                    </a:lnTo>
                    <a:lnTo>
                      <a:pt x="1977" y="445"/>
                    </a:lnTo>
                    <a:lnTo>
                      <a:pt x="1981" y="452"/>
                    </a:lnTo>
                    <a:lnTo>
                      <a:pt x="1983" y="460"/>
                    </a:lnTo>
                    <a:lnTo>
                      <a:pt x="1985" y="466"/>
                    </a:lnTo>
                    <a:lnTo>
                      <a:pt x="1985" y="469"/>
                    </a:lnTo>
                    <a:lnTo>
                      <a:pt x="1984" y="471"/>
                    </a:lnTo>
                    <a:lnTo>
                      <a:pt x="1983" y="474"/>
                    </a:lnTo>
                    <a:lnTo>
                      <a:pt x="1982" y="476"/>
                    </a:lnTo>
                    <a:lnTo>
                      <a:pt x="1979" y="478"/>
                    </a:lnTo>
                    <a:lnTo>
                      <a:pt x="1976" y="479"/>
                    </a:lnTo>
                    <a:lnTo>
                      <a:pt x="1971" y="480"/>
                    </a:lnTo>
                    <a:lnTo>
                      <a:pt x="1967" y="481"/>
                    </a:lnTo>
                    <a:lnTo>
                      <a:pt x="1954" y="481"/>
                    </a:lnTo>
                    <a:lnTo>
                      <a:pt x="1939" y="481"/>
                    </a:lnTo>
                    <a:lnTo>
                      <a:pt x="1932" y="481"/>
                    </a:lnTo>
                    <a:lnTo>
                      <a:pt x="1923" y="480"/>
                    </a:lnTo>
                    <a:lnTo>
                      <a:pt x="1913" y="478"/>
                    </a:lnTo>
                    <a:lnTo>
                      <a:pt x="1903" y="476"/>
                    </a:lnTo>
                    <a:lnTo>
                      <a:pt x="1893" y="474"/>
                    </a:lnTo>
                    <a:lnTo>
                      <a:pt x="1883" y="471"/>
                    </a:lnTo>
                    <a:lnTo>
                      <a:pt x="1875" y="467"/>
                    </a:lnTo>
                    <a:lnTo>
                      <a:pt x="1867" y="463"/>
                    </a:lnTo>
                    <a:lnTo>
                      <a:pt x="1865" y="468"/>
                    </a:lnTo>
                    <a:lnTo>
                      <a:pt x="1864" y="474"/>
                    </a:lnTo>
                    <a:lnTo>
                      <a:pt x="1865" y="482"/>
                    </a:lnTo>
                    <a:lnTo>
                      <a:pt x="1865" y="490"/>
                    </a:lnTo>
                    <a:lnTo>
                      <a:pt x="1869" y="508"/>
                    </a:lnTo>
                    <a:lnTo>
                      <a:pt x="1873" y="529"/>
                    </a:lnTo>
                    <a:lnTo>
                      <a:pt x="1878" y="548"/>
                    </a:lnTo>
                    <a:lnTo>
                      <a:pt x="1882" y="564"/>
                    </a:lnTo>
                    <a:lnTo>
                      <a:pt x="1882" y="572"/>
                    </a:lnTo>
                    <a:lnTo>
                      <a:pt x="1882" y="578"/>
                    </a:lnTo>
                    <a:lnTo>
                      <a:pt x="1882" y="583"/>
                    </a:lnTo>
                    <a:lnTo>
                      <a:pt x="1880" y="586"/>
                    </a:lnTo>
                    <a:lnTo>
                      <a:pt x="1854" y="584"/>
                    </a:lnTo>
                    <a:lnTo>
                      <a:pt x="1816" y="584"/>
                    </a:lnTo>
                    <a:lnTo>
                      <a:pt x="1806" y="585"/>
                    </a:lnTo>
                    <a:lnTo>
                      <a:pt x="1798" y="586"/>
                    </a:lnTo>
                    <a:lnTo>
                      <a:pt x="1789" y="588"/>
                    </a:lnTo>
                    <a:lnTo>
                      <a:pt x="1782" y="591"/>
                    </a:lnTo>
                    <a:lnTo>
                      <a:pt x="1776" y="594"/>
                    </a:lnTo>
                    <a:lnTo>
                      <a:pt x="1771" y="598"/>
                    </a:lnTo>
                    <a:lnTo>
                      <a:pt x="1769" y="601"/>
                    </a:lnTo>
                    <a:lnTo>
                      <a:pt x="1768" y="604"/>
                    </a:lnTo>
                    <a:lnTo>
                      <a:pt x="1767" y="607"/>
                    </a:lnTo>
                    <a:lnTo>
                      <a:pt x="1767" y="610"/>
                    </a:lnTo>
                    <a:lnTo>
                      <a:pt x="1778" y="612"/>
                    </a:lnTo>
                    <a:lnTo>
                      <a:pt x="1788" y="615"/>
                    </a:lnTo>
                    <a:lnTo>
                      <a:pt x="1795" y="619"/>
                    </a:lnTo>
                    <a:lnTo>
                      <a:pt x="1801" y="625"/>
                    </a:lnTo>
                    <a:lnTo>
                      <a:pt x="1805" y="631"/>
                    </a:lnTo>
                    <a:lnTo>
                      <a:pt x="1809" y="637"/>
                    </a:lnTo>
                    <a:lnTo>
                      <a:pt x="1812" y="644"/>
                    </a:lnTo>
                    <a:lnTo>
                      <a:pt x="1814" y="650"/>
                    </a:lnTo>
                    <a:lnTo>
                      <a:pt x="1817" y="664"/>
                    </a:lnTo>
                    <a:lnTo>
                      <a:pt x="1822" y="676"/>
                    </a:lnTo>
                    <a:lnTo>
                      <a:pt x="1824" y="682"/>
                    </a:lnTo>
                    <a:lnTo>
                      <a:pt x="1828" y="686"/>
                    </a:lnTo>
                    <a:lnTo>
                      <a:pt x="1834" y="689"/>
                    </a:lnTo>
                    <a:lnTo>
                      <a:pt x="1840" y="691"/>
                    </a:lnTo>
                    <a:lnTo>
                      <a:pt x="1838" y="695"/>
                    </a:lnTo>
                    <a:lnTo>
                      <a:pt x="1837" y="699"/>
                    </a:lnTo>
                    <a:lnTo>
                      <a:pt x="1837" y="702"/>
                    </a:lnTo>
                    <a:lnTo>
                      <a:pt x="1837" y="706"/>
                    </a:lnTo>
                    <a:lnTo>
                      <a:pt x="1839" y="713"/>
                    </a:lnTo>
                    <a:lnTo>
                      <a:pt x="1840" y="721"/>
                    </a:lnTo>
                    <a:lnTo>
                      <a:pt x="1840" y="735"/>
                    </a:lnTo>
                    <a:lnTo>
                      <a:pt x="1838" y="748"/>
                    </a:lnTo>
                    <a:lnTo>
                      <a:pt x="1837" y="754"/>
                    </a:lnTo>
                    <a:lnTo>
                      <a:pt x="1835" y="760"/>
                    </a:lnTo>
                    <a:lnTo>
                      <a:pt x="1832" y="765"/>
                    </a:lnTo>
                    <a:lnTo>
                      <a:pt x="1827" y="770"/>
                    </a:lnTo>
                    <a:lnTo>
                      <a:pt x="1814" y="764"/>
                    </a:lnTo>
                    <a:lnTo>
                      <a:pt x="1741" y="740"/>
                    </a:lnTo>
                    <a:lnTo>
                      <a:pt x="1674" y="740"/>
                    </a:lnTo>
                    <a:lnTo>
                      <a:pt x="1614" y="734"/>
                    </a:lnTo>
                    <a:lnTo>
                      <a:pt x="1534" y="727"/>
                    </a:lnTo>
                    <a:lnTo>
                      <a:pt x="1488" y="715"/>
                    </a:lnTo>
                    <a:lnTo>
                      <a:pt x="1475" y="764"/>
                    </a:lnTo>
                    <a:lnTo>
                      <a:pt x="1414" y="740"/>
                    </a:lnTo>
                    <a:lnTo>
                      <a:pt x="1368" y="734"/>
                    </a:lnTo>
                    <a:lnTo>
                      <a:pt x="1342" y="758"/>
                    </a:lnTo>
                    <a:lnTo>
                      <a:pt x="1342" y="770"/>
                    </a:lnTo>
                    <a:lnTo>
                      <a:pt x="1316" y="795"/>
                    </a:lnTo>
                    <a:lnTo>
                      <a:pt x="1282" y="808"/>
                    </a:lnTo>
                    <a:lnTo>
                      <a:pt x="1255" y="838"/>
                    </a:lnTo>
                    <a:lnTo>
                      <a:pt x="1235" y="863"/>
                    </a:lnTo>
                    <a:lnTo>
                      <a:pt x="1196" y="832"/>
                    </a:lnTo>
                    <a:lnTo>
                      <a:pt x="1142" y="838"/>
                    </a:lnTo>
                    <a:lnTo>
                      <a:pt x="1122" y="808"/>
                    </a:lnTo>
                    <a:lnTo>
                      <a:pt x="1083" y="746"/>
                    </a:lnTo>
                    <a:lnTo>
                      <a:pt x="1050" y="715"/>
                    </a:lnTo>
                    <a:lnTo>
                      <a:pt x="1003" y="685"/>
                    </a:lnTo>
                    <a:lnTo>
                      <a:pt x="963" y="697"/>
                    </a:lnTo>
                    <a:lnTo>
                      <a:pt x="917" y="691"/>
                    </a:lnTo>
                    <a:lnTo>
                      <a:pt x="857" y="697"/>
                    </a:lnTo>
                    <a:lnTo>
                      <a:pt x="730" y="616"/>
                    </a:lnTo>
                    <a:lnTo>
                      <a:pt x="682" y="595"/>
                    </a:lnTo>
                    <a:lnTo>
                      <a:pt x="684" y="586"/>
                    </a:lnTo>
                    <a:lnTo>
                      <a:pt x="638" y="548"/>
                    </a:lnTo>
                    <a:lnTo>
                      <a:pt x="610" y="580"/>
                    </a:lnTo>
                    <a:lnTo>
                      <a:pt x="525" y="604"/>
                    </a:lnTo>
                    <a:lnTo>
                      <a:pt x="565" y="826"/>
                    </a:lnTo>
                    <a:lnTo>
                      <a:pt x="584" y="832"/>
                    </a:lnTo>
                    <a:lnTo>
                      <a:pt x="571" y="82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" name="Freeform 31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1271518" y="2707847"/>
                <a:ext cx="409575" cy="249238"/>
              </a:xfrm>
              <a:custGeom>
                <a:avLst/>
                <a:gdLst>
                  <a:gd name="T0" fmla="*/ 2147483647 w 950"/>
                  <a:gd name="T1" fmla="*/ 2147483647 h 468"/>
                  <a:gd name="T2" fmla="*/ 2147483647 w 950"/>
                  <a:gd name="T3" fmla="*/ 2147483647 h 468"/>
                  <a:gd name="T4" fmla="*/ 2147483647 w 950"/>
                  <a:gd name="T5" fmla="*/ 2147483647 h 468"/>
                  <a:gd name="T6" fmla="*/ 2147483647 w 950"/>
                  <a:gd name="T7" fmla="*/ 2147483647 h 468"/>
                  <a:gd name="T8" fmla="*/ 2147483647 w 950"/>
                  <a:gd name="T9" fmla="*/ 2147483647 h 468"/>
                  <a:gd name="T10" fmla="*/ 2147483647 w 950"/>
                  <a:gd name="T11" fmla="*/ 2147483647 h 468"/>
                  <a:gd name="T12" fmla="*/ 2147483647 w 950"/>
                  <a:gd name="T13" fmla="*/ 2147483647 h 468"/>
                  <a:gd name="T14" fmla="*/ 2147483647 w 950"/>
                  <a:gd name="T15" fmla="*/ 2147483647 h 468"/>
                  <a:gd name="T16" fmla="*/ 2147483647 w 950"/>
                  <a:gd name="T17" fmla="*/ 2147483647 h 468"/>
                  <a:gd name="T18" fmla="*/ 2147483647 w 950"/>
                  <a:gd name="T19" fmla="*/ 2147483647 h 468"/>
                  <a:gd name="T20" fmla="*/ 0 w 950"/>
                  <a:gd name="T21" fmla="*/ 2147483647 h 468"/>
                  <a:gd name="T22" fmla="*/ 2147483647 w 950"/>
                  <a:gd name="T23" fmla="*/ 906165993 h 468"/>
                  <a:gd name="T24" fmla="*/ 2147483647 w 950"/>
                  <a:gd name="T25" fmla="*/ 2147483647 h 468"/>
                  <a:gd name="T26" fmla="*/ 2147483647 w 950"/>
                  <a:gd name="T27" fmla="*/ 2147483647 h 468"/>
                  <a:gd name="T28" fmla="*/ 2147483647 w 950"/>
                  <a:gd name="T29" fmla="*/ 2147483647 h 468"/>
                  <a:gd name="T30" fmla="*/ 2147483647 w 950"/>
                  <a:gd name="T31" fmla="*/ 2147483647 h 468"/>
                  <a:gd name="T32" fmla="*/ 2147483647 w 950"/>
                  <a:gd name="T33" fmla="*/ 2147483647 h 468"/>
                  <a:gd name="T34" fmla="*/ 2147483647 w 950"/>
                  <a:gd name="T35" fmla="*/ 2147483647 h 468"/>
                  <a:gd name="T36" fmla="*/ 2147483647 w 950"/>
                  <a:gd name="T37" fmla="*/ 2147483647 h 468"/>
                  <a:gd name="T38" fmla="*/ 2147483647 w 950"/>
                  <a:gd name="T39" fmla="*/ 2147483647 h 468"/>
                  <a:gd name="T40" fmla="*/ 2147483647 w 950"/>
                  <a:gd name="T41" fmla="*/ 2147483647 h 468"/>
                  <a:gd name="T42" fmla="*/ 2147483647 w 950"/>
                  <a:gd name="T43" fmla="*/ 2147483647 h 468"/>
                  <a:gd name="T44" fmla="*/ 2147483647 w 950"/>
                  <a:gd name="T45" fmla="*/ 2147483647 h 468"/>
                  <a:gd name="T46" fmla="*/ 2147483647 w 950"/>
                  <a:gd name="T47" fmla="*/ 2147483647 h 468"/>
                  <a:gd name="T48" fmla="*/ 2147483647 w 950"/>
                  <a:gd name="T49" fmla="*/ 2147483647 h 468"/>
                  <a:gd name="T50" fmla="*/ 2147483647 w 950"/>
                  <a:gd name="T51" fmla="*/ 2147483647 h 468"/>
                  <a:gd name="T52" fmla="*/ 2147483647 w 950"/>
                  <a:gd name="T53" fmla="*/ 2147483647 h 468"/>
                  <a:gd name="T54" fmla="*/ 2147483647 w 950"/>
                  <a:gd name="T55" fmla="*/ 2147483647 h 468"/>
                  <a:gd name="T56" fmla="*/ 2147483647 w 950"/>
                  <a:gd name="T57" fmla="*/ 2147483647 h 468"/>
                  <a:gd name="T58" fmla="*/ 2147483647 w 950"/>
                  <a:gd name="T59" fmla="*/ 2147483647 h 468"/>
                  <a:gd name="T60" fmla="*/ 2147483647 w 950"/>
                  <a:gd name="T61" fmla="*/ 2147483647 h 468"/>
                  <a:gd name="T62" fmla="*/ 2147483647 w 950"/>
                  <a:gd name="T63" fmla="*/ 2147483647 h 468"/>
                  <a:gd name="T64" fmla="*/ 2147483647 w 950"/>
                  <a:gd name="T65" fmla="*/ 2147483647 h 468"/>
                  <a:gd name="T66" fmla="*/ 2147483647 w 950"/>
                  <a:gd name="T67" fmla="*/ 2147483647 h 468"/>
                  <a:gd name="T68" fmla="*/ 2147483647 w 950"/>
                  <a:gd name="T69" fmla="*/ 2147483647 h 468"/>
                  <a:gd name="T70" fmla="*/ 2147483647 w 950"/>
                  <a:gd name="T71" fmla="*/ 2147483647 h 46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50" h="468">
                    <a:moveTo>
                      <a:pt x="664" y="455"/>
                    </a:moveTo>
                    <a:lnTo>
                      <a:pt x="638" y="443"/>
                    </a:lnTo>
                    <a:lnTo>
                      <a:pt x="604" y="431"/>
                    </a:lnTo>
                    <a:lnTo>
                      <a:pt x="558" y="418"/>
                    </a:lnTo>
                    <a:lnTo>
                      <a:pt x="512" y="388"/>
                    </a:lnTo>
                    <a:lnTo>
                      <a:pt x="471" y="376"/>
                    </a:lnTo>
                    <a:lnTo>
                      <a:pt x="425" y="345"/>
                    </a:lnTo>
                    <a:lnTo>
                      <a:pt x="392" y="307"/>
                    </a:lnTo>
                    <a:lnTo>
                      <a:pt x="345" y="258"/>
                    </a:lnTo>
                    <a:lnTo>
                      <a:pt x="305" y="258"/>
                    </a:lnTo>
                    <a:lnTo>
                      <a:pt x="266" y="246"/>
                    </a:lnTo>
                    <a:lnTo>
                      <a:pt x="253" y="209"/>
                    </a:lnTo>
                    <a:lnTo>
                      <a:pt x="219" y="190"/>
                    </a:lnTo>
                    <a:lnTo>
                      <a:pt x="186" y="172"/>
                    </a:lnTo>
                    <a:lnTo>
                      <a:pt x="153" y="166"/>
                    </a:lnTo>
                    <a:lnTo>
                      <a:pt x="133" y="190"/>
                    </a:lnTo>
                    <a:lnTo>
                      <a:pt x="92" y="209"/>
                    </a:lnTo>
                    <a:lnTo>
                      <a:pt x="99" y="240"/>
                    </a:lnTo>
                    <a:lnTo>
                      <a:pt x="59" y="252"/>
                    </a:lnTo>
                    <a:lnTo>
                      <a:pt x="40" y="246"/>
                    </a:lnTo>
                    <a:lnTo>
                      <a:pt x="46" y="240"/>
                    </a:lnTo>
                    <a:lnTo>
                      <a:pt x="0" y="24"/>
                    </a:lnTo>
                    <a:lnTo>
                      <a:pt x="85" y="0"/>
                    </a:lnTo>
                    <a:lnTo>
                      <a:pt x="79" y="6"/>
                    </a:lnTo>
                    <a:lnTo>
                      <a:pt x="86" y="55"/>
                    </a:lnTo>
                    <a:lnTo>
                      <a:pt x="133" y="55"/>
                    </a:lnTo>
                    <a:lnTo>
                      <a:pt x="153" y="30"/>
                    </a:lnTo>
                    <a:lnTo>
                      <a:pt x="157" y="15"/>
                    </a:lnTo>
                    <a:lnTo>
                      <a:pt x="205" y="36"/>
                    </a:lnTo>
                    <a:lnTo>
                      <a:pt x="332" y="117"/>
                    </a:lnTo>
                    <a:lnTo>
                      <a:pt x="392" y="111"/>
                    </a:lnTo>
                    <a:lnTo>
                      <a:pt x="438" y="117"/>
                    </a:lnTo>
                    <a:lnTo>
                      <a:pt x="478" y="105"/>
                    </a:lnTo>
                    <a:lnTo>
                      <a:pt x="525" y="135"/>
                    </a:lnTo>
                    <a:lnTo>
                      <a:pt x="558" y="166"/>
                    </a:lnTo>
                    <a:lnTo>
                      <a:pt x="597" y="228"/>
                    </a:lnTo>
                    <a:lnTo>
                      <a:pt x="617" y="258"/>
                    </a:lnTo>
                    <a:lnTo>
                      <a:pt x="671" y="252"/>
                    </a:lnTo>
                    <a:lnTo>
                      <a:pt x="710" y="283"/>
                    </a:lnTo>
                    <a:lnTo>
                      <a:pt x="730" y="258"/>
                    </a:lnTo>
                    <a:lnTo>
                      <a:pt x="757" y="228"/>
                    </a:lnTo>
                    <a:lnTo>
                      <a:pt x="791" y="215"/>
                    </a:lnTo>
                    <a:lnTo>
                      <a:pt x="817" y="190"/>
                    </a:lnTo>
                    <a:lnTo>
                      <a:pt x="843" y="196"/>
                    </a:lnTo>
                    <a:lnTo>
                      <a:pt x="810" y="228"/>
                    </a:lnTo>
                    <a:lnTo>
                      <a:pt x="824" y="252"/>
                    </a:lnTo>
                    <a:lnTo>
                      <a:pt x="850" y="258"/>
                    </a:lnTo>
                    <a:lnTo>
                      <a:pt x="870" y="240"/>
                    </a:lnTo>
                    <a:lnTo>
                      <a:pt x="910" y="258"/>
                    </a:lnTo>
                    <a:lnTo>
                      <a:pt x="950" y="283"/>
                    </a:lnTo>
                    <a:lnTo>
                      <a:pt x="917" y="313"/>
                    </a:lnTo>
                    <a:lnTo>
                      <a:pt x="883" y="320"/>
                    </a:lnTo>
                    <a:lnTo>
                      <a:pt x="837" y="313"/>
                    </a:lnTo>
                    <a:lnTo>
                      <a:pt x="824" y="283"/>
                    </a:lnTo>
                    <a:lnTo>
                      <a:pt x="804" y="271"/>
                    </a:lnTo>
                    <a:lnTo>
                      <a:pt x="764" y="277"/>
                    </a:lnTo>
                    <a:lnTo>
                      <a:pt x="757" y="301"/>
                    </a:lnTo>
                    <a:lnTo>
                      <a:pt x="737" y="320"/>
                    </a:lnTo>
                    <a:lnTo>
                      <a:pt x="724" y="351"/>
                    </a:lnTo>
                    <a:lnTo>
                      <a:pt x="684" y="357"/>
                    </a:lnTo>
                    <a:lnTo>
                      <a:pt x="671" y="369"/>
                    </a:lnTo>
                    <a:lnTo>
                      <a:pt x="710" y="388"/>
                    </a:lnTo>
                    <a:lnTo>
                      <a:pt x="730" y="406"/>
                    </a:lnTo>
                    <a:lnTo>
                      <a:pt x="743" y="437"/>
                    </a:lnTo>
                    <a:lnTo>
                      <a:pt x="730" y="468"/>
                    </a:lnTo>
                    <a:lnTo>
                      <a:pt x="717" y="468"/>
                    </a:lnTo>
                    <a:lnTo>
                      <a:pt x="712" y="467"/>
                    </a:lnTo>
                    <a:lnTo>
                      <a:pt x="703" y="465"/>
                    </a:lnTo>
                    <a:lnTo>
                      <a:pt x="694" y="462"/>
                    </a:lnTo>
                    <a:lnTo>
                      <a:pt x="684" y="461"/>
                    </a:lnTo>
                    <a:lnTo>
                      <a:pt x="669" y="461"/>
                    </a:lnTo>
                    <a:lnTo>
                      <a:pt x="658" y="461"/>
                    </a:lnTo>
                    <a:lnTo>
                      <a:pt x="664" y="4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" name="Freeform 32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0079305" y="3711147"/>
                <a:ext cx="296863" cy="288925"/>
              </a:xfrm>
              <a:custGeom>
                <a:avLst/>
                <a:gdLst>
                  <a:gd name="T0" fmla="*/ 519674830 w 671"/>
                  <a:gd name="T1" fmla="*/ 2147483647 h 549"/>
                  <a:gd name="T2" fmla="*/ 692703929 w 671"/>
                  <a:gd name="T3" fmla="*/ 2147483647 h 549"/>
                  <a:gd name="T4" fmla="*/ 1472118399 w 671"/>
                  <a:gd name="T5" fmla="*/ 2147483647 h 549"/>
                  <a:gd name="T6" fmla="*/ 2147483647 w 671"/>
                  <a:gd name="T7" fmla="*/ 2147483647 h 549"/>
                  <a:gd name="T8" fmla="*/ 2147483647 w 671"/>
                  <a:gd name="T9" fmla="*/ 2147483647 h 549"/>
                  <a:gd name="T10" fmla="*/ 2147483647 w 671"/>
                  <a:gd name="T11" fmla="*/ 2147483647 h 549"/>
                  <a:gd name="T12" fmla="*/ 2147483647 w 671"/>
                  <a:gd name="T13" fmla="*/ 2147483647 h 549"/>
                  <a:gd name="T14" fmla="*/ 2147483647 w 671"/>
                  <a:gd name="T15" fmla="*/ 2147483647 h 549"/>
                  <a:gd name="T16" fmla="*/ 2147483647 w 671"/>
                  <a:gd name="T17" fmla="*/ 2147483647 h 549"/>
                  <a:gd name="T18" fmla="*/ 2147483647 w 671"/>
                  <a:gd name="T19" fmla="*/ 2147483647 h 549"/>
                  <a:gd name="T20" fmla="*/ 2147483647 w 671"/>
                  <a:gd name="T21" fmla="*/ 2147483647 h 549"/>
                  <a:gd name="T22" fmla="*/ 2147483647 w 671"/>
                  <a:gd name="T23" fmla="*/ 1020340479 h 549"/>
                  <a:gd name="T24" fmla="*/ 2147483647 w 671"/>
                  <a:gd name="T25" fmla="*/ 0 h 549"/>
                  <a:gd name="T26" fmla="*/ 2147483647 w 671"/>
                  <a:gd name="T27" fmla="*/ 728696216 h 549"/>
                  <a:gd name="T28" fmla="*/ 2147483647 w 671"/>
                  <a:gd name="T29" fmla="*/ 2147483647 h 549"/>
                  <a:gd name="T30" fmla="*/ 2147483647 w 671"/>
                  <a:gd name="T31" fmla="*/ 2147483647 h 549"/>
                  <a:gd name="T32" fmla="*/ 2147483647 w 671"/>
                  <a:gd name="T33" fmla="*/ 2147483647 h 549"/>
                  <a:gd name="T34" fmla="*/ 2147483647 w 671"/>
                  <a:gd name="T35" fmla="*/ 2147483647 h 549"/>
                  <a:gd name="T36" fmla="*/ 2147483647 w 671"/>
                  <a:gd name="T37" fmla="*/ 2147483647 h 549"/>
                  <a:gd name="T38" fmla="*/ 2147483647 w 671"/>
                  <a:gd name="T39" fmla="*/ 2147483647 h 549"/>
                  <a:gd name="T40" fmla="*/ 2147483647 w 671"/>
                  <a:gd name="T41" fmla="*/ 2147483647 h 549"/>
                  <a:gd name="T42" fmla="*/ 2147483647 w 671"/>
                  <a:gd name="T43" fmla="*/ 2147483647 h 549"/>
                  <a:gd name="T44" fmla="*/ 2147483647 w 671"/>
                  <a:gd name="T45" fmla="*/ 2147483647 h 549"/>
                  <a:gd name="T46" fmla="*/ 2147483647 w 671"/>
                  <a:gd name="T47" fmla="*/ 2147483647 h 549"/>
                  <a:gd name="T48" fmla="*/ 2147483647 w 671"/>
                  <a:gd name="T49" fmla="*/ 2147483647 h 549"/>
                  <a:gd name="T50" fmla="*/ 2147483647 w 671"/>
                  <a:gd name="T51" fmla="*/ 2147483647 h 549"/>
                  <a:gd name="T52" fmla="*/ 2147483647 w 671"/>
                  <a:gd name="T53" fmla="*/ 2147483647 h 549"/>
                  <a:gd name="T54" fmla="*/ 2147483647 w 671"/>
                  <a:gd name="T55" fmla="*/ 2147483647 h 549"/>
                  <a:gd name="T56" fmla="*/ 2147483647 w 671"/>
                  <a:gd name="T57" fmla="*/ 2147483647 h 549"/>
                  <a:gd name="T58" fmla="*/ 2147483647 w 671"/>
                  <a:gd name="T59" fmla="*/ 2147483647 h 549"/>
                  <a:gd name="T60" fmla="*/ 2147483647 w 671"/>
                  <a:gd name="T61" fmla="*/ 2147483647 h 549"/>
                  <a:gd name="T62" fmla="*/ 2147483647 w 671"/>
                  <a:gd name="T63" fmla="*/ 2147483647 h 549"/>
                  <a:gd name="T64" fmla="*/ 2147483647 w 671"/>
                  <a:gd name="T65" fmla="*/ 2147483647 h 549"/>
                  <a:gd name="T66" fmla="*/ 2147483647 w 671"/>
                  <a:gd name="T67" fmla="*/ 2147483647 h 549"/>
                  <a:gd name="T68" fmla="*/ 2147483647 w 671"/>
                  <a:gd name="T69" fmla="*/ 2147483647 h 549"/>
                  <a:gd name="T70" fmla="*/ 2147483647 w 671"/>
                  <a:gd name="T71" fmla="*/ 2147483647 h 549"/>
                  <a:gd name="T72" fmla="*/ 2147483647 w 671"/>
                  <a:gd name="T73" fmla="*/ 2147483647 h 549"/>
                  <a:gd name="T74" fmla="*/ 2147483647 w 671"/>
                  <a:gd name="T75" fmla="*/ 2147483647 h 549"/>
                  <a:gd name="T76" fmla="*/ 2147483647 w 671"/>
                  <a:gd name="T77" fmla="*/ 2147483647 h 549"/>
                  <a:gd name="T78" fmla="*/ 2147483647 w 671"/>
                  <a:gd name="T79" fmla="*/ 2147483647 h 549"/>
                  <a:gd name="T80" fmla="*/ 2147483647 w 671"/>
                  <a:gd name="T81" fmla="*/ 2147483647 h 549"/>
                  <a:gd name="T82" fmla="*/ 2147483647 w 671"/>
                  <a:gd name="T83" fmla="*/ 2147483647 h 549"/>
                  <a:gd name="T84" fmla="*/ 2147483647 w 671"/>
                  <a:gd name="T85" fmla="*/ 2147483647 h 549"/>
                  <a:gd name="T86" fmla="*/ 2147483647 w 671"/>
                  <a:gd name="T87" fmla="*/ 2147483647 h 549"/>
                  <a:gd name="T88" fmla="*/ 2147483647 w 671"/>
                  <a:gd name="T89" fmla="*/ 2147483647 h 549"/>
                  <a:gd name="T90" fmla="*/ 2147483647 w 671"/>
                  <a:gd name="T91" fmla="*/ 2147483647 h 549"/>
                  <a:gd name="T92" fmla="*/ 2147483647 w 671"/>
                  <a:gd name="T93" fmla="*/ 2147483647 h 549"/>
                  <a:gd name="T94" fmla="*/ 2147483647 w 671"/>
                  <a:gd name="T95" fmla="*/ 2147483647 h 549"/>
                  <a:gd name="T96" fmla="*/ 2147483647 w 671"/>
                  <a:gd name="T97" fmla="*/ 2147483647 h 549"/>
                  <a:gd name="T98" fmla="*/ 2147483647 w 671"/>
                  <a:gd name="T99" fmla="*/ 2147483647 h 549"/>
                  <a:gd name="T100" fmla="*/ 2147483647 w 671"/>
                  <a:gd name="T101" fmla="*/ 2147483647 h 549"/>
                  <a:gd name="T102" fmla="*/ 2147483647 w 671"/>
                  <a:gd name="T103" fmla="*/ 2147483647 h 549"/>
                  <a:gd name="T104" fmla="*/ 2147483647 w 671"/>
                  <a:gd name="T105" fmla="*/ 2147483647 h 549"/>
                  <a:gd name="T106" fmla="*/ 2147483647 w 671"/>
                  <a:gd name="T107" fmla="*/ 2147483647 h 549"/>
                  <a:gd name="T108" fmla="*/ 2147483647 w 671"/>
                  <a:gd name="T109" fmla="*/ 2147483647 h 549"/>
                  <a:gd name="T110" fmla="*/ 2147483647 w 671"/>
                  <a:gd name="T111" fmla="*/ 2147483647 h 549"/>
                  <a:gd name="T112" fmla="*/ 2147483647 w 671"/>
                  <a:gd name="T113" fmla="*/ 2147483647 h 549"/>
                  <a:gd name="T114" fmla="*/ 2147483647 w 671"/>
                  <a:gd name="T115" fmla="*/ 2147483647 h 549"/>
                  <a:gd name="T116" fmla="*/ 2147483647 w 671"/>
                  <a:gd name="T117" fmla="*/ 2147483647 h 549"/>
                  <a:gd name="T118" fmla="*/ 2147483647 w 671"/>
                  <a:gd name="T119" fmla="*/ 2147483647 h 549"/>
                  <a:gd name="T120" fmla="*/ 2147483647 w 671"/>
                  <a:gd name="T121" fmla="*/ 2147483647 h 549"/>
                  <a:gd name="T122" fmla="*/ 0 w 671"/>
                  <a:gd name="T123" fmla="*/ 2147483647 h 54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" name="Freeform 33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0922268" y="3576210"/>
                <a:ext cx="152400" cy="169862"/>
              </a:xfrm>
              <a:custGeom>
                <a:avLst/>
                <a:gdLst>
                  <a:gd name="T0" fmla="*/ 2147483647 w 358"/>
                  <a:gd name="T1" fmla="*/ 2147483647 h 327"/>
                  <a:gd name="T2" fmla="*/ 2147483647 w 358"/>
                  <a:gd name="T3" fmla="*/ 2147483647 h 327"/>
                  <a:gd name="T4" fmla="*/ 2147483647 w 358"/>
                  <a:gd name="T5" fmla="*/ 2147483647 h 327"/>
                  <a:gd name="T6" fmla="*/ 2147483647 w 358"/>
                  <a:gd name="T7" fmla="*/ 2147483647 h 327"/>
                  <a:gd name="T8" fmla="*/ 2147483647 w 358"/>
                  <a:gd name="T9" fmla="*/ 2147483647 h 327"/>
                  <a:gd name="T10" fmla="*/ 2147483647 w 358"/>
                  <a:gd name="T11" fmla="*/ 2147483647 h 327"/>
                  <a:gd name="T12" fmla="*/ 2147483647 w 358"/>
                  <a:gd name="T13" fmla="*/ 2147483647 h 327"/>
                  <a:gd name="T14" fmla="*/ 2147483647 w 358"/>
                  <a:gd name="T15" fmla="*/ 2147483647 h 327"/>
                  <a:gd name="T16" fmla="*/ 2147483647 w 358"/>
                  <a:gd name="T17" fmla="*/ 2147483647 h 327"/>
                  <a:gd name="T18" fmla="*/ 2147483647 w 358"/>
                  <a:gd name="T19" fmla="*/ 2147483647 h 327"/>
                  <a:gd name="T20" fmla="*/ 2147483647 w 358"/>
                  <a:gd name="T21" fmla="*/ 2147483647 h 327"/>
                  <a:gd name="T22" fmla="*/ 2147483647 w 358"/>
                  <a:gd name="T23" fmla="*/ 2147483647 h 327"/>
                  <a:gd name="T24" fmla="*/ 2147483647 w 358"/>
                  <a:gd name="T25" fmla="*/ 2147483647 h 327"/>
                  <a:gd name="T26" fmla="*/ 2147483647 w 358"/>
                  <a:gd name="T27" fmla="*/ 2147483647 h 327"/>
                  <a:gd name="T28" fmla="*/ 2147483647 w 358"/>
                  <a:gd name="T29" fmla="*/ 2147483647 h 327"/>
                  <a:gd name="T30" fmla="*/ 2147483647 w 358"/>
                  <a:gd name="T31" fmla="*/ 2147483647 h 327"/>
                  <a:gd name="T32" fmla="*/ 2147483647 w 358"/>
                  <a:gd name="T33" fmla="*/ 2147483647 h 327"/>
                  <a:gd name="T34" fmla="*/ 2147483647 w 358"/>
                  <a:gd name="T35" fmla="*/ 2147483647 h 327"/>
                  <a:gd name="T36" fmla="*/ 2147483647 w 358"/>
                  <a:gd name="T37" fmla="*/ 2147483647 h 327"/>
                  <a:gd name="T38" fmla="*/ 2147483647 w 358"/>
                  <a:gd name="T39" fmla="*/ 2147483647 h 327"/>
                  <a:gd name="T40" fmla="*/ 2147483647 w 358"/>
                  <a:gd name="T41" fmla="*/ 2147483647 h 327"/>
                  <a:gd name="T42" fmla="*/ 2147483647 w 358"/>
                  <a:gd name="T43" fmla="*/ 2147483647 h 327"/>
                  <a:gd name="T44" fmla="*/ 2147483647 w 358"/>
                  <a:gd name="T45" fmla="*/ 2147483647 h 327"/>
                  <a:gd name="T46" fmla="*/ 2147483647 w 358"/>
                  <a:gd name="T47" fmla="*/ 2147483647 h 327"/>
                  <a:gd name="T48" fmla="*/ 2147483647 w 358"/>
                  <a:gd name="T49" fmla="*/ 2147483647 h 327"/>
                  <a:gd name="T50" fmla="*/ 2147483647 w 358"/>
                  <a:gd name="T51" fmla="*/ 2147483647 h 327"/>
                  <a:gd name="T52" fmla="*/ 2147483647 w 358"/>
                  <a:gd name="T53" fmla="*/ 0 h 327"/>
                  <a:gd name="T54" fmla="*/ 2147483647 w 358"/>
                  <a:gd name="T55" fmla="*/ 2147483647 h 327"/>
                  <a:gd name="T56" fmla="*/ 2147483647 w 358"/>
                  <a:gd name="T57" fmla="*/ 2147483647 h 327"/>
                  <a:gd name="T58" fmla="*/ 2147483647 w 358"/>
                  <a:gd name="T59" fmla="*/ 2147483647 h 327"/>
                  <a:gd name="T60" fmla="*/ 1620098417 w 358"/>
                  <a:gd name="T61" fmla="*/ 2147483647 h 327"/>
                  <a:gd name="T62" fmla="*/ 1311482457 w 358"/>
                  <a:gd name="T63" fmla="*/ 2147483647 h 327"/>
                  <a:gd name="T64" fmla="*/ 1234282917 w 358"/>
                  <a:gd name="T65" fmla="*/ 2147483647 h 327"/>
                  <a:gd name="T66" fmla="*/ 1542899303 w 358"/>
                  <a:gd name="T67" fmla="*/ 2147483647 h 327"/>
                  <a:gd name="T68" fmla="*/ 1697116609 w 358"/>
                  <a:gd name="T69" fmla="*/ 2147483647 h 327"/>
                  <a:gd name="T70" fmla="*/ 1542899303 w 358"/>
                  <a:gd name="T71" fmla="*/ 2147483647 h 327"/>
                  <a:gd name="T72" fmla="*/ 1157083803 w 358"/>
                  <a:gd name="T73" fmla="*/ 2147483647 h 327"/>
                  <a:gd name="T74" fmla="*/ 540032806 w 358"/>
                  <a:gd name="T75" fmla="*/ 2147483647 h 327"/>
                  <a:gd name="T76" fmla="*/ 0 w 358"/>
                  <a:gd name="T77" fmla="*/ 2147483647 h 327"/>
                  <a:gd name="T78" fmla="*/ 0 w 358"/>
                  <a:gd name="T79" fmla="*/ 2147483647 h 327"/>
                  <a:gd name="T80" fmla="*/ 385634152 w 358"/>
                  <a:gd name="T81" fmla="*/ 2147483647 h 327"/>
                  <a:gd name="T82" fmla="*/ 848648765 w 358"/>
                  <a:gd name="T83" fmla="*/ 2147483647 h 327"/>
                  <a:gd name="T84" fmla="*/ 1542899303 w 358"/>
                  <a:gd name="T85" fmla="*/ 2147483647 h 327"/>
                  <a:gd name="T86" fmla="*/ 2147483647 w 358"/>
                  <a:gd name="T87" fmla="*/ 2147483647 h 327"/>
                  <a:gd name="T88" fmla="*/ 2147483647 w 358"/>
                  <a:gd name="T89" fmla="*/ 2147483647 h 327"/>
                  <a:gd name="T90" fmla="*/ 2147483647 w 358"/>
                  <a:gd name="T91" fmla="*/ 2147483647 h 327"/>
                  <a:gd name="T92" fmla="*/ 2147483647 w 358"/>
                  <a:gd name="T93" fmla="*/ 2147483647 h 327"/>
                  <a:gd name="T94" fmla="*/ 2147483647 w 358"/>
                  <a:gd name="T95" fmla="*/ 2147483647 h 327"/>
                  <a:gd name="T96" fmla="*/ 2147483647 w 358"/>
                  <a:gd name="T97" fmla="*/ 2147483647 h 327"/>
                  <a:gd name="T98" fmla="*/ 2147483647 w 358"/>
                  <a:gd name="T99" fmla="*/ 2147483647 h 327"/>
                  <a:gd name="T100" fmla="*/ 2147483647 w 358"/>
                  <a:gd name="T101" fmla="*/ 2147483647 h 327"/>
                  <a:gd name="T102" fmla="*/ 2147483647 w 358"/>
                  <a:gd name="T103" fmla="*/ 2147483647 h 327"/>
                  <a:gd name="T104" fmla="*/ 2147483647 w 358"/>
                  <a:gd name="T105" fmla="*/ 2147483647 h 327"/>
                  <a:gd name="T106" fmla="*/ 2147483647 w 358"/>
                  <a:gd name="T107" fmla="*/ 2147483647 h 327"/>
                  <a:gd name="T108" fmla="*/ 2147483647 w 358"/>
                  <a:gd name="T109" fmla="*/ 2147483647 h 327"/>
                  <a:gd name="T110" fmla="*/ 2147483647 w 358"/>
                  <a:gd name="T111" fmla="*/ 2147483647 h 327"/>
                  <a:gd name="T112" fmla="*/ 2147483647 w 358"/>
                  <a:gd name="T113" fmla="*/ 2147483647 h 327"/>
                  <a:gd name="T114" fmla="*/ 2147483647 w 358"/>
                  <a:gd name="T115" fmla="*/ 2147483647 h 327"/>
                  <a:gd name="T116" fmla="*/ 2147483647 w 358"/>
                  <a:gd name="T117" fmla="*/ 2147483647 h 327"/>
                  <a:gd name="T118" fmla="*/ 2147483647 w 358"/>
                  <a:gd name="T119" fmla="*/ 2147483647 h 327"/>
                  <a:gd name="T120" fmla="*/ 2147483647 w 358"/>
                  <a:gd name="T121" fmla="*/ 2147483647 h 32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" name="Freeform 34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0384105" y="2580847"/>
                <a:ext cx="125413" cy="57150"/>
              </a:xfrm>
              <a:custGeom>
                <a:avLst/>
                <a:gdLst>
                  <a:gd name="T0" fmla="*/ 2147483647 w 292"/>
                  <a:gd name="T1" fmla="*/ 0 h 99"/>
                  <a:gd name="T2" fmla="*/ 2147483647 w 292"/>
                  <a:gd name="T3" fmla="*/ 0 h 99"/>
                  <a:gd name="T4" fmla="*/ 2147483647 w 292"/>
                  <a:gd name="T5" fmla="*/ 192281464 h 99"/>
                  <a:gd name="T6" fmla="*/ 2147483647 w 292"/>
                  <a:gd name="T7" fmla="*/ 1154356686 h 99"/>
                  <a:gd name="T8" fmla="*/ 2147483647 w 292"/>
                  <a:gd name="T9" fmla="*/ 1346638150 h 99"/>
                  <a:gd name="T10" fmla="*/ 2147483647 w 292"/>
                  <a:gd name="T11" fmla="*/ 2147483647 h 99"/>
                  <a:gd name="T12" fmla="*/ 2147483647 w 292"/>
                  <a:gd name="T13" fmla="*/ 2147483647 h 99"/>
                  <a:gd name="T14" fmla="*/ 2147483647 w 292"/>
                  <a:gd name="T15" fmla="*/ 2147483647 h 99"/>
                  <a:gd name="T16" fmla="*/ 2147483647 w 292"/>
                  <a:gd name="T17" fmla="*/ 2147483647 h 99"/>
                  <a:gd name="T18" fmla="*/ 2147483647 w 292"/>
                  <a:gd name="T19" fmla="*/ 2147483647 h 99"/>
                  <a:gd name="T20" fmla="*/ 2147483647 w 292"/>
                  <a:gd name="T21" fmla="*/ 2147483647 h 99"/>
                  <a:gd name="T22" fmla="*/ 2147483647 w 292"/>
                  <a:gd name="T23" fmla="*/ 2147483647 h 99"/>
                  <a:gd name="T24" fmla="*/ 2147483647 w 292"/>
                  <a:gd name="T25" fmla="*/ 2147483647 h 99"/>
                  <a:gd name="T26" fmla="*/ 2147483647 w 292"/>
                  <a:gd name="T27" fmla="*/ 2147483647 h 99"/>
                  <a:gd name="T28" fmla="*/ 2147483647 w 292"/>
                  <a:gd name="T29" fmla="*/ 2147483647 h 99"/>
                  <a:gd name="T30" fmla="*/ 1584574357 w 292"/>
                  <a:gd name="T31" fmla="*/ 2147483647 h 99"/>
                  <a:gd name="T32" fmla="*/ 554508855 w 292"/>
                  <a:gd name="T33" fmla="*/ 2147483647 h 99"/>
                  <a:gd name="T34" fmla="*/ 79136462 w 292"/>
                  <a:gd name="T35" fmla="*/ 2147483647 h 99"/>
                  <a:gd name="T36" fmla="*/ 0 w 292"/>
                  <a:gd name="T37" fmla="*/ 2147483647 h 99"/>
                  <a:gd name="T38" fmla="*/ 79136462 w 292"/>
                  <a:gd name="T39" fmla="*/ 2147483647 h 99"/>
                  <a:gd name="T40" fmla="*/ 237594070 w 292"/>
                  <a:gd name="T41" fmla="*/ 2147483647 h 99"/>
                  <a:gd name="T42" fmla="*/ 712966033 w 292"/>
                  <a:gd name="T43" fmla="*/ 2147483647 h 99"/>
                  <a:gd name="T44" fmla="*/ 1188338426 w 292"/>
                  <a:gd name="T45" fmla="*/ 2147483647 h 99"/>
                  <a:gd name="T46" fmla="*/ 1980625605 w 292"/>
                  <a:gd name="T47" fmla="*/ 2147483647 h 99"/>
                  <a:gd name="T48" fmla="*/ 2147483647 w 292"/>
                  <a:gd name="T49" fmla="*/ 2147483647 h 99"/>
                  <a:gd name="T50" fmla="*/ 2147483647 w 292"/>
                  <a:gd name="T51" fmla="*/ 2147483647 h 99"/>
                  <a:gd name="T52" fmla="*/ 2147483647 w 292"/>
                  <a:gd name="T53" fmla="*/ 2147483647 h 99"/>
                  <a:gd name="T54" fmla="*/ 2147483647 w 292"/>
                  <a:gd name="T55" fmla="*/ 2147483647 h 99"/>
                  <a:gd name="T56" fmla="*/ 2147483647 w 292"/>
                  <a:gd name="T57" fmla="*/ 2147483647 h 99"/>
                  <a:gd name="T58" fmla="*/ 2147483647 w 292"/>
                  <a:gd name="T59" fmla="*/ 2116098245 h 99"/>
                  <a:gd name="T60" fmla="*/ 2147483647 w 292"/>
                  <a:gd name="T61" fmla="*/ 1154356686 h 99"/>
                  <a:gd name="T62" fmla="*/ 2147483647 w 292"/>
                  <a:gd name="T63" fmla="*/ 192281464 h 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" name="Freeform 3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1247705" y="3301572"/>
                <a:ext cx="19050" cy="57150"/>
              </a:xfrm>
              <a:custGeom>
                <a:avLst/>
                <a:gdLst>
                  <a:gd name="T0" fmla="*/ 2147483647 w 43"/>
                  <a:gd name="T1" fmla="*/ 2147483647 h 93"/>
                  <a:gd name="T2" fmla="*/ 2147483647 w 43"/>
                  <a:gd name="T3" fmla="*/ 2147483647 h 93"/>
                  <a:gd name="T4" fmla="*/ 2147483647 w 43"/>
                  <a:gd name="T5" fmla="*/ 2147483647 h 93"/>
                  <a:gd name="T6" fmla="*/ 1825895983 w 43"/>
                  <a:gd name="T7" fmla="*/ 2147483647 h 93"/>
                  <a:gd name="T8" fmla="*/ 1565053636 w 43"/>
                  <a:gd name="T9" fmla="*/ 2147483647 h 93"/>
                  <a:gd name="T10" fmla="*/ 1304211733 w 43"/>
                  <a:gd name="T11" fmla="*/ 2147483647 h 93"/>
                  <a:gd name="T12" fmla="*/ 1217263988 w 43"/>
                  <a:gd name="T13" fmla="*/ 2147483647 h 93"/>
                  <a:gd name="T14" fmla="*/ 1130316687 w 43"/>
                  <a:gd name="T15" fmla="*/ 2147483647 h 93"/>
                  <a:gd name="T16" fmla="*/ 956421642 w 43"/>
                  <a:gd name="T17" fmla="*/ 2147483647 h 93"/>
                  <a:gd name="T18" fmla="*/ 956421642 w 43"/>
                  <a:gd name="T19" fmla="*/ 2147483647 h 93"/>
                  <a:gd name="T20" fmla="*/ 782527040 w 43"/>
                  <a:gd name="T21" fmla="*/ 2147483647 h 93"/>
                  <a:gd name="T22" fmla="*/ 521684693 w 43"/>
                  <a:gd name="T23" fmla="*/ 2147483647 h 93"/>
                  <a:gd name="T24" fmla="*/ 347789648 w 43"/>
                  <a:gd name="T25" fmla="*/ 2147483647 h 93"/>
                  <a:gd name="T26" fmla="*/ 173895045 w 43"/>
                  <a:gd name="T27" fmla="*/ 2147483647 h 93"/>
                  <a:gd name="T28" fmla="*/ 0 w 43"/>
                  <a:gd name="T29" fmla="*/ 2147483647 h 93"/>
                  <a:gd name="T30" fmla="*/ 173895045 w 43"/>
                  <a:gd name="T31" fmla="*/ 2147483647 h 93"/>
                  <a:gd name="T32" fmla="*/ 434737392 w 43"/>
                  <a:gd name="T33" fmla="*/ 2147483647 h 93"/>
                  <a:gd name="T34" fmla="*/ 521684693 w 43"/>
                  <a:gd name="T35" fmla="*/ 2147483647 h 93"/>
                  <a:gd name="T36" fmla="*/ 608631994 w 43"/>
                  <a:gd name="T37" fmla="*/ 2147483647 h 93"/>
                  <a:gd name="T38" fmla="*/ 695579295 w 43"/>
                  <a:gd name="T39" fmla="*/ 2147483647 h 93"/>
                  <a:gd name="T40" fmla="*/ 782527040 w 43"/>
                  <a:gd name="T41" fmla="*/ 2147483647 h 93"/>
                  <a:gd name="T42" fmla="*/ 956421642 w 43"/>
                  <a:gd name="T43" fmla="*/ 2147483647 h 93"/>
                  <a:gd name="T44" fmla="*/ 1217263988 w 43"/>
                  <a:gd name="T45" fmla="*/ 2147483647 h 93"/>
                  <a:gd name="T46" fmla="*/ 1391159034 w 43"/>
                  <a:gd name="T47" fmla="*/ 2147483647 h 93"/>
                  <a:gd name="T48" fmla="*/ 1738948681 w 43"/>
                  <a:gd name="T49" fmla="*/ 1392322098 h 93"/>
                  <a:gd name="T50" fmla="*/ 1913039986 w 43"/>
                  <a:gd name="T51" fmla="*/ 928214937 h 93"/>
                  <a:gd name="T52" fmla="*/ 2147483647 w 43"/>
                  <a:gd name="T53" fmla="*/ 464107161 h 93"/>
                  <a:gd name="T54" fmla="*/ 2147483647 w 43"/>
                  <a:gd name="T55" fmla="*/ 0 h 93"/>
                  <a:gd name="T56" fmla="*/ 2147483647 w 43"/>
                  <a:gd name="T57" fmla="*/ 0 h 93"/>
                  <a:gd name="T58" fmla="*/ 2147483647 w 43"/>
                  <a:gd name="T59" fmla="*/ 2147483647 h 93"/>
                  <a:gd name="T60" fmla="*/ 2147483647 w 43"/>
                  <a:gd name="T61" fmla="*/ 2147483647 h 93"/>
                  <a:gd name="T62" fmla="*/ 2147483647 w 43"/>
                  <a:gd name="T63" fmla="*/ 2147483647 h 93"/>
                  <a:gd name="T64" fmla="*/ 2147483647 w 43"/>
                  <a:gd name="T65" fmla="*/ 2147483647 h 93"/>
                  <a:gd name="T66" fmla="*/ 2147483647 w 43"/>
                  <a:gd name="T67" fmla="*/ 2147483647 h 93"/>
                  <a:gd name="T68" fmla="*/ 2147483647 w 43"/>
                  <a:gd name="T69" fmla="*/ 2147483647 h 93"/>
                  <a:gd name="T70" fmla="*/ 2147483647 w 43"/>
                  <a:gd name="T71" fmla="*/ 2147483647 h 93"/>
                  <a:gd name="T72" fmla="*/ 2147483647 w 43"/>
                  <a:gd name="T73" fmla="*/ 2147483647 h 93"/>
                  <a:gd name="T74" fmla="*/ 2147483647 w 43"/>
                  <a:gd name="T75" fmla="*/ 2147483647 h 93"/>
                  <a:gd name="T76" fmla="*/ 2147483647 w 43"/>
                  <a:gd name="T77" fmla="*/ 2147483647 h 93"/>
                  <a:gd name="T78" fmla="*/ 2147483647 w 43"/>
                  <a:gd name="T79" fmla="*/ 2147483647 h 93"/>
                  <a:gd name="T80" fmla="*/ 2147483647 w 43"/>
                  <a:gd name="T81" fmla="*/ 2147483647 h 93"/>
                  <a:gd name="T82" fmla="*/ 2147483647 w 43"/>
                  <a:gd name="T83" fmla="*/ 2147483647 h 93"/>
                  <a:gd name="T84" fmla="*/ 2147483647 w 43"/>
                  <a:gd name="T85" fmla="*/ 2147483647 h 93"/>
                  <a:gd name="T86" fmla="*/ 2147483647 w 43"/>
                  <a:gd name="T87" fmla="*/ 2147483647 h 93"/>
                  <a:gd name="T88" fmla="*/ 2147483647 w 43"/>
                  <a:gd name="T89" fmla="*/ 2147483647 h 93"/>
                  <a:gd name="T90" fmla="*/ 2147483647 w 43"/>
                  <a:gd name="T91" fmla="*/ 2147483647 h 93"/>
                  <a:gd name="T92" fmla="*/ 2147483647 w 43"/>
                  <a:gd name="T93" fmla="*/ 2147483647 h 93"/>
                  <a:gd name="T94" fmla="*/ 2147483647 w 43"/>
                  <a:gd name="T95" fmla="*/ 2147483647 h 93"/>
                  <a:gd name="T96" fmla="*/ 2147483647 w 43"/>
                  <a:gd name="T97" fmla="*/ 2147483647 h 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3" h="93">
                    <a:moveTo>
                      <a:pt x="39" y="93"/>
                    </a:moveTo>
                    <a:lnTo>
                      <a:pt x="31" y="91"/>
                    </a:lnTo>
                    <a:lnTo>
                      <a:pt x="26" y="89"/>
                    </a:lnTo>
                    <a:lnTo>
                      <a:pt x="21" y="87"/>
                    </a:lnTo>
                    <a:lnTo>
                      <a:pt x="18" y="84"/>
                    </a:lnTo>
                    <a:lnTo>
                      <a:pt x="15" y="79"/>
                    </a:lnTo>
                    <a:lnTo>
                      <a:pt x="14" y="73"/>
                    </a:lnTo>
                    <a:lnTo>
                      <a:pt x="13" y="65"/>
                    </a:lnTo>
                    <a:lnTo>
                      <a:pt x="11" y="55"/>
                    </a:lnTo>
                    <a:lnTo>
                      <a:pt x="11" y="48"/>
                    </a:lnTo>
                    <a:lnTo>
                      <a:pt x="9" y="42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3" y="10"/>
                    </a:lnTo>
                    <a:lnTo>
                      <a:pt x="33" y="16"/>
                    </a:lnTo>
                    <a:lnTo>
                      <a:pt x="33" y="20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5" y="36"/>
                    </a:lnTo>
                    <a:lnTo>
                      <a:pt x="39" y="43"/>
                    </a:lnTo>
                    <a:lnTo>
                      <a:pt x="38" y="44"/>
                    </a:lnTo>
                    <a:lnTo>
                      <a:pt x="37" y="45"/>
                    </a:lnTo>
                    <a:lnTo>
                      <a:pt x="37" y="48"/>
                    </a:lnTo>
                    <a:lnTo>
                      <a:pt x="38" y="51"/>
                    </a:lnTo>
                    <a:lnTo>
                      <a:pt x="39" y="59"/>
                    </a:lnTo>
                    <a:lnTo>
                      <a:pt x="41" y="68"/>
                    </a:lnTo>
                    <a:lnTo>
                      <a:pt x="42" y="76"/>
                    </a:lnTo>
                    <a:lnTo>
                      <a:pt x="43" y="85"/>
                    </a:lnTo>
                    <a:lnTo>
                      <a:pt x="43" y="88"/>
                    </a:lnTo>
                    <a:lnTo>
                      <a:pt x="42" y="91"/>
                    </a:lnTo>
                    <a:lnTo>
                      <a:pt x="40" y="92"/>
                    </a:lnTo>
                    <a:lnTo>
                      <a:pt x="39" y="9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" name="Freeform 36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1366768" y="3306335"/>
                <a:ext cx="14287" cy="57150"/>
              </a:xfrm>
              <a:custGeom>
                <a:avLst/>
                <a:gdLst>
                  <a:gd name="T0" fmla="*/ 1822649381 w 40"/>
                  <a:gd name="T1" fmla="*/ 2147483647 h 56"/>
                  <a:gd name="T2" fmla="*/ 1685890288 w 40"/>
                  <a:gd name="T3" fmla="*/ 2147483647 h 56"/>
                  <a:gd name="T4" fmla="*/ 1503714608 w 40"/>
                  <a:gd name="T5" fmla="*/ 2147483647 h 56"/>
                  <a:gd name="T6" fmla="*/ 1275867318 w 40"/>
                  <a:gd name="T7" fmla="*/ 2147483647 h 56"/>
                  <a:gd name="T8" fmla="*/ 1048020385 w 40"/>
                  <a:gd name="T9" fmla="*/ 2147483647 h 56"/>
                  <a:gd name="T10" fmla="*/ 501238322 w 40"/>
                  <a:gd name="T11" fmla="*/ 2147483647 h 56"/>
                  <a:gd name="T12" fmla="*/ 0 w 40"/>
                  <a:gd name="T13" fmla="*/ 2147483647 h 56"/>
                  <a:gd name="T14" fmla="*/ 592326162 w 40"/>
                  <a:gd name="T15" fmla="*/ 2147483647 h 56"/>
                  <a:gd name="T16" fmla="*/ 911388446 w 40"/>
                  <a:gd name="T17" fmla="*/ 0 h 56"/>
                  <a:gd name="T18" fmla="*/ 1275867318 w 40"/>
                  <a:gd name="T19" fmla="*/ 2147483647 h 56"/>
                  <a:gd name="T20" fmla="*/ 1594802448 w 40"/>
                  <a:gd name="T21" fmla="*/ 2147483647 h 56"/>
                  <a:gd name="T22" fmla="*/ 1685890288 w 40"/>
                  <a:gd name="T23" fmla="*/ 2147483647 h 56"/>
                  <a:gd name="T24" fmla="*/ 1777105639 w 40"/>
                  <a:gd name="T25" fmla="*/ 2147483647 h 56"/>
                  <a:gd name="T26" fmla="*/ 1777105639 w 40"/>
                  <a:gd name="T27" fmla="*/ 2147483647 h 56"/>
                  <a:gd name="T28" fmla="*/ 1822649381 w 40"/>
                  <a:gd name="T29" fmla="*/ 2147483647 h 56"/>
                  <a:gd name="T30" fmla="*/ 1822649381 w 40"/>
                  <a:gd name="T31" fmla="*/ 2147483647 h 56"/>
                  <a:gd name="T32" fmla="*/ 1822649381 w 40"/>
                  <a:gd name="T33" fmla="*/ 2147483647 h 56"/>
                  <a:gd name="T34" fmla="*/ 1822649381 w 40"/>
                  <a:gd name="T35" fmla="*/ 2147483647 h 56"/>
                  <a:gd name="T36" fmla="*/ 1822649381 w 40"/>
                  <a:gd name="T37" fmla="*/ 2147483647 h 5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0" h="56">
                    <a:moveTo>
                      <a:pt x="40" y="56"/>
                    </a:moveTo>
                    <a:lnTo>
                      <a:pt x="37" y="46"/>
                    </a:lnTo>
                    <a:lnTo>
                      <a:pt x="33" y="38"/>
                    </a:lnTo>
                    <a:lnTo>
                      <a:pt x="28" y="32"/>
                    </a:lnTo>
                    <a:lnTo>
                      <a:pt x="23" y="28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3" y="4"/>
                    </a:lnTo>
                    <a:lnTo>
                      <a:pt x="20" y="0"/>
                    </a:lnTo>
                    <a:lnTo>
                      <a:pt x="28" y="12"/>
                    </a:lnTo>
                    <a:lnTo>
                      <a:pt x="35" y="22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39" y="33"/>
                    </a:lnTo>
                    <a:lnTo>
                      <a:pt x="40" y="37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9"/>
                    </a:lnTo>
                    <a:lnTo>
                      <a:pt x="4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" name="Freeform 37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2854255" y="3966735"/>
                <a:ext cx="44450" cy="57150"/>
              </a:xfrm>
              <a:custGeom>
                <a:avLst/>
                <a:gdLst>
                  <a:gd name="T0" fmla="*/ 0 w 106"/>
                  <a:gd name="T1" fmla="*/ 2147483647 h 71"/>
                  <a:gd name="T2" fmla="*/ 884855667 w 106"/>
                  <a:gd name="T3" fmla="*/ 2147483647 h 71"/>
                  <a:gd name="T4" fmla="*/ 1769711333 w 106"/>
                  <a:gd name="T5" fmla="*/ 2147483647 h 71"/>
                  <a:gd name="T6" fmla="*/ 2147483647 w 106"/>
                  <a:gd name="T7" fmla="*/ 2147483647 h 71"/>
                  <a:gd name="T8" fmla="*/ 2147483647 w 106"/>
                  <a:gd name="T9" fmla="*/ 2147483647 h 71"/>
                  <a:gd name="T10" fmla="*/ 2147483647 w 106"/>
                  <a:gd name="T11" fmla="*/ 2147483647 h 71"/>
                  <a:gd name="T12" fmla="*/ 2147483647 w 106"/>
                  <a:gd name="T13" fmla="*/ 2147483647 h 71"/>
                  <a:gd name="T14" fmla="*/ 2147483647 w 106"/>
                  <a:gd name="T15" fmla="*/ 2147483647 h 71"/>
                  <a:gd name="T16" fmla="*/ 2147483647 w 106"/>
                  <a:gd name="T17" fmla="*/ 0 h 71"/>
                  <a:gd name="T18" fmla="*/ 2147483647 w 106"/>
                  <a:gd name="T19" fmla="*/ 2147483647 h 71"/>
                  <a:gd name="T20" fmla="*/ 2147483647 w 106"/>
                  <a:gd name="T21" fmla="*/ 2147483647 h 71"/>
                  <a:gd name="T22" fmla="*/ 2147483647 w 106"/>
                  <a:gd name="T23" fmla="*/ 2147483647 h 71"/>
                  <a:gd name="T24" fmla="*/ 2147483647 w 106"/>
                  <a:gd name="T25" fmla="*/ 2147483647 h 71"/>
                  <a:gd name="T26" fmla="*/ 2147483647 w 106"/>
                  <a:gd name="T27" fmla="*/ 2147483647 h 71"/>
                  <a:gd name="T28" fmla="*/ 2147483647 w 106"/>
                  <a:gd name="T29" fmla="*/ 2147483647 h 71"/>
                  <a:gd name="T30" fmla="*/ 2147483647 w 106"/>
                  <a:gd name="T31" fmla="*/ 2147483647 h 71"/>
                  <a:gd name="T32" fmla="*/ 2147483647 w 106"/>
                  <a:gd name="T33" fmla="*/ 2147483647 h 71"/>
                  <a:gd name="T34" fmla="*/ 2147483647 w 106"/>
                  <a:gd name="T35" fmla="*/ 2147483647 h 71"/>
                  <a:gd name="T36" fmla="*/ 2147483647 w 106"/>
                  <a:gd name="T37" fmla="*/ 2147483647 h 71"/>
                  <a:gd name="T38" fmla="*/ 2147483647 w 106"/>
                  <a:gd name="T39" fmla="*/ 2147483647 h 71"/>
                  <a:gd name="T40" fmla="*/ 2147483647 w 106"/>
                  <a:gd name="T41" fmla="*/ 2147483647 h 71"/>
                  <a:gd name="T42" fmla="*/ 2147483647 w 106"/>
                  <a:gd name="T43" fmla="*/ 2147483647 h 71"/>
                  <a:gd name="T44" fmla="*/ 2147483647 w 106"/>
                  <a:gd name="T45" fmla="*/ 2147483647 h 71"/>
                  <a:gd name="T46" fmla="*/ 2147483647 w 106"/>
                  <a:gd name="T47" fmla="*/ 2147483647 h 71"/>
                  <a:gd name="T48" fmla="*/ 2147483647 w 106"/>
                  <a:gd name="T49" fmla="*/ 2147483647 h 71"/>
                  <a:gd name="T50" fmla="*/ 2147483647 w 106"/>
                  <a:gd name="T51" fmla="*/ 2147483647 h 71"/>
                  <a:gd name="T52" fmla="*/ 2147483647 w 106"/>
                  <a:gd name="T53" fmla="*/ 2147483647 h 71"/>
                  <a:gd name="T54" fmla="*/ 1990925145 w 106"/>
                  <a:gd name="T55" fmla="*/ 2147483647 h 71"/>
                  <a:gd name="T56" fmla="*/ 1769711333 w 106"/>
                  <a:gd name="T57" fmla="*/ 2147483647 h 71"/>
                  <a:gd name="T58" fmla="*/ 1548497521 w 106"/>
                  <a:gd name="T59" fmla="*/ 2147483647 h 71"/>
                  <a:gd name="T60" fmla="*/ 1474817872 w 106"/>
                  <a:gd name="T61" fmla="*/ 2147483647 h 71"/>
                  <a:gd name="T62" fmla="*/ 1400962939 w 106"/>
                  <a:gd name="T63" fmla="*/ 2147483647 h 71"/>
                  <a:gd name="T64" fmla="*/ 1327283290 w 106"/>
                  <a:gd name="T65" fmla="*/ 2147483647 h 71"/>
                  <a:gd name="T66" fmla="*/ 1327283290 w 106"/>
                  <a:gd name="T67" fmla="*/ 2147483647 h 71"/>
                  <a:gd name="T68" fmla="*/ 1400962939 w 106"/>
                  <a:gd name="T69" fmla="*/ 2147483647 h 71"/>
                  <a:gd name="T70" fmla="*/ 1474817872 w 106"/>
                  <a:gd name="T71" fmla="*/ 2147483647 h 71"/>
                  <a:gd name="T72" fmla="*/ 1548497521 w 106"/>
                  <a:gd name="T73" fmla="*/ 2147483647 h 71"/>
                  <a:gd name="T74" fmla="*/ 1474817872 w 106"/>
                  <a:gd name="T75" fmla="*/ 2147483647 h 71"/>
                  <a:gd name="T76" fmla="*/ 1400962939 w 106"/>
                  <a:gd name="T77" fmla="*/ 2147483647 h 71"/>
                  <a:gd name="T78" fmla="*/ 1400962939 w 106"/>
                  <a:gd name="T79" fmla="*/ 2147483647 h 71"/>
                  <a:gd name="T80" fmla="*/ 1400962939 w 106"/>
                  <a:gd name="T81" fmla="*/ 2147483647 h 71"/>
                  <a:gd name="T82" fmla="*/ 1474817872 w 106"/>
                  <a:gd name="T83" fmla="*/ 2147483647 h 71"/>
                  <a:gd name="T84" fmla="*/ 1548497521 w 106"/>
                  <a:gd name="T85" fmla="*/ 2147483647 h 71"/>
                  <a:gd name="T86" fmla="*/ 1696032103 w 106"/>
                  <a:gd name="T87" fmla="*/ 2147483647 h 71"/>
                  <a:gd name="T88" fmla="*/ 1990925145 w 106"/>
                  <a:gd name="T89" fmla="*/ 2147483647 h 71"/>
                  <a:gd name="T90" fmla="*/ 0 w 106"/>
                  <a:gd name="T91" fmla="*/ 2147483647 h 7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06" h="71">
                    <a:moveTo>
                      <a:pt x="0" y="7"/>
                    </a:moveTo>
                    <a:lnTo>
                      <a:pt x="12" y="10"/>
                    </a:lnTo>
                    <a:lnTo>
                      <a:pt x="24" y="12"/>
                    </a:lnTo>
                    <a:lnTo>
                      <a:pt x="35" y="13"/>
                    </a:lnTo>
                    <a:lnTo>
                      <a:pt x="45" y="13"/>
                    </a:lnTo>
                    <a:lnTo>
                      <a:pt x="54" y="11"/>
                    </a:lnTo>
                    <a:lnTo>
                      <a:pt x="61" y="8"/>
                    </a:lnTo>
                    <a:lnTo>
                      <a:pt x="68" y="5"/>
                    </a:lnTo>
                    <a:lnTo>
                      <a:pt x="74" y="0"/>
                    </a:lnTo>
                    <a:lnTo>
                      <a:pt x="84" y="16"/>
                    </a:lnTo>
                    <a:lnTo>
                      <a:pt x="94" y="30"/>
                    </a:lnTo>
                    <a:lnTo>
                      <a:pt x="101" y="44"/>
                    </a:lnTo>
                    <a:lnTo>
                      <a:pt x="105" y="55"/>
                    </a:lnTo>
                    <a:lnTo>
                      <a:pt x="106" y="60"/>
                    </a:lnTo>
                    <a:lnTo>
                      <a:pt x="106" y="63"/>
                    </a:lnTo>
                    <a:lnTo>
                      <a:pt x="105" y="67"/>
                    </a:lnTo>
                    <a:lnTo>
                      <a:pt x="103" y="69"/>
                    </a:lnTo>
                    <a:lnTo>
                      <a:pt x="101" y="70"/>
                    </a:lnTo>
                    <a:lnTo>
                      <a:pt x="98" y="70"/>
                    </a:lnTo>
                    <a:lnTo>
                      <a:pt x="92" y="70"/>
                    </a:lnTo>
                    <a:lnTo>
                      <a:pt x="87" y="68"/>
                    </a:lnTo>
                    <a:lnTo>
                      <a:pt x="74" y="70"/>
                    </a:lnTo>
                    <a:lnTo>
                      <a:pt x="63" y="71"/>
                    </a:lnTo>
                    <a:lnTo>
                      <a:pt x="53" y="69"/>
                    </a:lnTo>
                    <a:lnTo>
                      <a:pt x="45" y="66"/>
                    </a:lnTo>
                    <a:lnTo>
                      <a:pt x="37" y="62"/>
                    </a:lnTo>
                    <a:lnTo>
                      <a:pt x="32" y="57"/>
                    </a:lnTo>
                    <a:lnTo>
                      <a:pt x="27" y="51"/>
                    </a:lnTo>
                    <a:lnTo>
                      <a:pt x="24" y="45"/>
                    </a:lnTo>
                    <a:lnTo>
                      <a:pt x="21" y="38"/>
                    </a:lnTo>
                    <a:lnTo>
                      <a:pt x="20" y="30"/>
                    </a:lnTo>
                    <a:lnTo>
                      <a:pt x="19" y="24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0" y="10"/>
                    </a:lnTo>
                    <a:lnTo>
                      <a:pt x="19" y="16"/>
                    </a:lnTo>
                    <a:lnTo>
                      <a:pt x="19" y="17"/>
                    </a:lnTo>
                    <a:lnTo>
                      <a:pt x="20" y="17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27" y="7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" name="Freeform 69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3905180" y="4723972"/>
                <a:ext cx="12700" cy="57150"/>
              </a:xfrm>
              <a:custGeom>
                <a:avLst/>
                <a:gdLst>
                  <a:gd name="T0" fmla="*/ 0 w 33"/>
                  <a:gd name="T1" fmla="*/ 2147483647 h 62"/>
                  <a:gd name="T2" fmla="*/ 0 w 33"/>
                  <a:gd name="T3" fmla="*/ 2147483647 h 62"/>
                  <a:gd name="T4" fmla="*/ 0 w 33"/>
                  <a:gd name="T5" fmla="*/ 2147483647 h 62"/>
                  <a:gd name="T6" fmla="*/ 0 w 33"/>
                  <a:gd name="T7" fmla="*/ 2147483647 h 62"/>
                  <a:gd name="T8" fmla="*/ 0 w 33"/>
                  <a:gd name="T9" fmla="*/ 2147483647 h 62"/>
                  <a:gd name="T10" fmla="*/ 0 w 33"/>
                  <a:gd name="T11" fmla="*/ 2147483647 h 62"/>
                  <a:gd name="T12" fmla="*/ 114043306 w 33"/>
                  <a:gd name="T13" fmla="*/ 2147483647 h 62"/>
                  <a:gd name="T14" fmla="*/ 227938830 w 33"/>
                  <a:gd name="T15" fmla="*/ 2147483647 h 62"/>
                  <a:gd name="T16" fmla="*/ 456025442 w 33"/>
                  <a:gd name="T17" fmla="*/ 2147483647 h 62"/>
                  <a:gd name="T18" fmla="*/ 798007964 w 33"/>
                  <a:gd name="T19" fmla="*/ 2147483647 h 62"/>
                  <a:gd name="T20" fmla="*/ 1139990100 w 33"/>
                  <a:gd name="T21" fmla="*/ 0 h 62"/>
                  <a:gd name="T22" fmla="*/ 1481972236 w 33"/>
                  <a:gd name="T23" fmla="*/ 2147483647 h 62"/>
                  <a:gd name="T24" fmla="*/ 1880976218 w 33"/>
                  <a:gd name="T25" fmla="*/ 2147483647 h 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" h="62">
                    <a:moveTo>
                      <a:pt x="0" y="62"/>
                    </a:moveTo>
                    <a:lnTo>
                      <a:pt x="0" y="53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7"/>
                    </a:lnTo>
                    <a:lnTo>
                      <a:pt x="8" y="13"/>
                    </a:lnTo>
                    <a:lnTo>
                      <a:pt x="14" y="6"/>
                    </a:lnTo>
                    <a:lnTo>
                      <a:pt x="20" y="0"/>
                    </a:lnTo>
                    <a:lnTo>
                      <a:pt x="26" y="6"/>
                    </a:lnTo>
                    <a:lnTo>
                      <a:pt x="33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" name="Freeform 70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3914705" y="4814460"/>
                <a:ext cx="9525" cy="58737"/>
              </a:xfrm>
              <a:custGeom>
                <a:avLst/>
                <a:gdLst>
                  <a:gd name="T0" fmla="*/ 0 w 26"/>
                  <a:gd name="T1" fmla="*/ 2147483647 h 18"/>
                  <a:gd name="T2" fmla="*/ 0 w 26"/>
                  <a:gd name="T3" fmla="*/ 0 h 18"/>
                  <a:gd name="T4" fmla="*/ 1278345488 w 26"/>
                  <a:gd name="T5" fmla="*/ 0 h 18"/>
                  <a:gd name="T6" fmla="*/ 294992547 w 26"/>
                  <a:gd name="T7" fmla="*/ 2147483647 h 18"/>
                  <a:gd name="T8" fmla="*/ 294992547 w 26"/>
                  <a:gd name="T9" fmla="*/ 2147483647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0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6" y="12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" name="Freeform 71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4029005" y="4723972"/>
                <a:ext cx="77788" cy="130175"/>
              </a:xfrm>
              <a:custGeom>
                <a:avLst/>
                <a:gdLst>
                  <a:gd name="T0" fmla="*/ 2147483647 w 180"/>
                  <a:gd name="T1" fmla="*/ 2147483647 h 240"/>
                  <a:gd name="T2" fmla="*/ 2147483647 w 180"/>
                  <a:gd name="T3" fmla="*/ 2147483647 h 240"/>
                  <a:gd name="T4" fmla="*/ 2147483647 w 180"/>
                  <a:gd name="T5" fmla="*/ 2147483647 h 240"/>
                  <a:gd name="T6" fmla="*/ 2147483647 w 180"/>
                  <a:gd name="T7" fmla="*/ 2147483647 h 240"/>
                  <a:gd name="T8" fmla="*/ 2147483647 w 180"/>
                  <a:gd name="T9" fmla="*/ 2147483647 h 240"/>
                  <a:gd name="T10" fmla="*/ 2147483647 w 180"/>
                  <a:gd name="T11" fmla="*/ 2147483647 h 240"/>
                  <a:gd name="T12" fmla="*/ 2147483647 w 180"/>
                  <a:gd name="T13" fmla="*/ 2147483647 h 240"/>
                  <a:gd name="T14" fmla="*/ 2147483647 w 180"/>
                  <a:gd name="T15" fmla="*/ 2147483647 h 240"/>
                  <a:gd name="T16" fmla="*/ 2147483647 w 180"/>
                  <a:gd name="T17" fmla="*/ 2147483647 h 240"/>
                  <a:gd name="T18" fmla="*/ 2147483647 w 180"/>
                  <a:gd name="T19" fmla="*/ 2147483647 h 240"/>
                  <a:gd name="T20" fmla="*/ 2147483647 w 180"/>
                  <a:gd name="T21" fmla="*/ 2147483647 h 240"/>
                  <a:gd name="T22" fmla="*/ 2147483647 w 180"/>
                  <a:gd name="T23" fmla="*/ 2147483647 h 240"/>
                  <a:gd name="T24" fmla="*/ 2147483647 w 180"/>
                  <a:gd name="T25" fmla="*/ 2147483647 h 240"/>
                  <a:gd name="T26" fmla="*/ 2147483647 w 180"/>
                  <a:gd name="T27" fmla="*/ 2147483647 h 240"/>
                  <a:gd name="T28" fmla="*/ 2147483647 w 180"/>
                  <a:gd name="T29" fmla="*/ 2147483647 h 240"/>
                  <a:gd name="T30" fmla="*/ 2147483647 w 180"/>
                  <a:gd name="T31" fmla="*/ 2147483647 h 240"/>
                  <a:gd name="T32" fmla="*/ 2147483647 w 180"/>
                  <a:gd name="T33" fmla="*/ 2147483647 h 240"/>
                  <a:gd name="T34" fmla="*/ 2147483647 w 180"/>
                  <a:gd name="T35" fmla="*/ 2147483647 h 240"/>
                  <a:gd name="T36" fmla="*/ 2147483647 w 180"/>
                  <a:gd name="T37" fmla="*/ 2147483647 h 240"/>
                  <a:gd name="T38" fmla="*/ 2147483647 w 180"/>
                  <a:gd name="T39" fmla="*/ 2147483647 h 240"/>
                  <a:gd name="T40" fmla="*/ 2147483647 w 180"/>
                  <a:gd name="T41" fmla="*/ 2147483647 h 240"/>
                  <a:gd name="T42" fmla="*/ 2147483647 w 180"/>
                  <a:gd name="T43" fmla="*/ 2147483647 h 240"/>
                  <a:gd name="T44" fmla="*/ 1694832844 w 180"/>
                  <a:gd name="T45" fmla="*/ 2147483647 h 240"/>
                  <a:gd name="T46" fmla="*/ 1210567971 w 180"/>
                  <a:gd name="T47" fmla="*/ 2147483647 h 240"/>
                  <a:gd name="T48" fmla="*/ 807169775 w 180"/>
                  <a:gd name="T49" fmla="*/ 2147483647 h 240"/>
                  <a:gd name="T50" fmla="*/ 484264440 w 180"/>
                  <a:gd name="T51" fmla="*/ 2147483647 h 240"/>
                  <a:gd name="T52" fmla="*/ 322905335 w 180"/>
                  <a:gd name="T53" fmla="*/ 2147483647 h 240"/>
                  <a:gd name="T54" fmla="*/ 80679553 w 180"/>
                  <a:gd name="T55" fmla="*/ 2147483647 h 240"/>
                  <a:gd name="T56" fmla="*/ 0 w 180"/>
                  <a:gd name="T57" fmla="*/ 2147483647 h 240"/>
                  <a:gd name="T58" fmla="*/ 0 w 180"/>
                  <a:gd name="T59" fmla="*/ 2147483647 h 240"/>
                  <a:gd name="T60" fmla="*/ 0 w 180"/>
                  <a:gd name="T61" fmla="*/ 2147483647 h 240"/>
                  <a:gd name="T62" fmla="*/ 0 w 180"/>
                  <a:gd name="T63" fmla="*/ 2147483647 h 240"/>
                  <a:gd name="T64" fmla="*/ 0 w 180"/>
                  <a:gd name="T65" fmla="*/ 0 h 240"/>
                  <a:gd name="T66" fmla="*/ 807169775 w 180"/>
                  <a:gd name="T67" fmla="*/ 1276504728 h 240"/>
                  <a:gd name="T68" fmla="*/ 1533473306 w 180"/>
                  <a:gd name="T69" fmla="*/ 2147483647 h 240"/>
                  <a:gd name="T70" fmla="*/ 2147483647 w 180"/>
                  <a:gd name="T71" fmla="*/ 2147483647 h 240"/>
                  <a:gd name="T72" fmla="*/ 2147483647 w 180"/>
                  <a:gd name="T73" fmla="*/ 2147483647 h 240"/>
                  <a:gd name="T74" fmla="*/ 2147483647 w 180"/>
                  <a:gd name="T75" fmla="*/ 2147483647 h 240"/>
                  <a:gd name="T76" fmla="*/ 2147483647 w 180"/>
                  <a:gd name="T77" fmla="*/ 2147483647 h 240"/>
                  <a:gd name="T78" fmla="*/ 2147483647 w 180"/>
                  <a:gd name="T79" fmla="*/ 2147483647 h 240"/>
                  <a:gd name="T80" fmla="*/ 2147483647 w 180"/>
                  <a:gd name="T81" fmla="*/ 2147483647 h 240"/>
                  <a:gd name="T82" fmla="*/ 2147483647 w 180"/>
                  <a:gd name="T83" fmla="*/ 2147483647 h 240"/>
                  <a:gd name="T84" fmla="*/ 2147483647 w 180"/>
                  <a:gd name="T85" fmla="*/ 2147483647 h 240"/>
                  <a:gd name="T86" fmla="*/ 2147483647 w 180"/>
                  <a:gd name="T87" fmla="*/ 2147483647 h 240"/>
                  <a:gd name="T88" fmla="*/ 2147483647 w 180"/>
                  <a:gd name="T89" fmla="*/ 2147483647 h 240"/>
                  <a:gd name="T90" fmla="*/ 2147483647 w 180"/>
                  <a:gd name="T91" fmla="*/ 2147483647 h 240"/>
                  <a:gd name="T92" fmla="*/ 2147483647 w 180"/>
                  <a:gd name="T93" fmla="*/ 2147483647 h 240"/>
                  <a:gd name="T94" fmla="*/ 2147483647 w 180"/>
                  <a:gd name="T95" fmla="*/ 2147483647 h 240"/>
                  <a:gd name="T96" fmla="*/ 2147483647 w 180"/>
                  <a:gd name="T97" fmla="*/ 2147483647 h 240"/>
                  <a:gd name="T98" fmla="*/ 2147483647 w 180"/>
                  <a:gd name="T99" fmla="*/ 2147483647 h 240"/>
                  <a:gd name="T100" fmla="*/ 2147483647 w 180"/>
                  <a:gd name="T101" fmla="*/ 2147483647 h 240"/>
                  <a:gd name="T102" fmla="*/ 2147483647 w 180"/>
                  <a:gd name="T103" fmla="*/ 2147483647 h 240"/>
                  <a:gd name="T104" fmla="*/ 2147483647 w 180"/>
                  <a:gd name="T105" fmla="*/ 2147483647 h 2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80" h="240">
                    <a:moveTo>
                      <a:pt x="180" y="222"/>
                    </a:moveTo>
                    <a:lnTo>
                      <a:pt x="175" y="223"/>
                    </a:lnTo>
                    <a:lnTo>
                      <a:pt x="171" y="223"/>
                    </a:lnTo>
                    <a:lnTo>
                      <a:pt x="167" y="225"/>
                    </a:lnTo>
                    <a:lnTo>
                      <a:pt x="164" y="227"/>
                    </a:lnTo>
                    <a:lnTo>
                      <a:pt x="158" y="232"/>
                    </a:lnTo>
                    <a:lnTo>
                      <a:pt x="153" y="240"/>
                    </a:lnTo>
                    <a:lnTo>
                      <a:pt x="140" y="232"/>
                    </a:lnTo>
                    <a:lnTo>
                      <a:pt x="131" y="223"/>
                    </a:lnTo>
                    <a:lnTo>
                      <a:pt x="123" y="214"/>
                    </a:lnTo>
                    <a:lnTo>
                      <a:pt x="118" y="206"/>
                    </a:lnTo>
                    <a:lnTo>
                      <a:pt x="112" y="195"/>
                    </a:lnTo>
                    <a:lnTo>
                      <a:pt x="106" y="185"/>
                    </a:lnTo>
                    <a:lnTo>
                      <a:pt x="98" y="174"/>
                    </a:lnTo>
                    <a:lnTo>
                      <a:pt x="87" y="161"/>
                    </a:lnTo>
                    <a:lnTo>
                      <a:pt x="82" y="153"/>
                    </a:lnTo>
                    <a:lnTo>
                      <a:pt x="75" y="146"/>
                    </a:lnTo>
                    <a:lnTo>
                      <a:pt x="70" y="139"/>
                    </a:lnTo>
                    <a:lnTo>
                      <a:pt x="62" y="133"/>
                    </a:lnTo>
                    <a:lnTo>
                      <a:pt x="48" y="121"/>
                    </a:lnTo>
                    <a:lnTo>
                      <a:pt x="33" y="110"/>
                    </a:lnTo>
                    <a:lnTo>
                      <a:pt x="27" y="104"/>
                    </a:lnTo>
                    <a:lnTo>
                      <a:pt x="21" y="98"/>
                    </a:lnTo>
                    <a:lnTo>
                      <a:pt x="15" y="92"/>
                    </a:lnTo>
                    <a:lnTo>
                      <a:pt x="10" y="84"/>
                    </a:lnTo>
                    <a:lnTo>
                      <a:pt x="6" y="77"/>
                    </a:lnTo>
                    <a:lnTo>
                      <a:pt x="4" y="68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2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17"/>
                    </a:lnTo>
                    <a:lnTo>
                      <a:pt x="27" y="27"/>
                    </a:lnTo>
                    <a:lnTo>
                      <a:pt x="34" y="38"/>
                    </a:lnTo>
                    <a:lnTo>
                      <a:pt x="41" y="48"/>
                    </a:lnTo>
                    <a:lnTo>
                      <a:pt x="46" y="58"/>
                    </a:lnTo>
                    <a:lnTo>
                      <a:pt x="51" y="66"/>
                    </a:lnTo>
                    <a:lnTo>
                      <a:pt x="54" y="74"/>
                    </a:lnTo>
                    <a:lnTo>
                      <a:pt x="60" y="86"/>
                    </a:lnTo>
                    <a:lnTo>
                      <a:pt x="66" y="98"/>
                    </a:lnTo>
                    <a:lnTo>
                      <a:pt x="74" y="107"/>
                    </a:lnTo>
                    <a:lnTo>
                      <a:pt x="82" y="116"/>
                    </a:lnTo>
                    <a:lnTo>
                      <a:pt x="100" y="133"/>
                    </a:lnTo>
                    <a:lnTo>
                      <a:pt x="119" y="149"/>
                    </a:lnTo>
                    <a:lnTo>
                      <a:pt x="139" y="164"/>
                    </a:lnTo>
                    <a:lnTo>
                      <a:pt x="155" y="180"/>
                    </a:lnTo>
                    <a:lnTo>
                      <a:pt x="163" y="189"/>
                    </a:lnTo>
                    <a:lnTo>
                      <a:pt x="169" y="199"/>
                    </a:lnTo>
                    <a:lnTo>
                      <a:pt x="175" y="210"/>
                    </a:lnTo>
                    <a:lnTo>
                      <a:pt x="180" y="22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" name="Freeform 72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4029005" y="4696985"/>
                <a:ext cx="14288" cy="57150"/>
              </a:xfrm>
              <a:custGeom>
                <a:avLst/>
                <a:gdLst>
                  <a:gd name="T0" fmla="*/ 0 w 27"/>
                  <a:gd name="T1" fmla="*/ 0 h 30"/>
                  <a:gd name="T2" fmla="*/ 148139572 w 27"/>
                  <a:gd name="T3" fmla="*/ 2147483647 h 30"/>
                  <a:gd name="T4" fmla="*/ 444698654 w 27"/>
                  <a:gd name="T5" fmla="*/ 2147483647 h 30"/>
                  <a:gd name="T6" fmla="*/ 592838225 w 27"/>
                  <a:gd name="T7" fmla="*/ 2147483647 h 30"/>
                  <a:gd name="T8" fmla="*/ 592838225 w 27"/>
                  <a:gd name="T9" fmla="*/ 2147483647 h 30"/>
                  <a:gd name="T10" fmla="*/ 444698654 w 27"/>
                  <a:gd name="T11" fmla="*/ 2147483647 h 30"/>
                  <a:gd name="T12" fmla="*/ 0 w 27"/>
                  <a:gd name="T13" fmla="*/ 2147483647 h 30"/>
                  <a:gd name="T14" fmla="*/ 2147483647 w 27"/>
                  <a:gd name="T15" fmla="*/ 2147483647 h 30"/>
                  <a:gd name="T16" fmla="*/ 2147483647 w 27"/>
                  <a:gd name="T17" fmla="*/ 2147483647 h 30"/>
                  <a:gd name="T18" fmla="*/ 2147483647 w 27"/>
                  <a:gd name="T19" fmla="*/ 2147483647 h 30"/>
                  <a:gd name="T20" fmla="*/ 2147483647 w 27"/>
                  <a:gd name="T21" fmla="*/ 2147483647 h 30"/>
                  <a:gd name="T22" fmla="*/ 1630095165 w 27"/>
                  <a:gd name="T23" fmla="*/ 2147483647 h 30"/>
                  <a:gd name="T24" fmla="*/ 1037256940 w 27"/>
                  <a:gd name="T25" fmla="*/ 2147483647 h 30"/>
                  <a:gd name="T26" fmla="*/ 592838225 w 27"/>
                  <a:gd name="T27" fmla="*/ 2147483647 h 30"/>
                  <a:gd name="T28" fmla="*/ 0 w 27"/>
                  <a:gd name="T29" fmla="*/ 0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7" h="30">
                    <a:moveTo>
                      <a:pt x="0" y="0"/>
                    </a:moveTo>
                    <a:lnTo>
                      <a:pt x="1" y="5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4" y="19"/>
                    </a:lnTo>
                    <a:lnTo>
                      <a:pt x="3" y="24"/>
                    </a:lnTo>
                    <a:lnTo>
                      <a:pt x="0" y="30"/>
                    </a:lnTo>
                    <a:lnTo>
                      <a:pt x="17" y="27"/>
                    </a:lnTo>
                    <a:lnTo>
                      <a:pt x="27" y="24"/>
                    </a:lnTo>
                    <a:lnTo>
                      <a:pt x="23" y="20"/>
                    </a:lnTo>
                    <a:lnTo>
                      <a:pt x="17" y="12"/>
                    </a:lnTo>
                    <a:lnTo>
                      <a:pt x="11" y="8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30" name="Group 73"/>
              <p:cNvGrpSpPr>
                <a:grpSpLocks/>
              </p:cNvGrpSpPr>
              <p:nvPr>
                <p:custDataLst>
                  <p:tags r:id="rId26"/>
                </p:custDataLst>
              </p:nvPr>
            </p:nvGrpSpPr>
            <p:grpSpPr bwMode="auto">
              <a:xfrm>
                <a:off x="13719443" y="5217685"/>
                <a:ext cx="458787" cy="404812"/>
                <a:chOff x="5372" y="3323"/>
                <a:chExt cx="341" cy="253"/>
              </a:xfrm>
            </p:grpSpPr>
            <p:sp>
              <p:nvSpPr>
                <p:cNvPr id="405" name="Freeform 74"/>
                <p:cNvSpPr>
                  <a:spLocks/>
                </p:cNvSpPr>
                <p:nvPr/>
              </p:nvSpPr>
              <p:spPr bwMode="auto">
                <a:xfrm>
                  <a:off x="5372" y="3565"/>
                  <a:ext cx="16" cy="11"/>
                </a:xfrm>
                <a:custGeom>
                  <a:avLst/>
                  <a:gdLst>
                    <a:gd name="T0" fmla="*/ 0 w 53"/>
                    <a:gd name="T1" fmla="*/ 1 h 33"/>
                    <a:gd name="T2" fmla="*/ 0 w 53"/>
                    <a:gd name="T3" fmla="*/ 1 h 33"/>
                    <a:gd name="T4" fmla="*/ 0 w 53"/>
                    <a:gd name="T5" fmla="*/ 1 h 33"/>
                    <a:gd name="T6" fmla="*/ 1 w 53"/>
                    <a:gd name="T7" fmla="*/ 1 h 33"/>
                    <a:gd name="T8" fmla="*/ 1 w 53"/>
                    <a:gd name="T9" fmla="*/ 0 h 33"/>
                    <a:gd name="T10" fmla="*/ 1 w 53"/>
                    <a:gd name="T11" fmla="*/ 0 h 33"/>
                    <a:gd name="T12" fmla="*/ 1 w 53"/>
                    <a:gd name="T13" fmla="*/ 0 h 33"/>
                    <a:gd name="T14" fmla="*/ 1 w 53"/>
                    <a:gd name="T15" fmla="*/ 0 h 33"/>
                    <a:gd name="T16" fmla="*/ 2 w 53"/>
                    <a:gd name="T17" fmla="*/ 0 h 33"/>
                    <a:gd name="T18" fmla="*/ 2 w 53"/>
                    <a:gd name="T19" fmla="*/ 1 h 33"/>
                    <a:gd name="T20" fmla="*/ 1 w 53"/>
                    <a:gd name="T21" fmla="*/ 1 h 33"/>
                    <a:gd name="T22" fmla="*/ 1 w 53"/>
                    <a:gd name="T23" fmla="*/ 1 h 33"/>
                    <a:gd name="T24" fmla="*/ 1 w 53"/>
                    <a:gd name="T25" fmla="*/ 1 h 33"/>
                    <a:gd name="T26" fmla="*/ 1 w 53"/>
                    <a:gd name="T27" fmla="*/ 1 h 33"/>
                    <a:gd name="T28" fmla="*/ 0 w 53"/>
                    <a:gd name="T29" fmla="*/ 1 h 33"/>
                    <a:gd name="T30" fmla="*/ 0 w 53"/>
                    <a:gd name="T31" fmla="*/ 1 h 3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53" h="33">
                      <a:moveTo>
                        <a:pt x="0" y="31"/>
                      </a:moveTo>
                      <a:lnTo>
                        <a:pt x="4" y="26"/>
                      </a:lnTo>
                      <a:lnTo>
                        <a:pt x="8" y="21"/>
                      </a:lnTo>
                      <a:lnTo>
                        <a:pt x="15" y="16"/>
                      </a:lnTo>
                      <a:lnTo>
                        <a:pt x="21" y="11"/>
                      </a:lnTo>
                      <a:lnTo>
                        <a:pt x="29" y="7"/>
                      </a:lnTo>
                      <a:lnTo>
                        <a:pt x="38" y="3"/>
                      </a:lnTo>
                      <a:lnTo>
                        <a:pt x="45" y="1"/>
                      </a:lnTo>
                      <a:lnTo>
                        <a:pt x="53" y="0"/>
                      </a:lnTo>
                      <a:lnTo>
                        <a:pt x="53" y="18"/>
                      </a:lnTo>
                      <a:lnTo>
                        <a:pt x="38" y="24"/>
                      </a:lnTo>
                      <a:lnTo>
                        <a:pt x="27" y="30"/>
                      </a:lnTo>
                      <a:lnTo>
                        <a:pt x="21" y="32"/>
                      </a:lnTo>
                      <a:lnTo>
                        <a:pt x="16" y="33"/>
                      </a:lnTo>
                      <a:lnTo>
                        <a:pt x="9" y="33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6" name="Freeform 75"/>
                <p:cNvSpPr>
                  <a:spLocks/>
                </p:cNvSpPr>
                <p:nvPr/>
              </p:nvSpPr>
              <p:spPr bwMode="auto">
                <a:xfrm>
                  <a:off x="5379" y="3446"/>
                  <a:ext cx="202" cy="117"/>
                </a:xfrm>
                <a:custGeom>
                  <a:avLst/>
                  <a:gdLst>
                    <a:gd name="T0" fmla="*/ 1 w 631"/>
                    <a:gd name="T1" fmla="*/ 10 h 358"/>
                    <a:gd name="T2" fmla="*/ 2 w 631"/>
                    <a:gd name="T3" fmla="*/ 10 h 358"/>
                    <a:gd name="T4" fmla="*/ 2 w 631"/>
                    <a:gd name="T5" fmla="*/ 10 h 358"/>
                    <a:gd name="T6" fmla="*/ 3 w 631"/>
                    <a:gd name="T7" fmla="*/ 9 h 358"/>
                    <a:gd name="T8" fmla="*/ 3 w 631"/>
                    <a:gd name="T9" fmla="*/ 9 h 358"/>
                    <a:gd name="T10" fmla="*/ 4 w 631"/>
                    <a:gd name="T11" fmla="*/ 9 h 358"/>
                    <a:gd name="T12" fmla="*/ 4 w 631"/>
                    <a:gd name="T13" fmla="*/ 8 h 358"/>
                    <a:gd name="T14" fmla="*/ 5 w 631"/>
                    <a:gd name="T15" fmla="*/ 8 h 358"/>
                    <a:gd name="T16" fmla="*/ 6 w 631"/>
                    <a:gd name="T17" fmla="*/ 7 h 358"/>
                    <a:gd name="T18" fmla="*/ 7 w 631"/>
                    <a:gd name="T19" fmla="*/ 7 h 358"/>
                    <a:gd name="T20" fmla="*/ 9 w 631"/>
                    <a:gd name="T21" fmla="*/ 6 h 358"/>
                    <a:gd name="T22" fmla="*/ 11 w 631"/>
                    <a:gd name="T23" fmla="*/ 5 h 358"/>
                    <a:gd name="T24" fmla="*/ 12 w 631"/>
                    <a:gd name="T25" fmla="*/ 5 h 358"/>
                    <a:gd name="T26" fmla="*/ 13 w 631"/>
                    <a:gd name="T27" fmla="*/ 5 h 358"/>
                    <a:gd name="T28" fmla="*/ 13 w 631"/>
                    <a:gd name="T29" fmla="*/ 5 h 358"/>
                    <a:gd name="T30" fmla="*/ 14 w 631"/>
                    <a:gd name="T31" fmla="*/ 4 h 358"/>
                    <a:gd name="T32" fmla="*/ 15 w 631"/>
                    <a:gd name="T33" fmla="*/ 3 h 358"/>
                    <a:gd name="T34" fmla="*/ 16 w 631"/>
                    <a:gd name="T35" fmla="*/ 2 h 358"/>
                    <a:gd name="T36" fmla="*/ 17 w 631"/>
                    <a:gd name="T37" fmla="*/ 2 h 358"/>
                    <a:gd name="T38" fmla="*/ 18 w 631"/>
                    <a:gd name="T39" fmla="*/ 1 h 358"/>
                    <a:gd name="T40" fmla="*/ 19 w 631"/>
                    <a:gd name="T41" fmla="*/ 0 h 358"/>
                    <a:gd name="T42" fmla="*/ 20 w 631"/>
                    <a:gd name="T43" fmla="*/ 0 h 358"/>
                    <a:gd name="T44" fmla="*/ 20 w 631"/>
                    <a:gd name="T45" fmla="*/ 1 h 358"/>
                    <a:gd name="T46" fmla="*/ 20 w 631"/>
                    <a:gd name="T47" fmla="*/ 1 h 358"/>
                    <a:gd name="T48" fmla="*/ 20 w 631"/>
                    <a:gd name="T49" fmla="*/ 2 h 358"/>
                    <a:gd name="T50" fmla="*/ 20 w 631"/>
                    <a:gd name="T51" fmla="*/ 3 h 358"/>
                    <a:gd name="T52" fmla="*/ 19 w 631"/>
                    <a:gd name="T53" fmla="*/ 4 h 358"/>
                    <a:gd name="T54" fmla="*/ 17 w 631"/>
                    <a:gd name="T55" fmla="*/ 5 h 358"/>
                    <a:gd name="T56" fmla="*/ 16 w 631"/>
                    <a:gd name="T57" fmla="*/ 6 h 358"/>
                    <a:gd name="T58" fmla="*/ 14 w 631"/>
                    <a:gd name="T59" fmla="*/ 6 h 358"/>
                    <a:gd name="T60" fmla="*/ 14 w 631"/>
                    <a:gd name="T61" fmla="*/ 7 h 358"/>
                    <a:gd name="T62" fmla="*/ 14 w 631"/>
                    <a:gd name="T63" fmla="*/ 7 h 358"/>
                    <a:gd name="T64" fmla="*/ 13 w 631"/>
                    <a:gd name="T65" fmla="*/ 7 h 358"/>
                    <a:gd name="T66" fmla="*/ 12 w 631"/>
                    <a:gd name="T67" fmla="*/ 8 h 358"/>
                    <a:gd name="T68" fmla="*/ 12 w 631"/>
                    <a:gd name="T69" fmla="*/ 8 h 358"/>
                    <a:gd name="T70" fmla="*/ 11 w 631"/>
                    <a:gd name="T71" fmla="*/ 7 h 358"/>
                    <a:gd name="T72" fmla="*/ 10 w 631"/>
                    <a:gd name="T73" fmla="*/ 8 h 358"/>
                    <a:gd name="T74" fmla="*/ 9 w 631"/>
                    <a:gd name="T75" fmla="*/ 10 h 358"/>
                    <a:gd name="T76" fmla="*/ 7 w 631"/>
                    <a:gd name="T77" fmla="*/ 11 h 358"/>
                    <a:gd name="T78" fmla="*/ 5 w 631"/>
                    <a:gd name="T79" fmla="*/ 12 h 358"/>
                    <a:gd name="T80" fmla="*/ 4 w 631"/>
                    <a:gd name="T81" fmla="*/ 12 h 358"/>
                    <a:gd name="T82" fmla="*/ 2 w 631"/>
                    <a:gd name="T83" fmla="*/ 12 h 358"/>
                    <a:gd name="T84" fmla="*/ 2 w 631"/>
                    <a:gd name="T85" fmla="*/ 12 h 358"/>
                    <a:gd name="T86" fmla="*/ 1 w 631"/>
                    <a:gd name="T87" fmla="*/ 12 h 35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631" h="358">
                      <a:moveTo>
                        <a:pt x="0" y="327"/>
                      </a:moveTo>
                      <a:lnTo>
                        <a:pt x="7" y="297"/>
                      </a:lnTo>
                      <a:lnTo>
                        <a:pt x="24" y="296"/>
                      </a:lnTo>
                      <a:lnTo>
                        <a:pt x="39" y="293"/>
                      </a:lnTo>
                      <a:lnTo>
                        <a:pt x="44" y="292"/>
                      </a:lnTo>
                      <a:lnTo>
                        <a:pt x="50" y="290"/>
                      </a:lnTo>
                      <a:lnTo>
                        <a:pt x="54" y="287"/>
                      </a:lnTo>
                      <a:lnTo>
                        <a:pt x="58" y="285"/>
                      </a:lnTo>
                      <a:lnTo>
                        <a:pt x="65" y="277"/>
                      </a:lnTo>
                      <a:lnTo>
                        <a:pt x="70" y="270"/>
                      </a:lnTo>
                      <a:lnTo>
                        <a:pt x="75" y="262"/>
                      </a:lnTo>
                      <a:lnTo>
                        <a:pt x="79" y="253"/>
                      </a:lnTo>
                      <a:lnTo>
                        <a:pt x="87" y="255"/>
                      </a:lnTo>
                      <a:lnTo>
                        <a:pt x="93" y="256"/>
                      </a:lnTo>
                      <a:lnTo>
                        <a:pt x="100" y="256"/>
                      </a:lnTo>
                      <a:lnTo>
                        <a:pt x="106" y="256"/>
                      </a:lnTo>
                      <a:lnTo>
                        <a:pt x="116" y="254"/>
                      </a:lnTo>
                      <a:lnTo>
                        <a:pt x="126" y="253"/>
                      </a:lnTo>
                      <a:lnTo>
                        <a:pt x="131" y="252"/>
                      </a:lnTo>
                      <a:lnTo>
                        <a:pt x="136" y="250"/>
                      </a:lnTo>
                      <a:lnTo>
                        <a:pt x="141" y="247"/>
                      </a:lnTo>
                      <a:lnTo>
                        <a:pt x="145" y="244"/>
                      </a:lnTo>
                      <a:lnTo>
                        <a:pt x="153" y="237"/>
                      </a:lnTo>
                      <a:lnTo>
                        <a:pt x="162" y="229"/>
                      </a:lnTo>
                      <a:lnTo>
                        <a:pt x="168" y="220"/>
                      </a:lnTo>
                      <a:lnTo>
                        <a:pt x="175" y="213"/>
                      </a:lnTo>
                      <a:lnTo>
                        <a:pt x="180" y="208"/>
                      </a:lnTo>
                      <a:lnTo>
                        <a:pt x="186" y="204"/>
                      </a:lnTo>
                      <a:lnTo>
                        <a:pt x="199" y="198"/>
                      </a:lnTo>
                      <a:lnTo>
                        <a:pt x="211" y="192"/>
                      </a:lnTo>
                      <a:lnTo>
                        <a:pt x="223" y="187"/>
                      </a:lnTo>
                      <a:lnTo>
                        <a:pt x="235" y="182"/>
                      </a:lnTo>
                      <a:lnTo>
                        <a:pt x="260" y="175"/>
                      </a:lnTo>
                      <a:lnTo>
                        <a:pt x="283" y="167"/>
                      </a:lnTo>
                      <a:lnTo>
                        <a:pt x="308" y="160"/>
                      </a:lnTo>
                      <a:lnTo>
                        <a:pt x="329" y="152"/>
                      </a:lnTo>
                      <a:lnTo>
                        <a:pt x="340" y="147"/>
                      </a:lnTo>
                      <a:lnTo>
                        <a:pt x="351" y="142"/>
                      </a:lnTo>
                      <a:lnTo>
                        <a:pt x="361" y="137"/>
                      </a:lnTo>
                      <a:lnTo>
                        <a:pt x="372" y="130"/>
                      </a:lnTo>
                      <a:lnTo>
                        <a:pt x="382" y="130"/>
                      </a:lnTo>
                      <a:lnTo>
                        <a:pt x="392" y="130"/>
                      </a:lnTo>
                      <a:lnTo>
                        <a:pt x="396" y="130"/>
                      </a:lnTo>
                      <a:lnTo>
                        <a:pt x="401" y="129"/>
                      </a:lnTo>
                      <a:lnTo>
                        <a:pt x="406" y="127"/>
                      </a:lnTo>
                      <a:lnTo>
                        <a:pt x="413" y="124"/>
                      </a:lnTo>
                      <a:lnTo>
                        <a:pt x="426" y="117"/>
                      </a:lnTo>
                      <a:lnTo>
                        <a:pt x="440" y="107"/>
                      </a:lnTo>
                      <a:lnTo>
                        <a:pt x="454" y="97"/>
                      </a:lnTo>
                      <a:lnTo>
                        <a:pt x="465" y="86"/>
                      </a:lnTo>
                      <a:lnTo>
                        <a:pt x="469" y="80"/>
                      </a:lnTo>
                      <a:lnTo>
                        <a:pt x="473" y="74"/>
                      </a:lnTo>
                      <a:lnTo>
                        <a:pt x="477" y="69"/>
                      </a:lnTo>
                      <a:lnTo>
                        <a:pt x="478" y="63"/>
                      </a:lnTo>
                      <a:lnTo>
                        <a:pt x="488" y="62"/>
                      </a:lnTo>
                      <a:lnTo>
                        <a:pt x="496" y="61"/>
                      </a:lnTo>
                      <a:lnTo>
                        <a:pt x="504" y="58"/>
                      </a:lnTo>
                      <a:lnTo>
                        <a:pt x="512" y="54"/>
                      </a:lnTo>
                      <a:lnTo>
                        <a:pt x="525" y="46"/>
                      </a:lnTo>
                      <a:lnTo>
                        <a:pt x="537" y="36"/>
                      </a:lnTo>
                      <a:lnTo>
                        <a:pt x="549" y="26"/>
                      </a:lnTo>
                      <a:lnTo>
                        <a:pt x="561" y="16"/>
                      </a:lnTo>
                      <a:lnTo>
                        <a:pt x="568" y="11"/>
                      </a:lnTo>
                      <a:lnTo>
                        <a:pt x="575" y="7"/>
                      </a:lnTo>
                      <a:lnTo>
                        <a:pt x="583" y="4"/>
                      </a:lnTo>
                      <a:lnTo>
                        <a:pt x="591" y="0"/>
                      </a:lnTo>
                      <a:lnTo>
                        <a:pt x="594" y="10"/>
                      </a:lnTo>
                      <a:lnTo>
                        <a:pt x="597" y="16"/>
                      </a:lnTo>
                      <a:lnTo>
                        <a:pt x="602" y="22"/>
                      </a:lnTo>
                      <a:lnTo>
                        <a:pt x="606" y="25"/>
                      </a:lnTo>
                      <a:lnTo>
                        <a:pt x="612" y="28"/>
                      </a:lnTo>
                      <a:lnTo>
                        <a:pt x="617" y="30"/>
                      </a:lnTo>
                      <a:lnTo>
                        <a:pt x="624" y="31"/>
                      </a:lnTo>
                      <a:lnTo>
                        <a:pt x="631" y="31"/>
                      </a:lnTo>
                      <a:lnTo>
                        <a:pt x="625" y="46"/>
                      </a:lnTo>
                      <a:lnTo>
                        <a:pt x="618" y="61"/>
                      </a:lnTo>
                      <a:lnTo>
                        <a:pt x="611" y="75"/>
                      </a:lnTo>
                      <a:lnTo>
                        <a:pt x="601" y="88"/>
                      </a:lnTo>
                      <a:lnTo>
                        <a:pt x="591" y="101"/>
                      </a:lnTo>
                      <a:lnTo>
                        <a:pt x="580" y="114"/>
                      </a:lnTo>
                      <a:lnTo>
                        <a:pt x="568" y="125"/>
                      </a:lnTo>
                      <a:lnTo>
                        <a:pt x="556" y="136"/>
                      </a:lnTo>
                      <a:lnTo>
                        <a:pt x="543" y="145"/>
                      </a:lnTo>
                      <a:lnTo>
                        <a:pt x="529" y="154"/>
                      </a:lnTo>
                      <a:lnTo>
                        <a:pt x="515" y="161"/>
                      </a:lnTo>
                      <a:lnTo>
                        <a:pt x="501" y="167"/>
                      </a:lnTo>
                      <a:lnTo>
                        <a:pt x="487" y="173"/>
                      </a:lnTo>
                      <a:lnTo>
                        <a:pt x="473" y="177"/>
                      </a:lnTo>
                      <a:lnTo>
                        <a:pt x="459" y="179"/>
                      </a:lnTo>
                      <a:lnTo>
                        <a:pt x="445" y="180"/>
                      </a:lnTo>
                      <a:lnTo>
                        <a:pt x="443" y="189"/>
                      </a:lnTo>
                      <a:lnTo>
                        <a:pt x="439" y="195"/>
                      </a:lnTo>
                      <a:lnTo>
                        <a:pt x="438" y="197"/>
                      </a:lnTo>
                      <a:lnTo>
                        <a:pt x="436" y="199"/>
                      </a:lnTo>
                      <a:lnTo>
                        <a:pt x="435" y="200"/>
                      </a:lnTo>
                      <a:lnTo>
                        <a:pt x="433" y="200"/>
                      </a:lnTo>
                      <a:lnTo>
                        <a:pt x="422" y="199"/>
                      </a:lnTo>
                      <a:lnTo>
                        <a:pt x="405" y="198"/>
                      </a:lnTo>
                      <a:lnTo>
                        <a:pt x="395" y="199"/>
                      </a:lnTo>
                      <a:lnTo>
                        <a:pt x="385" y="202"/>
                      </a:lnTo>
                      <a:lnTo>
                        <a:pt x="376" y="206"/>
                      </a:lnTo>
                      <a:lnTo>
                        <a:pt x="367" y="210"/>
                      </a:lnTo>
                      <a:lnTo>
                        <a:pt x="358" y="213"/>
                      </a:lnTo>
                      <a:lnTo>
                        <a:pt x="351" y="213"/>
                      </a:lnTo>
                      <a:lnTo>
                        <a:pt x="347" y="212"/>
                      </a:lnTo>
                      <a:lnTo>
                        <a:pt x="344" y="211"/>
                      </a:lnTo>
                      <a:lnTo>
                        <a:pt x="342" y="208"/>
                      </a:lnTo>
                      <a:lnTo>
                        <a:pt x="338" y="204"/>
                      </a:lnTo>
                      <a:lnTo>
                        <a:pt x="333" y="216"/>
                      </a:lnTo>
                      <a:lnTo>
                        <a:pt x="324" y="229"/>
                      </a:lnTo>
                      <a:lnTo>
                        <a:pt x="313" y="241"/>
                      </a:lnTo>
                      <a:lnTo>
                        <a:pt x="301" y="254"/>
                      </a:lnTo>
                      <a:lnTo>
                        <a:pt x="288" y="267"/>
                      </a:lnTo>
                      <a:lnTo>
                        <a:pt x="272" y="280"/>
                      </a:lnTo>
                      <a:lnTo>
                        <a:pt x="256" y="293"/>
                      </a:lnTo>
                      <a:lnTo>
                        <a:pt x="238" y="304"/>
                      </a:lnTo>
                      <a:lnTo>
                        <a:pt x="220" y="315"/>
                      </a:lnTo>
                      <a:lnTo>
                        <a:pt x="202" y="325"/>
                      </a:lnTo>
                      <a:lnTo>
                        <a:pt x="182" y="334"/>
                      </a:lnTo>
                      <a:lnTo>
                        <a:pt x="164" y="343"/>
                      </a:lnTo>
                      <a:lnTo>
                        <a:pt x="145" y="349"/>
                      </a:lnTo>
                      <a:lnTo>
                        <a:pt x="127" y="354"/>
                      </a:lnTo>
                      <a:lnTo>
                        <a:pt x="110" y="357"/>
                      </a:lnTo>
                      <a:lnTo>
                        <a:pt x="93" y="358"/>
                      </a:lnTo>
                      <a:lnTo>
                        <a:pt x="80" y="358"/>
                      </a:lnTo>
                      <a:lnTo>
                        <a:pt x="71" y="356"/>
                      </a:lnTo>
                      <a:lnTo>
                        <a:pt x="65" y="354"/>
                      </a:lnTo>
                      <a:lnTo>
                        <a:pt x="60" y="351"/>
                      </a:lnTo>
                      <a:lnTo>
                        <a:pt x="56" y="348"/>
                      </a:lnTo>
                      <a:lnTo>
                        <a:pt x="51" y="345"/>
                      </a:lnTo>
                      <a:lnTo>
                        <a:pt x="44" y="343"/>
                      </a:lnTo>
                      <a:lnTo>
                        <a:pt x="33" y="340"/>
                      </a:lnTo>
                      <a:lnTo>
                        <a:pt x="0" y="327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7" name="Freeform 76"/>
                <p:cNvSpPr>
                  <a:spLocks/>
                </p:cNvSpPr>
                <p:nvPr/>
              </p:nvSpPr>
              <p:spPr bwMode="auto">
                <a:xfrm>
                  <a:off x="5597" y="3323"/>
                  <a:ext cx="116" cy="141"/>
                </a:xfrm>
                <a:custGeom>
                  <a:avLst/>
                  <a:gdLst>
                    <a:gd name="T0" fmla="*/ 2 w 359"/>
                    <a:gd name="T1" fmla="*/ 10 h 431"/>
                    <a:gd name="T2" fmla="*/ 3 w 359"/>
                    <a:gd name="T3" fmla="*/ 9 h 431"/>
                    <a:gd name="T4" fmla="*/ 5 w 359"/>
                    <a:gd name="T5" fmla="*/ 7 h 431"/>
                    <a:gd name="T6" fmla="*/ 6 w 359"/>
                    <a:gd name="T7" fmla="*/ 6 h 431"/>
                    <a:gd name="T8" fmla="*/ 6 w 359"/>
                    <a:gd name="T9" fmla="*/ 5 h 431"/>
                    <a:gd name="T10" fmla="*/ 6 w 359"/>
                    <a:gd name="T11" fmla="*/ 5 h 431"/>
                    <a:gd name="T12" fmla="*/ 6 w 359"/>
                    <a:gd name="T13" fmla="*/ 4 h 431"/>
                    <a:gd name="T14" fmla="*/ 6 w 359"/>
                    <a:gd name="T15" fmla="*/ 3 h 431"/>
                    <a:gd name="T16" fmla="*/ 6 w 359"/>
                    <a:gd name="T17" fmla="*/ 1 h 431"/>
                    <a:gd name="T18" fmla="*/ 6 w 359"/>
                    <a:gd name="T19" fmla="*/ 0 h 431"/>
                    <a:gd name="T20" fmla="*/ 6 w 359"/>
                    <a:gd name="T21" fmla="*/ 0 h 431"/>
                    <a:gd name="T22" fmla="*/ 7 w 359"/>
                    <a:gd name="T23" fmla="*/ 1 h 431"/>
                    <a:gd name="T24" fmla="*/ 8 w 359"/>
                    <a:gd name="T25" fmla="*/ 2 h 431"/>
                    <a:gd name="T26" fmla="*/ 8 w 359"/>
                    <a:gd name="T27" fmla="*/ 3 h 431"/>
                    <a:gd name="T28" fmla="*/ 8 w 359"/>
                    <a:gd name="T29" fmla="*/ 3 h 431"/>
                    <a:gd name="T30" fmla="*/ 8 w 359"/>
                    <a:gd name="T31" fmla="*/ 4 h 431"/>
                    <a:gd name="T32" fmla="*/ 7 w 359"/>
                    <a:gd name="T33" fmla="*/ 4 h 431"/>
                    <a:gd name="T34" fmla="*/ 7 w 359"/>
                    <a:gd name="T35" fmla="*/ 5 h 431"/>
                    <a:gd name="T36" fmla="*/ 7 w 359"/>
                    <a:gd name="T37" fmla="*/ 5 h 431"/>
                    <a:gd name="T38" fmla="*/ 7 w 359"/>
                    <a:gd name="T39" fmla="*/ 6 h 431"/>
                    <a:gd name="T40" fmla="*/ 8 w 359"/>
                    <a:gd name="T41" fmla="*/ 6 h 431"/>
                    <a:gd name="T42" fmla="*/ 8 w 359"/>
                    <a:gd name="T43" fmla="*/ 5 h 431"/>
                    <a:gd name="T44" fmla="*/ 8 w 359"/>
                    <a:gd name="T45" fmla="*/ 5 h 431"/>
                    <a:gd name="T46" fmla="*/ 9 w 359"/>
                    <a:gd name="T47" fmla="*/ 7 h 431"/>
                    <a:gd name="T48" fmla="*/ 9 w 359"/>
                    <a:gd name="T49" fmla="*/ 7 h 431"/>
                    <a:gd name="T50" fmla="*/ 10 w 359"/>
                    <a:gd name="T51" fmla="*/ 8 h 431"/>
                    <a:gd name="T52" fmla="*/ 10 w 359"/>
                    <a:gd name="T53" fmla="*/ 8 h 431"/>
                    <a:gd name="T54" fmla="*/ 11 w 359"/>
                    <a:gd name="T55" fmla="*/ 7 h 431"/>
                    <a:gd name="T56" fmla="*/ 12 w 359"/>
                    <a:gd name="T57" fmla="*/ 7 h 431"/>
                    <a:gd name="T58" fmla="*/ 12 w 359"/>
                    <a:gd name="T59" fmla="*/ 7 h 431"/>
                    <a:gd name="T60" fmla="*/ 12 w 359"/>
                    <a:gd name="T61" fmla="*/ 9 h 431"/>
                    <a:gd name="T62" fmla="*/ 11 w 359"/>
                    <a:gd name="T63" fmla="*/ 9 h 431"/>
                    <a:gd name="T64" fmla="*/ 10 w 359"/>
                    <a:gd name="T65" fmla="*/ 9 h 431"/>
                    <a:gd name="T66" fmla="*/ 8 w 359"/>
                    <a:gd name="T67" fmla="*/ 10 h 431"/>
                    <a:gd name="T68" fmla="*/ 7 w 359"/>
                    <a:gd name="T69" fmla="*/ 10 h 431"/>
                    <a:gd name="T70" fmla="*/ 6 w 359"/>
                    <a:gd name="T71" fmla="*/ 11 h 431"/>
                    <a:gd name="T72" fmla="*/ 6 w 359"/>
                    <a:gd name="T73" fmla="*/ 12 h 431"/>
                    <a:gd name="T74" fmla="*/ 5 w 359"/>
                    <a:gd name="T75" fmla="*/ 12 h 431"/>
                    <a:gd name="T76" fmla="*/ 4 w 359"/>
                    <a:gd name="T77" fmla="*/ 14 h 431"/>
                    <a:gd name="T78" fmla="*/ 2 w 359"/>
                    <a:gd name="T79" fmla="*/ 15 h 431"/>
                    <a:gd name="T80" fmla="*/ 1 w 359"/>
                    <a:gd name="T81" fmla="*/ 15 h 431"/>
                    <a:gd name="T82" fmla="*/ 0 w 359"/>
                    <a:gd name="T83" fmla="*/ 15 h 431"/>
                    <a:gd name="T84" fmla="*/ 0 w 359"/>
                    <a:gd name="T85" fmla="*/ 14 h 431"/>
                    <a:gd name="T86" fmla="*/ 0 w 359"/>
                    <a:gd name="T87" fmla="*/ 14 h 431"/>
                    <a:gd name="T88" fmla="*/ 0 w 359"/>
                    <a:gd name="T89" fmla="*/ 14 h 431"/>
                    <a:gd name="T90" fmla="*/ 2 w 359"/>
                    <a:gd name="T91" fmla="*/ 13 h 431"/>
                    <a:gd name="T92" fmla="*/ 3 w 359"/>
                    <a:gd name="T93" fmla="*/ 12 h 431"/>
                    <a:gd name="T94" fmla="*/ 2 w 359"/>
                    <a:gd name="T95" fmla="*/ 12 h 431"/>
                    <a:gd name="T96" fmla="*/ 2 w 359"/>
                    <a:gd name="T97" fmla="*/ 11 h 431"/>
                    <a:gd name="T98" fmla="*/ 2 w 359"/>
                    <a:gd name="T99" fmla="*/ 11 h 431"/>
                    <a:gd name="T100" fmla="*/ 1 w 359"/>
                    <a:gd name="T101" fmla="*/ 11 h 431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359" h="431">
                      <a:moveTo>
                        <a:pt x="39" y="296"/>
                      </a:moveTo>
                      <a:lnTo>
                        <a:pt x="50" y="292"/>
                      </a:lnTo>
                      <a:lnTo>
                        <a:pt x="60" y="288"/>
                      </a:lnTo>
                      <a:lnTo>
                        <a:pt x="70" y="284"/>
                      </a:lnTo>
                      <a:lnTo>
                        <a:pt x="79" y="279"/>
                      </a:lnTo>
                      <a:lnTo>
                        <a:pt x="95" y="269"/>
                      </a:lnTo>
                      <a:lnTo>
                        <a:pt x="110" y="257"/>
                      </a:lnTo>
                      <a:lnTo>
                        <a:pt x="138" y="233"/>
                      </a:lnTo>
                      <a:lnTo>
                        <a:pt x="165" y="209"/>
                      </a:lnTo>
                      <a:lnTo>
                        <a:pt x="166" y="198"/>
                      </a:lnTo>
                      <a:lnTo>
                        <a:pt x="170" y="175"/>
                      </a:lnTo>
                      <a:lnTo>
                        <a:pt x="172" y="168"/>
                      </a:lnTo>
                      <a:lnTo>
                        <a:pt x="174" y="162"/>
                      </a:lnTo>
                      <a:lnTo>
                        <a:pt x="176" y="156"/>
                      </a:lnTo>
                      <a:lnTo>
                        <a:pt x="180" y="149"/>
                      </a:lnTo>
                      <a:lnTo>
                        <a:pt x="183" y="144"/>
                      </a:lnTo>
                      <a:lnTo>
                        <a:pt x="188" y="140"/>
                      </a:lnTo>
                      <a:lnTo>
                        <a:pt x="193" y="137"/>
                      </a:lnTo>
                      <a:lnTo>
                        <a:pt x="199" y="135"/>
                      </a:lnTo>
                      <a:lnTo>
                        <a:pt x="194" y="131"/>
                      </a:lnTo>
                      <a:lnTo>
                        <a:pt x="190" y="126"/>
                      </a:lnTo>
                      <a:lnTo>
                        <a:pt x="186" y="119"/>
                      </a:lnTo>
                      <a:lnTo>
                        <a:pt x="184" y="112"/>
                      </a:lnTo>
                      <a:lnTo>
                        <a:pt x="179" y="94"/>
                      </a:lnTo>
                      <a:lnTo>
                        <a:pt x="175" y="75"/>
                      </a:lnTo>
                      <a:lnTo>
                        <a:pt x="174" y="54"/>
                      </a:lnTo>
                      <a:lnTo>
                        <a:pt x="173" y="34"/>
                      </a:lnTo>
                      <a:lnTo>
                        <a:pt x="172" y="16"/>
                      </a:lnTo>
                      <a:lnTo>
                        <a:pt x="172" y="0"/>
                      </a:lnTo>
                      <a:lnTo>
                        <a:pt x="182" y="0"/>
                      </a:lnTo>
                      <a:lnTo>
                        <a:pt x="192" y="0"/>
                      </a:lnTo>
                      <a:lnTo>
                        <a:pt x="193" y="6"/>
                      </a:lnTo>
                      <a:lnTo>
                        <a:pt x="194" y="11"/>
                      </a:lnTo>
                      <a:lnTo>
                        <a:pt x="196" y="16"/>
                      </a:lnTo>
                      <a:lnTo>
                        <a:pt x="199" y="20"/>
                      </a:lnTo>
                      <a:lnTo>
                        <a:pt x="207" y="29"/>
                      </a:lnTo>
                      <a:lnTo>
                        <a:pt x="216" y="37"/>
                      </a:lnTo>
                      <a:lnTo>
                        <a:pt x="224" y="47"/>
                      </a:lnTo>
                      <a:lnTo>
                        <a:pt x="231" y="56"/>
                      </a:lnTo>
                      <a:lnTo>
                        <a:pt x="235" y="62"/>
                      </a:lnTo>
                      <a:lnTo>
                        <a:pt x="237" y="67"/>
                      </a:lnTo>
                      <a:lnTo>
                        <a:pt x="238" y="73"/>
                      </a:lnTo>
                      <a:lnTo>
                        <a:pt x="239" y="80"/>
                      </a:lnTo>
                      <a:lnTo>
                        <a:pt x="238" y="84"/>
                      </a:lnTo>
                      <a:lnTo>
                        <a:pt x="237" y="88"/>
                      </a:lnTo>
                      <a:lnTo>
                        <a:pt x="235" y="92"/>
                      </a:lnTo>
                      <a:lnTo>
                        <a:pt x="232" y="95"/>
                      </a:lnTo>
                      <a:lnTo>
                        <a:pt x="226" y="102"/>
                      </a:lnTo>
                      <a:lnTo>
                        <a:pt x="219" y="108"/>
                      </a:lnTo>
                      <a:lnTo>
                        <a:pt x="211" y="114"/>
                      </a:lnTo>
                      <a:lnTo>
                        <a:pt x="205" y="120"/>
                      </a:lnTo>
                      <a:lnTo>
                        <a:pt x="203" y="123"/>
                      </a:lnTo>
                      <a:lnTo>
                        <a:pt x="200" y="127"/>
                      </a:lnTo>
                      <a:lnTo>
                        <a:pt x="199" y="131"/>
                      </a:lnTo>
                      <a:lnTo>
                        <a:pt x="199" y="135"/>
                      </a:lnTo>
                      <a:lnTo>
                        <a:pt x="199" y="143"/>
                      </a:lnTo>
                      <a:lnTo>
                        <a:pt x="199" y="149"/>
                      </a:lnTo>
                      <a:lnTo>
                        <a:pt x="200" y="155"/>
                      </a:lnTo>
                      <a:lnTo>
                        <a:pt x="203" y="157"/>
                      </a:lnTo>
                      <a:lnTo>
                        <a:pt x="205" y="159"/>
                      </a:lnTo>
                      <a:lnTo>
                        <a:pt x="210" y="160"/>
                      </a:lnTo>
                      <a:lnTo>
                        <a:pt x="217" y="160"/>
                      </a:lnTo>
                      <a:lnTo>
                        <a:pt x="226" y="160"/>
                      </a:lnTo>
                      <a:lnTo>
                        <a:pt x="229" y="160"/>
                      </a:lnTo>
                      <a:lnTo>
                        <a:pt x="232" y="158"/>
                      </a:lnTo>
                      <a:lnTo>
                        <a:pt x="233" y="153"/>
                      </a:lnTo>
                      <a:lnTo>
                        <a:pt x="233" y="150"/>
                      </a:lnTo>
                      <a:lnTo>
                        <a:pt x="233" y="142"/>
                      </a:lnTo>
                      <a:lnTo>
                        <a:pt x="232" y="135"/>
                      </a:lnTo>
                      <a:lnTo>
                        <a:pt x="244" y="163"/>
                      </a:lnTo>
                      <a:lnTo>
                        <a:pt x="255" y="188"/>
                      </a:lnTo>
                      <a:lnTo>
                        <a:pt x="259" y="193"/>
                      </a:lnTo>
                      <a:lnTo>
                        <a:pt x="262" y="198"/>
                      </a:lnTo>
                      <a:lnTo>
                        <a:pt x="266" y="203"/>
                      </a:lnTo>
                      <a:lnTo>
                        <a:pt x="271" y="208"/>
                      </a:lnTo>
                      <a:lnTo>
                        <a:pt x="276" y="213"/>
                      </a:lnTo>
                      <a:lnTo>
                        <a:pt x="283" y="216"/>
                      </a:lnTo>
                      <a:lnTo>
                        <a:pt x="291" y="219"/>
                      </a:lnTo>
                      <a:lnTo>
                        <a:pt x="298" y="222"/>
                      </a:lnTo>
                      <a:lnTo>
                        <a:pt x="299" y="220"/>
                      </a:lnTo>
                      <a:lnTo>
                        <a:pt x="300" y="217"/>
                      </a:lnTo>
                      <a:lnTo>
                        <a:pt x="303" y="215"/>
                      </a:lnTo>
                      <a:lnTo>
                        <a:pt x="305" y="212"/>
                      </a:lnTo>
                      <a:lnTo>
                        <a:pt x="312" y="206"/>
                      </a:lnTo>
                      <a:lnTo>
                        <a:pt x="321" y="201"/>
                      </a:lnTo>
                      <a:lnTo>
                        <a:pt x="331" y="197"/>
                      </a:lnTo>
                      <a:lnTo>
                        <a:pt x="341" y="194"/>
                      </a:lnTo>
                      <a:lnTo>
                        <a:pt x="350" y="192"/>
                      </a:lnTo>
                      <a:lnTo>
                        <a:pt x="359" y="191"/>
                      </a:lnTo>
                      <a:lnTo>
                        <a:pt x="355" y="206"/>
                      </a:lnTo>
                      <a:lnTo>
                        <a:pt x="352" y="219"/>
                      </a:lnTo>
                      <a:lnTo>
                        <a:pt x="348" y="231"/>
                      </a:lnTo>
                      <a:lnTo>
                        <a:pt x="342" y="240"/>
                      </a:lnTo>
                      <a:lnTo>
                        <a:pt x="336" y="248"/>
                      </a:lnTo>
                      <a:lnTo>
                        <a:pt x="329" y="255"/>
                      </a:lnTo>
                      <a:lnTo>
                        <a:pt x="321" y="261"/>
                      </a:lnTo>
                      <a:lnTo>
                        <a:pt x="314" y="267"/>
                      </a:lnTo>
                      <a:lnTo>
                        <a:pt x="305" y="271"/>
                      </a:lnTo>
                      <a:lnTo>
                        <a:pt x="295" y="275"/>
                      </a:lnTo>
                      <a:lnTo>
                        <a:pt x="284" y="278"/>
                      </a:lnTo>
                      <a:lnTo>
                        <a:pt x="272" y="281"/>
                      </a:lnTo>
                      <a:lnTo>
                        <a:pt x="247" y="288"/>
                      </a:lnTo>
                      <a:lnTo>
                        <a:pt x="219" y="296"/>
                      </a:lnTo>
                      <a:lnTo>
                        <a:pt x="213" y="297"/>
                      </a:lnTo>
                      <a:lnTo>
                        <a:pt x="208" y="299"/>
                      </a:lnTo>
                      <a:lnTo>
                        <a:pt x="204" y="301"/>
                      </a:lnTo>
                      <a:lnTo>
                        <a:pt x="199" y="303"/>
                      </a:lnTo>
                      <a:lnTo>
                        <a:pt x="193" y="308"/>
                      </a:lnTo>
                      <a:lnTo>
                        <a:pt x="188" y="314"/>
                      </a:lnTo>
                      <a:lnTo>
                        <a:pt x="183" y="328"/>
                      </a:lnTo>
                      <a:lnTo>
                        <a:pt x="179" y="339"/>
                      </a:lnTo>
                      <a:lnTo>
                        <a:pt x="175" y="344"/>
                      </a:lnTo>
                      <a:lnTo>
                        <a:pt x="170" y="350"/>
                      </a:lnTo>
                      <a:lnTo>
                        <a:pt x="163" y="356"/>
                      </a:lnTo>
                      <a:lnTo>
                        <a:pt x="154" y="363"/>
                      </a:lnTo>
                      <a:lnTo>
                        <a:pt x="134" y="379"/>
                      </a:lnTo>
                      <a:lnTo>
                        <a:pt x="109" y="394"/>
                      </a:lnTo>
                      <a:lnTo>
                        <a:pt x="84" y="408"/>
                      </a:lnTo>
                      <a:lnTo>
                        <a:pt x="59" y="420"/>
                      </a:lnTo>
                      <a:lnTo>
                        <a:pt x="48" y="424"/>
                      </a:lnTo>
                      <a:lnTo>
                        <a:pt x="37" y="428"/>
                      </a:lnTo>
                      <a:lnTo>
                        <a:pt x="28" y="430"/>
                      </a:lnTo>
                      <a:lnTo>
                        <a:pt x="19" y="431"/>
                      </a:lnTo>
                      <a:lnTo>
                        <a:pt x="15" y="430"/>
                      </a:lnTo>
                      <a:lnTo>
                        <a:pt x="11" y="429"/>
                      </a:lnTo>
                      <a:lnTo>
                        <a:pt x="7" y="426"/>
                      </a:lnTo>
                      <a:lnTo>
                        <a:pt x="5" y="423"/>
                      </a:lnTo>
                      <a:lnTo>
                        <a:pt x="3" y="420"/>
                      </a:lnTo>
                      <a:lnTo>
                        <a:pt x="1" y="415"/>
                      </a:lnTo>
                      <a:lnTo>
                        <a:pt x="0" y="411"/>
                      </a:lnTo>
                      <a:lnTo>
                        <a:pt x="0" y="406"/>
                      </a:lnTo>
                      <a:lnTo>
                        <a:pt x="1" y="402"/>
                      </a:lnTo>
                      <a:lnTo>
                        <a:pt x="2" y="398"/>
                      </a:lnTo>
                      <a:lnTo>
                        <a:pt x="5" y="395"/>
                      </a:lnTo>
                      <a:lnTo>
                        <a:pt x="9" y="391"/>
                      </a:lnTo>
                      <a:lnTo>
                        <a:pt x="19" y="386"/>
                      </a:lnTo>
                      <a:lnTo>
                        <a:pt x="31" y="382"/>
                      </a:lnTo>
                      <a:lnTo>
                        <a:pt x="56" y="374"/>
                      </a:lnTo>
                      <a:lnTo>
                        <a:pt x="73" y="369"/>
                      </a:lnTo>
                      <a:lnTo>
                        <a:pt x="73" y="360"/>
                      </a:lnTo>
                      <a:lnTo>
                        <a:pt x="73" y="351"/>
                      </a:lnTo>
                      <a:lnTo>
                        <a:pt x="72" y="345"/>
                      </a:lnTo>
                      <a:lnTo>
                        <a:pt x="72" y="339"/>
                      </a:lnTo>
                      <a:lnTo>
                        <a:pt x="71" y="335"/>
                      </a:lnTo>
                      <a:lnTo>
                        <a:pt x="69" y="331"/>
                      </a:lnTo>
                      <a:lnTo>
                        <a:pt x="67" y="328"/>
                      </a:lnTo>
                      <a:lnTo>
                        <a:pt x="64" y="326"/>
                      </a:lnTo>
                      <a:lnTo>
                        <a:pt x="62" y="324"/>
                      </a:lnTo>
                      <a:lnTo>
                        <a:pt x="59" y="322"/>
                      </a:lnTo>
                      <a:lnTo>
                        <a:pt x="51" y="320"/>
                      </a:lnTo>
                      <a:lnTo>
                        <a:pt x="41" y="319"/>
                      </a:lnTo>
                      <a:lnTo>
                        <a:pt x="31" y="320"/>
                      </a:lnTo>
                      <a:lnTo>
                        <a:pt x="19" y="320"/>
                      </a:lnTo>
                      <a:lnTo>
                        <a:pt x="39" y="29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31" name="Freeform 77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3362255" y="3874660"/>
                <a:ext cx="9525" cy="57150"/>
              </a:xfrm>
              <a:custGeom>
                <a:avLst/>
                <a:gdLst>
                  <a:gd name="T0" fmla="*/ 0 w 21"/>
                  <a:gd name="T1" fmla="*/ 2147483647 h 62"/>
                  <a:gd name="T2" fmla="*/ 93399882 w 21"/>
                  <a:gd name="T3" fmla="*/ 2147483647 h 62"/>
                  <a:gd name="T4" fmla="*/ 279994632 w 21"/>
                  <a:gd name="T5" fmla="*/ 2147483647 h 62"/>
                  <a:gd name="T6" fmla="*/ 373189046 w 21"/>
                  <a:gd name="T7" fmla="*/ 2147483647 h 62"/>
                  <a:gd name="T8" fmla="*/ 559783343 w 21"/>
                  <a:gd name="T9" fmla="*/ 2147483647 h 62"/>
                  <a:gd name="T10" fmla="*/ 839777975 w 21"/>
                  <a:gd name="T11" fmla="*/ 2147483647 h 62"/>
                  <a:gd name="T12" fmla="*/ 1399766786 w 21"/>
                  <a:gd name="T13" fmla="*/ 0 h 62"/>
                  <a:gd name="T14" fmla="*/ 1399766786 w 21"/>
                  <a:gd name="T15" fmla="*/ 2147483647 h 62"/>
                  <a:gd name="T16" fmla="*/ 1679555496 w 21"/>
                  <a:gd name="T17" fmla="*/ 2147483647 h 62"/>
                  <a:gd name="T18" fmla="*/ 1866149793 w 21"/>
                  <a:gd name="T19" fmla="*/ 2147483647 h 62"/>
                  <a:gd name="T20" fmla="*/ 1959550129 w 21"/>
                  <a:gd name="T21" fmla="*/ 2147483647 h 62"/>
                  <a:gd name="T22" fmla="*/ 933177857 w 21"/>
                  <a:gd name="T23" fmla="*/ 2147483647 h 62"/>
                  <a:gd name="T24" fmla="*/ 0 w 21"/>
                  <a:gd name="T25" fmla="*/ 2147483647 h 62"/>
                  <a:gd name="T26" fmla="*/ 0 w 21"/>
                  <a:gd name="T27" fmla="*/ 2147483647 h 6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" h="62">
                    <a:moveTo>
                      <a:pt x="0" y="43"/>
                    </a:moveTo>
                    <a:lnTo>
                      <a:pt x="1" y="29"/>
                    </a:lnTo>
                    <a:lnTo>
                      <a:pt x="3" y="17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18" y="31"/>
                    </a:lnTo>
                    <a:lnTo>
                      <a:pt x="20" y="44"/>
                    </a:lnTo>
                    <a:lnTo>
                      <a:pt x="21" y="49"/>
                    </a:lnTo>
                    <a:lnTo>
                      <a:pt x="10" y="55"/>
                    </a:lnTo>
                    <a:lnTo>
                      <a:pt x="0" y="62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2" name="Freeform 78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4089330" y="4776360"/>
                <a:ext cx="14288" cy="57150"/>
              </a:xfrm>
              <a:custGeom>
                <a:avLst/>
                <a:gdLst>
                  <a:gd name="T0" fmla="*/ 0 w 33"/>
                  <a:gd name="T1" fmla="*/ 0 h 24"/>
                  <a:gd name="T2" fmla="*/ 405856702 w 33"/>
                  <a:gd name="T3" fmla="*/ 2147483647 h 24"/>
                  <a:gd name="T4" fmla="*/ 811713836 w 33"/>
                  <a:gd name="T5" fmla="*/ 2147483647 h 24"/>
                  <a:gd name="T6" fmla="*/ 892885263 w 33"/>
                  <a:gd name="T7" fmla="*/ 2147483647 h 24"/>
                  <a:gd name="T8" fmla="*/ 974056690 w 33"/>
                  <a:gd name="T9" fmla="*/ 2147483647 h 24"/>
                  <a:gd name="T10" fmla="*/ 1055227684 w 33"/>
                  <a:gd name="T11" fmla="*/ 2147483647 h 24"/>
                  <a:gd name="T12" fmla="*/ 1055227684 w 33"/>
                  <a:gd name="T13" fmla="*/ 2147483647 h 24"/>
                  <a:gd name="T14" fmla="*/ 2147483647 w 33"/>
                  <a:gd name="T15" fmla="*/ 0 h 24"/>
                  <a:gd name="T16" fmla="*/ 1947925471 w 33"/>
                  <a:gd name="T17" fmla="*/ 0 h 24"/>
                  <a:gd name="T18" fmla="*/ 1298741965 w 33"/>
                  <a:gd name="T19" fmla="*/ 0 h 24"/>
                  <a:gd name="T20" fmla="*/ 730542409 w 33"/>
                  <a:gd name="T21" fmla="*/ 0 h 24"/>
                  <a:gd name="T22" fmla="*/ 0 w 33"/>
                  <a:gd name="T23" fmla="*/ 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3" h="24">
                    <a:moveTo>
                      <a:pt x="0" y="0"/>
                    </a:moveTo>
                    <a:lnTo>
                      <a:pt x="5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12" y="16"/>
                    </a:lnTo>
                    <a:lnTo>
                      <a:pt x="13" y="20"/>
                    </a:lnTo>
                    <a:lnTo>
                      <a:pt x="13" y="24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3" name="Freeform 79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4111555" y="4785885"/>
                <a:ext cx="17463" cy="58737"/>
              </a:xfrm>
              <a:custGeom>
                <a:avLst/>
                <a:gdLst>
                  <a:gd name="T0" fmla="*/ 2147483647 w 33"/>
                  <a:gd name="T1" fmla="*/ 2147483647 h 25"/>
                  <a:gd name="T2" fmla="*/ 2147483647 w 33"/>
                  <a:gd name="T3" fmla="*/ 2147483647 h 25"/>
                  <a:gd name="T4" fmla="*/ 2147483647 w 33"/>
                  <a:gd name="T5" fmla="*/ 2147483647 h 25"/>
                  <a:gd name="T6" fmla="*/ 2147483647 w 33"/>
                  <a:gd name="T7" fmla="*/ 0 h 25"/>
                  <a:gd name="T8" fmla="*/ 2147483647 w 33"/>
                  <a:gd name="T9" fmla="*/ 0 h 25"/>
                  <a:gd name="T10" fmla="*/ 2147483647 w 33"/>
                  <a:gd name="T11" fmla="*/ 0 h 25"/>
                  <a:gd name="T12" fmla="*/ 889105890 w 33"/>
                  <a:gd name="T13" fmla="*/ 0 h 25"/>
                  <a:gd name="T14" fmla="*/ 0 w 33"/>
                  <a:gd name="T15" fmla="*/ 0 h 25"/>
                  <a:gd name="T16" fmla="*/ 2147483647 w 33"/>
                  <a:gd name="T17" fmla="*/ 2147483647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26" y="25"/>
                    </a:moveTo>
                    <a:lnTo>
                      <a:pt x="29" y="22"/>
                    </a:lnTo>
                    <a:lnTo>
                      <a:pt x="33" y="18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6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4" name="Freeform 80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3425755" y="3863547"/>
                <a:ext cx="1588" cy="55563"/>
              </a:xfrm>
              <a:custGeom>
                <a:avLst/>
                <a:gdLst>
                  <a:gd name="T0" fmla="*/ 0 w 7"/>
                  <a:gd name="T1" fmla="*/ 0 h 55563"/>
                  <a:gd name="T2" fmla="*/ 81725059 w 7"/>
                  <a:gd name="T3" fmla="*/ 0 h 55563"/>
                  <a:gd name="T4" fmla="*/ 0 w 7"/>
                  <a:gd name="T5" fmla="*/ 0 h 5556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55563">
                    <a:moveTo>
                      <a:pt x="0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5" name="Freeform 81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3484493" y="3807985"/>
                <a:ext cx="6350" cy="57150"/>
              </a:xfrm>
              <a:custGeom>
                <a:avLst/>
                <a:gdLst>
                  <a:gd name="T0" fmla="*/ 1000186913 w 16"/>
                  <a:gd name="T1" fmla="*/ 0 h 25"/>
                  <a:gd name="T2" fmla="*/ 1000186913 w 16"/>
                  <a:gd name="T3" fmla="*/ 2147483647 h 25"/>
                  <a:gd name="T4" fmla="*/ 875124456 w 16"/>
                  <a:gd name="T5" fmla="*/ 2147483647 h 25"/>
                  <a:gd name="T6" fmla="*/ 812592831 w 16"/>
                  <a:gd name="T7" fmla="*/ 2147483647 h 25"/>
                  <a:gd name="T8" fmla="*/ 687687538 w 16"/>
                  <a:gd name="T9" fmla="*/ 2147483647 h 25"/>
                  <a:gd name="T10" fmla="*/ 437562228 w 16"/>
                  <a:gd name="T11" fmla="*/ 2147483647 h 25"/>
                  <a:gd name="T12" fmla="*/ 187594081 w 16"/>
                  <a:gd name="T13" fmla="*/ 2147483647 h 25"/>
                  <a:gd name="T14" fmla="*/ 62531228 w 16"/>
                  <a:gd name="T15" fmla="*/ 2147483647 h 25"/>
                  <a:gd name="T16" fmla="*/ 0 w 16"/>
                  <a:gd name="T17" fmla="*/ 2147483647 h 25"/>
                  <a:gd name="T18" fmla="*/ 62531228 w 16"/>
                  <a:gd name="T19" fmla="*/ 2147483647 h 25"/>
                  <a:gd name="T20" fmla="*/ 125062853 w 16"/>
                  <a:gd name="T21" fmla="*/ 2147483647 h 25"/>
                  <a:gd name="T22" fmla="*/ 250125706 w 16"/>
                  <a:gd name="T23" fmla="*/ 2147483647 h 25"/>
                  <a:gd name="T24" fmla="*/ 437562228 w 16"/>
                  <a:gd name="T25" fmla="*/ 2147483647 h 25"/>
                  <a:gd name="T26" fmla="*/ 687687538 w 16"/>
                  <a:gd name="T27" fmla="*/ 2147483647 h 25"/>
                  <a:gd name="T28" fmla="*/ 1000186913 w 16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6" h="25">
                    <a:moveTo>
                      <a:pt x="16" y="0"/>
                    </a:moveTo>
                    <a:lnTo>
                      <a:pt x="16" y="6"/>
                    </a:lnTo>
                    <a:lnTo>
                      <a:pt x="14" y="13"/>
                    </a:lnTo>
                    <a:lnTo>
                      <a:pt x="13" y="16"/>
                    </a:lnTo>
                    <a:lnTo>
                      <a:pt x="11" y="20"/>
                    </a:lnTo>
                    <a:lnTo>
                      <a:pt x="7" y="23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1" y="1"/>
                    </a:lnTo>
                    <a:lnTo>
                      <a:pt x="1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6" name="Freeform 82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3597205" y="3696860"/>
                <a:ext cx="4763" cy="57150"/>
              </a:xfrm>
              <a:custGeom>
                <a:avLst/>
                <a:gdLst>
                  <a:gd name="T0" fmla="*/ 0 w 14"/>
                  <a:gd name="T1" fmla="*/ 0 h 18"/>
                  <a:gd name="T2" fmla="*/ 118176494 w 14"/>
                  <a:gd name="T3" fmla="*/ 2147483647 h 18"/>
                  <a:gd name="T4" fmla="*/ 196883708 w 14"/>
                  <a:gd name="T5" fmla="*/ 2147483647 h 18"/>
                  <a:gd name="T6" fmla="*/ 275706255 w 14"/>
                  <a:gd name="T7" fmla="*/ 2147483647 h 18"/>
                  <a:gd name="T8" fmla="*/ 354413469 w 14"/>
                  <a:gd name="T9" fmla="*/ 2147483647 h 18"/>
                  <a:gd name="T10" fmla="*/ 511943570 w 14"/>
                  <a:gd name="T11" fmla="*/ 2147483647 h 18"/>
                  <a:gd name="T12" fmla="*/ 551297177 w 14"/>
                  <a:gd name="T13" fmla="*/ 2147483647 h 18"/>
                  <a:gd name="T14" fmla="*/ 0 w 14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0" y="0"/>
                    </a:moveTo>
                    <a:lnTo>
                      <a:pt x="3" y="1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13" y="13"/>
                    </a:lnTo>
                    <a:lnTo>
                      <a:pt x="14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7" name="Freeform 83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3749605" y="4395360"/>
                <a:ext cx="26988" cy="58737"/>
              </a:xfrm>
              <a:custGeom>
                <a:avLst/>
                <a:gdLst>
                  <a:gd name="T0" fmla="*/ 0 w 67"/>
                  <a:gd name="T1" fmla="*/ 0 h 74"/>
                  <a:gd name="T2" fmla="*/ 65387896 w 67"/>
                  <a:gd name="T3" fmla="*/ 2147483647 h 74"/>
                  <a:gd name="T4" fmla="*/ 196001357 w 67"/>
                  <a:gd name="T5" fmla="*/ 2147483647 h 74"/>
                  <a:gd name="T6" fmla="*/ 457552538 w 67"/>
                  <a:gd name="T7" fmla="*/ 2147483647 h 74"/>
                  <a:gd name="T8" fmla="*/ 784329284 w 67"/>
                  <a:gd name="T9" fmla="*/ 2147483647 h 74"/>
                  <a:gd name="T10" fmla="*/ 1111106030 w 67"/>
                  <a:gd name="T11" fmla="*/ 2147483647 h 74"/>
                  <a:gd name="T12" fmla="*/ 1503270672 w 67"/>
                  <a:gd name="T13" fmla="*/ 2147483647 h 74"/>
                  <a:gd name="T14" fmla="*/ 1830047821 w 67"/>
                  <a:gd name="T15" fmla="*/ 2147483647 h 74"/>
                  <a:gd name="T16" fmla="*/ 2147483647 w 67"/>
                  <a:gd name="T17" fmla="*/ 2147483647 h 74"/>
                  <a:gd name="T18" fmla="*/ 2147483647 w 67"/>
                  <a:gd name="T19" fmla="*/ 2147483647 h 74"/>
                  <a:gd name="T20" fmla="*/ 2147483647 w 67"/>
                  <a:gd name="T21" fmla="*/ 2147483647 h 74"/>
                  <a:gd name="T22" fmla="*/ 2147483647 w 67"/>
                  <a:gd name="T23" fmla="*/ 2147483647 h 74"/>
                  <a:gd name="T24" fmla="*/ 2147483647 w 67"/>
                  <a:gd name="T25" fmla="*/ 2147483647 h 74"/>
                  <a:gd name="T26" fmla="*/ 2147483647 w 67"/>
                  <a:gd name="T27" fmla="*/ 2147483647 h 74"/>
                  <a:gd name="T28" fmla="*/ 2147483647 w 67"/>
                  <a:gd name="T29" fmla="*/ 2147483647 h 74"/>
                  <a:gd name="T30" fmla="*/ 2147483647 w 67"/>
                  <a:gd name="T31" fmla="*/ 2147483647 h 74"/>
                  <a:gd name="T32" fmla="*/ 2147483647 w 67"/>
                  <a:gd name="T33" fmla="*/ 2147483647 h 74"/>
                  <a:gd name="T34" fmla="*/ 2147483647 w 67"/>
                  <a:gd name="T35" fmla="*/ 2147483647 h 74"/>
                  <a:gd name="T36" fmla="*/ 2147483647 w 67"/>
                  <a:gd name="T37" fmla="*/ 0 h 74"/>
                  <a:gd name="T38" fmla="*/ 2147483647 w 67"/>
                  <a:gd name="T39" fmla="*/ 0 h 74"/>
                  <a:gd name="T40" fmla="*/ 2147483647 w 67"/>
                  <a:gd name="T41" fmla="*/ 0 h 74"/>
                  <a:gd name="T42" fmla="*/ 1111106030 w 67"/>
                  <a:gd name="T43" fmla="*/ 0 h 74"/>
                  <a:gd name="T44" fmla="*/ 0 w 67"/>
                  <a:gd name="T45" fmla="*/ 0 h 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7" h="74">
                    <a:moveTo>
                      <a:pt x="0" y="0"/>
                    </a:moveTo>
                    <a:lnTo>
                      <a:pt x="1" y="17"/>
                    </a:lnTo>
                    <a:lnTo>
                      <a:pt x="3" y="30"/>
                    </a:lnTo>
                    <a:lnTo>
                      <a:pt x="7" y="41"/>
                    </a:lnTo>
                    <a:lnTo>
                      <a:pt x="12" y="50"/>
                    </a:lnTo>
                    <a:lnTo>
                      <a:pt x="17" y="58"/>
                    </a:lnTo>
                    <a:lnTo>
                      <a:pt x="23" y="64"/>
                    </a:lnTo>
                    <a:lnTo>
                      <a:pt x="28" y="69"/>
                    </a:lnTo>
                    <a:lnTo>
                      <a:pt x="33" y="74"/>
                    </a:lnTo>
                    <a:lnTo>
                      <a:pt x="44" y="65"/>
                    </a:lnTo>
                    <a:lnTo>
                      <a:pt x="55" y="55"/>
                    </a:lnTo>
                    <a:lnTo>
                      <a:pt x="59" y="49"/>
                    </a:lnTo>
                    <a:lnTo>
                      <a:pt x="63" y="43"/>
                    </a:lnTo>
                    <a:lnTo>
                      <a:pt x="66" y="37"/>
                    </a:lnTo>
                    <a:lnTo>
                      <a:pt x="67" y="30"/>
                    </a:lnTo>
                    <a:lnTo>
                      <a:pt x="67" y="25"/>
                    </a:lnTo>
                    <a:lnTo>
                      <a:pt x="67" y="18"/>
                    </a:lnTo>
                    <a:lnTo>
                      <a:pt x="67" y="9"/>
                    </a:lnTo>
                    <a:lnTo>
                      <a:pt x="67" y="0"/>
                    </a:lnTo>
                    <a:lnTo>
                      <a:pt x="48" y="0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8" name="Freeform 84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3813105" y="4409647"/>
                <a:ext cx="12700" cy="57150"/>
              </a:xfrm>
              <a:custGeom>
                <a:avLst/>
                <a:gdLst>
                  <a:gd name="T0" fmla="*/ 0 w 34"/>
                  <a:gd name="T1" fmla="*/ 0 h 38"/>
                  <a:gd name="T2" fmla="*/ 104224418 w 34"/>
                  <a:gd name="T3" fmla="*/ 2147483647 h 38"/>
                  <a:gd name="T4" fmla="*/ 208449209 w 34"/>
                  <a:gd name="T5" fmla="*/ 2147483647 h 38"/>
                  <a:gd name="T6" fmla="*/ 260631268 w 34"/>
                  <a:gd name="T7" fmla="*/ 2147483647 h 38"/>
                  <a:gd name="T8" fmla="*/ 312673626 w 34"/>
                  <a:gd name="T9" fmla="*/ 2147483647 h 38"/>
                  <a:gd name="T10" fmla="*/ 521122835 w 34"/>
                  <a:gd name="T11" fmla="*/ 2147483647 h 38"/>
                  <a:gd name="T12" fmla="*/ 677529685 w 34"/>
                  <a:gd name="T13" fmla="*/ 2147483647 h 38"/>
                  <a:gd name="T14" fmla="*/ 833796835 w 34"/>
                  <a:gd name="T15" fmla="*/ 2147483647 h 38"/>
                  <a:gd name="T16" fmla="*/ 1042385371 w 34"/>
                  <a:gd name="T17" fmla="*/ 2147483647 h 38"/>
                  <a:gd name="T18" fmla="*/ 1198652521 w 34"/>
                  <a:gd name="T19" fmla="*/ 2147483647 h 38"/>
                  <a:gd name="T20" fmla="*/ 1355059371 w 34"/>
                  <a:gd name="T21" fmla="*/ 2147483647 h 38"/>
                  <a:gd name="T22" fmla="*/ 1459283788 w 34"/>
                  <a:gd name="T23" fmla="*/ 2147483647 h 38"/>
                  <a:gd name="T24" fmla="*/ 1667732997 w 34"/>
                  <a:gd name="T25" fmla="*/ 2147483647 h 38"/>
                  <a:gd name="T26" fmla="*/ 1719775729 w 34"/>
                  <a:gd name="T27" fmla="*/ 2147483647 h 38"/>
                  <a:gd name="T28" fmla="*/ 1771957788 w 34"/>
                  <a:gd name="T29" fmla="*/ 2147483647 h 38"/>
                  <a:gd name="T30" fmla="*/ 1615550938 w 34"/>
                  <a:gd name="T31" fmla="*/ 2147483647 h 38"/>
                  <a:gd name="T32" fmla="*/ 1459283788 w 34"/>
                  <a:gd name="T33" fmla="*/ 2147483647 h 38"/>
                  <a:gd name="T34" fmla="*/ 1355059371 w 34"/>
                  <a:gd name="T35" fmla="*/ 2147483647 h 38"/>
                  <a:gd name="T36" fmla="*/ 1250834579 w 34"/>
                  <a:gd name="T37" fmla="*/ 2147483647 h 38"/>
                  <a:gd name="T38" fmla="*/ 990203312 w 34"/>
                  <a:gd name="T39" fmla="*/ 2147483647 h 38"/>
                  <a:gd name="T40" fmla="*/ 677529685 w 34"/>
                  <a:gd name="T41" fmla="*/ 0 h 38"/>
                  <a:gd name="T42" fmla="*/ 312673626 w 34"/>
                  <a:gd name="T43" fmla="*/ 0 h 38"/>
                  <a:gd name="T44" fmla="*/ 0 w 34"/>
                  <a:gd name="T45" fmla="*/ 0 h 3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4" h="38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10" y="28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20" y="36"/>
                    </a:lnTo>
                    <a:lnTo>
                      <a:pt x="23" y="34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9"/>
                    </a:lnTo>
                    <a:lnTo>
                      <a:pt x="31" y="18"/>
                    </a:lnTo>
                    <a:lnTo>
                      <a:pt x="28" y="17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9" name="Freeform 85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3670230" y="4185810"/>
                <a:ext cx="25400" cy="55562"/>
              </a:xfrm>
              <a:custGeom>
                <a:avLst/>
                <a:gdLst>
                  <a:gd name="T0" fmla="*/ 2147483647 w 53"/>
                  <a:gd name="T1" fmla="*/ 2147483647 h 23"/>
                  <a:gd name="T2" fmla="*/ 2147483647 w 53"/>
                  <a:gd name="T3" fmla="*/ 2147483647 h 23"/>
                  <a:gd name="T4" fmla="*/ 2147483647 w 53"/>
                  <a:gd name="T5" fmla="*/ 2147483647 h 23"/>
                  <a:gd name="T6" fmla="*/ 2147483647 w 53"/>
                  <a:gd name="T7" fmla="*/ 2147483647 h 23"/>
                  <a:gd name="T8" fmla="*/ 2147483647 w 53"/>
                  <a:gd name="T9" fmla="*/ 0 h 23"/>
                  <a:gd name="T10" fmla="*/ 2147483647 w 53"/>
                  <a:gd name="T11" fmla="*/ 0 h 23"/>
                  <a:gd name="T12" fmla="*/ 2147483647 w 53"/>
                  <a:gd name="T13" fmla="*/ 2147483647 h 23"/>
                  <a:gd name="T14" fmla="*/ 2147483647 w 53"/>
                  <a:gd name="T15" fmla="*/ 2147483647 h 23"/>
                  <a:gd name="T16" fmla="*/ 1210852026 w 53"/>
                  <a:gd name="T17" fmla="*/ 2147483647 h 23"/>
                  <a:gd name="T18" fmla="*/ 0 w 53"/>
                  <a:gd name="T19" fmla="*/ 2147483647 h 23"/>
                  <a:gd name="T20" fmla="*/ 2147483647 w 53"/>
                  <a:gd name="T21" fmla="*/ 2147483647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3" h="23">
                    <a:moveTo>
                      <a:pt x="53" y="23"/>
                    </a:moveTo>
                    <a:lnTo>
                      <a:pt x="53" y="4"/>
                    </a:lnTo>
                    <a:lnTo>
                      <a:pt x="49" y="2"/>
                    </a:lnTo>
                    <a:lnTo>
                      <a:pt x="45" y="1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1" y="1"/>
                    </a:lnTo>
                    <a:lnTo>
                      <a:pt x="24" y="4"/>
                    </a:lnTo>
                    <a:lnTo>
                      <a:pt x="11" y="13"/>
                    </a:lnTo>
                    <a:lnTo>
                      <a:pt x="0" y="23"/>
                    </a:lnTo>
                    <a:lnTo>
                      <a:pt x="53" y="2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0" name="Freeform 86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3613080" y="4160410"/>
                <a:ext cx="11113" cy="57150"/>
              </a:xfrm>
              <a:custGeom>
                <a:avLst/>
                <a:gdLst>
                  <a:gd name="T0" fmla="*/ 0 w 26"/>
                  <a:gd name="T1" fmla="*/ 0 h 12"/>
                  <a:gd name="T2" fmla="*/ 312400535 w 26"/>
                  <a:gd name="T3" fmla="*/ 2147483647 h 12"/>
                  <a:gd name="T4" fmla="*/ 859010537 w 26"/>
                  <a:gd name="T5" fmla="*/ 2147483647 h 12"/>
                  <a:gd name="T6" fmla="*/ 1093220004 w 26"/>
                  <a:gd name="T7" fmla="*/ 2147483647 h 12"/>
                  <a:gd name="T8" fmla="*/ 1405620539 w 26"/>
                  <a:gd name="T9" fmla="*/ 2147483647 h 12"/>
                  <a:gd name="T10" fmla="*/ 1717838564 w 26"/>
                  <a:gd name="T11" fmla="*/ 2147483647 h 12"/>
                  <a:gd name="T12" fmla="*/ 2030239527 w 26"/>
                  <a:gd name="T13" fmla="*/ 2147483647 h 12"/>
                  <a:gd name="T14" fmla="*/ 1639830006 w 26"/>
                  <a:gd name="T15" fmla="*/ 2147483647 h 12"/>
                  <a:gd name="T16" fmla="*/ 1015211018 w 26"/>
                  <a:gd name="T17" fmla="*/ 2147483647 h 12"/>
                  <a:gd name="T18" fmla="*/ 390409521 w 26"/>
                  <a:gd name="T19" fmla="*/ 2147483647 h 12"/>
                  <a:gd name="T20" fmla="*/ 0 w 26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12">
                    <a:moveTo>
                      <a:pt x="0" y="0"/>
                    </a:moveTo>
                    <a:lnTo>
                      <a:pt x="4" y="4"/>
                    </a:lnTo>
                    <a:lnTo>
                      <a:pt x="11" y="8"/>
                    </a:lnTo>
                    <a:lnTo>
                      <a:pt x="14" y="9"/>
                    </a:lnTo>
                    <a:lnTo>
                      <a:pt x="18" y="11"/>
                    </a:lnTo>
                    <a:lnTo>
                      <a:pt x="22" y="11"/>
                    </a:lnTo>
                    <a:lnTo>
                      <a:pt x="26" y="12"/>
                    </a:lnTo>
                    <a:lnTo>
                      <a:pt x="21" y="7"/>
                    </a:lnTo>
                    <a:lnTo>
                      <a:pt x="13" y="3"/>
                    </a:lnTo>
                    <a:lnTo>
                      <a:pt x="5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" name="Freeform 87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3813105" y="4492197"/>
                <a:ext cx="31750" cy="57150"/>
              </a:xfrm>
              <a:custGeom>
                <a:avLst/>
                <a:gdLst>
                  <a:gd name="T0" fmla="*/ 0 w 73"/>
                  <a:gd name="T1" fmla="*/ 0 h 57150"/>
                  <a:gd name="T2" fmla="*/ 1645549873 w 73"/>
                  <a:gd name="T3" fmla="*/ 0 h 57150"/>
                  <a:gd name="T4" fmla="*/ 2147483647 w 73"/>
                  <a:gd name="T5" fmla="*/ 0 h 57150"/>
                  <a:gd name="T6" fmla="*/ 2147483647 w 73"/>
                  <a:gd name="T7" fmla="*/ 0 h 57150"/>
                  <a:gd name="T8" fmla="*/ 2147483647 w 73"/>
                  <a:gd name="T9" fmla="*/ 0 h 57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3" h="57150">
                    <a:moveTo>
                      <a:pt x="0" y="0"/>
                    </a:moveTo>
                    <a:lnTo>
                      <a:pt x="20" y="0"/>
                    </a:lnTo>
                    <a:lnTo>
                      <a:pt x="37" y="0"/>
                    </a:lnTo>
                    <a:lnTo>
                      <a:pt x="55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" name="Freeform 88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3768655" y="4481085"/>
                <a:ext cx="22225" cy="57150"/>
              </a:xfrm>
              <a:custGeom>
                <a:avLst/>
                <a:gdLst>
                  <a:gd name="T0" fmla="*/ 0 w 53"/>
                  <a:gd name="T1" fmla="*/ 0 h 3"/>
                  <a:gd name="T2" fmla="*/ 1032390249 w 53"/>
                  <a:gd name="T3" fmla="*/ 0 h 3"/>
                  <a:gd name="T4" fmla="*/ 1990925145 w 53"/>
                  <a:gd name="T5" fmla="*/ 2147483647 h 3"/>
                  <a:gd name="T6" fmla="*/ 2147483647 w 53"/>
                  <a:gd name="T7" fmla="*/ 2147483647 h 3"/>
                  <a:gd name="T8" fmla="*/ 2147483647 w 53"/>
                  <a:gd name="T9" fmla="*/ 2147483647 h 3"/>
                  <a:gd name="T10" fmla="*/ 2147483647 w 53"/>
                  <a:gd name="T11" fmla="*/ 2147483647 h 3"/>
                  <a:gd name="T12" fmla="*/ 2147483647 w 5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3" h="3">
                    <a:moveTo>
                      <a:pt x="0" y="0"/>
                    </a:moveTo>
                    <a:lnTo>
                      <a:pt x="14" y="0"/>
                    </a:lnTo>
                    <a:lnTo>
                      <a:pt x="27" y="3"/>
                    </a:lnTo>
                    <a:lnTo>
                      <a:pt x="32" y="3"/>
                    </a:lnTo>
                    <a:lnTo>
                      <a:pt x="39" y="3"/>
                    </a:lnTo>
                    <a:lnTo>
                      <a:pt x="45" y="1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" name="Line 89"/>
              <p:cNvSpPr>
                <a:spLocks noChangeShapeType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3801993" y="4466797"/>
                <a:ext cx="20637" cy="6350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" name="Freeform 90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3822630" y="4473147"/>
                <a:ext cx="1588" cy="57150"/>
              </a:xfrm>
              <a:custGeom>
                <a:avLst/>
                <a:gdLst>
                  <a:gd name="T0" fmla="*/ 0 w 1588"/>
                  <a:gd name="T1" fmla="*/ 0 h 13"/>
                  <a:gd name="T2" fmla="*/ 0 w 1588"/>
                  <a:gd name="T3" fmla="*/ 2147483647 h 13"/>
                  <a:gd name="T4" fmla="*/ 0 w 1588"/>
                  <a:gd name="T5" fmla="*/ 2147483647 h 1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88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" name="Freeform 91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3776593" y="4466797"/>
                <a:ext cx="14287" cy="58738"/>
              </a:xfrm>
              <a:custGeom>
                <a:avLst/>
                <a:gdLst>
                  <a:gd name="T0" fmla="*/ 0 w 26"/>
                  <a:gd name="T1" fmla="*/ 0 h 58738"/>
                  <a:gd name="T2" fmla="*/ 2147483647 w 26"/>
                  <a:gd name="T3" fmla="*/ 0 h 58738"/>
                  <a:gd name="T4" fmla="*/ 2147483647 w 26"/>
                  <a:gd name="T5" fmla="*/ 0 h 5873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6" h="58738">
                    <a:moveTo>
                      <a:pt x="0" y="0"/>
                    </a:moveTo>
                    <a:lnTo>
                      <a:pt x="15" y="0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" name="Freeform 92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3770243" y="4447747"/>
                <a:ext cx="6350" cy="60325"/>
              </a:xfrm>
              <a:custGeom>
                <a:avLst/>
                <a:gdLst>
                  <a:gd name="T0" fmla="*/ 640119688 w 20"/>
                  <a:gd name="T1" fmla="*/ 0 h 25"/>
                  <a:gd name="T2" fmla="*/ 0 w 20"/>
                  <a:gd name="T3" fmla="*/ 2147483647 h 25"/>
                  <a:gd name="T4" fmla="*/ 128023938 w 20"/>
                  <a:gd name="T5" fmla="*/ 2147483647 h 25"/>
                  <a:gd name="T6" fmla="*/ 320060003 w 20"/>
                  <a:gd name="T7" fmla="*/ 2147483647 h 25"/>
                  <a:gd name="T8" fmla="*/ 448083940 w 20"/>
                  <a:gd name="T9" fmla="*/ 2147483647 h 25"/>
                  <a:gd name="T10" fmla="*/ 640119688 w 20"/>
                  <a:gd name="T11" fmla="*/ 2147483647 h 25"/>
                  <a:gd name="T12" fmla="*/ 640119688 w 20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lnTo>
                      <a:pt x="0" y="13"/>
                    </a:lnTo>
                    <a:lnTo>
                      <a:pt x="4" y="18"/>
                    </a:lnTo>
                    <a:lnTo>
                      <a:pt x="10" y="21"/>
                    </a:lnTo>
                    <a:lnTo>
                      <a:pt x="14" y="24"/>
                    </a:lnTo>
                    <a:lnTo>
                      <a:pt x="20" y="2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7" name="Freeform 93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3851205" y="4174697"/>
                <a:ext cx="1588" cy="57150"/>
              </a:xfrm>
              <a:custGeom>
                <a:avLst/>
                <a:gdLst>
                  <a:gd name="T0" fmla="*/ 0 w 6"/>
                  <a:gd name="T1" fmla="*/ 2147483647 h 24"/>
                  <a:gd name="T2" fmla="*/ 0 w 6"/>
                  <a:gd name="T3" fmla="*/ 0 h 24"/>
                  <a:gd name="T4" fmla="*/ 111237018 w 6"/>
                  <a:gd name="T5" fmla="*/ 2147483647 h 24"/>
                  <a:gd name="T6" fmla="*/ 0 w 6"/>
                  <a:gd name="T7" fmla="*/ 2147483647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0"/>
                    </a:lnTo>
                    <a:lnTo>
                      <a:pt x="6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48" name="Group 94"/>
              <p:cNvGrpSpPr>
                <a:grpSpLocks/>
              </p:cNvGrpSpPr>
              <p:nvPr>
                <p:custDataLst>
                  <p:tags r:id="rId44"/>
                </p:custDataLst>
              </p:nvPr>
            </p:nvGrpSpPr>
            <p:grpSpPr bwMode="auto">
              <a:xfrm>
                <a:off x="13725793" y="3846085"/>
                <a:ext cx="163512" cy="114300"/>
                <a:chOff x="5379" y="2466"/>
                <a:chExt cx="122" cy="71"/>
              </a:xfrm>
            </p:grpSpPr>
            <p:sp>
              <p:nvSpPr>
                <p:cNvPr id="396" name="Freeform 95"/>
                <p:cNvSpPr>
                  <a:spLocks/>
                </p:cNvSpPr>
                <p:nvPr/>
              </p:nvSpPr>
              <p:spPr bwMode="auto">
                <a:xfrm>
                  <a:off x="5428" y="2492"/>
                  <a:ext cx="6" cy="9"/>
                </a:xfrm>
                <a:custGeom>
                  <a:avLst/>
                  <a:gdLst>
                    <a:gd name="T0" fmla="*/ 1 w 19"/>
                    <a:gd name="T1" fmla="*/ 1 h 25"/>
                    <a:gd name="T2" fmla="*/ 1 w 19"/>
                    <a:gd name="T3" fmla="*/ 1 h 25"/>
                    <a:gd name="T4" fmla="*/ 1 w 19"/>
                    <a:gd name="T5" fmla="*/ 0 h 25"/>
                    <a:gd name="T6" fmla="*/ 1 w 19"/>
                    <a:gd name="T7" fmla="*/ 0 h 25"/>
                    <a:gd name="T8" fmla="*/ 1 w 19"/>
                    <a:gd name="T9" fmla="*/ 0 h 25"/>
                    <a:gd name="T10" fmla="*/ 1 w 19"/>
                    <a:gd name="T11" fmla="*/ 0 h 25"/>
                    <a:gd name="T12" fmla="*/ 1 w 19"/>
                    <a:gd name="T13" fmla="*/ 0 h 25"/>
                    <a:gd name="T14" fmla="*/ 0 w 19"/>
                    <a:gd name="T15" fmla="*/ 0 h 25"/>
                    <a:gd name="T16" fmla="*/ 0 w 19"/>
                    <a:gd name="T17" fmla="*/ 0 h 25"/>
                    <a:gd name="T18" fmla="*/ 0 w 19"/>
                    <a:gd name="T19" fmla="*/ 1 h 25"/>
                    <a:gd name="T20" fmla="*/ 0 w 19"/>
                    <a:gd name="T21" fmla="*/ 1 h 25"/>
                    <a:gd name="T22" fmla="*/ 0 w 19"/>
                    <a:gd name="T23" fmla="*/ 1 h 25"/>
                    <a:gd name="T24" fmla="*/ 1 w 19"/>
                    <a:gd name="T25" fmla="*/ 1 h 25"/>
                    <a:gd name="T26" fmla="*/ 1 w 19"/>
                    <a:gd name="T27" fmla="*/ 1 h 2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9" h="25">
                      <a:moveTo>
                        <a:pt x="19" y="25"/>
                      </a:moveTo>
                      <a:lnTo>
                        <a:pt x="18" y="20"/>
                      </a:lnTo>
                      <a:lnTo>
                        <a:pt x="17" y="12"/>
                      </a:lnTo>
                      <a:lnTo>
                        <a:pt x="16" y="9"/>
                      </a:lnTo>
                      <a:lnTo>
                        <a:pt x="17" y="6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" y="7"/>
                      </a:lnTo>
                      <a:lnTo>
                        <a:pt x="5" y="15"/>
                      </a:lnTo>
                      <a:lnTo>
                        <a:pt x="7" y="19"/>
                      </a:lnTo>
                      <a:lnTo>
                        <a:pt x="11" y="23"/>
                      </a:lnTo>
                      <a:lnTo>
                        <a:pt x="15" y="25"/>
                      </a:lnTo>
                      <a:lnTo>
                        <a:pt x="19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7" name="Freeform 96"/>
                <p:cNvSpPr>
                  <a:spLocks/>
                </p:cNvSpPr>
                <p:nvPr/>
              </p:nvSpPr>
              <p:spPr bwMode="auto">
                <a:xfrm>
                  <a:off x="5379" y="2505"/>
                  <a:ext cx="7" cy="6"/>
                </a:xfrm>
                <a:custGeom>
                  <a:avLst/>
                  <a:gdLst>
                    <a:gd name="T0" fmla="*/ 1 w 26"/>
                    <a:gd name="T1" fmla="*/ 1 h 18"/>
                    <a:gd name="T2" fmla="*/ 0 w 26"/>
                    <a:gd name="T3" fmla="*/ 1 h 18"/>
                    <a:gd name="T4" fmla="*/ 0 w 26"/>
                    <a:gd name="T5" fmla="*/ 0 h 18"/>
                    <a:gd name="T6" fmla="*/ 0 w 26"/>
                    <a:gd name="T7" fmla="*/ 0 h 18"/>
                    <a:gd name="T8" fmla="*/ 0 w 26"/>
                    <a:gd name="T9" fmla="*/ 0 h 18"/>
                    <a:gd name="T10" fmla="*/ 0 w 26"/>
                    <a:gd name="T11" fmla="*/ 0 h 18"/>
                    <a:gd name="T12" fmla="*/ 0 w 26"/>
                    <a:gd name="T13" fmla="*/ 0 h 18"/>
                    <a:gd name="T14" fmla="*/ 1 w 26"/>
                    <a:gd name="T15" fmla="*/ 1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6" h="18">
                      <a:moveTo>
                        <a:pt x="26" y="18"/>
                      </a:moveTo>
                      <a:lnTo>
                        <a:pt x="7" y="18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3" y="6"/>
                      </a:lnTo>
                      <a:lnTo>
                        <a:pt x="20" y="12"/>
                      </a:lnTo>
                      <a:lnTo>
                        <a:pt x="26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8" name="Freeform 97"/>
                <p:cNvSpPr>
                  <a:spLocks/>
                </p:cNvSpPr>
                <p:nvPr/>
              </p:nvSpPr>
              <p:spPr bwMode="auto">
                <a:xfrm>
                  <a:off x="5392" y="2466"/>
                  <a:ext cx="5" cy="6"/>
                </a:xfrm>
                <a:custGeom>
                  <a:avLst/>
                  <a:gdLst>
                    <a:gd name="T0" fmla="*/ 0 w 13"/>
                    <a:gd name="T1" fmla="*/ 1 h 18"/>
                    <a:gd name="T2" fmla="*/ 1 w 13"/>
                    <a:gd name="T3" fmla="*/ 0 h 18"/>
                    <a:gd name="T4" fmla="*/ 0 w 13"/>
                    <a:gd name="T5" fmla="*/ 1 h 1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3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9" name="Freeform 98"/>
                <p:cNvSpPr>
                  <a:spLocks/>
                </p:cNvSpPr>
                <p:nvPr/>
              </p:nvSpPr>
              <p:spPr bwMode="auto">
                <a:xfrm>
                  <a:off x="5426" y="2468"/>
                  <a:ext cx="8" cy="8"/>
                </a:xfrm>
                <a:custGeom>
                  <a:avLst/>
                  <a:gdLst>
                    <a:gd name="T0" fmla="*/ 0 w 26"/>
                    <a:gd name="T1" fmla="*/ 1 h 24"/>
                    <a:gd name="T2" fmla="*/ 0 w 26"/>
                    <a:gd name="T3" fmla="*/ 1 h 24"/>
                    <a:gd name="T4" fmla="*/ 0 w 26"/>
                    <a:gd name="T5" fmla="*/ 1 h 24"/>
                    <a:gd name="T6" fmla="*/ 0 w 26"/>
                    <a:gd name="T7" fmla="*/ 1 h 24"/>
                    <a:gd name="T8" fmla="*/ 1 w 26"/>
                    <a:gd name="T9" fmla="*/ 1 h 24"/>
                    <a:gd name="T10" fmla="*/ 1 w 26"/>
                    <a:gd name="T11" fmla="*/ 0 h 24"/>
                    <a:gd name="T12" fmla="*/ 1 w 26"/>
                    <a:gd name="T13" fmla="*/ 0 h 24"/>
                    <a:gd name="T14" fmla="*/ 1 w 26"/>
                    <a:gd name="T15" fmla="*/ 0 h 24"/>
                    <a:gd name="T16" fmla="*/ 1 w 26"/>
                    <a:gd name="T17" fmla="*/ 0 h 24"/>
                    <a:gd name="T18" fmla="*/ 0 w 26"/>
                    <a:gd name="T19" fmla="*/ 1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26" h="24">
                      <a:moveTo>
                        <a:pt x="0" y="24"/>
                      </a:moveTo>
                      <a:lnTo>
                        <a:pt x="3" y="23"/>
                      </a:lnTo>
                      <a:lnTo>
                        <a:pt x="7" y="22"/>
                      </a:lnTo>
                      <a:lnTo>
                        <a:pt x="11" y="19"/>
                      </a:lnTo>
                      <a:lnTo>
                        <a:pt x="16" y="16"/>
                      </a:lnTo>
                      <a:lnTo>
                        <a:pt x="20" y="13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0" name="Freeform 99"/>
                <p:cNvSpPr>
                  <a:spLocks/>
                </p:cNvSpPr>
                <p:nvPr/>
              </p:nvSpPr>
              <p:spPr bwMode="auto">
                <a:xfrm>
                  <a:off x="5490" y="2490"/>
                  <a:ext cx="11" cy="2"/>
                </a:xfrm>
                <a:custGeom>
                  <a:avLst/>
                  <a:gdLst>
                    <a:gd name="T0" fmla="*/ 0 w 34"/>
                    <a:gd name="T1" fmla="*/ 0 h 6"/>
                    <a:gd name="T2" fmla="*/ 0 w 34"/>
                    <a:gd name="T3" fmla="*/ 0 h 6"/>
                    <a:gd name="T4" fmla="*/ 1 w 34"/>
                    <a:gd name="T5" fmla="*/ 0 h 6"/>
                    <a:gd name="T6" fmla="*/ 1 w 34"/>
                    <a:gd name="T7" fmla="*/ 0 h 6"/>
                    <a:gd name="T8" fmla="*/ 1 w 34"/>
                    <a:gd name="T9" fmla="*/ 0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4" h="6">
                      <a:moveTo>
                        <a:pt x="0" y="6"/>
                      </a:moveTo>
                      <a:lnTo>
                        <a:pt x="10" y="6"/>
                      </a:lnTo>
                      <a:lnTo>
                        <a:pt x="17" y="5"/>
                      </a:lnTo>
                      <a:lnTo>
                        <a:pt x="25" y="4"/>
                      </a:lnTo>
                      <a:lnTo>
                        <a:pt x="34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1" name="Line 100"/>
                <p:cNvSpPr>
                  <a:spLocks noChangeShapeType="1"/>
                </p:cNvSpPr>
                <p:nvPr/>
              </p:nvSpPr>
              <p:spPr bwMode="auto">
                <a:xfrm flipH="1">
                  <a:off x="5495" y="2490"/>
                  <a:ext cx="6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2" name="Freeform 101"/>
                <p:cNvSpPr>
                  <a:spLocks/>
                </p:cNvSpPr>
                <p:nvPr/>
              </p:nvSpPr>
              <p:spPr bwMode="auto">
                <a:xfrm>
                  <a:off x="5464" y="2530"/>
                  <a:ext cx="1" cy="7"/>
                </a:xfrm>
                <a:custGeom>
                  <a:avLst/>
                  <a:gdLst>
                    <a:gd name="T0" fmla="*/ 0 w 1"/>
                    <a:gd name="T1" fmla="*/ 1 h 19"/>
                    <a:gd name="T2" fmla="*/ 0 w 1"/>
                    <a:gd name="T3" fmla="*/ 0 h 19"/>
                    <a:gd name="T4" fmla="*/ 0 w 1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" h="19">
                      <a:moveTo>
                        <a:pt x="0" y="19"/>
                      </a:move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3" name="Line 102"/>
                <p:cNvSpPr>
                  <a:spLocks noChangeShapeType="1"/>
                </p:cNvSpPr>
                <p:nvPr/>
              </p:nvSpPr>
              <p:spPr bwMode="auto">
                <a:xfrm>
                  <a:off x="5464" y="2530"/>
                  <a:ext cx="6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4" name="Freeform 103"/>
                <p:cNvSpPr>
                  <a:spLocks/>
                </p:cNvSpPr>
                <p:nvPr/>
              </p:nvSpPr>
              <p:spPr bwMode="auto">
                <a:xfrm>
                  <a:off x="5466" y="2530"/>
                  <a:ext cx="4" cy="2"/>
                </a:xfrm>
                <a:custGeom>
                  <a:avLst/>
                  <a:gdLst>
                    <a:gd name="T0" fmla="*/ 0 w 14"/>
                    <a:gd name="T1" fmla="*/ 0 h 6"/>
                    <a:gd name="T2" fmla="*/ 0 w 14"/>
                    <a:gd name="T3" fmla="*/ 0 h 6"/>
                    <a:gd name="T4" fmla="*/ 0 w 14"/>
                    <a:gd name="T5" fmla="*/ 0 h 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" h="6">
                      <a:moveTo>
                        <a:pt x="14" y="0"/>
                      </a:moveTo>
                      <a:lnTo>
                        <a:pt x="7" y="3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49" name="Freeform 104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2309743" y="3707972"/>
                <a:ext cx="6350" cy="57150"/>
              </a:xfrm>
              <a:custGeom>
                <a:avLst/>
                <a:gdLst>
                  <a:gd name="T0" fmla="*/ 189384598 w 26"/>
                  <a:gd name="T1" fmla="*/ 2147483647 h 111"/>
                  <a:gd name="T2" fmla="*/ 131107717 w 26"/>
                  <a:gd name="T3" fmla="*/ 2147483647 h 111"/>
                  <a:gd name="T4" fmla="*/ 58276637 w 26"/>
                  <a:gd name="T5" fmla="*/ 2147483647 h 111"/>
                  <a:gd name="T6" fmla="*/ 29108644 w 26"/>
                  <a:gd name="T7" fmla="*/ 2147483647 h 111"/>
                  <a:gd name="T8" fmla="*/ 14554200 w 26"/>
                  <a:gd name="T9" fmla="*/ 2147483647 h 111"/>
                  <a:gd name="T10" fmla="*/ 0 w 26"/>
                  <a:gd name="T11" fmla="*/ 2147483647 h 111"/>
                  <a:gd name="T12" fmla="*/ 0 w 26"/>
                  <a:gd name="T13" fmla="*/ 2147483647 h 111"/>
                  <a:gd name="T14" fmla="*/ 0 w 26"/>
                  <a:gd name="T15" fmla="*/ 2147483647 h 111"/>
                  <a:gd name="T16" fmla="*/ 14554200 w 26"/>
                  <a:gd name="T17" fmla="*/ 2147483647 h 111"/>
                  <a:gd name="T18" fmla="*/ 43722437 w 26"/>
                  <a:gd name="T19" fmla="*/ 2147483647 h 111"/>
                  <a:gd name="T20" fmla="*/ 72831081 w 26"/>
                  <a:gd name="T21" fmla="*/ 2147483647 h 111"/>
                  <a:gd name="T22" fmla="*/ 131107717 w 26"/>
                  <a:gd name="T23" fmla="*/ 2147483647 h 111"/>
                  <a:gd name="T24" fmla="*/ 203938798 w 26"/>
                  <a:gd name="T25" fmla="*/ 2147483647 h 111"/>
                  <a:gd name="T26" fmla="*/ 291383671 w 26"/>
                  <a:gd name="T27" fmla="*/ 1228407843 h 111"/>
                  <a:gd name="T28" fmla="*/ 378768952 w 26"/>
                  <a:gd name="T29" fmla="*/ 0 h 111"/>
                  <a:gd name="T30" fmla="*/ 378768952 w 26"/>
                  <a:gd name="T31" fmla="*/ 818850349 h 111"/>
                  <a:gd name="T32" fmla="*/ 378768952 w 26"/>
                  <a:gd name="T33" fmla="*/ 1774219691 h 111"/>
                  <a:gd name="T34" fmla="*/ 378768952 w 26"/>
                  <a:gd name="T35" fmla="*/ 2147483647 h 111"/>
                  <a:gd name="T36" fmla="*/ 378768952 w 26"/>
                  <a:gd name="T37" fmla="*/ 2147483647 h 111"/>
                  <a:gd name="T38" fmla="*/ 364214752 w 26"/>
                  <a:gd name="T39" fmla="*/ 2147483647 h 111"/>
                  <a:gd name="T40" fmla="*/ 320492315 w 26"/>
                  <a:gd name="T41" fmla="*/ 2147483647 h 111"/>
                  <a:gd name="T42" fmla="*/ 262215435 w 26"/>
                  <a:gd name="T43" fmla="*/ 2147483647 h 111"/>
                  <a:gd name="T44" fmla="*/ 189384598 w 26"/>
                  <a:gd name="T45" fmla="*/ 2147483647 h 111"/>
                  <a:gd name="T46" fmla="*/ 189384598 w 26"/>
                  <a:gd name="T47" fmla="*/ 2147483647 h 11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6" h="111">
                    <a:moveTo>
                      <a:pt x="13" y="111"/>
                    </a:moveTo>
                    <a:lnTo>
                      <a:pt x="9" y="103"/>
                    </a:lnTo>
                    <a:lnTo>
                      <a:pt x="4" y="95"/>
                    </a:lnTo>
                    <a:lnTo>
                      <a:pt x="2" y="91"/>
                    </a:lnTo>
                    <a:lnTo>
                      <a:pt x="1" y="87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1"/>
                    </a:lnTo>
                    <a:lnTo>
                      <a:pt x="1" y="51"/>
                    </a:lnTo>
                    <a:lnTo>
                      <a:pt x="3" y="41"/>
                    </a:lnTo>
                    <a:lnTo>
                      <a:pt x="5" y="33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20" y="9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6" y="13"/>
                    </a:lnTo>
                    <a:lnTo>
                      <a:pt x="26" y="22"/>
                    </a:lnTo>
                    <a:lnTo>
                      <a:pt x="26" y="32"/>
                    </a:lnTo>
                    <a:lnTo>
                      <a:pt x="25" y="44"/>
                    </a:lnTo>
                    <a:lnTo>
                      <a:pt x="22" y="56"/>
                    </a:lnTo>
                    <a:lnTo>
                      <a:pt x="18" y="67"/>
                    </a:lnTo>
                    <a:lnTo>
                      <a:pt x="13" y="80"/>
                    </a:lnTo>
                    <a:lnTo>
                      <a:pt x="13" y="11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0" name="Freeform 107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3665468" y="2457022"/>
                <a:ext cx="20637" cy="57150"/>
              </a:xfrm>
              <a:custGeom>
                <a:avLst/>
                <a:gdLst>
                  <a:gd name="T0" fmla="*/ 2147483647 w 46"/>
                  <a:gd name="T1" fmla="*/ 0 h 16"/>
                  <a:gd name="T2" fmla="*/ 2147483647 w 46"/>
                  <a:gd name="T3" fmla="*/ 2147483647 h 16"/>
                  <a:gd name="T4" fmla="*/ 2147483647 w 46"/>
                  <a:gd name="T5" fmla="*/ 2147483647 h 16"/>
                  <a:gd name="T6" fmla="*/ 2147483647 w 46"/>
                  <a:gd name="T7" fmla="*/ 2147483647 h 16"/>
                  <a:gd name="T8" fmla="*/ 2147483647 w 46"/>
                  <a:gd name="T9" fmla="*/ 2147483647 h 16"/>
                  <a:gd name="T10" fmla="*/ 2147483647 w 46"/>
                  <a:gd name="T11" fmla="*/ 2147483647 h 16"/>
                  <a:gd name="T12" fmla="*/ 2076897362 w 46"/>
                  <a:gd name="T13" fmla="*/ 2147483647 h 16"/>
                  <a:gd name="T14" fmla="*/ 1444710682 w 46"/>
                  <a:gd name="T15" fmla="*/ 2147483647 h 16"/>
                  <a:gd name="T16" fmla="*/ 993263745 w 46"/>
                  <a:gd name="T17" fmla="*/ 2147483647 h 16"/>
                  <a:gd name="T18" fmla="*/ 451446937 w 46"/>
                  <a:gd name="T19" fmla="*/ 2147483647 h 16"/>
                  <a:gd name="T20" fmla="*/ 0 w 46"/>
                  <a:gd name="T21" fmla="*/ 0 h 16"/>
                  <a:gd name="T22" fmla="*/ 2147483647 w 46"/>
                  <a:gd name="T23" fmla="*/ 0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6" h="16">
                    <a:moveTo>
                      <a:pt x="46" y="0"/>
                    </a:moveTo>
                    <a:lnTo>
                      <a:pt x="40" y="7"/>
                    </a:lnTo>
                    <a:lnTo>
                      <a:pt x="35" y="13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6" y="16"/>
                    </a:lnTo>
                    <a:lnTo>
                      <a:pt x="23" y="16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1" name="Freeform 108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13841680" y="2490360"/>
                <a:ext cx="15875" cy="57150"/>
              </a:xfrm>
              <a:custGeom>
                <a:avLst/>
                <a:gdLst>
                  <a:gd name="T0" fmla="*/ 2147483647 w 39"/>
                  <a:gd name="T1" fmla="*/ 2147483647 h 26"/>
                  <a:gd name="T2" fmla="*/ 2147483647 w 39"/>
                  <a:gd name="T3" fmla="*/ 2147483647 h 26"/>
                  <a:gd name="T4" fmla="*/ 2147483647 w 39"/>
                  <a:gd name="T5" fmla="*/ 2147483647 h 26"/>
                  <a:gd name="T6" fmla="*/ 1888377247 w 39"/>
                  <a:gd name="T7" fmla="*/ 2147483647 h 26"/>
                  <a:gd name="T8" fmla="*/ 1686069096 w 39"/>
                  <a:gd name="T9" fmla="*/ 2147483647 h 26"/>
                  <a:gd name="T10" fmla="*/ 1214016202 w 39"/>
                  <a:gd name="T11" fmla="*/ 2147483647 h 26"/>
                  <a:gd name="T12" fmla="*/ 809399494 w 39"/>
                  <a:gd name="T13" fmla="*/ 2147483647 h 26"/>
                  <a:gd name="T14" fmla="*/ 472052894 w 39"/>
                  <a:gd name="T15" fmla="*/ 2147483647 h 26"/>
                  <a:gd name="T16" fmla="*/ 202308558 w 39"/>
                  <a:gd name="T17" fmla="*/ 2147483647 h 26"/>
                  <a:gd name="T18" fmla="*/ 67436186 w 39"/>
                  <a:gd name="T19" fmla="*/ 2147483647 h 26"/>
                  <a:gd name="T20" fmla="*/ 0 w 39"/>
                  <a:gd name="T21" fmla="*/ 0 h 26"/>
                  <a:gd name="T22" fmla="*/ 741963308 w 39"/>
                  <a:gd name="T23" fmla="*/ 2147483647 h 26"/>
                  <a:gd name="T24" fmla="*/ 1483760538 w 39"/>
                  <a:gd name="T25" fmla="*/ 2147483647 h 26"/>
                  <a:gd name="T26" fmla="*/ 2147483647 w 39"/>
                  <a:gd name="T27" fmla="*/ 2147483647 h 26"/>
                  <a:gd name="T28" fmla="*/ 2147483647 w 39"/>
                  <a:gd name="T29" fmla="*/ 2147483647 h 2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9" h="26">
                    <a:moveTo>
                      <a:pt x="39" y="25"/>
                    </a:moveTo>
                    <a:lnTo>
                      <a:pt x="36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2" y="18"/>
                    </a:lnTo>
                    <a:lnTo>
                      <a:pt x="7" y="13"/>
                    </a:lnTo>
                    <a:lnTo>
                      <a:pt x="3" y="7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22" y="13"/>
                    </a:lnTo>
                    <a:lnTo>
                      <a:pt x="33" y="20"/>
                    </a:lnTo>
                    <a:lnTo>
                      <a:pt x="3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2" name="Freeform 109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13290818" y="2720547"/>
                <a:ext cx="4762" cy="58738"/>
              </a:xfrm>
              <a:custGeom>
                <a:avLst/>
                <a:gdLst>
                  <a:gd name="T0" fmla="*/ 892447719 w 11"/>
                  <a:gd name="T1" fmla="*/ 0 h 25"/>
                  <a:gd name="T2" fmla="*/ 892447719 w 11"/>
                  <a:gd name="T3" fmla="*/ 2147483647 h 25"/>
                  <a:gd name="T4" fmla="*/ 811298910 w 11"/>
                  <a:gd name="T5" fmla="*/ 2147483647 h 25"/>
                  <a:gd name="T6" fmla="*/ 730150533 w 11"/>
                  <a:gd name="T7" fmla="*/ 2147483647 h 25"/>
                  <a:gd name="T8" fmla="*/ 324594803 w 11"/>
                  <a:gd name="T9" fmla="*/ 2147483647 h 25"/>
                  <a:gd name="T10" fmla="*/ 162297185 w 11"/>
                  <a:gd name="T11" fmla="*/ 2147483647 h 25"/>
                  <a:gd name="T12" fmla="*/ 81148809 w 11"/>
                  <a:gd name="T13" fmla="*/ 2147483647 h 25"/>
                  <a:gd name="T14" fmla="*/ 0 w 11"/>
                  <a:gd name="T15" fmla="*/ 2147483647 h 25"/>
                  <a:gd name="T16" fmla="*/ 0 w 11"/>
                  <a:gd name="T17" fmla="*/ 2147483647 h 25"/>
                  <a:gd name="T18" fmla="*/ 81148809 w 11"/>
                  <a:gd name="T19" fmla="*/ 2147483647 h 25"/>
                  <a:gd name="T20" fmla="*/ 243445994 w 11"/>
                  <a:gd name="T21" fmla="*/ 2147483647 h 25"/>
                  <a:gd name="T22" fmla="*/ 486704539 w 11"/>
                  <a:gd name="T23" fmla="*/ 2147483647 h 25"/>
                  <a:gd name="T24" fmla="*/ 892447719 w 11"/>
                  <a:gd name="T25" fmla="*/ 0 h 2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3" name="Freeform 110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13105080" y="3282522"/>
                <a:ext cx="14288" cy="58738"/>
              </a:xfrm>
              <a:custGeom>
                <a:avLst/>
                <a:gdLst>
                  <a:gd name="T0" fmla="*/ 2147483647 w 20"/>
                  <a:gd name="T1" fmla="*/ 0 h 31"/>
                  <a:gd name="T2" fmla="*/ 2147483647 w 20"/>
                  <a:gd name="T3" fmla="*/ 2147483647 h 31"/>
                  <a:gd name="T4" fmla="*/ 2147483647 w 20"/>
                  <a:gd name="T5" fmla="*/ 2147483647 h 31"/>
                  <a:gd name="T6" fmla="*/ 1823032353 w 20"/>
                  <a:gd name="T7" fmla="*/ 2147483647 h 31"/>
                  <a:gd name="T8" fmla="*/ 0 w 20"/>
                  <a:gd name="T9" fmla="*/ 2147483647 h 31"/>
                  <a:gd name="T10" fmla="*/ 0 w 20"/>
                  <a:gd name="T11" fmla="*/ 2147483647 h 31"/>
                  <a:gd name="T12" fmla="*/ 364402581 w 20"/>
                  <a:gd name="T13" fmla="*/ 2147483647 h 31"/>
                  <a:gd name="T14" fmla="*/ 729315243 w 20"/>
                  <a:gd name="T15" fmla="*/ 2147483647 h 31"/>
                  <a:gd name="T16" fmla="*/ 1823032353 w 20"/>
                  <a:gd name="T17" fmla="*/ 2147483647 h 31"/>
                  <a:gd name="T18" fmla="*/ 2147483647 w 20"/>
                  <a:gd name="T19" fmla="*/ 2147483647 h 31"/>
                  <a:gd name="T20" fmla="*/ 2147483647 w 20"/>
                  <a:gd name="T21" fmla="*/ 2147483647 h 31"/>
                  <a:gd name="T22" fmla="*/ 2147483647 w 20"/>
                  <a:gd name="T23" fmla="*/ 0 h 31"/>
                  <a:gd name="T24" fmla="*/ 2147483647 w 20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4" name="Freeform 111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3122543" y="3217435"/>
                <a:ext cx="15875" cy="57150"/>
              </a:xfrm>
              <a:custGeom>
                <a:avLst/>
                <a:gdLst>
                  <a:gd name="T0" fmla="*/ 2147483647 w 26"/>
                  <a:gd name="T1" fmla="*/ 2147483647 h 37"/>
                  <a:gd name="T2" fmla="*/ 0 w 26"/>
                  <a:gd name="T3" fmla="*/ 2147483647 h 37"/>
                  <a:gd name="T4" fmla="*/ 1365581543 w 26"/>
                  <a:gd name="T5" fmla="*/ 2147483647 h 37"/>
                  <a:gd name="T6" fmla="*/ 2147483647 w 26"/>
                  <a:gd name="T7" fmla="*/ 2147483647 h 37"/>
                  <a:gd name="T8" fmla="*/ 2147483647 w 26"/>
                  <a:gd name="T9" fmla="*/ 2147483647 h 37"/>
                  <a:gd name="T10" fmla="*/ 2147483647 w 26"/>
                  <a:gd name="T11" fmla="*/ 0 h 37"/>
                  <a:gd name="T12" fmla="*/ 2147483647 w 26"/>
                  <a:gd name="T13" fmla="*/ 2147483647 h 37"/>
                  <a:gd name="T14" fmla="*/ 2147483647 w 26"/>
                  <a:gd name="T15" fmla="*/ 2147483647 h 37"/>
                  <a:gd name="T16" fmla="*/ 2147483647 w 26"/>
                  <a:gd name="T17" fmla="*/ 2147483647 h 37"/>
                  <a:gd name="T18" fmla="*/ 2147483647 w 26"/>
                  <a:gd name="T19" fmla="*/ 2147483647 h 37"/>
                  <a:gd name="T20" fmla="*/ 2147483647 w 26"/>
                  <a:gd name="T21" fmla="*/ 2147483647 h 37"/>
                  <a:gd name="T22" fmla="*/ 2147483647 w 26"/>
                  <a:gd name="T23" fmla="*/ 2147483647 h 3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5" name="Freeform 112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13011418" y="3066622"/>
                <a:ext cx="1587" cy="60325"/>
              </a:xfrm>
              <a:custGeom>
                <a:avLst/>
                <a:gdLst>
                  <a:gd name="T0" fmla="*/ 0 w 7"/>
                  <a:gd name="T1" fmla="*/ 2147483647 h 18"/>
                  <a:gd name="T2" fmla="*/ 0 w 7"/>
                  <a:gd name="T3" fmla="*/ 0 h 18"/>
                  <a:gd name="T4" fmla="*/ 81570893 w 7"/>
                  <a:gd name="T5" fmla="*/ 2147483647 h 18"/>
                  <a:gd name="T6" fmla="*/ 0 w 7"/>
                  <a:gd name="T7" fmla="*/ 2147483647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8">
                    <a:moveTo>
                      <a:pt x="0" y="18"/>
                    </a:moveTo>
                    <a:lnTo>
                      <a:pt x="0" y="0"/>
                    </a:lnTo>
                    <a:lnTo>
                      <a:pt x="7" y="12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6" name="Freeform 113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9863405" y="2193497"/>
                <a:ext cx="9525" cy="57150"/>
              </a:xfrm>
              <a:custGeom>
                <a:avLst/>
                <a:gdLst>
                  <a:gd name="T0" fmla="*/ 0 w 33"/>
                  <a:gd name="T1" fmla="*/ 2147483647 h 31"/>
                  <a:gd name="T2" fmla="*/ 456877305 w 33"/>
                  <a:gd name="T3" fmla="*/ 0 h 31"/>
                  <a:gd name="T4" fmla="*/ 577094927 w 33"/>
                  <a:gd name="T5" fmla="*/ 2147483647 h 31"/>
                  <a:gd name="T6" fmla="*/ 673319075 w 33"/>
                  <a:gd name="T7" fmla="*/ 2147483647 h 31"/>
                  <a:gd name="T8" fmla="*/ 769459807 w 33"/>
                  <a:gd name="T9" fmla="*/ 2147483647 h 31"/>
                  <a:gd name="T10" fmla="*/ 793536698 w 33"/>
                  <a:gd name="T11" fmla="*/ 2147483647 h 31"/>
                  <a:gd name="T12" fmla="*/ 649242184 w 33"/>
                  <a:gd name="T13" fmla="*/ 2147483647 h 31"/>
                  <a:gd name="T14" fmla="*/ 529024561 w 33"/>
                  <a:gd name="T15" fmla="*/ 2147483647 h 31"/>
                  <a:gd name="T16" fmla="*/ 384730048 w 33"/>
                  <a:gd name="T17" fmla="*/ 2147483647 h 31"/>
                  <a:gd name="T18" fmla="*/ 264512136 w 33"/>
                  <a:gd name="T19" fmla="*/ 2147483647 h 31"/>
                  <a:gd name="T20" fmla="*/ 72147257 w 33"/>
                  <a:gd name="T21" fmla="*/ 2147483647 h 31"/>
                  <a:gd name="T22" fmla="*/ 0 w 33"/>
                  <a:gd name="T23" fmla="*/ 2147483647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3" h="31">
                    <a:moveTo>
                      <a:pt x="0" y="12"/>
                    </a:moveTo>
                    <a:lnTo>
                      <a:pt x="19" y="0"/>
                    </a:lnTo>
                    <a:lnTo>
                      <a:pt x="24" y="5"/>
                    </a:lnTo>
                    <a:lnTo>
                      <a:pt x="28" y="12"/>
                    </a:lnTo>
                    <a:lnTo>
                      <a:pt x="32" y="22"/>
                    </a:lnTo>
                    <a:lnTo>
                      <a:pt x="33" y="31"/>
                    </a:lnTo>
                    <a:lnTo>
                      <a:pt x="27" y="30"/>
                    </a:lnTo>
                    <a:lnTo>
                      <a:pt x="22" y="28"/>
                    </a:lnTo>
                    <a:lnTo>
                      <a:pt x="16" y="25"/>
                    </a:lnTo>
                    <a:lnTo>
                      <a:pt x="11" y="22"/>
                    </a:lnTo>
                    <a:lnTo>
                      <a:pt x="3" y="15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7" name="Freeform 114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9849118" y="1961722"/>
                <a:ext cx="3175" cy="57150"/>
              </a:xfrm>
              <a:custGeom>
                <a:avLst/>
                <a:gdLst>
                  <a:gd name="T0" fmla="*/ 163295920 w 14"/>
                  <a:gd name="T1" fmla="*/ 0 h 6"/>
                  <a:gd name="T2" fmla="*/ 0 w 14"/>
                  <a:gd name="T3" fmla="*/ 2147483647 h 6"/>
                  <a:gd name="T4" fmla="*/ 163295920 w 14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0" y="6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8" name="Freeform 115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1330255" y="3739722"/>
                <a:ext cx="25400" cy="55563"/>
              </a:xfrm>
              <a:custGeom>
                <a:avLst/>
                <a:gdLst>
                  <a:gd name="T0" fmla="*/ 2147483647 w 59"/>
                  <a:gd name="T1" fmla="*/ 2147483647 h 31"/>
                  <a:gd name="T2" fmla="*/ 2147483647 w 59"/>
                  <a:gd name="T3" fmla="*/ 2147483647 h 31"/>
                  <a:gd name="T4" fmla="*/ 2147483647 w 59"/>
                  <a:gd name="T5" fmla="*/ 2147483647 h 31"/>
                  <a:gd name="T6" fmla="*/ 2147483647 w 59"/>
                  <a:gd name="T7" fmla="*/ 2147483647 h 31"/>
                  <a:gd name="T8" fmla="*/ 2147483647 w 59"/>
                  <a:gd name="T9" fmla="*/ 2147483647 h 31"/>
                  <a:gd name="T10" fmla="*/ 2147483647 w 59"/>
                  <a:gd name="T11" fmla="*/ 2147483647 h 31"/>
                  <a:gd name="T12" fmla="*/ 2147483647 w 59"/>
                  <a:gd name="T13" fmla="*/ 2147483647 h 31"/>
                  <a:gd name="T14" fmla="*/ 2147483647 w 59"/>
                  <a:gd name="T15" fmla="*/ 2147483647 h 31"/>
                  <a:gd name="T16" fmla="*/ 2074483007 w 59"/>
                  <a:gd name="T17" fmla="*/ 2147483647 h 31"/>
                  <a:gd name="T18" fmla="*/ 1675636708 w 59"/>
                  <a:gd name="T19" fmla="*/ 2147483647 h 31"/>
                  <a:gd name="T20" fmla="*/ 1356485708 w 59"/>
                  <a:gd name="T21" fmla="*/ 2147483647 h 31"/>
                  <a:gd name="T22" fmla="*/ 1117029576 w 59"/>
                  <a:gd name="T23" fmla="*/ 2147483647 h 31"/>
                  <a:gd name="T24" fmla="*/ 877758563 w 59"/>
                  <a:gd name="T25" fmla="*/ 2147483647 h 31"/>
                  <a:gd name="T26" fmla="*/ 319151431 w 59"/>
                  <a:gd name="T27" fmla="*/ 2147483647 h 31"/>
                  <a:gd name="T28" fmla="*/ 0 w 59"/>
                  <a:gd name="T29" fmla="*/ 2147483647 h 31"/>
                  <a:gd name="T30" fmla="*/ 79880417 w 59"/>
                  <a:gd name="T31" fmla="*/ 2147483647 h 31"/>
                  <a:gd name="T32" fmla="*/ 239456132 w 59"/>
                  <a:gd name="T33" fmla="*/ 2147483647 h 31"/>
                  <a:gd name="T34" fmla="*/ 399031847 w 59"/>
                  <a:gd name="T35" fmla="*/ 2147483647 h 31"/>
                  <a:gd name="T36" fmla="*/ 638302431 w 59"/>
                  <a:gd name="T37" fmla="*/ 2147483647 h 31"/>
                  <a:gd name="T38" fmla="*/ 1276604861 w 59"/>
                  <a:gd name="T39" fmla="*/ 2147483647 h 31"/>
                  <a:gd name="T40" fmla="*/ 1914907722 w 59"/>
                  <a:gd name="T41" fmla="*/ 0 h 31"/>
                  <a:gd name="T42" fmla="*/ 2147483647 w 59"/>
                  <a:gd name="T43" fmla="*/ 0 h 31"/>
                  <a:gd name="T44" fmla="*/ 2147483647 w 59"/>
                  <a:gd name="T45" fmla="*/ 2147483647 h 31"/>
                  <a:gd name="T46" fmla="*/ 2147483647 w 59"/>
                  <a:gd name="T47" fmla="*/ 2147483647 h 31"/>
                  <a:gd name="T48" fmla="*/ 2147483647 w 59"/>
                  <a:gd name="T49" fmla="*/ 2147483647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9" name="Freeform 116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1033393" y="3601610"/>
                <a:ext cx="19050" cy="58737"/>
              </a:xfrm>
              <a:custGeom>
                <a:avLst/>
                <a:gdLst>
                  <a:gd name="T0" fmla="*/ 932145278 w 47"/>
                  <a:gd name="T1" fmla="*/ 0 h 68"/>
                  <a:gd name="T2" fmla="*/ 532771755 w 47"/>
                  <a:gd name="T3" fmla="*/ 2147483647 h 68"/>
                  <a:gd name="T4" fmla="*/ 266303598 w 47"/>
                  <a:gd name="T5" fmla="*/ 2147483647 h 68"/>
                  <a:gd name="T6" fmla="*/ 133234079 w 47"/>
                  <a:gd name="T7" fmla="*/ 2147483647 h 68"/>
                  <a:gd name="T8" fmla="*/ 0 w 47"/>
                  <a:gd name="T9" fmla="*/ 2147483647 h 68"/>
                  <a:gd name="T10" fmla="*/ 0 w 47"/>
                  <a:gd name="T11" fmla="*/ 2147483647 h 68"/>
                  <a:gd name="T12" fmla="*/ 133234079 w 47"/>
                  <a:gd name="T13" fmla="*/ 2147483647 h 68"/>
                  <a:gd name="T14" fmla="*/ 199768838 w 47"/>
                  <a:gd name="T15" fmla="*/ 2147483647 h 68"/>
                  <a:gd name="T16" fmla="*/ 333002917 w 47"/>
                  <a:gd name="T17" fmla="*/ 2147483647 h 68"/>
                  <a:gd name="T18" fmla="*/ 466072436 w 47"/>
                  <a:gd name="T19" fmla="*/ 2147483647 h 68"/>
                  <a:gd name="T20" fmla="*/ 599306515 w 47"/>
                  <a:gd name="T21" fmla="*/ 2147483647 h 68"/>
                  <a:gd name="T22" fmla="*/ 865610518 w 47"/>
                  <a:gd name="T23" fmla="*/ 2147483647 h 68"/>
                  <a:gd name="T24" fmla="*/ 1065379356 w 47"/>
                  <a:gd name="T25" fmla="*/ 2147483647 h 68"/>
                  <a:gd name="T26" fmla="*/ 1464917033 w 47"/>
                  <a:gd name="T27" fmla="*/ 2147483647 h 68"/>
                  <a:gd name="T28" fmla="*/ 2064223548 w 47"/>
                  <a:gd name="T29" fmla="*/ 2147483647 h 68"/>
                  <a:gd name="T30" fmla="*/ 2147483647 w 47"/>
                  <a:gd name="T31" fmla="*/ 2147483647 h 68"/>
                  <a:gd name="T32" fmla="*/ 2147483647 w 47"/>
                  <a:gd name="T33" fmla="*/ 2147483647 h 68"/>
                  <a:gd name="T34" fmla="*/ 2147483647 w 47"/>
                  <a:gd name="T35" fmla="*/ 2147483647 h 68"/>
                  <a:gd name="T36" fmla="*/ 2147483647 w 47"/>
                  <a:gd name="T37" fmla="*/ 2147483647 h 68"/>
                  <a:gd name="T38" fmla="*/ 2147483647 w 47"/>
                  <a:gd name="T39" fmla="*/ 2147483647 h 68"/>
                  <a:gd name="T40" fmla="*/ 2147483647 w 47"/>
                  <a:gd name="T41" fmla="*/ 2147483647 h 68"/>
                  <a:gd name="T42" fmla="*/ 2147483647 w 47"/>
                  <a:gd name="T43" fmla="*/ 2147483647 h 68"/>
                  <a:gd name="T44" fmla="*/ 2147483647 w 47"/>
                  <a:gd name="T45" fmla="*/ 2147483647 h 68"/>
                  <a:gd name="T46" fmla="*/ 1598151112 w 47"/>
                  <a:gd name="T47" fmla="*/ 2147483647 h 68"/>
                  <a:gd name="T48" fmla="*/ 932145278 w 47"/>
                  <a:gd name="T49" fmla="*/ 0 h 6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7" h="68">
                    <a:moveTo>
                      <a:pt x="14" y="0"/>
                    </a:moveTo>
                    <a:lnTo>
                      <a:pt x="8" y="10"/>
                    </a:lnTo>
                    <a:lnTo>
                      <a:pt x="4" y="19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3" y="62"/>
                    </a:lnTo>
                    <a:lnTo>
                      <a:pt x="16" y="64"/>
                    </a:lnTo>
                    <a:lnTo>
                      <a:pt x="22" y="67"/>
                    </a:lnTo>
                    <a:lnTo>
                      <a:pt x="31" y="68"/>
                    </a:lnTo>
                    <a:lnTo>
                      <a:pt x="39" y="68"/>
                    </a:lnTo>
                    <a:lnTo>
                      <a:pt x="47" y="68"/>
                    </a:lnTo>
                    <a:lnTo>
                      <a:pt x="41" y="58"/>
                    </a:lnTo>
                    <a:lnTo>
                      <a:pt x="38" y="48"/>
                    </a:lnTo>
                    <a:lnTo>
                      <a:pt x="36" y="43"/>
                    </a:lnTo>
                    <a:lnTo>
                      <a:pt x="35" y="38"/>
                    </a:lnTo>
                    <a:lnTo>
                      <a:pt x="33" y="31"/>
                    </a:lnTo>
                    <a:lnTo>
                      <a:pt x="33" y="25"/>
                    </a:lnTo>
                    <a:lnTo>
                      <a:pt x="24" y="13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60" name="Group 117"/>
              <p:cNvGrpSpPr>
                <a:grpSpLocks/>
              </p:cNvGrpSpPr>
              <p:nvPr>
                <p:custDataLst>
                  <p:tags r:id="rId56"/>
                </p:custDataLst>
              </p:nvPr>
            </p:nvGrpSpPr>
            <p:grpSpPr bwMode="auto">
              <a:xfrm>
                <a:off x="11804918" y="3788935"/>
                <a:ext cx="46037" cy="374650"/>
                <a:chOff x="3950" y="2430"/>
                <a:chExt cx="36" cy="234"/>
              </a:xfrm>
            </p:grpSpPr>
            <p:sp>
              <p:nvSpPr>
                <p:cNvPr id="365" name="Freeform 118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1 h 20"/>
                    <a:gd name="T4" fmla="*/ 1 w 19"/>
                    <a:gd name="T5" fmla="*/ 0 h 20"/>
                    <a:gd name="T6" fmla="*/ 0 w 19"/>
                    <a:gd name="T7" fmla="*/ 0 h 20"/>
                    <a:gd name="T8" fmla="*/ 0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6" name="Freeform 119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7" name="Freeform 120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0 w 19"/>
                    <a:gd name="T3" fmla="*/ 0 h 1"/>
                    <a:gd name="T4" fmla="*/ 1 w 19"/>
                    <a:gd name="T5" fmla="*/ 0 h 1"/>
                    <a:gd name="T6" fmla="*/ 0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8" name="Rectangle 121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9" name="Line 122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0" name="Freeform 123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0 w 6"/>
                    <a:gd name="T1" fmla="*/ 0 h 3"/>
                    <a:gd name="T2" fmla="*/ 0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1" name="Freeform 124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 w 14"/>
                    <a:gd name="T1" fmla="*/ 0 h 24"/>
                    <a:gd name="T2" fmla="*/ 1 w 14"/>
                    <a:gd name="T3" fmla="*/ 0 h 24"/>
                    <a:gd name="T4" fmla="*/ 0 w 14"/>
                    <a:gd name="T5" fmla="*/ 0 h 24"/>
                    <a:gd name="T6" fmla="*/ 0 w 14"/>
                    <a:gd name="T7" fmla="*/ 1 h 24"/>
                    <a:gd name="T8" fmla="*/ 0 w 14"/>
                    <a:gd name="T9" fmla="*/ 1 h 24"/>
                    <a:gd name="T10" fmla="*/ 0 w 14"/>
                    <a:gd name="T11" fmla="*/ 1 h 24"/>
                    <a:gd name="T12" fmla="*/ 0 w 1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2" name="Line 125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3" name="Freeform 126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0 w 13"/>
                    <a:gd name="T1" fmla="*/ 0 h 12"/>
                    <a:gd name="T2" fmla="*/ 0 w 13"/>
                    <a:gd name="T3" fmla="*/ 0 h 12"/>
                    <a:gd name="T4" fmla="*/ 0 w 13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4" name="Freeform 127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 h 19"/>
                    <a:gd name="T4" fmla="*/ 0 w 7"/>
                    <a:gd name="T5" fmla="*/ 0 h 19"/>
                    <a:gd name="T6" fmla="*/ 0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5" name="Line 128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6" name="Freeform 129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 h 18"/>
                    <a:gd name="T2" fmla="*/ 0 w 8"/>
                    <a:gd name="T3" fmla="*/ 0 h 18"/>
                    <a:gd name="T4" fmla="*/ 0 w 8"/>
                    <a:gd name="T5" fmla="*/ 0 h 18"/>
                    <a:gd name="T6" fmla="*/ 0 w 8"/>
                    <a:gd name="T7" fmla="*/ 1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7" name="Freeform 130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 h 19"/>
                    <a:gd name="T4" fmla="*/ 0 w 6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8" name="Freeform 131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0 h 19"/>
                    <a:gd name="T4" fmla="*/ 1 w 28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9" name="Freeform 132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 w 15"/>
                    <a:gd name="T1" fmla="*/ 0 h 19"/>
                    <a:gd name="T2" fmla="*/ 0 w 15"/>
                    <a:gd name="T3" fmla="*/ 0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0" name="Freeform 133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1 h 20"/>
                    <a:gd name="T4" fmla="*/ 1 w 19"/>
                    <a:gd name="T5" fmla="*/ 0 h 20"/>
                    <a:gd name="T6" fmla="*/ 0 w 19"/>
                    <a:gd name="T7" fmla="*/ 0 h 20"/>
                    <a:gd name="T8" fmla="*/ 0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1" name="Freeform 134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2" name="Freeform 135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0 w 19"/>
                    <a:gd name="T3" fmla="*/ 0 h 1"/>
                    <a:gd name="T4" fmla="*/ 1 w 19"/>
                    <a:gd name="T5" fmla="*/ 0 h 1"/>
                    <a:gd name="T6" fmla="*/ 0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3" name="Rectangle 136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4" name="Line 137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5" name="Freeform 138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0 w 6"/>
                    <a:gd name="T1" fmla="*/ 0 h 3"/>
                    <a:gd name="T2" fmla="*/ 0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6" name="Freeform 139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 w 14"/>
                    <a:gd name="T1" fmla="*/ 0 h 24"/>
                    <a:gd name="T2" fmla="*/ 1 w 14"/>
                    <a:gd name="T3" fmla="*/ 0 h 24"/>
                    <a:gd name="T4" fmla="*/ 0 w 14"/>
                    <a:gd name="T5" fmla="*/ 0 h 24"/>
                    <a:gd name="T6" fmla="*/ 0 w 14"/>
                    <a:gd name="T7" fmla="*/ 1 h 24"/>
                    <a:gd name="T8" fmla="*/ 0 w 14"/>
                    <a:gd name="T9" fmla="*/ 1 h 24"/>
                    <a:gd name="T10" fmla="*/ 0 w 14"/>
                    <a:gd name="T11" fmla="*/ 1 h 24"/>
                    <a:gd name="T12" fmla="*/ 0 w 1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7" name="Line 140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8" name="Freeform 141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0 w 13"/>
                    <a:gd name="T1" fmla="*/ 0 h 12"/>
                    <a:gd name="T2" fmla="*/ 0 w 13"/>
                    <a:gd name="T3" fmla="*/ 0 h 12"/>
                    <a:gd name="T4" fmla="*/ 0 w 13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9" name="Freeform 142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 h 19"/>
                    <a:gd name="T4" fmla="*/ 0 w 7"/>
                    <a:gd name="T5" fmla="*/ 0 h 19"/>
                    <a:gd name="T6" fmla="*/ 0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0" name="Line 143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1" name="Freeform 144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 h 18"/>
                    <a:gd name="T2" fmla="*/ 0 w 8"/>
                    <a:gd name="T3" fmla="*/ 0 h 18"/>
                    <a:gd name="T4" fmla="*/ 0 w 8"/>
                    <a:gd name="T5" fmla="*/ 0 h 18"/>
                    <a:gd name="T6" fmla="*/ 0 w 8"/>
                    <a:gd name="T7" fmla="*/ 1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2" name="Freeform 145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 h 19"/>
                    <a:gd name="T4" fmla="*/ 0 w 6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3" name="Freeform 146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0 h 19"/>
                    <a:gd name="T4" fmla="*/ 1 w 28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4" name="Freeform 147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 w 15"/>
                    <a:gd name="T1" fmla="*/ 0 h 19"/>
                    <a:gd name="T2" fmla="*/ 0 w 15"/>
                    <a:gd name="T3" fmla="*/ 0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5" name="Freeform 148"/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1 w 20"/>
                    <a:gd name="T1" fmla="*/ 1 h 18"/>
                    <a:gd name="T2" fmla="*/ 1 w 20"/>
                    <a:gd name="T3" fmla="*/ 0 h 18"/>
                    <a:gd name="T4" fmla="*/ 0 w 20"/>
                    <a:gd name="T5" fmla="*/ 0 h 18"/>
                    <a:gd name="T6" fmla="*/ 1 w 20"/>
                    <a:gd name="T7" fmla="*/ 1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grpSp>
            <p:nvGrpSpPr>
              <p:cNvPr id="61" name="Group 149"/>
              <p:cNvGrpSpPr>
                <a:grpSpLocks/>
              </p:cNvGrpSpPr>
              <p:nvPr>
                <p:custDataLst>
                  <p:tags r:id="rId57"/>
                </p:custDataLst>
              </p:nvPr>
            </p:nvGrpSpPr>
            <p:grpSpPr bwMode="auto">
              <a:xfrm>
                <a:off x="13870255" y="4288997"/>
                <a:ext cx="185738" cy="214313"/>
                <a:chOff x="5486" y="2743"/>
                <a:chExt cx="137" cy="132"/>
              </a:xfrm>
            </p:grpSpPr>
            <p:sp>
              <p:nvSpPr>
                <p:cNvPr id="356" name="Freeform 150"/>
                <p:cNvSpPr>
                  <a:spLocks/>
                </p:cNvSpPr>
                <p:nvPr/>
              </p:nvSpPr>
              <p:spPr bwMode="auto">
                <a:xfrm>
                  <a:off x="5595" y="2806"/>
                  <a:ext cx="13" cy="28"/>
                </a:xfrm>
                <a:custGeom>
                  <a:avLst/>
                  <a:gdLst>
                    <a:gd name="T0" fmla="*/ 0 w 40"/>
                    <a:gd name="T1" fmla="*/ 1 h 87"/>
                    <a:gd name="T2" fmla="*/ 0 w 40"/>
                    <a:gd name="T3" fmla="*/ 2 h 87"/>
                    <a:gd name="T4" fmla="*/ 0 w 40"/>
                    <a:gd name="T5" fmla="*/ 2 h 87"/>
                    <a:gd name="T6" fmla="*/ 0 w 40"/>
                    <a:gd name="T7" fmla="*/ 2 h 87"/>
                    <a:gd name="T8" fmla="*/ 0 w 40"/>
                    <a:gd name="T9" fmla="*/ 2 h 87"/>
                    <a:gd name="T10" fmla="*/ 1 w 40"/>
                    <a:gd name="T11" fmla="*/ 2 h 87"/>
                    <a:gd name="T12" fmla="*/ 1 w 40"/>
                    <a:gd name="T13" fmla="*/ 3 h 87"/>
                    <a:gd name="T14" fmla="*/ 1 w 40"/>
                    <a:gd name="T15" fmla="*/ 3 h 87"/>
                    <a:gd name="T16" fmla="*/ 1 w 40"/>
                    <a:gd name="T17" fmla="*/ 3 h 87"/>
                    <a:gd name="T18" fmla="*/ 1 w 40"/>
                    <a:gd name="T19" fmla="*/ 3 h 87"/>
                    <a:gd name="T20" fmla="*/ 1 w 40"/>
                    <a:gd name="T21" fmla="*/ 3 h 87"/>
                    <a:gd name="T22" fmla="*/ 1 w 40"/>
                    <a:gd name="T23" fmla="*/ 2 h 87"/>
                    <a:gd name="T24" fmla="*/ 1 w 40"/>
                    <a:gd name="T25" fmla="*/ 2 h 87"/>
                    <a:gd name="T26" fmla="*/ 1 w 40"/>
                    <a:gd name="T27" fmla="*/ 2 h 87"/>
                    <a:gd name="T28" fmla="*/ 1 w 40"/>
                    <a:gd name="T29" fmla="*/ 1 h 87"/>
                    <a:gd name="T30" fmla="*/ 1 w 40"/>
                    <a:gd name="T31" fmla="*/ 1 h 87"/>
                    <a:gd name="T32" fmla="*/ 0 w 40"/>
                    <a:gd name="T33" fmla="*/ 1 h 87"/>
                    <a:gd name="T34" fmla="*/ 0 w 40"/>
                    <a:gd name="T35" fmla="*/ 0 h 87"/>
                    <a:gd name="T36" fmla="*/ 0 w 40"/>
                    <a:gd name="T37" fmla="*/ 0 h 87"/>
                    <a:gd name="T38" fmla="*/ 0 w 40"/>
                    <a:gd name="T39" fmla="*/ 0 h 87"/>
                    <a:gd name="T40" fmla="*/ 0 w 40"/>
                    <a:gd name="T41" fmla="*/ 0 h 87"/>
                    <a:gd name="T42" fmla="*/ 0 w 40"/>
                    <a:gd name="T43" fmla="*/ 0 h 87"/>
                    <a:gd name="T44" fmla="*/ 0 w 40"/>
                    <a:gd name="T45" fmla="*/ 1 h 87"/>
                    <a:gd name="T46" fmla="*/ 0 w 40"/>
                    <a:gd name="T47" fmla="*/ 1 h 87"/>
                    <a:gd name="T48" fmla="*/ 0 w 40"/>
                    <a:gd name="T49" fmla="*/ 1 h 8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40" h="87">
                      <a:moveTo>
                        <a:pt x="0" y="31"/>
                      </a:moveTo>
                      <a:lnTo>
                        <a:pt x="0" y="42"/>
                      </a:lnTo>
                      <a:lnTo>
                        <a:pt x="2" y="51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5" y="72"/>
                      </a:lnTo>
                      <a:lnTo>
                        <a:pt x="22" y="77"/>
                      </a:lnTo>
                      <a:lnTo>
                        <a:pt x="31" y="82"/>
                      </a:lnTo>
                      <a:lnTo>
                        <a:pt x="40" y="87"/>
                      </a:lnTo>
                      <a:lnTo>
                        <a:pt x="35" y="82"/>
                      </a:lnTo>
                      <a:lnTo>
                        <a:pt x="32" y="77"/>
                      </a:lnTo>
                      <a:lnTo>
                        <a:pt x="29" y="71"/>
                      </a:lnTo>
                      <a:lnTo>
                        <a:pt x="26" y="65"/>
                      </a:lnTo>
                      <a:lnTo>
                        <a:pt x="22" y="52"/>
                      </a:lnTo>
                      <a:lnTo>
                        <a:pt x="20" y="39"/>
                      </a:lnTo>
                      <a:lnTo>
                        <a:pt x="18" y="27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8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7" name="Freeform 151"/>
                <p:cNvSpPr>
                  <a:spLocks/>
                </p:cNvSpPr>
                <p:nvPr/>
              </p:nvSpPr>
              <p:spPr bwMode="auto">
                <a:xfrm>
                  <a:off x="5603" y="2842"/>
                  <a:ext cx="20" cy="12"/>
                </a:xfrm>
                <a:custGeom>
                  <a:avLst/>
                  <a:gdLst>
                    <a:gd name="T0" fmla="*/ 0 w 61"/>
                    <a:gd name="T1" fmla="*/ 1 h 37"/>
                    <a:gd name="T2" fmla="*/ 1 w 61"/>
                    <a:gd name="T3" fmla="*/ 1 h 37"/>
                    <a:gd name="T4" fmla="*/ 1 w 61"/>
                    <a:gd name="T5" fmla="*/ 1 h 37"/>
                    <a:gd name="T6" fmla="*/ 2 w 61"/>
                    <a:gd name="T7" fmla="*/ 1 h 37"/>
                    <a:gd name="T8" fmla="*/ 2 w 61"/>
                    <a:gd name="T9" fmla="*/ 1 h 37"/>
                    <a:gd name="T10" fmla="*/ 2 w 61"/>
                    <a:gd name="T11" fmla="*/ 1 h 37"/>
                    <a:gd name="T12" fmla="*/ 2 w 61"/>
                    <a:gd name="T13" fmla="*/ 1 h 37"/>
                    <a:gd name="T14" fmla="*/ 2 w 61"/>
                    <a:gd name="T15" fmla="*/ 1 h 37"/>
                    <a:gd name="T16" fmla="*/ 1 w 61"/>
                    <a:gd name="T17" fmla="*/ 0 h 37"/>
                    <a:gd name="T18" fmla="*/ 1 w 61"/>
                    <a:gd name="T19" fmla="*/ 0 h 37"/>
                    <a:gd name="T20" fmla="*/ 1 w 61"/>
                    <a:gd name="T21" fmla="*/ 0 h 37"/>
                    <a:gd name="T22" fmla="*/ 0 w 61"/>
                    <a:gd name="T23" fmla="*/ 0 h 37"/>
                    <a:gd name="T24" fmla="*/ 0 w 61"/>
                    <a:gd name="T25" fmla="*/ 0 h 37"/>
                    <a:gd name="T26" fmla="*/ 0 w 61"/>
                    <a:gd name="T27" fmla="*/ 1 h 3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61" h="37">
                      <a:moveTo>
                        <a:pt x="0" y="31"/>
                      </a:moveTo>
                      <a:lnTo>
                        <a:pt x="19" y="32"/>
                      </a:lnTo>
                      <a:lnTo>
                        <a:pt x="35" y="34"/>
                      </a:lnTo>
                      <a:lnTo>
                        <a:pt x="49" y="36"/>
                      </a:lnTo>
                      <a:lnTo>
                        <a:pt x="61" y="37"/>
                      </a:lnTo>
                      <a:lnTo>
                        <a:pt x="55" y="29"/>
                      </a:lnTo>
                      <a:lnTo>
                        <a:pt x="49" y="22"/>
                      </a:lnTo>
                      <a:lnTo>
                        <a:pt x="42" y="17"/>
                      </a:lnTo>
                      <a:lnTo>
                        <a:pt x="35" y="12"/>
                      </a:lnTo>
                      <a:lnTo>
                        <a:pt x="28" y="9"/>
                      </a:lnTo>
                      <a:lnTo>
                        <a:pt x="19" y="5"/>
                      </a:lnTo>
                      <a:lnTo>
                        <a:pt x="10" y="2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8" name="Freeform 152"/>
                <p:cNvSpPr>
                  <a:spLocks/>
                </p:cNvSpPr>
                <p:nvPr/>
              </p:nvSpPr>
              <p:spPr bwMode="auto">
                <a:xfrm>
                  <a:off x="5568" y="2865"/>
                  <a:ext cx="13" cy="10"/>
                </a:xfrm>
                <a:custGeom>
                  <a:avLst/>
                  <a:gdLst>
                    <a:gd name="T0" fmla="*/ 1 w 40"/>
                    <a:gd name="T1" fmla="*/ 1 h 30"/>
                    <a:gd name="T2" fmla="*/ 1 w 40"/>
                    <a:gd name="T3" fmla="*/ 1 h 30"/>
                    <a:gd name="T4" fmla="*/ 1 w 40"/>
                    <a:gd name="T5" fmla="*/ 1 h 30"/>
                    <a:gd name="T6" fmla="*/ 1 w 40"/>
                    <a:gd name="T7" fmla="*/ 1 h 30"/>
                    <a:gd name="T8" fmla="*/ 1 w 40"/>
                    <a:gd name="T9" fmla="*/ 1 h 30"/>
                    <a:gd name="T10" fmla="*/ 0 w 40"/>
                    <a:gd name="T11" fmla="*/ 1 h 30"/>
                    <a:gd name="T12" fmla="*/ 0 w 40"/>
                    <a:gd name="T13" fmla="*/ 0 h 30"/>
                    <a:gd name="T14" fmla="*/ 0 w 40"/>
                    <a:gd name="T15" fmla="*/ 0 h 30"/>
                    <a:gd name="T16" fmla="*/ 0 w 40"/>
                    <a:gd name="T17" fmla="*/ 0 h 30"/>
                    <a:gd name="T18" fmla="*/ 0 w 40"/>
                    <a:gd name="T19" fmla="*/ 0 h 30"/>
                    <a:gd name="T20" fmla="*/ 1 w 40"/>
                    <a:gd name="T21" fmla="*/ 0 h 30"/>
                    <a:gd name="T22" fmla="*/ 1 w 40"/>
                    <a:gd name="T23" fmla="*/ 0 h 30"/>
                    <a:gd name="T24" fmla="*/ 1 w 40"/>
                    <a:gd name="T25" fmla="*/ 1 h 30"/>
                    <a:gd name="T26" fmla="*/ 1 w 40"/>
                    <a:gd name="T27" fmla="*/ 1 h 30"/>
                    <a:gd name="T28" fmla="*/ 1 w 40"/>
                    <a:gd name="T29" fmla="*/ 1 h 30"/>
                    <a:gd name="T30" fmla="*/ 1 w 40"/>
                    <a:gd name="T31" fmla="*/ 1 h 30"/>
                    <a:gd name="T32" fmla="*/ 1 w 40"/>
                    <a:gd name="T33" fmla="*/ 1 h 3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40" h="30">
                      <a:moveTo>
                        <a:pt x="40" y="30"/>
                      </a:moveTo>
                      <a:lnTo>
                        <a:pt x="33" y="28"/>
                      </a:lnTo>
                      <a:lnTo>
                        <a:pt x="26" y="25"/>
                      </a:lnTo>
                      <a:lnTo>
                        <a:pt x="21" y="22"/>
                      </a:lnTo>
                      <a:lnTo>
                        <a:pt x="15" y="19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15" y="6"/>
                      </a:lnTo>
                      <a:lnTo>
                        <a:pt x="22" y="10"/>
                      </a:lnTo>
                      <a:lnTo>
                        <a:pt x="27" y="15"/>
                      </a:lnTo>
                      <a:lnTo>
                        <a:pt x="33" y="19"/>
                      </a:lnTo>
                      <a:lnTo>
                        <a:pt x="36" y="23"/>
                      </a:lnTo>
                      <a:lnTo>
                        <a:pt x="39" y="27"/>
                      </a:lnTo>
                      <a:lnTo>
                        <a:pt x="40" y="3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9" name="Freeform 153"/>
                <p:cNvSpPr>
                  <a:spLocks/>
                </p:cNvSpPr>
                <p:nvPr/>
              </p:nvSpPr>
              <p:spPr bwMode="auto">
                <a:xfrm>
                  <a:off x="5515" y="2789"/>
                  <a:ext cx="24" cy="26"/>
                </a:xfrm>
                <a:custGeom>
                  <a:avLst/>
                  <a:gdLst>
                    <a:gd name="T0" fmla="*/ 3 w 74"/>
                    <a:gd name="T1" fmla="*/ 3 h 80"/>
                    <a:gd name="T2" fmla="*/ 2 w 74"/>
                    <a:gd name="T3" fmla="*/ 3 h 80"/>
                    <a:gd name="T4" fmla="*/ 2 w 74"/>
                    <a:gd name="T5" fmla="*/ 2 h 80"/>
                    <a:gd name="T6" fmla="*/ 2 w 74"/>
                    <a:gd name="T7" fmla="*/ 2 h 80"/>
                    <a:gd name="T8" fmla="*/ 2 w 74"/>
                    <a:gd name="T9" fmla="*/ 2 h 80"/>
                    <a:gd name="T10" fmla="*/ 2 w 74"/>
                    <a:gd name="T11" fmla="*/ 2 h 80"/>
                    <a:gd name="T12" fmla="*/ 2 w 74"/>
                    <a:gd name="T13" fmla="*/ 1 h 80"/>
                    <a:gd name="T14" fmla="*/ 1 w 74"/>
                    <a:gd name="T15" fmla="*/ 1 h 80"/>
                    <a:gd name="T16" fmla="*/ 1 w 74"/>
                    <a:gd name="T17" fmla="*/ 1 h 80"/>
                    <a:gd name="T18" fmla="*/ 1 w 74"/>
                    <a:gd name="T19" fmla="*/ 0 h 80"/>
                    <a:gd name="T20" fmla="*/ 0 w 74"/>
                    <a:gd name="T21" fmla="*/ 0 h 80"/>
                    <a:gd name="T22" fmla="*/ 0 w 74"/>
                    <a:gd name="T23" fmla="*/ 0 h 80"/>
                    <a:gd name="T24" fmla="*/ 0 w 74"/>
                    <a:gd name="T25" fmla="*/ 0 h 80"/>
                    <a:gd name="T26" fmla="*/ 0 w 74"/>
                    <a:gd name="T27" fmla="*/ 1 h 80"/>
                    <a:gd name="T28" fmla="*/ 0 w 74"/>
                    <a:gd name="T29" fmla="*/ 1 h 80"/>
                    <a:gd name="T30" fmla="*/ 0 w 74"/>
                    <a:gd name="T31" fmla="*/ 1 h 80"/>
                    <a:gd name="T32" fmla="*/ 0 w 74"/>
                    <a:gd name="T33" fmla="*/ 1 h 80"/>
                    <a:gd name="T34" fmla="*/ 0 w 74"/>
                    <a:gd name="T35" fmla="*/ 1 h 80"/>
                    <a:gd name="T36" fmla="*/ 0 w 74"/>
                    <a:gd name="T37" fmla="*/ 1 h 80"/>
                    <a:gd name="T38" fmla="*/ 0 w 74"/>
                    <a:gd name="T39" fmla="*/ 2 h 80"/>
                    <a:gd name="T40" fmla="*/ 1 w 74"/>
                    <a:gd name="T41" fmla="*/ 2 h 80"/>
                    <a:gd name="T42" fmla="*/ 1 w 74"/>
                    <a:gd name="T43" fmla="*/ 2 h 80"/>
                    <a:gd name="T44" fmla="*/ 1 w 74"/>
                    <a:gd name="T45" fmla="*/ 2 h 80"/>
                    <a:gd name="T46" fmla="*/ 1 w 74"/>
                    <a:gd name="T47" fmla="*/ 2 h 80"/>
                    <a:gd name="T48" fmla="*/ 1 w 74"/>
                    <a:gd name="T49" fmla="*/ 2 h 80"/>
                    <a:gd name="T50" fmla="*/ 2 w 74"/>
                    <a:gd name="T51" fmla="*/ 2 h 80"/>
                    <a:gd name="T52" fmla="*/ 2 w 74"/>
                    <a:gd name="T53" fmla="*/ 3 h 80"/>
                    <a:gd name="T54" fmla="*/ 2 w 74"/>
                    <a:gd name="T55" fmla="*/ 3 h 80"/>
                    <a:gd name="T56" fmla="*/ 2 w 74"/>
                    <a:gd name="T57" fmla="*/ 3 h 80"/>
                    <a:gd name="T58" fmla="*/ 2 w 74"/>
                    <a:gd name="T59" fmla="*/ 3 h 80"/>
                    <a:gd name="T60" fmla="*/ 3 w 74"/>
                    <a:gd name="T61" fmla="*/ 3 h 8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74" h="80">
                      <a:moveTo>
                        <a:pt x="74" y="80"/>
                      </a:moveTo>
                      <a:lnTo>
                        <a:pt x="72" y="73"/>
                      </a:lnTo>
                      <a:lnTo>
                        <a:pt x="71" y="66"/>
                      </a:lnTo>
                      <a:lnTo>
                        <a:pt x="69" y="60"/>
                      </a:lnTo>
                      <a:lnTo>
                        <a:pt x="66" y="53"/>
                      </a:lnTo>
                      <a:lnTo>
                        <a:pt x="58" y="42"/>
                      </a:lnTo>
                      <a:lnTo>
                        <a:pt x="48" y="33"/>
                      </a:lnTo>
                      <a:lnTo>
                        <a:pt x="38" y="25"/>
                      </a:lnTo>
                      <a:lnTo>
                        <a:pt x="29" y="17"/>
                      </a:lnTo>
                      <a:lnTo>
                        <a:pt x="20" y="9"/>
                      </a:lnTo>
                      <a:lnTo>
                        <a:pt x="13" y="0"/>
                      </a:lnTo>
                      <a:lnTo>
                        <a:pt x="9" y="5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2" y="30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4" y="51"/>
                      </a:lnTo>
                      <a:lnTo>
                        <a:pt x="19" y="56"/>
                      </a:lnTo>
                      <a:lnTo>
                        <a:pt x="24" y="61"/>
                      </a:lnTo>
                      <a:lnTo>
                        <a:pt x="30" y="66"/>
                      </a:lnTo>
                      <a:lnTo>
                        <a:pt x="35" y="69"/>
                      </a:lnTo>
                      <a:lnTo>
                        <a:pt x="42" y="72"/>
                      </a:lnTo>
                      <a:lnTo>
                        <a:pt x="47" y="75"/>
                      </a:lnTo>
                      <a:lnTo>
                        <a:pt x="54" y="77"/>
                      </a:lnTo>
                      <a:lnTo>
                        <a:pt x="60" y="79"/>
                      </a:lnTo>
                      <a:lnTo>
                        <a:pt x="67" y="80"/>
                      </a:lnTo>
                      <a:lnTo>
                        <a:pt x="74" y="8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0" name="Freeform 154"/>
                <p:cNvSpPr>
                  <a:spLocks/>
                </p:cNvSpPr>
                <p:nvPr/>
              </p:nvSpPr>
              <p:spPr bwMode="auto">
                <a:xfrm>
                  <a:off x="5555" y="2785"/>
                  <a:ext cx="26" cy="27"/>
                </a:xfrm>
                <a:custGeom>
                  <a:avLst/>
                  <a:gdLst>
                    <a:gd name="T0" fmla="*/ 2 w 86"/>
                    <a:gd name="T1" fmla="*/ 3 h 80"/>
                    <a:gd name="T2" fmla="*/ 2 w 86"/>
                    <a:gd name="T3" fmla="*/ 3 h 80"/>
                    <a:gd name="T4" fmla="*/ 2 w 86"/>
                    <a:gd name="T5" fmla="*/ 2 h 80"/>
                    <a:gd name="T6" fmla="*/ 2 w 86"/>
                    <a:gd name="T7" fmla="*/ 2 h 80"/>
                    <a:gd name="T8" fmla="*/ 2 w 86"/>
                    <a:gd name="T9" fmla="*/ 2 h 80"/>
                    <a:gd name="T10" fmla="*/ 2 w 86"/>
                    <a:gd name="T11" fmla="*/ 2 h 80"/>
                    <a:gd name="T12" fmla="*/ 2 w 86"/>
                    <a:gd name="T13" fmla="*/ 2 h 80"/>
                    <a:gd name="T14" fmla="*/ 2 w 86"/>
                    <a:gd name="T15" fmla="*/ 2 h 80"/>
                    <a:gd name="T16" fmla="*/ 1 w 86"/>
                    <a:gd name="T17" fmla="*/ 1 h 80"/>
                    <a:gd name="T18" fmla="*/ 1 w 86"/>
                    <a:gd name="T19" fmla="*/ 1 h 80"/>
                    <a:gd name="T20" fmla="*/ 1 w 86"/>
                    <a:gd name="T21" fmla="*/ 1 h 80"/>
                    <a:gd name="T22" fmla="*/ 0 w 86"/>
                    <a:gd name="T23" fmla="*/ 0 h 80"/>
                    <a:gd name="T24" fmla="*/ 0 w 86"/>
                    <a:gd name="T25" fmla="*/ 0 h 80"/>
                    <a:gd name="T26" fmla="*/ 0 w 86"/>
                    <a:gd name="T27" fmla="*/ 0 h 80"/>
                    <a:gd name="T28" fmla="*/ 0 w 86"/>
                    <a:gd name="T29" fmla="*/ 1 h 80"/>
                    <a:gd name="T30" fmla="*/ 0 w 86"/>
                    <a:gd name="T31" fmla="*/ 1 h 80"/>
                    <a:gd name="T32" fmla="*/ 1 w 86"/>
                    <a:gd name="T33" fmla="*/ 2 h 80"/>
                    <a:gd name="T34" fmla="*/ 1 w 86"/>
                    <a:gd name="T35" fmla="*/ 2 h 80"/>
                    <a:gd name="T36" fmla="*/ 1 w 86"/>
                    <a:gd name="T37" fmla="*/ 3 h 80"/>
                    <a:gd name="T38" fmla="*/ 1 w 86"/>
                    <a:gd name="T39" fmla="*/ 3 h 80"/>
                    <a:gd name="T40" fmla="*/ 1 w 86"/>
                    <a:gd name="T41" fmla="*/ 3 h 80"/>
                    <a:gd name="T42" fmla="*/ 2 w 86"/>
                    <a:gd name="T43" fmla="*/ 3 h 80"/>
                    <a:gd name="T44" fmla="*/ 2 w 86"/>
                    <a:gd name="T45" fmla="*/ 3 h 8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86" h="80">
                      <a:moveTo>
                        <a:pt x="52" y="80"/>
                      </a:moveTo>
                      <a:lnTo>
                        <a:pt x="86" y="80"/>
                      </a:lnTo>
                      <a:lnTo>
                        <a:pt x="86" y="61"/>
                      </a:lnTo>
                      <a:lnTo>
                        <a:pt x="79" y="59"/>
                      </a:lnTo>
                      <a:lnTo>
                        <a:pt x="72" y="56"/>
                      </a:lnTo>
                      <a:lnTo>
                        <a:pt x="67" y="53"/>
                      </a:lnTo>
                      <a:lnTo>
                        <a:pt x="61" y="49"/>
                      </a:lnTo>
                      <a:lnTo>
                        <a:pt x="51" y="41"/>
                      </a:lnTo>
                      <a:lnTo>
                        <a:pt x="43" y="33"/>
                      </a:lnTo>
                      <a:lnTo>
                        <a:pt x="34" y="25"/>
                      </a:lnTo>
                      <a:lnTo>
                        <a:pt x="24" y="16"/>
                      </a:lnTo>
                      <a:lnTo>
                        <a:pt x="13" y="7"/>
                      </a:lnTo>
                      <a:lnTo>
                        <a:pt x="0" y="0"/>
                      </a:lnTo>
                      <a:lnTo>
                        <a:pt x="1" y="8"/>
                      </a:lnTo>
                      <a:lnTo>
                        <a:pt x="5" y="20"/>
                      </a:lnTo>
                      <a:lnTo>
                        <a:pt x="11" y="32"/>
                      </a:lnTo>
                      <a:lnTo>
                        <a:pt x="18" y="44"/>
                      </a:lnTo>
                      <a:lnTo>
                        <a:pt x="27" y="57"/>
                      </a:lnTo>
                      <a:lnTo>
                        <a:pt x="36" y="67"/>
                      </a:lnTo>
                      <a:lnTo>
                        <a:pt x="40" y="72"/>
                      </a:lnTo>
                      <a:lnTo>
                        <a:pt x="45" y="76"/>
                      </a:lnTo>
                      <a:lnTo>
                        <a:pt x="49" y="79"/>
                      </a:lnTo>
                      <a:lnTo>
                        <a:pt x="52" y="8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1" name="Freeform 155"/>
                <p:cNvSpPr>
                  <a:spLocks/>
                </p:cNvSpPr>
                <p:nvPr/>
              </p:nvSpPr>
              <p:spPr bwMode="auto">
                <a:xfrm>
                  <a:off x="5570" y="2825"/>
                  <a:ext cx="25" cy="11"/>
                </a:xfrm>
                <a:custGeom>
                  <a:avLst/>
                  <a:gdLst>
                    <a:gd name="T0" fmla="*/ 0 w 74"/>
                    <a:gd name="T1" fmla="*/ 0 h 31"/>
                    <a:gd name="T2" fmla="*/ 0 w 74"/>
                    <a:gd name="T3" fmla="*/ 0 h 31"/>
                    <a:gd name="T4" fmla="*/ 0 w 74"/>
                    <a:gd name="T5" fmla="*/ 1 h 31"/>
                    <a:gd name="T6" fmla="*/ 0 w 74"/>
                    <a:gd name="T7" fmla="*/ 1 h 31"/>
                    <a:gd name="T8" fmla="*/ 1 w 74"/>
                    <a:gd name="T9" fmla="*/ 1 h 31"/>
                    <a:gd name="T10" fmla="*/ 1 w 74"/>
                    <a:gd name="T11" fmla="*/ 1 h 31"/>
                    <a:gd name="T12" fmla="*/ 1 w 74"/>
                    <a:gd name="T13" fmla="*/ 1 h 31"/>
                    <a:gd name="T14" fmla="*/ 1 w 74"/>
                    <a:gd name="T15" fmla="*/ 1 h 31"/>
                    <a:gd name="T16" fmla="*/ 1 w 74"/>
                    <a:gd name="T17" fmla="*/ 1 h 31"/>
                    <a:gd name="T18" fmla="*/ 2 w 74"/>
                    <a:gd name="T19" fmla="*/ 1 h 31"/>
                    <a:gd name="T20" fmla="*/ 2 w 74"/>
                    <a:gd name="T21" fmla="*/ 1 h 31"/>
                    <a:gd name="T22" fmla="*/ 2 w 74"/>
                    <a:gd name="T23" fmla="*/ 1 h 31"/>
                    <a:gd name="T24" fmla="*/ 3 w 74"/>
                    <a:gd name="T25" fmla="*/ 1 h 31"/>
                    <a:gd name="T26" fmla="*/ 3 w 74"/>
                    <a:gd name="T27" fmla="*/ 1 h 31"/>
                    <a:gd name="T28" fmla="*/ 3 w 74"/>
                    <a:gd name="T29" fmla="*/ 1 h 31"/>
                    <a:gd name="T30" fmla="*/ 2 w 74"/>
                    <a:gd name="T31" fmla="*/ 1 h 31"/>
                    <a:gd name="T32" fmla="*/ 2 w 74"/>
                    <a:gd name="T33" fmla="*/ 1 h 31"/>
                    <a:gd name="T34" fmla="*/ 2 w 74"/>
                    <a:gd name="T35" fmla="*/ 0 h 31"/>
                    <a:gd name="T36" fmla="*/ 2 w 74"/>
                    <a:gd name="T37" fmla="*/ 0 h 31"/>
                    <a:gd name="T38" fmla="*/ 2 w 74"/>
                    <a:gd name="T39" fmla="*/ 0 h 31"/>
                    <a:gd name="T40" fmla="*/ 2 w 74"/>
                    <a:gd name="T41" fmla="*/ 0 h 31"/>
                    <a:gd name="T42" fmla="*/ 1 w 74"/>
                    <a:gd name="T43" fmla="*/ 0 h 31"/>
                    <a:gd name="T44" fmla="*/ 1 w 74"/>
                    <a:gd name="T45" fmla="*/ 0 h 31"/>
                    <a:gd name="T46" fmla="*/ 1 w 74"/>
                    <a:gd name="T47" fmla="*/ 0 h 31"/>
                    <a:gd name="T48" fmla="*/ 1 w 74"/>
                    <a:gd name="T49" fmla="*/ 0 h 31"/>
                    <a:gd name="T50" fmla="*/ 1 w 74"/>
                    <a:gd name="T51" fmla="*/ 0 h 31"/>
                    <a:gd name="T52" fmla="*/ 0 w 74"/>
                    <a:gd name="T53" fmla="*/ 0 h 31"/>
                    <a:gd name="T54" fmla="*/ 0 w 74"/>
                    <a:gd name="T55" fmla="*/ 0 h 31"/>
                    <a:gd name="T56" fmla="*/ 0 w 74"/>
                    <a:gd name="T57" fmla="*/ 0 h 31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74" h="31">
                      <a:moveTo>
                        <a:pt x="0" y="7"/>
                      </a:moveTo>
                      <a:lnTo>
                        <a:pt x="3" y="11"/>
                      </a:lnTo>
                      <a:lnTo>
                        <a:pt x="5" y="15"/>
                      </a:lnTo>
                      <a:lnTo>
                        <a:pt x="9" y="18"/>
                      </a:lnTo>
                      <a:lnTo>
                        <a:pt x="14" y="21"/>
                      </a:lnTo>
                      <a:lnTo>
                        <a:pt x="18" y="24"/>
                      </a:lnTo>
                      <a:lnTo>
                        <a:pt x="23" y="26"/>
                      </a:lnTo>
                      <a:lnTo>
                        <a:pt x="29" y="28"/>
                      </a:lnTo>
                      <a:lnTo>
                        <a:pt x="34" y="29"/>
                      </a:lnTo>
                      <a:lnTo>
                        <a:pt x="47" y="31"/>
                      </a:lnTo>
                      <a:lnTo>
                        <a:pt x="58" y="31"/>
                      </a:lnTo>
                      <a:lnTo>
                        <a:pt x="63" y="30"/>
                      </a:lnTo>
                      <a:lnTo>
                        <a:pt x="67" y="29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64" y="18"/>
                      </a:lnTo>
                      <a:lnTo>
                        <a:pt x="55" y="13"/>
                      </a:lnTo>
                      <a:lnTo>
                        <a:pt x="51" y="10"/>
                      </a:lnTo>
                      <a:lnTo>
                        <a:pt x="47" y="8"/>
                      </a:lnTo>
                      <a:lnTo>
                        <a:pt x="43" y="5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8" y="1"/>
                      </a:lnTo>
                      <a:lnTo>
                        <a:pt x="22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2" name="Freeform 156"/>
                <p:cNvSpPr>
                  <a:spLocks/>
                </p:cNvSpPr>
                <p:nvPr/>
              </p:nvSpPr>
              <p:spPr bwMode="auto">
                <a:xfrm>
                  <a:off x="5562" y="2819"/>
                  <a:ext cx="6" cy="1"/>
                </a:xfrm>
                <a:custGeom>
                  <a:avLst/>
                  <a:gdLst>
                    <a:gd name="T0" fmla="*/ 1 w 20"/>
                    <a:gd name="T1" fmla="*/ 0 h 1"/>
                    <a:gd name="T2" fmla="*/ 0 w 20"/>
                    <a:gd name="T3" fmla="*/ 0 h 1"/>
                    <a:gd name="T4" fmla="*/ 0 w 20"/>
                    <a:gd name="T5" fmla="*/ 0 h 1"/>
                    <a:gd name="T6" fmla="*/ 1 w 20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3" name="Freeform 157"/>
                <p:cNvSpPr>
                  <a:spLocks/>
                </p:cNvSpPr>
                <p:nvPr/>
              </p:nvSpPr>
              <p:spPr bwMode="auto">
                <a:xfrm>
                  <a:off x="5509" y="2769"/>
                  <a:ext cx="32" cy="21"/>
                </a:xfrm>
                <a:custGeom>
                  <a:avLst/>
                  <a:gdLst>
                    <a:gd name="T0" fmla="*/ 0 w 100"/>
                    <a:gd name="T1" fmla="*/ 1 h 65"/>
                    <a:gd name="T2" fmla="*/ 1 w 100"/>
                    <a:gd name="T3" fmla="*/ 1 h 65"/>
                    <a:gd name="T4" fmla="*/ 2 w 100"/>
                    <a:gd name="T5" fmla="*/ 2 h 65"/>
                    <a:gd name="T6" fmla="*/ 2 w 100"/>
                    <a:gd name="T7" fmla="*/ 2 h 65"/>
                    <a:gd name="T8" fmla="*/ 3 w 100"/>
                    <a:gd name="T9" fmla="*/ 2 h 65"/>
                    <a:gd name="T10" fmla="*/ 3 w 100"/>
                    <a:gd name="T11" fmla="*/ 2 h 65"/>
                    <a:gd name="T12" fmla="*/ 3 w 100"/>
                    <a:gd name="T13" fmla="*/ 2 h 65"/>
                    <a:gd name="T14" fmla="*/ 3 w 100"/>
                    <a:gd name="T15" fmla="*/ 2 h 65"/>
                    <a:gd name="T16" fmla="*/ 3 w 100"/>
                    <a:gd name="T17" fmla="*/ 2 h 65"/>
                    <a:gd name="T18" fmla="*/ 3 w 100"/>
                    <a:gd name="T19" fmla="*/ 2 h 65"/>
                    <a:gd name="T20" fmla="*/ 3 w 100"/>
                    <a:gd name="T21" fmla="*/ 2 h 65"/>
                    <a:gd name="T22" fmla="*/ 3 w 100"/>
                    <a:gd name="T23" fmla="*/ 2 h 65"/>
                    <a:gd name="T24" fmla="*/ 3 w 100"/>
                    <a:gd name="T25" fmla="*/ 2 h 65"/>
                    <a:gd name="T26" fmla="*/ 2 w 100"/>
                    <a:gd name="T27" fmla="*/ 1 h 65"/>
                    <a:gd name="T28" fmla="*/ 2 w 100"/>
                    <a:gd name="T29" fmla="*/ 1 h 65"/>
                    <a:gd name="T30" fmla="*/ 2 w 100"/>
                    <a:gd name="T31" fmla="*/ 1 h 65"/>
                    <a:gd name="T32" fmla="*/ 2 w 100"/>
                    <a:gd name="T33" fmla="*/ 0 h 65"/>
                    <a:gd name="T34" fmla="*/ 1 w 100"/>
                    <a:gd name="T35" fmla="*/ 0 h 65"/>
                    <a:gd name="T36" fmla="*/ 1 w 100"/>
                    <a:gd name="T37" fmla="*/ 0 h 65"/>
                    <a:gd name="T38" fmla="*/ 1 w 100"/>
                    <a:gd name="T39" fmla="*/ 0 h 65"/>
                    <a:gd name="T40" fmla="*/ 1 w 100"/>
                    <a:gd name="T41" fmla="*/ 0 h 65"/>
                    <a:gd name="T42" fmla="*/ 0 w 100"/>
                    <a:gd name="T43" fmla="*/ 0 h 65"/>
                    <a:gd name="T44" fmla="*/ 0 w 100"/>
                    <a:gd name="T45" fmla="*/ 0 h 65"/>
                    <a:gd name="T46" fmla="*/ 0 w 100"/>
                    <a:gd name="T47" fmla="*/ 1 h 6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100" h="65">
                      <a:moveTo>
                        <a:pt x="7" y="25"/>
                      </a:moveTo>
                      <a:lnTo>
                        <a:pt x="35" y="40"/>
                      </a:lnTo>
                      <a:lnTo>
                        <a:pt x="61" y="55"/>
                      </a:lnTo>
                      <a:lnTo>
                        <a:pt x="72" y="60"/>
                      </a:lnTo>
                      <a:lnTo>
                        <a:pt x="83" y="65"/>
                      </a:lnTo>
                      <a:lnTo>
                        <a:pt x="87" y="65"/>
                      </a:lnTo>
                      <a:lnTo>
                        <a:pt x="91" y="65"/>
                      </a:lnTo>
                      <a:lnTo>
                        <a:pt x="96" y="65"/>
                      </a:lnTo>
                      <a:lnTo>
                        <a:pt x="100" y="62"/>
                      </a:lnTo>
                      <a:lnTo>
                        <a:pt x="94" y="60"/>
                      </a:lnTo>
                      <a:lnTo>
                        <a:pt x="88" y="56"/>
                      </a:lnTo>
                      <a:lnTo>
                        <a:pt x="83" y="52"/>
                      </a:lnTo>
                      <a:lnTo>
                        <a:pt x="78" y="46"/>
                      </a:lnTo>
                      <a:lnTo>
                        <a:pt x="67" y="34"/>
                      </a:lnTo>
                      <a:lnTo>
                        <a:pt x="57" y="21"/>
                      </a:lnTo>
                      <a:lnTo>
                        <a:pt x="52" y="15"/>
                      </a:lnTo>
                      <a:lnTo>
                        <a:pt x="46" y="10"/>
                      </a:lnTo>
                      <a:lnTo>
                        <a:pt x="40" y="4"/>
                      </a:ln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0" y="6"/>
                      </a:lnTo>
                      <a:lnTo>
                        <a:pt x="7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4" name="Freeform 158"/>
                <p:cNvSpPr>
                  <a:spLocks/>
                </p:cNvSpPr>
                <p:nvPr/>
              </p:nvSpPr>
              <p:spPr bwMode="auto">
                <a:xfrm>
                  <a:off x="5486" y="2743"/>
                  <a:ext cx="24" cy="34"/>
                </a:xfrm>
                <a:custGeom>
                  <a:avLst/>
                  <a:gdLst>
                    <a:gd name="T0" fmla="*/ 2 w 79"/>
                    <a:gd name="T1" fmla="*/ 3 h 104"/>
                    <a:gd name="T2" fmla="*/ 2 w 79"/>
                    <a:gd name="T3" fmla="*/ 2 h 104"/>
                    <a:gd name="T4" fmla="*/ 1 w 79"/>
                    <a:gd name="T5" fmla="*/ 1 h 104"/>
                    <a:gd name="T6" fmla="*/ 1 w 79"/>
                    <a:gd name="T7" fmla="*/ 1 h 104"/>
                    <a:gd name="T8" fmla="*/ 0 w 79"/>
                    <a:gd name="T9" fmla="*/ 0 h 104"/>
                    <a:gd name="T10" fmla="*/ 0 w 79"/>
                    <a:gd name="T11" fmla="*/ 1 h 104"/>
                    <a:gd name="T12" fmla="*/ 0 w 79"/>
                    <a:gd name="T13" fmla="*/ 1 h 104"/>
                    <a:gd name="T14" fmla="*/ 0 w 79"/>
                    <a:gd name="T15" fmla="*/ 1 h 104"/>
                    <a:gd name="T16" fmla="*/ 0 w 79"/>
                    <a:gd name="T17" fmla="*/ 2 h 104"/>
                    <a:gd name="T18" fmla="*/ 0 w 79"/>
                    <a:gd name="T19" fmla="*/ 2 h 104"/>
                    <a:gd name="T20" fmla="*/ 0 w 79"/>
                    <a:gd name="T21" fmla="*/ 2 h 104"/>
                    <a:gd name="T22" fmla="*/ 0 w 79"/>
                    <a:gd name="T23" fmla="*/ 2 h 104"/>
                    <a:gd name="T24" fmla="*/ 0 w 79"/>
                    <a:gd name="T25" fmla="*/ 3 h 104"/>
                    <a:gd name="T26" fmla="*/ 0 w 79"/>
                    <a:gd name="T27" fmla="*/ 3 h 104"/>
                    <a:gd name="T28" fmla="*/ 0 w 79"/>
                    <a:gd name="T29" fmla="*/ 3 h 104"/>
                    <a:gd name="T30" fmla="*/ 0 w 79"/>
                    <a:gd name="T31" fmla="*/ 3 h 104"/>
                    <a:gd name="T32" fmla="*/ 1 w 79"/>
                    <a:gd name="T33" fmla="*/ 3 h 104"/>
                    <a:gd name="T34" fmla="*/ 1 w 79"/>
                    <a:gd name="T35" fmla="*/ 3 h 104"/>
                    <a:gd name="T36" fmla="*/ 1 w 79"/>
                    <a:gd name="T37" fmla="*/ 3 h 104"/>
                    <a:gd name="T38" fmla="*/ 1 w 79"/>
                    <a:gd name="T39" fmla="*/ 3 h 104"/>
                    <a:gd name="T40" fmla="*/ 2 w 79"/>
                    <a:gd name="T41" fmla="*/ 3 h 104"/>
                    <a:gd name="T42" fmla="*/ 2 w 79"/>
                    <a:gd name="T43" fmla="*/ 4 h 104"/>
                    <a:gd name="T44" fmla="*/ 2 w 79"/>
                    <a:gd name="T45" fmla="*/ 4 h 104"/>
                    <a:gd name="T46" fmla="*/ 2 w 79"/>
                    <a:gd name="T47" fmla="*/ 3 h 10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79" h="104">
                      <a:moveTo>
                        <a:pt x="72" y="85"/>
                      </a:moveTo>
                      <a:lnTo>
                        <a:pt x="56" y="61"/>
                      </a:lnTo>
                      <a:lnTo>
                        <a:pt x="43" y="41"/>
                      </a:lnTo>
                      <a:lnTo>
                        <a:pt x="29" y="20"/>
                      </a:lnTo>
                      <a:lnTo>
                        <a:pt x="12" y="0"/>
                      </a:lnTo>
                      <a:lnTo>
                        <a:pt x="6" y="16"/>
                      </a:lnTo>
                      <a:lnTo>
                        <a:pt x="2" y="33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0" y="62"/>
                      </a:lnTo>
                      <a:lnTo>
                        <a:pt x="1" y="68"/>
                      </a:lnTo>
                      <a:lnTo>
                        <a:pt x="3" y="74"/>
                      </a:lnTo>
                      <a:lnTo>
                        <a:pt x="6" y="79"/>
                      </a:lnTo>
                      <a:lnTo>
                        <a:pt x="10" y="83"/>
                      </a:lnTo>
                      <a:lnTo>
                        <a:pt x="14" y="88"/>
                      </a:lnTo>
                      <a:lnTo>
                        <a:pt x="20" y="90"/>
                      </a:lnTo>
                      <a:lnTo>
                        <a:pt x="25" y="92"/>
                      </a:lnTo>
                      <a:lnTo>
                        <a:pt x="33" y="92"/>
                      </a:lnTo>
                      <a:lnTo>
                        <a:pt x="43" y="93"/>
                      </a:lnTo>
                      <a:lnTo>
                        <a:pt x="54" y="96"/>
                      </a:lnTo>
                      <a:lnTo>
                        <a:pt x="65" y="100"/>
                      </a:lnTo>
                      <a:lnTo>
                        <a:pt x="79" y="104"/>
                      </a:lnTo>
                      <a:lnTo>
                        <a:pt x="72" y="8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62" name="Freeform 159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10215830" y="4027060"/>
                <a:ext cx="11113" cy="55562"/>
              </a:xfrm>
              <a:custGeom>
                <a:avLst/>
                <a:gdLst>
                  <a:gd name="T0" fmla="*/ 1882636043 w 27"/>
                  <a:gd name="T1" fmla="*/ 0 h 19"/>
                  <a:gd name="T2" fmla="*/ 1882636043 w 27"/>
                  <a:gd name="T3" fmla="*/ 2147483647 h 19"/>
                  <a:gd name="T4" fmla="*/ 1882636043 w 27"/>
                  <a:gd name="T5" fmla="*/ 2147483647 h 19"/>
                  <a:gd name="T6" fmla="*/ 627488960 w 27"/>
                  <a:gd name="T7" fmla="*/ 2147483647 h 19"/>
                  <a:gd name="T8" fmla="*/ 0 w 27"/>
                  <a:gd name="T9" fmla="*/ 2147483647 h 19"/>
                  <a:gd name="T10" fmla="*/ 627488960 w 27"/>
                  <a:gd name="T11" fmla="*/ 2147483647 h 19"/>
                  <a:gd name="T12" fmla="*/ 1882636043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3" name="Freeform 160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139630" y="4166760"/>
                <a:ext cx="14288" cy="57150"/>
              </a:xfrm>
              <a:custGeom>
                <a:avLst/>
                <a:gdLst>
                  <a:gd name="T0" fmla="*/ 0 w 39"/>
                  <a:gd name="T1" fmla="*/ 0 h 35"/>
                  <a:gd name="T2" fmla="*/ 1917719607 w 39"/>
                  <a:gd name="T3" fmla="*/ 0 h 35"/>
                  <a:gd name="T4" fmla="*/ 1770213225 w 39"/>
                  <a:gd name="T5" fmla="*/ 2147483647 h 35"/>
                  <a:gd name="T6" fmla="*/ 1622706478 w 39"/>
                  <a:gd name="T7" fmla="*/ 2147483647 h 35"/>
                  <a:gd name="T8" fmla="*/ 1327693349 w 39"/>
                  <a:gd name="T9" fmla="*/ 2147483647 h 35"/>
                  <a:gd name="T10" fmla="*/ 1081804197 w 39"/>
                  <a:gd name="T11" fmla="*/ 2147483647 h 35"/>
                  <a:gd name="T12" fmla="*/ 934297815 w 39"/>
                  <a:gd name="T13" fmla="*/ 2147483647 h 35"/>
                  <a:gd name="T14" fmla="*/ 786791068 w 39"/>
                  <a:gd name="T15" fmla="*/ 2147483647 h 35"/>
                  <a:gd name="T16" fmla="*/ 639284687 w 39"/>
                  <a:gd name="T17" fmla="*/ 2147483647 h 35"/>
                  <a:gd name="T18" fmla="*/ 540902281 w 39"/>
                  <a:gd name="T19" fmla="*/ 2147483647 h 35"/>
                  <a:gd name="T20" fmla="*/ 344271558 w 39"/>
                  <a:gd name="T21" fmla="*/ 2147483647 h 35"/>
                  <a:gd name="T22" fmla="*/ 245889153 w 39"/>
                  <a:gd name="T23" fmla="*/ 2147483647 h 35"/>
                  <a:gd name="T24" fmla="*/ 98382405 w 39"/>
                  <a:gd name="T25" fmla="*/ 2147483647 h 35"/>
                  <a:gd name="T26" fmla="*/ 0 w 39"/>
                  <a:gd name="T27" fmla="*/ 0 h 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9" h="35">
                    <a:moveTo>
                      <a:pt x="0" y="0"/>
                    </a:moveTo>
                    <a:lnTo>
                      <a:pt x="39" y="0"/>
                    </a:lnTo>
                    <a:lnTo>
                      <a:pt x="36" y="9"/>
                    </a:lnTo>
                    <a:lnTo>
                      <a:pt x="33" y="19"/>
                    </a:lnTo>
                    <a:lnTo>
                      <a:pt x="27" y="28"/>
                    </a:lnTo>
                    <a:lnTo>
                      <a:pt x="22" y="34"/>
                    </a:lnTo>
                    <a:lnTo>
                      <a:pt x="19" y="35"/>
                    </a:lnTo>
                    <a:lnTo>
                      <a:pt x="16" y="35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7" y="26"/>
                    </a:lnTo>
                    <a:lnTo>
                      <a:pt x="5" y="20"/>
                    </a:lnTo>
                    <a:lnTo>
                      <a:pt x="2" y="1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4" name="Freeform 161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1938268" y="2493535"/>
                <a:ext cx="728662" cy="331787"/>
              </a:xfrm>
              <a:custGeom>
                <a:avLst/>
                <a:gdLst>
                  <a:gd name="T0" fmla="*/ 2147483647 w 1688"/>
                  <a:gd name="T1" fmla="*/ 2147483647 h 630"/>
                  <a:gd name="T2" fmla="*/ 2147483647 w 1688"/>
                  <a:gd name="T3" fmla="*/ 2147483647 h 630"/>
                  <a:gd name="T4" fmla="*/ 2147483647 w 1688"/>
                  <a:gd name="T5" fmla="*/ 2147483647 h 630"/>
                  <a:gd name="T6" fmla="*/ 2147483647 w 1688"/>
                  <a:gd name="T7" fmla="*/ 2147483647 h 630"/>
                  <a:gd name="T8" fmla="*/ 2147483647 w 1688"/>
                  <a:gd name="T9" fmla="*/ 2147483647 h 630"/>
                  <a:gd name="T10" fmla="*/ 2147483647 w 1688"/>
                  <a:gd name="T11" fmla="*/ 2147483647 h 630"/>
                  <a:gd name="T12" fmla="*/ 2147483647 w 1688"/>
                  <a:gd name="T13" fmla="*/ 2147483647 h 630"/>
                  <a:gd name="T14" fmla="*/ 2147483647 w 1688"/>
                  <a:gd name="T15" fmla="*/ 2147483647 h 630"/>
                  <a:gd name="T16" fmla="*/ 2147483647 w 1688"/>
                  <a:gd name="T17" fmla="*/ 2147483647 h 630"/>
                  <a:gd name="T18" fmla="*/ 2147483647 w 1688"/>
                  <a:gd name="T19" fmla="*/ 2147483647 h 630"/>
                  <a:gd name="T20" fmla="*/ 2147483647 w 1688"/>
                  <a:gd name="T21" fmla="*/ 2147483647 h 630"/>
                  <a:gd name="T22" fmla="*/ 2147483647 w 1688"/>
                  <a:gd name="T23" fmla="*/ 2147483647 h 630"/>
                  <a:gd name="T24" fmla="*/ 2147483647 w 1688"/>
                  <a:gd name="T25" fmla="*/ 2147483647 h 630"/>
                  <a:gd name="T26" fmla="*/ 2147483647 w 1688"/>
                  <a:gd name="T27" fmla="*/ 2147483647 h 630"/>
                  <a:gd name="T28" fmla="*/ 2147483647 w 1688"/>
                  <a:gd name="T29" fmla="*/ 2147483647 h 630"/>
                  <a:gd name="T30" fmla="*/ 2147483647 w 1688"/>
                  <a:gd name="T31" fmla="*/ 2147483647 h 630"/>
                  <a:gd name="T32" fmla="*/ 2147483647 w 1688"/>
                  <a:gd name="T33" fmla="*/ 2147483647 h 630"/>
                  <a:gd name="T34" fmla="*/ 2147483647 w 1688"/>
                  <a:gd name="T35" fmla="*/ 2147483647 h 630"/>
                  <a:gd name="T36" fmla="*/ 2147483647 w 1688"/>
                  <a:gd name="T37" fmla="*/ 2147483647 h 630"/>
                  <a:gd name="T38" fmla="*/ 2147483647 w 1688"/>
                  <a:gd name="T39" fmla="*/ 2147483647 h 630"/>
                  <a:gd name="T40" fmla="*/ 2147483647 w 1688"/>
                  <a:gd name="T41" fmla="*/ 2147483647 h 630"/>
                  <a:gd name="T42" fmla="*/ 2147483647 w 1688"/>
                  <a:gd name="T43" fmla="*/ 2147483647 h 630"/>
                  <a:gd name="T44" fmla="*/ 2147483647 w 1688"/>
                  <a:gd name="T45" fmla="*/ 2147483647 h 630"/>
                  <a:gd name="T46" fmla="*/ 2147483647 w 1688"/>
                  <a:gd name="T47" fmla="*/ 2147483647 h 630"/>
                  <a:gd name="T48" fmla="*/ 2147483647 w 1688"/>
                  <a:gd name="T49" fmla="*/ 2147483647 h 630"/>
                  <a:gd name="T50" fmla="*/ 2147483647 w 1688"/>
                  <a:gd name="T51" fmla="*/ 2147483647 h 630"/>
                  <a:gd name="T52" fmla="*/ 2147483647 w 1688"/>
                  <a:gd name="T53" fmla="*/ 2147483647 h 630"/>
                  <a:gd name="T54" fmla="*/ 2147483647 w 1688"/>
                  <a:gd name="T55" fmla="*/ 2147483647 h 630"/>
                  <a:gd name="T56" fmla="*/ 2147483647 w 1688"/>
                  <a:gd name="T57" fmla="*/ 2147483647 h 630"/>
                  <a:gd name="T58" fmla="*/ 2147483647 w 1688"/>
                  <a:gd name="T59" fmla="*/ 2147483647 h 630"/>
                  <a:gd name="T60" fmla="*/ 2147483647 w 1688"/>
                  <a:gd name="T61" fmla="*/ 2147483647 h 630"/>
                  <a:gd name="T62" fmla="*/ 2147483647 w 1688"/>
                  <a:gd name="T63" fmla="*/ 2147483647 h 630"/>
                  <a:gd name="T64" fmla="*/ 2147483647 w 1688"/>
                  <a:gd name="T65" fmla="*/ 2147483647 h 630"/>
                  <a:gd name="T66" fmla="*/ 2147483647 w 1688"/>
                  <a:gd name="T67" fmla="*/ 2147483647 h 630"/>
                  <a:gd name="T68" fmla="*/ 2147483647 w 1688"/>
                  <a:gd name="T69" fmla="*/ 2147483647 h 630"/>
                  <a:gd name="T70" fmla="*/ 2147483647 w 1688"/>
                  <a:gd name="T71" fmla="*/ 2147483647 h 630"/>
                  <a:gd name="T72" fmla="*/ 2147483647 w 1688"/>
                  <a:gd name="T73" fmla="*/ 2147483647 h 630"/>
                  <a:gd name="T74" fmla="*/ 2147483647 w 1688"/>
                  <a:gd name="T75" fmla="*/ 2147483647 h 630"/>
                  <a:gd name="T76" fmla="*/ 2147483647 w 1688"/>
                  <a:gd name="T77" fmla="*/ 2147483647 h 630"/>
                  <a:gd name="T78" fmla="*/ 2147483647 w 1688"/>
                  <a:gd name="T79" fmla="*/ 2147483647 h 630"/>
                  <a:gd name="T80" fmla="*/ 2147483647 w 1688"/>
                  <a:gd name="T81" fmla="*/ 2147483647 h 630"/>
                  <a:gd name="T82" fmla="*/ 2147483647 w 1688"/>
                  <a:gd name="T83" fmla="*/ 2147483647 h 630"/>
                  <a:gd name="T84" fmla="*/ 2147483647 w 1688"/>
                  <a:gd name="T85" fmla="*/ 2147483647 h 630"/>
                  <a:gd name="T86" fmla="*/ 2147483647 w 1688"/>
                  <a:gd name="T87" fmla="*/ 2147483647 h 630"/>
                  <a:gd name="T88" fmla="*/ 2147483647 w 1688"/>
                  <a:gd name="T89" fmla="*/ 2147483647 h 630"/>
                  <a:gd name="T90" fmla="*/ 2147483647 w 1688"/>
                  <a:gd name="T91" fmla="*/ 2147483647 h 630"/>
                  <a:gd name="T92" fmla="*/ 2147483647 w 1688"/>
                  <a:gd name="T93" fmla="*/ 2147483647 h 630"/>
                  <a:gd name="T94" fmla="*/ 2147483647 w 1688"/>
                  <a:gd name="T95" fmla="*/ 1022611772 h 630"/>
                  <a:gd name="T96" fmla="*/ 2147483647 w 1688"/>
                  <a:gd name="T97" fmla="*/ 2147483647 h 630"/>
                  <a:gd name="T98" fmla="*/ 2147483647 w 1688"/>
                  <a:gd name="T99" fmla="*/ 2147483647 h 630"/>
                  <a:gd name="T100" fmla="*/ 2147483647 w 1688"/>
                  <a:gd name="T101" fmla="*/ 2147483647 h 630"/>
                  <a:gd name="T102" fmla="*/ 2147483647 w 1688"/>
                  <a:gd name="T103" fmla="*/ 2147483647 h 630"/>
                  <a:gd name="T104" fmla="*/ 2147483647 w 1688"/>
                  <a:gd name="T105" fmla="*/ 2147483647 h 630"/>
                  <a:gd name="T106" fmla="*/ 2147483647 w 1688"/>
                  <a:gd name="T107" fmla="*/ 2147483647 h 630"/>
                  <a:gd name="T108" fmla="*/ 2147483647 w 1688"/>
                  <a:gd name="T109" fmla="*/ 2147483647 h 630"/>
                  <a:gd name="T110" fmla="*/ 2147483647 w 1688"/>
                  <a:gd name="T111" fmla="*/ 2147483647 h 630"/>
                  <a:gd name="T112" fmla="*/ 2147483647 w 1688"/>
                  <a:gd name="T113" fmla="*/ 2147483647 h 630"/>
                  <a:gd name="T114" fmla="*/ 2147483647 w 1688"/>
                  <a:gd name="T115" fmla="*/ 2147483647 h 630"/>
                  <a:gd name="T116" fmla="*/ 321810033 w 1688"/>
                  <a:gd name="T117" fmla="*/ 2147483647 h 63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688" h="630">
                    <a:moveTo>
                      <a:pt x="0" y="180"/>
                    </a:moveTo>
                    <a:lnTo>
                      <a:pt x="7" y="190"/>
                    </a:lnTo>
                    <a:lnTo>
                      <a:pt x="15" y="199"/>
                    </a:lnTo>
                    <a:lnTo>
                      <a:pt x="22" y="208"/>
                    </a:lnTo>
                    <a:lnTo>
                      <a:pt x="32" y="216"/>
                    </a:lnTo>
                    <a:lnTo>
                      <a:pt x="41" y="224"/>
                    </a:lnTo>
                    <a:lnTo>
                      <a:pt x="51" y="232"/>
                    </a:lnTo>
                    <a:lnTo>
                      <a:pt x="62" y="238"/>
                    </a:lnTo>
                    <a:lnTo>
                      <a:pt x="74" y="244"/>
                    </a:lnTo>
                    <a:lnTo>
                      <a:pt x="86" y="249"/>
                    </a:lnTo>
                    <a:lnTo>
                      <a:pt x="99" y="253"/>
                    </a:lnTo>
                    <a:lnTo>
                      <a:pt x="112" y="257"/>
                    </a:lnTo>
                    <a:lnTo>
                      <a:pt x="126" y="260"/>
                    </a:lnTo>
                    <a:lnTo>
                      <a:pt x="140" y="262"/>
                    </a:lnTo>
                    <a:lnTo>
                      <a:pt x="155" y="264"/>
                    </a:lnTo>
                    <a:lnTo>
                      <a:pt x="171" y="265"/>
                    </a:lnTo>
                    <a:lnTo>
                      <a:pt x="187" y="266"/>
                    </a:lnTo>
                    <a:lnTo>
                      <a:pt x="187" y="270"/>
                    </a:lnTo>
                    <a:lnTo>
                      <a:pt x="189" y="276"/>
                    </a:lnTo>
                    <a:lnTo>
                      <a:pt x="191" y="281"/>
                    </a:lnTo>
                    <a:lnTo>
                      <a:pt x="196" y="288"/>
                    </a:lnTo>
                    <a:lnTo>
                      <a:pt x="205" y="300"/>
                    </a:lnTo>
                    <a:lnTo>
                      <a:pt x="215" y="312"/>
                    </a:lnTo>
                    <a:lnTo>
                      <a:pt x="227" y="323"/>
                    </a:lnTo>
                    <a:lnTo>
                      <a:pt x="238" y="331"/>
                    </a:lnTo>
                    <a:lnTo>
                      <a:pt x="242" y="335"/>
                    </a:lnTo>
                    <a:lnTo>
                      <a:pt x="246" y="337"/>
                    </a:lnTo>
                    <a:lnTo>
                      <a:pt x="251" y="340"/>
                    </a:lnTo>
                    <a:lnTo>
                      <a:pt x="253" y="340"/>
                    </a:lnTo>
                    <a:lnTo>
                      <a:pt x="253" y="349"/>
                    </a:lnTo>
                    <a:lnTo>
                      <a:pt x="253" y="358"/>
                    </a:lnTo>
                    <a:lnTo>
                      <a:pt x="253" y="365"/>
                    </a:lnTo>
                    <a:lnTo>
                      <a:pt x="253" y="370"/>
                    </a:lnTo>
                    <a:lnTo>
                      <a:pt x="253" y="379"/>
                    </a:lnTo>
                    <a:lnTo>
                      <a:pt x="254" y="386"/>
                    </a:lnTo>
                    <a:lnTo>
                      <a:pt x="256" y="394"/>
                    </a:lnTo>
                    <a:lnTo>
                      <a:pt x="260" y="402"/>
                    </a:lnTo>
                    <a:lnTo>
                      <a:pt x="262" y="404"/>
                    </a:lnTo>
                    <a:lnTo>
                      <a:pt x="266" y="406"/>
                    </a:lnTo>
                    <a:lnTo>
                      <a:pt x="273" y="408"/>
                    </a:lnTo>
                    <a:lnTo>
                      <a:pt x="280" y="410"/>
                    </a:lnTo>
                    <a:lnTo>
                      <a:pt x="296" y="413"/>
                    </a:lnTo>
                    <a:lnTo>
                      <a:pt x="307" y="414"/>
                    </a:lnTo>
                    <a:lnTo>
                      <a:pt x="323" y="414"/>
                    </a:lnTo>
                    <a:lnTo>
                      <a:pt x="341" y="416"/>
                    </a:lnTo>
                    <a:lnTo>
                      <a:pt x="356" y="419"/>
                    </a:lnTo>
                    <a:lnTo>
                      <a:pt x="373" y="422"/>
                    </a:lnTo>
                    <a:lnTo>
                      <a:pt x="403" y="431"/>
                    </a:lnTo>
                    <a:lnTo>
                      <a:pt x="433" y="441"/>
                    </a:lnTo>
                    <a:lnTo>
                      <a:pt x="463" y="452"/>
                    </a:lnTo>
                    <a:lnTo>
                      <a:pt x="490" y="461"/>
                    </a:lnTo>
                    <a:lnTo>
                      <a:pt x="504" y="464"/>
                    </a:lnTo>
                    <a:lnTo>
                      <a:pt x="518" y="467"/>
                    </a:lnTo>
                    <a:lnTo>
                      <a:pt x="532" y="469"/>
                    </a:lnTo>
                    <a:lnTo>
                      <a:pt x="546" y="469"/>
                    </a:lnTo>
                    <a:lnTo>
                      <a:pt x="548" y="477"/>
                    </a:lnTo>
                    <a:lnTo>
                      <a:pt x="554" y="485"/>
                    </a:lnTo>
                    <a:lnTo>
                      <a:pt x="559" y="493"/>
                    </a:lnTo>
                    <a:lnTo>
                      <a:pt x="566" y="501"/>
                    </a:lnTo>
                    <a:lnTo>
                      <a:pt x="575" y="510"/>
                    </a:lnTo>
                    <a:lnTo>
                      <a:pt x="583" y="517"/>
                    </a:lnTo>
                    <a:lnTo>
                      <a:pt x="592" y="524"/>
                    </a:lnTo>
                    <a:lnTo>
                      <a:pt x="602" y="531"/>
                    </a:lnTo>
                    <a:lnTo>
                      <a:pt x="612" y="537"/>
                    </a:lnTo>
                    <a:lnTo>
                      <a:pt x="622" y="542"/>
                    </a:lnTo>
                    <a:lnTo>
                      <a:pt x="633" y="547"/>
                    </a:lnTo>
                    <a:lnTo>
                      <a:pt x="643" y="550"/>
                    </a:lnTo>
                    <a:lnTo>
                      <a:pt x="653" y="553"/>
                    </a:lnTo>
                    <a:lnTo>
                      <a:pt x="661" y="555"/>
                    </a:lnTo>
                    <a:lnTo>
                      <a:pt x="670" y="555"/>
                    </a:lnTo>
                    <a:lnTo>
                      <a:pt x="679" y="555"/>
                    </a:lnTo>
                    <a:lnTo>
                      <a:pt x="738" y="568"/>
                    </a:lnTo>
                    <a:lnTo>
                      <a:pt x="904" y="568"/>
                    </a:lnTo>
                    <a:lnTo>
                      <a:pt x="910" y="572"/>
                    </a:lnTo>
                    <a:lnTo>
                      <a:pt x="917" y="576"/>
                    </a:lnTo>
                    <a:lnTo>
                      <a:pt x="928" y="580"/>
                    </a:lnTo>
                    <a:lnTo>
                      <a:pt x="940" y="585"/>
                    </a:lnTo>
                    <a:lnTo>
                      <a:pt x="970" y="595"/>
                    </a:lnTo>
                    <a:lnTo>
                      <a:pt x="1003" y="605"/>
                    </a:lnTo>
                    <a:lnTo>
                      <a:pt x="1037" y="614"/>
                    </a:lnTo>
                    <a:lnTo>
                      <a:pt x="1070" y="623"/>
                    </a:lnTo>
                    <a:lnTo>
                      <a:pt x="1084" y="626"/>
                    </a:lnTo>
                    <a:lnTo>
                      <a:pt x="1097" y="628"/>
                    </a:lnTo>
                    <a:lnTo>
                      <a:pt x="1108" y="629"/>
                    </a:lnTo>
                    <a:lnTo>
                      <a:pt x="1117" y="630"/>
                    </a:lnTo>
                    <a:lnTo>
                      <a:pt x="1121" y="629"/>
                    </a:lnTo>
                    <a:lnTo>
                      <a:pt x="1127" y="627"/>
                    </a:lnTo>
                    <a:lnTo>
                      <a:pt x="1134" y="625"/>
                    </a:lnTo>
                    <a:lnTo>
                      <a:pt x="1140" y="622"/>
                    </a:lnTo>
                    <a:lnTo>
                      <a:pt x="1157" y="613"/>
                    </a:lnTo>
                    <a:lnTo>
                      <a:pt x="1174" y="603"/>
                    </a:lnTo>
                    <a:lnTo>
                      <a:pt x="1209" y="583"/>
                    </a:lnTo>
                    <a:lnTo>
                      <a:pt x="1237" y="568"/>
                    </a:lnTo>
                    <a:lnTo>
                      <a:pt x="1337" y="568"/>
                    </a:lnTo>
                    <a:lnTo>
                      <a:pt x="1344" y="564"/>
                    </a:lnTo>
                    <a:lnTo>
                      <a:pt x="1355" y="556"/>
                    </a:lnTo>
                    <a:lnTo>
                      <a:pt x="1366" y="546"/>
                    </a:lnTo>
                    <a:lnTo>
                      <a:pt x="1377" y="534"/>
                    </a:lnTo>
                    <a:lnTo>
                      <a:pt x="1387" y="522"/>
                    </a:lnTo>
                    <a:lnTo>
                      <a:pt x="1395" y="510"/>
                    </a:lnTo>
                    <a:lnTo>
                      <a:pt x="1398" y="503"/>
                    </a:lnTo>
                    <a:lnTo>
                      <a:pt x="1400" y="497"/>
                    </a:lnTo>
                    <a:lnTo>
                      <a:pt x="1403" y="492"/>
                    </a:lnTo>
                    <a:lnTo>
                      <a:pt x="1403" y="487"/>
                    </a:lnTo>
                    <a:lnTo>
                      <a:pt x="1403" y="483"/>
                    </a:lnTo>
                    <a:lnTo>
                      <a:pt x="1401" y="479"/>
                    </a:lnTo>
                    <a:lnTo>
                      <a:pt x="1399" y="475"/>
                    </a:lnTo>
                    <a:lnTo>
                      <a:pt x="1397" y="471"/>
                    </a:lnTo>
                    <a:lnTo>
                      <a:pt x="1392" y="463"/>
                    </a:lnTo>
                    <a:lnTo>
                      <a:pt x="1386" y="455"/>
                    </a:lnTo>
                    <a:lnTo>
                      <a:pt x="1379" y="445"/>
                    </a:lnTo>
                    <a:lnTo>
                      <a:pt x="1374" y="434"/>
                    </a:lnTo>
                    <a:lnTo>
                      <a:pt x="1373" y="429"/>
                    </a:lnTo>
                    <a:lnTo>
                      <a:pt x="1371" y="422"/>
                    </a:lnTo>
                    <a:lnTo>
                      <a:pt x="1370" y="415"/>
                    </a:lnTo>
                    <a:lnTo>
                      <a:pt x="1370" y="408"/>
                    </a:lnTo>
                    <a:lnTo>
                      <a:pt x="1483" y="408"/>
                    </a:lnTo>
                    <a:lnTo>
                      <a:pt x="1486" y="404"/>
                    </a:lnTo>
                    <a:lnTo>
                      <a:pt x="1491" y="399"/>
                    </a:lnTo>
                    <a:lnTo>
                      <a:pt x="1499" y="394"/>
                    </a:lnTo>
                    <a:lnTo>
                      <a:pt x="1508" y="388"/>
                    </a:lnTo>
                    <a:lnTo>
                      <a:pt x="1529" y="376"/>
                    </a:lnTo>
                    <a:lnTo>
                      <a:pt x="1551" y="364"/>
                    </a:lnTo>
                    <a:lnTo>
                      <a:pt x="1574" y="352"/>
                    </a:lnTo>
                    <a:lnTo>
                      <a:pt x="1594" y="343"/>
                    </a:lnTo>
                    <a:lnTo>
                      <a:pt x="1608" y="335"/>
                    </a:lnTo>
                    <a:lnTo>
                      <a:pt x="1616" y="333"/>
                    </a:lnTo>
                    <a:lnTo>
                      <a:pt x="1628" y="332"/>
                    </a:lnTo>
                    <a:lnTo>
                      <a:pt x="1640" y="329"/>
                    </a:lnTo>
                    <a:lnTo>
                      <a:pt x="1651" y="325"/>
                    </a:lnTo>
                    <a:lnTo>
                      <a:pt x="1662" y="319"/>
                    </a:lnTo>
                    <a:lnTo>
                      <a:pt x="1670" y="314"/>
                    </a:lnTo>
                    <a:lnTo>
                      <a:pt x="1679" y="308"/>
                    </a:lnTo>
                    <a:lnTo>
                      <a:pt x="1685" y="302"/>
                    </a:lnTo>
                    <a:lnTo>
                      <a:pt x="1688" y="297"/>
                    </a:lnTo>
                    <a:lnTo>
                      <a:pt x="1680" y="294"/>
                    </a:lnTo>
                    <a:lnTo>
                      <a:pt x="1674" y="291"/>
                    </a:lnTo>
                    <a:lnTo>
                      <a:pt x="1667" y="288"/>
                    </a:lnTo>
                    <a:lnTo>
                      <a:pt x="1661" y="284"/>
                    </a:lnTo>
                    <a:lnTo>
                      <a:pt x="1656" y="279"/>
                    </a:lnTo>
                    <a:lnTo>
                      <a:pt x="1652" y="275"/>
                    </a:lnTo>
                    <a:lnTo>
                      <a:pt x="1650" y="270"/>
                    </a:lnTo>
                    <a:lnTo>
                      <a:pt x="1648" y="266"/>
                    </a:lnTo>
                    <a:lnTo>
                      <a:pt x="1632" y="258"/>
                    </a:lnTo>
                    <a:lnTo>
                      <a:pt x="1619" y="252"/>
                    </a:lnTo>
                    <a:lnTo>
                      <a:pt x="1613" y="250"/>
                    </a:lnTo>
                    <a:lnTo>
                      <a:pt x="1608" y="249"/>
                    </a:lnTo>
                    <a:lnTo>
                      <a:pt x="1602" y="248"/>
                    </a:lnTo>
                    <a:lnTo>
                      <a:pt x="1596" y="247"/>
                    </a:lnTo>
                    <a:lnTo>
                      <a:pt x="1583" y="248"/>
                    </a:lnTo>
                    <a:lnTo>
                      <a:pt x="1574" y="249"/>
                    </a:lnTo>
                    <a:lnTo>
                      <a:pt x="1567" y="251"/>
                    </a:lnTo>
                    <a:lnTo>
                      <a:pt x="1563" y="253"/>
                    </a:lnTo>
                    <a:lnTo>
                      <a:pt x="1558" y="256"/>
                    </a:lnTo>
                    <a:lnTo>
                      <a:pt x="1553" y="258"/>
                    </a:lnTo>
                    <a:lnTo>
                      <a:pt x="1546" y="259"/>
                    </a:lnTo>
                    <a:lnTo>
                      <a:pt x="1535" y="259"/>
                    </a:lnTo>
                    <a:lnTo>
                      <a:pt x="1521" y="259"/>
                    </a:lnTo>
                    <a:lnTo>
                      <a:pt x="1509" y="258"/>
                    </a:lnTo>
                    <a:lnTo>
                      <a:pt x="1497" y="256"/>
                    </a:lnTo>
                    <a:lnTo>
                      <a:pt x="1487" y="253"/>
                    </a:lnTo>
                    <a:lnTo>
                      <a:pt x="1478" y="249"/>
                    </a:lnTo>
                    <a:lnTo>
                      <a:pt x="1471" y="245"/>
                    </a:lnTo>
                    <a:lnTo>
                      <a:pt x="1463" y="240"/>
                    </a:lnTo>
                    <a:lnTo>
                      <a:pt x="1457" y="235"/>
                    </a:lnTo>
                    <a:lnTo>
                      <a:pt x="1452" y="228"/>
                    </a:lnTo>
                    <a:lnTo>
                      <a:pt x="1448" y="220"/>
                    </a:lnTo>
                    <a:lnTo>
                      <a:pt x="1443" y="213"/>
                    </a:lnTo>
                    <a:lnTo>
                      <a:pt x="1440" y="205"/>
                    </a:lnTo>
                    <a:lnTo>
                      <a:pt x="1434" y="187"/>
                    </a:lnTo>
                    <a:lnTo>
                      <a:pt x="1429" y="167"/>
                    </a:lnTo>
                    <a:lnTo>
                      <a:pt x="1422" y="136"/>
                    </a:lnTo>
                    <a:lnTo>
                      <a:pt x="1412" y="134"/>
                    </a:lnTo>
                    <a:lnTo>
                      <a:pt x="1385" y="127"/>
                    </a:lnTo>
                    <a:lnTo>
                      <a:pt x="1367" y="124"/>
                    </a:lnTo>
                    <a:lnTo>
                      <a:pt x="1347" y="121"/>
                    </a:lnTo>
                    <a:lnTo>
                      <a:pt x="1326" y="119"/>
                    </a:lnTo>
                    <a:lnTo>
                      <a:pt x="1303" y="118"/>
                    </a:lnTo>
                    <a:lnTo>
                      <a:pt x="1294" y="119"/>
                    </a:lnTo>
                    <a:lnTo>
                      <a:pt x="1286" y="120"/>
                    </a:lnTo>
                    <a:lnTo>
                      <a:pt x="1281" y="123"/>
                    </a:lnTo>
                    <a:lnTo>
                      <a:pt x="1275" y="126"/>
                    </a:lnTo>
                    <a:lnTo>
                      <a:pt x="1267" y="134"/>
                    </a:lnTo>
                    <a:lnTo>
                      <a:pt x="1262" y="142"/>
                    </a:lnTo>
                    <a:lnTo>
                      <a:pt x="1260" y="147"/>
                    </a:lnTo>
                    <a:lnTo>
                      <a:pt x="1257" y="151"/>
                    </a:lnTo>
                    <a:lnTo>
                      <a:pt x="1252" y="156"/>
                    </a:lnTo>
                    <a:lnTo>
                      <a:pt x="1248" y="159"/>
                    </a:lnTo>
                    <a:lnTo>
                      <a:pt x="1242" y="162"/>
                    </a:lnTo>
                    <a:lnTo>
                      <a:pt x="1236" y="165"/>
                    </a:lnTo>
                    <a:lnTo>
                      <a:pt x="1227" y="166"/>
                    </a:lnTo>
                    <a:lnTo>
                      <a:pt x="1217" y="167"/>
                    </a:lnTo>
                    <a:lnTo>
                      <a:pt x="1199" y="167"/>
                    </a:lnTo>
                    <a:lnTo>
                      <a:pt x="1184" y="167"/>
                    </a:lnTo>
                    <a:lnTo>
                      <a:pt x="1168" y="167"/>
                    </a:lnTo>
                    <a:lnTo>
                      <a:pt x="1150" y="167"/>
                    </a:lnTo>
                    <a:lnTo>
                      <a:pt x="1130" y="167"/>
                    </a:lnTo>
                    <a:lnTo>
                      <a:pt x="1106" y="167"/>
                    </a:lnTo>
                    <a:lnTo>
                      <a:pt x="1078" y="167"/>
                    </a:lnTo>
                    <a:lnTo>
                      <a:pt x="1044" y="167"/>
                    </a:lnTo>
                    <a:lnTo>
                      <a:pt x="1034" y="164"/>
                    </a:lnTo>
                    <a:lnTo>
                      <a:pt x="1025" y="160"/>
                    </a:lnTo>
                    <a:lnTo>
                      <a:pt x="1015" y="156"/>
                    </a:lnTo>
                    <a:lnTo>
                      <a:pt x="1005" y="151"/>
                    </a:lnTo>
                    <a:lnTo>
                      <a:pt x="986" y="140"/>
                    </a:lnTo>
                    <a:lnTo>
                      <a:pt x="967" y="129"/>
                    </a:lnTo>
                    <a:lnTo>
                      <a:pt x="956" y="123"/>
                    </a:lnTo>
                    <a:lnTo>
                      <a:pt x="945" y="118"/>
                    </a:lnTo>
                    <a:lnTo>
                      <a:pt x="934" y="112"/>
                    </a:lnTo>
                    <a:lnTo>
                      <a:pt x="922" y="108"/>
                    </a:lnTo>
                    <a:lnTo>
                      <a:pt x="908" y="104"/>
                    </a:lnTo>
                    <a:lnTo>
                      <a:pt x="895" y="102"/>
                    </a:lnTo>
                    <a:lnTo>
                      <a:pt x="880" y="100"/>
                    </a:lnTo>
                    <a:lnTo>
                      <a:pt x="865" y="99"/>
                    </a:lnTo>
                    <a:lnTo>
                      <a:pt x="852" y="100"/>
                    </a:lnTo>
                    <a:lnTo>
                      <a:pt x="841" y="102"/>
                    </a:lnTo>
                    <a:lnTo>
                      <a:pt x="832" y="105"/>
                    </a:lnTo>
                    <a:lnTo>
                      <a:pt x="822" y="108"/>
                    </a:lnTo>
                    <a:lnTo>
                      <a:pt x="811" y="112"/>
                    </a:lnTo>
                    <a:lnTo>
                      <a:pt x="801" y="114"/>
                    </a:lnTo>
                    <a:lnTo>
                      <a:pt x="790" y="118"/>
                    </a:lnTo>
                    <a:lnTo>
                      <a:pt x="778" y="118"/>
                    </a:lnTo>
                    <a:lnTo>
                      <a:pt x="765" y="118"/>
                    </a:lnTo>
                    <a:lnTo>
                      <a:pt x="753" y="117"/>
                    </a:lnTo>
                    <a:lnTo>
                      <a:pt x="740" y="116"/>
                    </a:lnTo>
                    <a:lnTo>
                      <a:pt x="729" y="114"/>
                    </a:lnTo>
                    <a:lnTo>
                      <a:pt x="720" y="111"/>
                    </a:lnTo>
                    <a:lnTo>
                      <a:pt x="710" y="108"/>
                    </a:lnTo>
                    <a:lnTo>
                      <a:pt x="701" y="105"/>
                    </a:lnTo>
                    <a:lnTo>
                      <a:pt x="692" y="101"/>
                    </a:lnTo>
                    <a:lnTo>
                      <a:pt x="686" y="96"/>
                    </a:lnTo>
                    <a:lnTo>
                      <a:pt x="678" y="90"/>
                    </a:lnTo>
                    <a:lnTo>
                      <a:pt x="672" y="84"/>
                    </a:lnTo>
                    <a:lnTo>
                      <a:pt x="667" y="76"/>
                    </a:lnTo>
                    <a:lnTo>
                      <a:pt x="662" y="68"/>
                    </a:lnTo>
                    <a:lnTo>
                      <a:pt x="658" y="58"/>
                    </a:lnTo>
                    <a:lnTo>
                      <a:pt x="655" y="49"/>
                    </a:lnTo>
                    <a:lnTo>
                      <a:pt x="652" y="38"/>
                    </a:lnTo>
                    <a:lnTo>
                      <a:pt x="459" y="0"/>
                    </a:lnTo>
                    <a:lnTo>
                      <a:pt x="446" y="7"/>
                    </a:lnTo>
                    <a:lnTo>
                      <a:pt x="446" y="16"/>
                    </a:lnTo>
                    <a:lnTo>
                      <a:pt x="446" y="23"/>
                    </a:lnTo>
                    <a:lnTo>
                      <a:pt x="446" y="30"/>
                    </a:lnTo>
                    <a:lnTo>
                      <a:pt x="446" y="38"/>
                    </a:lnTo>
                    <a:lnTo>
                      <a:pt x="446" y="44"/>
                    </a:lnTo>
                    <a:lnTo>
                      <a:pt x="448" y="50"/>
                    </a:lnTo>
                    <a:lnTo>
                      <a:pt x="451" y="55"/>
                    </a:lnTo>
                    <a:lnTo>
                      <a:pt x="454" y="61"/>
                    </a:lnTo>
                    <a:lnTo>
                      <a:pt x="463" y="71"/>
                    </a:lnTo>
                    <a:lnTo>
                      <a:pt x="471" y="79"/>
                    </a:lnTo>
                    <a:lnTo>
                      <a:pt x="476" y="84"/>
                    </a:lnTo>
                    <a:lnTo>
                      <a:pt x="480" y="89"/>
                    </a:lnTo>
                    <a:lnTo>
                      <a:pt x="485" y="94"/>
                    </a:lnTo>
                    <a:lnTo>
                      <a:pt x="488" y="100"/>
                    </a:lnTo>
                    <a:lnTo>
                      <a:pt x="490" y="106"/>
                    </a:lnTo>
                    <a:lnTo>
                      <a:pt x="492" y="113"/>
                    </a:lnTo>
                    <a:lnTo>
                      <a:pt x="493" y="122"/>
                    </a:lnTo>
                    <a:lnTo>
                      <a:pt x="492" y="130"/>
                    </a:lnTo>
                    <a:lnTo>
                      <a:pt x="313" y="130"/>
                    </a:lnTo>
                    <a:lnTo>
                      <a:pt x="307" y="122"/>
                    </a:lnTo>
                    <a:lnTo>
                      <a:pt x="300" y="113"/>
                    </a:lnTo>
                    <a:lnTo>
                      <a:pt x="298" y="108"/>
                    </a:lnTo>
                    <a:lnTo>
                      <a:pt x="296" y="102"/>
                    </a:lnTo>
                    <a:lnTo>
                      <a:pt x="294" y="95"/>
                    </a:lnTo>
                    <a:lnTo>
                      <a:pt x="294" y="87"/>
                    </a:lnTo>
                    <a:lnTo>
                      <a:pt x="279" y="87"/>
                    </a:lnTo>
                    <a:lnTo>
                      <a:pt x="266" y="87"/>
                    </a:lnTo>
                    <a:lnTo>
                      <a:pt x="240" y="99"/>
                    </a:lnTo>
                    <a:lnTo>
                      <a:pt x="233" y="99"/>
                    </a:lnTo>
                    <a:lnTo>
                      <a:pt x="225" y="97"/>
                    </a:lnTo>
                    <a:lnTo>
                      <a:pt x="219" y="95"/>
                    </a:lnTo>
                    <a:lnTo>
                      <a:pt x="211" y="93"/>
                    </a:lnTo>
                    <a:lnTo>
                      <a:pt x="204" y="91"/>
                    </a:lnTo>
                    <a:lnTo>
                      <a:pt x="195" y="89"/>
                    </a:lnTo>
                    <a:lnTo>
                      <a:pt x="185" y="88"/>
                    </a:lnTo>
                    <a:lnTo>
                      <a:pt x="174" y="87"/>
                    </a:lnTo>
                    <a:lnTo>
                      <a:pt x="164" y="88"/>
                    </a:lnTo>
                    <a:lnTo>
                      <a:pt x="155" y="90"/>
                    </a:lnTo>
                    <a:lnTo>
                      <a:pt x="146" y="93"/>
                    </a:lnTo>
                    <a:lnTo>
                      <a:pt x="138" y="97"/>
                    </a:lnTo>
                    <a:lnTo>
                      <a:pt x="122" y="106"/>
                    </a:lnTo>
                    <a:lnTo>
                      <a:pt x="107" y="118"/>
                    </a:lnTo>
                    <a:lnTo>
                      <a:pt x="92" y="129"/>
                    </a:lnTo>
                    <a:lnTo>
                      <a:pt x="76" y="139"/>
                    </a:lnTo>
                    <a:lnTo>
                      <a:pt x="68" y="143"/>
                    </a:lnTo>
                    <a:lnTo>
                      <a:pt x="60" y="146"/>
                    </a:lnTo>
                    <a:lnTo>
                      <a:pt x="50" y="148"/>
                    </a:lnTo>
                    <a:lnTo>
                      <a:pt x="41" y="149"/>
                    </a:lnTo>
                    <a:lnTo>
                      <a:pt x="37" y="149"/>
                    </a:lnTo>
                    <a:lnTo>
                      <a:pt x="31" y="151"/>
                    </a:lnTo>
                    <a:lnTo>
                      <a:pt x="25" y="153"/>
                    </a:lnTo>
                    <a:lnTo>
                      <a:pt x="18" y="157"/>
                    </a:lnTo>
                    <a:lnTo>
                      <a:pt x="11" y="161"/>
                    </a:lnTo>
                    <a:lnTo>
                      <a:pt x="6" y="166"/>
                    </a:lnTo>
                    <a:lnTo>
                      <a:pt x="4" y="169"/>
                    </a:lnTo>
                    <a:lnTo>
                      <a:pt x="3" y="173"/>
                    </a:lnTo>
                    <a:lnTo>
                      <a:pt x="1" y="177"/>
                    </a:lnTo>
                    <a:lnTo>
                      <a:pt x="0" y="1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5" name="Freeform 169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3214618" y="5265310"/>
                <a:ext cx="31750" cy="11112"/>
              </a:xfrm>
              <a:custGeom>
                <a:avLst/>
                <a:gdLst>
                  <a:gd name="T0" fmla="*/ 0 w 79"/>
                  <a:gd name="T1" fmla="*/ 2147483647 h 23"/>
                  <a:gd name="T2" fmla="*/ 1428182921 w 79"/>
                  <a:gd name="T3" fmla="*/ 1466079596 h 23"/>
                  <a:gd name="T4" fmla="*/ 2147483647 w 79"/>
                  <a:gd name="T5" fmla="*/ 451191165 h 23"/>
                  <a:gd name="T6" fmla="*/ 2147483647 w 79"/>
                  <a:gd name="T7" fmla="*/ 112739453 h 23"/>
                  <a:gd name="T8" fmla="*/ 2147483647 w 79"/>
                  <a:gd name="T9" fmla="*/ 0 h 23"/>
                  <a:gd name="T10" fmla="*/ 2147483647 w 79"/>
                  <a:gd name="T11" fmla="*/ 0 h 23"/>
                  <a:gd name="T12" fmla="*/ 2147483647 w 79"/>
                  <a:gd name="T13" fmla="*/ 112739453 h 23"/>
                  <a:gd name="T14" fmla="*/ 2147483647 w 79"/>
                  <a:gd name="T15" fmla="*/ 225478906 h 23"/>
                  <a:gd name="T16" fmla="*/ 2147483647 w 79"/>
                  <a:gd name="T17" fmla="*/ 451191165 h 23"/>
                  <a:gd name="T18" fmla="*/ 2147483647 w 79"/>
                  <a:gd name="T19" fmla="*/ 902148978 h 23"/>
                  <a:gd name="T20" fmla="*/ 2147483647 w 79"/>
                  <a:gd name="T21" fmla="*/ 1466079596 h 23"/>
                  <a:gd name="T22" fmla="*/ 2147483647 w 79"/>
                  <a:gd name="T23" fmla="*/ 1804297955 h 23"/>
                  <a:gd name="T24" fmla="*/ 2147483647 w 79"/>
                  <a:gd name="T25" fmla="*/ 2142516315 h 23"/>
                  <a:gd name="T26" fmla="*/ 2147483647 w 79"/>
                  <a:gd name="T27" fmla="*/ 2147483647 h 23"/>
                  <a:gd name="T28" fmla="*/ 2147483647 w 79"/>
                  <a:gd name="T29" fmla="*/ 2147483647 h 23"/>
                  <a:gd name="T30" fmla="*/ 2147483647 w 79"/>
                  <a:gd name="T31" fmla="*/ 2147483647 h 23"/>
                  <a:gd name="T32" fmla="*/ 2147483647 w 79"/>
                  <a:gd name="T33" fmla="*/ 2147483647 h 23"/>
                  <a:gd name="T34" fmla="*/ 2147483647 w 79"/>
                  <a:gd name="T35" fmla="*/ 2147483647 h 23"/>
                  <a:gd name="T36" fmla="*/ 2077342215 w 79"/>
                  <a:gd name="T37" fmla="*/ 2147483647 h 23"/>
                  <a:gd name="T38" fmla="*/ 1687749620 w 79"/>
                  <a:gd name="T39" fmla="*/ 2147483647 h 23"/>
                  <a:gd name="T40" fmla="*/ 1493114886 w 79"/>
                  <a:gd name="T41" fmla="*/ 2142516315 h 23"/>
                  <a:gd name="T42" fmla="*/ 1233386623 w 79"/>
                  <a:gd name="T43" fmla="*/ 2029776862 h 23"/>
                  <a:gd name="T44" fmla="*/ 908887557 w 79"/>
                  <a:gd name="T45" fmla="*/ 2029776862 h 23"/>
                  <a:gd name="T46" fmla="*/ 584227329 w 79"/>
                  <a:gd name="T47" fmla="*/ 2147483647 h 23"/>
                  <a:gd name="T48" fmla="*/ 0 w 79"/>
                  <a:gd name="T49" fmla="*/ 2147483647 h 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23">
                    <a:moveTo>
                      <a:pt x="0" y="23"/>
                    </a:moveTo>
                    <a:lnTo>
                      <a:pt x="22" y="13"/>
                    </a:lnTo>
                    <a:lnTo>
                      <a:pt x="45" y="4"/>
                    </a:lnTo>
                    <a:lnTo>
                      <a:pt x="56" y="1"/>
                    </a:lnTo>
                    <a:lnTo>
                      <a:pt x="65" y="0"/>
                    </a:lnTo>
                    <a:lnTo>
                      <a:pt x="69" y="0"/>
                    </a:lnTo>
                    <a:lnTo>
                      <a:pt x="74" y="1"/>
                    </a:lnTo>
                    <a:lnTo>
                      <a:pt x="77" y="2"/>
                    </a:lnTo>
                    <a:lnTo>
                      <a:pt x="79" y="4"/>
                    </a:lnTo>
                    <a:lnTo>
                      <a:pt x="77" y="8"/>
                    </a:lnTo>
                    <a:lnTo>
                      <a:pt x="75" y="13"/>
                    </a:lnTo>
                    <a:lnTo>
                      <a:pt x="72" y="16"/>
                    </a:lnTo>
                    <a:lnTo>
                      <a:pt x="68" y="19"/>
                    </a:lnTo>
                    <a:lnTo>
                      <a:pt x="64" y="21"/>
                    </a:lnTo>
                    <a:lnTo>
                      <a:pt x="59" y="22"/>
                    </a:lnTo>
                    <a:lnTo>
                      <a:pt x="53" y="23"/>
                    </a:lnTo>
                    <a:lnTo>
                      <a:pt x="46" y="23"/>
                    </a:lnTo>
                    <a:lnTo>
                      <a:pt x="37" y="23"/>
                    </a:lnTo>
                    <a:lnTo>
                      <a:pt x="32" y="21"/>
                    </a:lnTo>
                    <a:lnTo>
                      <a:pt x="26" y="20"/>
                    </a:lnTo>
                    <a:lnTo>
                      <a:pt x="23" y="19"/>
                    </a:lnTo>
                    <a:lnTo>
                      <a:pt x="19" y="18"/>
                    </a:lnTo>
                    <a:lnTo>
                      <a:pt x="14" y="18"/>
                    </a:lnTo>
                    <a:lnTo>
                      <a:pt x="9" y="20"/>
                    </a:lnTo>
                    <a:lnTo>
                      <a:pt x="0" y="2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6" name="Freeform 170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3330505" y="5398660"/>
                <a:ext cx="1588" cy="4762"/>
              </a:xfrm>
              <a:custGeom>
                <a:avLst/>
                <a:gdLst>
                  <a:gd name="T0" fmla="*/ 0 w 1588"/>
                  <a:gd name="T1" fmla="*/ 0 h 6"/>
                  <a:gd name="T2" fmla="*/ 0 w 1588"/>
                  <a:gd name="T3" fmla="*/ 2147483647 h 6"/>
                  <a:gd name="T4" fmla="*/ 0 w 1588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88"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7" name="Line 171"/>
              <p:cNvSpPr>
                <a:spLocks noChangeShapeType="1"/>
              </p:cNvSpPr>
              <p:nvPr>
                <p:custDataLst>
                  <p:tags r:id="rId63"/>
                </p:custDataLst>
              </p:nvPr>
            </p:nvSpPr>
            <p:spPr bwMode="auto">
              <a:xfrm flipV="1">
                <a:off x="13420993" y="5397072"/>
                <a:ext cx="1587" cy="12700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8" name="Freeform 172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13420993" y="5397072"/>
                <a:ext cx="3175" cy="15875"/>
              </a:xfrm>
              <a:custGeom>
                <a:avLst/>
                <a:gdLst>
                  <a:gd name="T0" fmla="*/ 0 w 5"/>
                  <a:gd name="T1" fmla="*/ 0 h 30"/>
                  <a:gd name="T2" fmla="*/ 512095750 w 5"/>
                  <a:gd name="T3" fmla="*/ 148129096 h 30"/>
                  <a:gd name="T4" fmla="*/ 1024191500 w 5"/>
                  <a:gd name="T5" fmla="*/ 592796842 h 30"/>
                  <a:gd name="T6" fmla="*/ 1280239375 w 5"/>
                  <a:gd name="T7" fmla="*/ 1185313754 h 30"/>
                  <a:gd name="T8" fmla="*/ 1280239375 w 5"/>
                  <a:gd name="T9" fmla="*/ 1926239692 h 30"/>
                  <a:gd name="T10" fmla="*/ 1280239375 w 5"/>
                  <a:gd name="T11" fmla="*/ 2147483647 h 30"/>
                  <a:gd name="T12" fmla="*/ 1024191500 w 5"/>
                  <a:gd name="T13" fmla="*/ 2147483647 h 30"/>
                  <a:gd name="T14" fmla="*/ 512095750 w 5"/>
                  <a:gd name="T15" fmla="*/ 2147483647 h 30"/>
                  <a:gd name="T16" fmla="*/ 0 w 5"/>
                  <a:gd name="T17" fmla="*/ 2147483647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" h="30">
                    <a:moveTo>
                      <a:pt x="0" y="0"/>
                    </a:moveTo>
                    <a:lnTo>
                      <a:pt x="2" y="1"/>
                    </a:lnTo>
                    <a:lnTo>
                      <a:pt x="4" y="4"/>
                    </a:lnTo>
                    <a:lnTo>
                      <a:pt x="5" y="8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4" y="23"/>
                    </a:lnTo>
                    <a:lnTo>
                      <a:pt x="2" y="27"/>
                    </a:lnTo>
                    <a:lnTo>
                      <a:pt x="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9" name="Freeform 173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13719443" y="4866847"/>
                <a:ext cx="22225" cy="28575"/>
              </a:xfrm>
              <a:custGeom>
                <a:avLst/>
                <a:gdLst>
                  <a:gd name="T0" fmla="*/ 0 w 53"/>
                  <a:gd name="T1" fmla="*/ 1682997881 h 55"/>
                  <a:gd name="T2" fmla="*/ 73679230 w 53"/>
                  <a:gd name="T3" fmla="*/ 2147483647 h 55"/>
                  <a:gd name="T4" fmla="*/ 368748394 w 53"/>
                  <a:gd name="T5" fmla="*/ 2147483647 h 55"/>
                  <a:gd name="T6" fmla="*/ 663641855 w 53"/>
                  <a:gd name="T7" fmla="*/ 2147483647 h 55"/>
                  <a:gd name="T8" fmla="*/ 1106069478 w 53"/>
                  <a:gd name="T9" fmla="*/ 2147483647 h 55"/>
                  <a:gd name="T10" fmla="*/ 1917245915 w 53"/>
                  <a:gd name="T11" fmla="*/ 2147483647 h 55"/>
                  <a:gd name="T12" fmla="*/ 2147483647 w 53"/>
                  <a:gd name="T13" fmla="*/ 2147483647 h 55"/>
                  <a:gd name="T14" fmla="*/ 2147483647 w 53"/>
                  <a:gd name="T15" fmla="*/ 2147483647 h 55"/>
                  <a:gd name="T16" fmla="*/ 2147483647 w 53"/>
                  <a:gd name="T17" fmla="*/ 2147483647 h 55"/>
                  <a:gd name="T18" fmla="*/ 2064780497 w 53"/>
                  <a:gd name="T19" fmla="*/ 2147483647 h 55"/>
                  <a:gd name="T20" fmla="*/ 1696032103 w 53"/>
                  <a:gd name="T21" fmla="*/ 2147483647 h 55"/>
                  <a:gd name="T22" fmla="*/ 1400962939 w 53"/>
                  <a:gd name="T23" fmla="*/ 2147483647 h 55"/>
                  <a:gd name="T24" fmla="*/ 1179749127 w 53"/>
                  <a:gd name="T25" fmla="*/ 1121818651 h 55"/>
                  <a:gd name="T26" fmla="*/ 1032390249 w 53"/>
                  <a:gd name="T27" fmla="*/ 0 h 55"/>
                  <a:gd name="T28" fmla="*/ 516107273 w 53"/>
                  <a:gd name="T29" fmla="*/ 841363859 h 55"/>
                  <a:gd name="T30" fmla="*/ 0 w 53"/>
                  <a:gd name="T31" fmla="*/ 1682997881 h 5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55">
                    <a:moveTo>
                      <a:pt x="0" y="12"/>
                    </a:moveTo>
                    <a:lnTo>
                      <a:pt x="1" y="17"/>
                    </a:lnTo>
                    <a:lnTo>
                      <a:pt x="5" y="22"/>
                    </a:lnTo>
                    <a:lnTo>
                      <a:pt x="9" y="27"/>
                    </a:lnTo>
                    <a:lnTo>
                      <a:pt x="15" y="33"/>
                    </a:lnTo>
                    <a:lnTo>
                      <a:pt x="26" y="44"/>
                    </a:lnTo>
                    <a:lnTo>
                      <a:pt x="33" y="55"/>
                    </a:lnTo>
                    <a:lnTo>
                      <a:pt x="53" y="55"/>
                    </a:lnTo>
                    <a:lnTo>
                      <a:pt x="40" y="41"/>
                    </a:lnTo>
                    <a:lnTo>
                      <a:pt x="28" y="29"/>
                    </a:lnTo>
                    <a:lnTo>
                      <a:pt x="23" y="23"/>
                    </a:lnTo>
                    <a:lnTo>
                      <a:pt x="19" y="16"/>
                    </a:lnTo>
                    <a:lnTo>
                      <a:pt x="16" y="8"/>
                    </a:lnTo>
                    <a:lnTo>
                      <a:pt x="14" y="0"/>
                    </a:lnTo>
                    <a:lnTo>
                      <a:pt x="7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0" name="Freeform 174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13725793" y="4793822"/>
                <a:ext cx="26987" cy="39688"/>
              </a:xfrm>
              <a:custGeom>
                <a:avLst/>
                <a:gdLst>
                  <a:gd name="T0" fmla="*/ 0 w 65"/>
                  <a:gd name="T1" fmla="*/ 2147483647 h 75"/>
                  <a:gd name="T2" fmla="*/ 644177614 w 65"/>
                  <a:gd name="T3" fmla="*/ 2147483647 h 75"/>
                  <a:gd name="T4" fmla="*/ 1431429092 w 65"/>
                  <a:gd name="T5" fmla="*/ 2147483647 h 75"/>
                  <a:gd name="T6" fmla="*/ 1860823401 w 65"/>
                  <a:gd name="T7" fmla="*/ 2147483647 h 75"/>
                  <a:gd name="T8" fmla="*/ 2147483647 w 65"/>
                  <a:gd name="T9" fmla="*/ 2147483647 h 75"/>
                  <a:gd name="T10" fmla="*/ 2147483647 w 65"/>
                  <a:gd name="T11" fmla="*/ 2147483647 h 75"/>
                  <a:gd name="T12" fmla="*/ 2147483647 w 65"/>
                  <a:gd name="T13" fmla="*/ 2147483647 h 75"/>
                  <a:gd name="T14" fmla="*/ 2147483647 w 65"/>
                  <a:gd name="T15" fmla="*/ 2147483647 h 75"/>
                  <a:gd name="T16" fmla="*/ 2147483647 w 65"/>
                  <a:gd name="T17" fmla="*/ 2147483647 h 75"/>
                  <a:gd name="T18" fmla="*/ 2147483647 w 65"/>
                  <a:gd name="T19" fmla="*/ 2147483647 h 75"/>
                  <a:gd name="T20" fmla="*/ 2147483647 w 65"/>
                  <a:gd name="T21" fmla="*/ 2147483647 h 75"/>
                  <a:gd name="T22" fmla="*/ 2147483647 w 65"/>
                  <a:gd name="T23" fmla="*/ 2147483647 h 75"/>
                  <a:gd name="T24" fmla="*/ 2147483647 w 65"/>
                  <a:gd name="T25" fmla="*/ 2147483647 h 75"/>
                  <a:gd name="T26" fmla="*/ 2147483647 w 65"/>
                  <a:gd name="T27" fmla="*/ 2147483647 h 75"/>
                  <a:gd name="T28" fmla="*/ 2147483647 w 65"/>
                  <a:gd name="T29" fmla="*/ 2147483647 h 75"/>
                  <a:gd name="T30" fmla="*/ 2147483647 w 65"/>
                  <a:gd name="T31" fmla="*/ 1926287772 h 75"/>
                  <a:gd name="T32" fmla="*/ 2147483647 w 65"/>
                  <a:gd name="T33" fmla="*/ 1481889065 h 75"/>
                  <a:gd name="T34" fmla="*/ 2147483647 w 65"/>
                  <a:gd name="T35" fmla="*/ 740944797 h 75"/>
                  <a:gd name="T36" fmla="*/ 2147483647 w 65"/>
                  <a:gd name="T37" fmla="*/ 0 h 75"/>
                  <a:gd name="T38" fmla="*/ 2147483647 w 65"/>
                  <a:gd name="T39" fmla="*/ 0 h 75"/>
                  <a:gd name="T40" fmla="*/ 1860823401 w 65"/>
                  <a:gd name="T41" fmla="*/ 0 h 75"/>
                  <a:gd name="T42" fmla="*/ 1789286261 w 65"/>
                  <a:gd name="T43" fmla="*/ 296265628 h 75"/>
                  <a:gd name="T44" fmla="*/ 1717577235 w 65"/>
                  <a:gd name="T45" fmla="*/ 1037210425 h 75"/>
                  <a:gd name="T46" fmla="*/ 1646040096 w 65"/>
                  <a:gd name="T47" fmla="*/ 1333756516 h 75"/>
                  <a:gd name="T48" fmla="*/ 1646040096 w 65"/>
                  <a:gd name="T49" fmla="*/ 1630022144 h 75"/>
                  <a:gd name="T50" fmla="*/ 1717577235 w 65"/>
                  <a:gd name="T51" fmla="*/ 1778155223 h 75"/>
                  <a:gd name="T52" fmla="*/ 1860823401 w 65"/>
                  <a:gd name="T53" fmla="*/ 1926287772 h 7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65" h="75">
                    <a:moveTo>
                      <a:pt x="0" y="32"/>
                    </a:moveTo>
                    <a:lnTo>
                      <a:pt x="9" y="43"/>
                    </a:lnTo>
                    <a:lnTo>
                      <a:pt x="20" y="55"/>
                    </a:lnTo>
                    <a:lnTo>
                      <a:pt x="26" y="61"/>
                    </a:lnTo>
                    <a:lnTo>
                      <a:pt x="32" y="67"/>
                    </a:lnTo>
                    <a:lnTo>
                      <a:pt x="39" y="71"/>
                    </a:lnTo>
                    <a:lnTo>
                      <a:pt x="46" y="75"/>
                    </a:lnTo>
                    <a:lnTo>
                      <a:pt x="51" y="61"/>
                    </a:lnTo>
                    <a:lnTo>
                      <a:pt x="58" y="48"/>
                    </a:lnTo>
                    <a:lnTo>
                      <a:pt x="61" y="42"/>
                    </a:lnTo>
                    <a:lnTo>
                      <a:pt x="63" y="36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3" y="18"/>
                    </a:lnTo>
                    <a:lnTo>
                      <a:pt x="61" y="13"/>
                    </a:lnTo>
                    <a:lnTo>
                      <a:pt x="58" y="10"/>
                    </a:lnTo>
                    <a:lnTo>
                      <a:pt x="51" y="5"/>
                    </a:lnTo>
                    <a:lnTo>
                      <a:pt x="46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5" y="2"/>
                    </a:lnTo>
                    <a:lnTo>
                      <a:pt x="24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1" name="Freeform 175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13701980" y="4770010"/>
                <a:ext cx="17463" cy="30162"/>
              </a:xfrm>
              <a:custGeom>
                <a:avLst/>
                <a:gdLst>
                  <a:gd name="T0" fmla="*/ 0 w 40"/>
                  <a:gd name="T1" fmla="*/ 2147483647 h 62"/>
                  <a:gd name="T2" fmla="*/ 249682918 w 40"/>
                  <a:gd name="T3" fmla="*/ 2147483647 h 62"/>
                  <a:gd name="T4" fmla="*/ 582466577 w 40"/>
                  <a:gd name="T5" fmla="*/ 2147483647 h 62"/>
                  <a:gd name="T6" fmla="*/ 998541325 w 40"/>
                  <a:gd name="T7" fmla="*/ 2147483647 h 62"/>
                  <a:gd name="T8" fmla="*/ 1414616510 w 40"/>
                  <a:gd name="T9" fmla="*/ 2147483647 h 62"/>
                  <a:gd name="T10" fmla="*/ 1913791999 w 40"/>
                  <a:gd name="T11" fmla="*/ 1957232612 h 62"/>
                  <a:gd name="T12" fmla="*/ 2147483647 w 40"/>
                  <a:gd name="T13" fmla="*/ 1036125997 h 62"/>
                  <a:gd name="T14" fmla="*/ 2147483647 w 40"/>
                  <a:gd name="T15" fmla="*/ 345296522 h 62"/>
                  <a:gd name="T16" fmla="*/ 2147483647 w 40"/>
                  <a:gd name="T17" fmla="*/ 0 h 6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0" h="62">
                    <a:moveTo>
                      <a:pt x="0" y="62"/>
                    </a:moveTo>
                    <a:lnTo>
                      <a:pt x="3" y="52"/>
                    </a:lnTo>
                    <a:lnTo>
                      <a:pt x="7" y="43"/>
                    </a:lnTo>
                    <a:lnTo>
                      <a:pt x="12" y="33"/>
                    </a:lnTo>
                    <a:lnTo>
                      <a:pt x="17" y="25"/>
                    </a:lnTo>
                    <a:lnTo>
                      <a:pt x="23" y="17"/>
                    </a:lnTo>
                    <a:lnTo>
                      <a:pt x="29" y="9"/>
                    </a:lnTo>
                    <a:lnTo>
                      <a:pt x="35" y="3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2" name="Freeform 176"/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13621018" y="4647772"/>
                <a:ext cx="68262" cy="138113"/>
              </a:xfrm>
              <a:custGeom>
                <a:avLst/>
                <a:gdLst>
                  <a:gd name="T0" fmla="*/ 2147483647 w 159"/>
                  <a:gd name="T1" fmla="*/ 2147483647 h 259"/>
                  <a:gd name="T2" fmla="*/ 2147483647 w 159"/>
                  <a:gd name="T3" fmla="*/ 2147483647 h 259"/>
                  <a:gd name="T4" fmla="*/ 2147483647 w 159"/>
                  <a:gd name="T5" fmla="*/ 2147483647 h 259"/>
                  <a:gd name="T6" fmla="*/ 2147483647 w 159"/>
                  <a:gd name="T7" fmla="*/ 2147483647 h 259"/>
                  <a:gd name="T8" fmla="*/ 2147483647 w 159"/>
                  <a:gd name="T9" fmla="*/ 2147483647 h 259"/>
                  <a:gd name="T10" fmla="*/ 2147483647 w 159"/>
                  <a:gd name="T11" fmla="*/ 2147483647 h 259"/>
                  <a:gd name="T12" fmla="*/ 2147483647 w 159"/>
                  <a:gd name="T13" fmla="*/ 2147483647 h 259"/>
                  <a:gd name="T14" fmla="*/ 2147483647 w 159"/>
                  <a:gd name="T15" fmla="*/ 2147483647 h 259"/>
                  <a:gd name="T16" fmla="*/ 2147483647 w 159"/>
                  <a:gd name="T17" fmla="*/ 2147483647 h 259"/>
                  <a:gd name="T18" fmla="*/ 2147483647 w 159"/>
                  <a:gd name="T19" fmla="*/ 2147483647 h 259"/>
                  <a:gd name="T20" fmla="*/ 2147483647 w 159"/>
                  <a:gd name="T21" fmla="*/ 2147483647 h 259"/>
                  <a:gd name="T22" fmla="*/ 2147483647 w 159"/>
                  <a:gd name="T23" fmla="*/ 2147483647 h 259"/>
                  <a:gd name="T24" fmla="*/ 2147483647 w 159"/>
                  <a:gd name="T25" fmla="*/ 2147483647 h 259"/>
                  <a:gd name="T26" fmla="*/ 2147483647 w 159"/>
                  <a:gd name="T27" fmla="*/ 2147483647 h 259"/>
                  <a:gd name="T28" fmla="*/ 2147483647 w 159"/>
                  <a:gd name="T29" fmla="*/ 2147483647 h 259"/>
                  <a:gd name="T30" fmla="*/ 2147483647 w 159"/>
                  <a:gd name="T31" fmla="*/ 2147483647 h 259"/>
                  <a:gd name="T32" fmla="*/ 2147483647 w 159"/>
                  <a:gd name="T33" fmla="*/ 2147483647 h 259"/>
                  <a:gd name="T34" fmla="*/ 2147483647 w 159"/>
                  <a:gd name="T35" fmla="*/ 2147483647 h 259"/>
                  <a:gd name="T36" fmla="*/ 2147483647 w 159"/>
                  <a:gd name="T37" fmla="*/ 2147483647 h 259"/>
                  <a:gd name="T38" fmla="*/ 2147483647 w 159"/>
                  <a:gd name="T39" fmla="*/ 2147483647 h 259"/>
                  <a:gd name="T40" fmla="*/ 2147483647 w 159"/>
                  <a:gd name="T41" fmla="*/ 2147483647 h 259"/>
                  <a:gd name="T42" fmla="*/ 2147483647 w 159"/>
                  <a:gd name="T43" fmla="*/ 2147483647 h 259"/>
                  <a:gd name="T44" fmla="*/ 2147483647 w 159"/>
                  <a:gd name="T45" fmla="*/ 2147483647 h 259"/>
                  <a:gd name="T46" fmla="*/ 2147483647 w 159"/>
                  <a:gd name="T47" fmla="*/ 2147483647 h 259"/>
                  <a:gd name="T48" fmla="*/ 2147483647 w 159"/>
                  <a:gd name="T49" fmla="*/ 2147483647 h 259"/>
                  <a:gd name="T50" fmla="*/ 2147483647 w 159"/>
                  <a:gd name="T51" fmla="*/ 2147483647 h 259"/>
                  <a:gd name="T52" fmla="*/ 2147483647 w 159"/>
                  <a:gd name="T53" fmla="*/ 2147483647 h 259"/>
                  <a:gd name="T54" fmla="*/ 2147483647 w 159"/>
                  <a:gd name="T55" fmla="*/ 2147483647 h 259"/>
                  <a:gd name="T56" fmla="*/ 1899195238 w 159"/>
                  <a:gd name="T57" fmla="*/ 2147483647 h 259"/>
                  <a:gd name="T58" fmla="*/ 1424396536 w 159"/>
                  <a:gd name="T59" fmla="*/ 2147483647 h 259"/>
                  <a:gd name="T60" fmla="*/ 1028669272 w 159"/>
                  <a:gd name="T61" fmla="*/ 2147483647 h 259"/>
                  <a:gd name="T62" fmla="*/ 712198053 w 159"/>
                  <a:gd name="T63" fmla="*/ 2147483647 h 259"/>
                  <a:gd name="T64" fmla="*/ 553870570 w 159"/>
                  <a:gd name="T65" fmla="*/ 2147483647 h 259"/>
                  <a:gd name="T66" fmla="*/ 395727264 w 159"/>
                  <a:gd name="T67" fmla="*/ 2147483647 h 259"/>
                  <a:gd name="T68" fmla="*/ 158327913 w 159"/>
                  <a:gd name="T69" fmla="*/ 2147483647 h 259"/>
                  <a:gd name="T70" fmla="*/ 0 w 159"/>
                  <a:gd name="T71" fmla="*/ 2147483647 h 259"/>
                  <a:gd name="T72" fmla="*/ 0 w 159"/>
                  <a:gd name="T73" fmla="*/ 0 h 25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59" h="259">
                    <a:moveTo>
                      <a:pt x="159" y="259"/>
                    </a:moveTo>
                    <a:lnTo>
                      <a:pt x="159" y="251"/>
                    </a:lnTo>
                    <a:lnTo>
                      <a:pt x="159" y="244"/>
                    </a:lnTo>
                    <a:lnTo>
                      <a:pt x="159" y="236"/>
                    </a:lnTo>
                    <a:lnTo>
                      <a:pt x="159" y="228"/>
                    </a:lnTo>
                    <a:lnTo>
                      <a:pt x="159" y="224"/>
                    </a:lnTo>
                    <a:lnTo>
                      <a:pt x="158" y="219"/>
                    </a:lnTo>
                    <a:lnTo>
                      <a:pt x="156" y="215"/>
                    </a:lnTo>
                    <a:lnTo>
                      <a:pt x="153" y="210"/>
                    </a:lnTo>
                    <a:lnTo>
                      <a:pt x="145" y="202"/>
                    </a:lnTo>
                    <a:lnTo>
                      <a:pt x="135" y="195"/>
                    </a:lnTo>
                    <a:lnTo>
                      <a:pt x="124" y="189"/>
                    </a:lnTo>
                    <a:lnTo>
                      <a:pt x="112" y="184"/>
                    </a:lnTo>
                    <a:lnTo>
                      <a:pt x="99" y="180"/>
                    </a:lnTo>
                    <a:lnTo>
                      <a:pt x="87" y="179"/>
                    </a:lnTo>
                    <a:lnTo>
                      <a:pt x="85" y="178"/>
                    </a:lnTo>
                    <a:lnTo>
                      <a:pt x="82" y="177"/>
                    </a:lnTo>
                    <a:lnTo>
                      <a:pt x="81" y="175"/>
                    </a:lnTo>
                    <a:lnTo>
                      <a:pt x="80" y="173"/>
                    </a:lnTo>
                    <a:lnTo>
                      <a:pt x="80" y="167"/>
                    </a:lnTo>
                    <a:lnTo>
                      <a:pt x="81" y="161"/>
                    </a:lnTo>
                    <a:lnTo>
                      <a:pt x="85" y="148"/>
                    </a:lnTo>
                    <a:lnTo>
                      <a:pt x="87" y="142"/>
                    </a:lnTo>
                    <a:lnTo>
                      <a:pt x="73" y="141"/>
                    </a:lnTo>
                    <a:lnTo>
                      <a:pt x="59" y="139"/>
                    </a:lnTo>
                    <a:lnTo>
                      <a:pt x="48" y="135"/>
                    </a:lnTo>
                    <a:lnTo>
                      <a:pt x="40" y="129"/>
                    </a:lnTo>
                    <a:lnTo>
                      <a:pt x="31" y="121"/>
                    </a:lnTo>
                    <a:lnTo>
                      <a:pt x="24" y="113"/>
                    </a:lnTo>
                    <a:lnTo>
                      <a:pt x="18" y="104"/>
                    </a:lnTo>
                    <a:lnTo>
                      <a:pt x="13" y="94"/>
                    </a:lnTo>
                    <a:lnTo>
                      <a:pt x="9" y="84"/>
                    </a:lnTo>
                    <a:lnTo>
                      <a:pt x="7" y="73"/>
                    </a:lnTo>
                    <a:lnTo>
                      <a:pt x="5" y="60"/>
                    </a:lnTo>
                    <a:lnTo>
                      <a:pt x="2" y="48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3" name="Line 177"/>
              <p:cNvSpPr>
                <a:spLocks noChangeShapeType="1"/>
              </p:cNvSpPr>
              <p:nvPr>
                <p:custDataLst>
                  <p:tags r:id="rId69"/>
                </p:custDataLst>
              </p:nvPr>
            </p:nvSpPr>
            <p:spPr bwMode="auto">
              <a:xfrm flipH="1" flipV="1">
                <a:off x="13614668" y="4614435"/>
                <a:ext cx="6350" cy="33337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4" name="Freeform 178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13614668" y="4598560"/>
                <a:ext cx="6350" cy="15875"/>
              </a:xfrm>
              <a:custGeom>
                <a:avLst/>
                <a:gdLst>
                  <a:gd name="T0" fmla="*/ 0 w 13"/>
                  <a:gd name="T1" fmla="*/ 2147483647 h 25"/>
                  <a:gd name="T2" fmla="*/ 116434088 w 13"/>
                  <a:gd name="T3" fmla="*/ 2147483647 h 25"/>
                  <a:gd name="T4" fmla="*/ 466214069 w 13"/>
                  <a:gd name="T5" fmla="*/ 2147483647 h 25"/>
                  <a:gd name="T6" fmla="*/ 932428138 w 13"/>
                  <a:gd name="T7" fmla="*/ 1536287250 h 25"/>
                  <a:gd name="T8" fmla="*/ 1515076296 w 13"/>
                  <a:gd name="T9" fmla="*/ 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25">
                    <a:moveTo>
                      <a:pt x="0" y="25"/>
                    </a:moveTo>
                    <a:lnTo>
                      <a:pt x="1" y="19"/>
                    </a:lnTo>
                    <a:lnTo>
                      <a:pt x="4" y="13"/>
                    </a:lnTo>
                    <a:lnTo>
                      <a:pt x="8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5" name="Line 179"/>
              <p:cNvSpPr>
                <a:spLocks noChangeShapeType="1"/>
              </p:cNvSpPr>
              <p:nvPr>
                <p:custDataLst>
                  <p:tags r:id="rId71"/>
                </p:custDataLst>
              </p:nvPr>
            </p:nvSpPr>
            <p:spPr bwMode="auto">
              <a:xfrm flipV="1">
                <a:off x="13621018" y="4585860"/>
                <a:ext cx="0" cy="12700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6" name="Freeform 180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13574980" y="4519185"/>
                <a:ext cx="46038" cy="66675"/>
              </a:xfrm>
              <a:custGeom>
                <a:avLst/>
                <a:gdLst>
                  <a:gd name="T0" fmla="*/ 2147483647 w 100"/>
                  <a:gd name="T1" fmla="*/ 2147483647 h 123"/>
                  <a:gd name="T2" fmla="*/ 2147483647 w 100"/>
                  <a:gd name="T3" fmla="*/ 2147483647 h 123"/>
                  <a:gd name="T4" fmla="*/ 2147483647 w 100"/>
                  <a:gd name="T5" fmla="*/ 2147483647 h 123"/>
                  <a:gd name="T6" fmla="*/ 2147483647 w 100"/>
                  <a:gd name="T7" fmla="*/ 2147483647 h 123"/>
                  <a:gd name="T8" fmla="*/ 2147483647 w 100"/>
                  <a:gd name="T9" fmla="*/ 2147483647 h 123"/>
                  <a:gd name="T10" fmla="*/ 2147483647 w 100"/>
                  <a:gd name="T11" fmla="*/ 2147483647 h 123"/>
                  <a:gd name="T12" fmla="*/ 2147483647 w 100"/>
                  <a:gd name="T13" fmla="*/ 2147483647 h 123"/>
                  <a:gd name="T14" fmla="*/ 1951633228 w 100"/>
                  <a:gd name="T15" fmla="*/ 2147483647 h 123"/>
                  <a:gd name="T16" fmla="*/ 1268519082 w 100"/>
                  <a:gd name="T17" fmla="*/ 2147483647 h 123"/>
                  <a:gd name="T18" fmla="*/ 780611120 w 100"/>
                  <a:gd name="T19" fmla="*/ 2147483647 h 123"/>
                  <a:gd name="T20" fmla="*/ 390411448 w 100"/>
                  <a:gd name="T21" fmla="*/ 2147483647 h 123"/>
                  <a:gd name="T22" fmla="*/ 97496975 w 100"/>
                  <a:gd name="T23" fmla="*/ 2147483647 h 123"/>
                  <a:gd name="T24" fmla="*/ 0 w 100"/>
                  <a:gd name="T25" fmla="*/ 2147483647 h 123"/>
                  <a:gd name="T26" fmla="*/ 195205724 w 100"/>
                  <a:gd name="T27" fmla="*/ 2147483647 h 123"/>
                  <a:gd name="T28" fmla="*/ 683114146 w 100"/>
                  <a:gd name="T29" fmla="*/ 2147483647 h 123"/>
                  <a:gd name="T30" fmla="*/ 1073313358 w 100"/>
                  <a:gd name="T31" fmla="*/ 2147483647 h 123"/>
                  <a:gd name="T32" fmla="*/ 1268519082 w 100"/>
                  <a:gd name="T33" fmla="*/ 0 h 1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00" h="123">
                    <a:moveTo>
                      <a:pt x="100" y="123"/>
                    </a:moveTo>
                    <a:lnTo>
                      <a:pt x="90" y="122"/>
                    </a:lnTo>
                    <a:lnTo>
                      <a:pt x="76" y="119"/>
                    </a:lnTo>
                    <a:lnTo>
                      <a:pt x="60" y="114"/>
                    </a:lnTo>
                    <a:lnTo>
                      <a:pt x="43" y="107"/>
                    </a:lnTo>
                    <a:lnTo>
                      <a:pt x="34" y="103"/>
                    </a:lnTo>
                    <a:lnTo>
                      <a:pt x="27" y="99"/>
                    </a:lnTo>
                    <a:lnTo>
                      <a:pt x="20" y="94"/>
                    </a:lnTo>
                    <a:lnTo>
                      <a:pt x="13" y="89"/>
                    </a:lnTo>
                    <a:lnTo>
                      <a:pt x="8" y="84"/>
                    </a:lnTo>
                    <a:lnTo>
                      <a:pt x="4" y="79"/>
                    </a:lnTo>
                    <a:lnTo>
                      <a:pt x="1" y="73"/>
                    </a:lnTo>
                    <a:lnTo>
                      <a:pt x="0" y="68"/>
                    </a:lnTo>
                    <a:lnTo>
                      <a:pt x="2" y="55"/>
                    </a:lnTo>
                    <a:lnTo>
                      <a:pt x="7" y="36"/>
                    </a:lnTo>
                    <a:lnTo>
                      <a:pt x="11" y="17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7" name="Freeform 181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13589268" y="4462035"/>
                <a:ext cx="1587" cy="50800"/>
              </a:xfrm>
              <a:custGeom>
                <a:avLst/>
                <a:gdLst>
                  <a:gd name="T0" fmla="*/ 159878824 w 5"/>
                  <a:gd name="T1" fmla="*/ 0 h 99"/>
                  <a:gd name="T2" fmla="*/ 127943305 w 5"/>
                  <a:gd name="T3" fmla="*/ 2147483647 h 99"/>
                  <a:gd name="T4" fmla="*/ 31935518 w 5"/>
                  <a:gd name="T5" fmla="*/ 2147483647 h 99"/>
                  <a:gd name="T6" fmla="*/ 0 w 5"/>
                  <a:gd name="T7" fmla="*/ 2147483647 h 99"/>
                  <a:gd name="T8" fmla="*/ 0 w 5"/>
                  <a:gd name="T9" fmla="*/ 2147483647 h 99"/>
                  <a:gd name="T10" fmla="*/ 63971653 w 5"/>
                  <a:gd name="T11" fmla="*/ 2147483647 h 99"/>
                  <a:gd name="T12" fmla="*/ 159878824 w 5"/>
                  <a:gd name="T13" fmla="*/ 2147483647 h 9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" h="99">
                    <a:moveTo>
                      <a:pt x="5" y="0"/>
                    </a:moveTo>
                    <a:lnTo>
                      <a:pt x="4" y="34"/>
                    </a:lnTo>
                    <a:lnTo>
                      <a:pt x="1" y="59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2" y="87"/>
                    </a:lnTo>
                    <a:lnTo>
                      <a:pt x="5" y="9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8" name="Freeform 182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13595618" y="4455685"/>
                <a:ext cx="7937" cy="36512"/>
              </a:xfrm>
              <a:custGeom>
                <a:avLst/>
                <a:gdLst>
                  <a:gd name="T0" fmla="*/ 2147483647 w 14"/>
                  <a:gd name="T1" fmla="*/ 0 h 68"/>
                  <a:gd name="T2" fmla="*/ 1457585263 w 14"/>
                  <a:gd name="T3" fmla="*/ 2147483647 h 68"/>
                  <a:gd name="T4" fmla="*/ 728953356 w 14"/>
                  <a:gd name="T5" fmla="*/ 2147483647 h 68"/>
                  <a:gd name="T6" fmla="*/ 364476678 w 14"/>
                  <a:gd name="T7" fmla="*/ 2147483647 h 68"/>
                  <a:gd name="T8" fmla="*/ 0 w 14"/>
                  <a:gd name="T9" fmla="*/ 2147483647 h 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" h="68">
                    <a:moveTo>
                      <a:pt x="14" y="0"/>
                    </a:moveTo>
                    <a:lnTo>
                      <a:pt x="8" y="16"/>
                    </a:lnTo>
                    <a:lnTo>
                      <a:pt x="4" y="33"/>
                    </a:lnTo>
                    <a:lnTo>
                      <a:pt x="2" y="52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9" name="Freeform 183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13611493" y="4436635"/>
                <a:ext cx="1587" cy="22225"/>
              </a:xfrm>
              <a:custGeom>
                <a:avLst/>
                <a:gdLst>
                  <a:gd name="T0" fmla="*/ 0 w 1587"/>
                  <a:gd name="T1" fmla="*/ 0 h 43"/>
                  <a:gd name="T2" fmla="*/ 0 w 1587"/>
                  <a:gd name="T3" fmla="*/ 1794945270 h 43"/>
                  <a:gd name="T4" fmla="*/ 0 w 1587"/>
                  <a:gd name="T5" fmla="*/ 2147483647 h 43"/>
                  <a:gd name="T6" fmla="*/ 0 w 1587"/>
                  <a:gd name="T7" fmla="*/ 2147483647 h 43"/>
                  <a:gd name="T8" fmla="*/ 0 w 1587"/>
                  <a:gd name="T9" fmla="*/ 2147483647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7" h="43">
                    <a:moveTo>
                      <a:pt x="0" y="0"/>
                    </a:moveTo>
                    <a:lnTo>
                      <a:pt x="0" y="13"/>
                    </a:lnTo>
                    <a:lnTo>
                      <a:pt x="0" y="26"/>
                    </a:lnTo>
                    <a:lnTo>
                      <a:pt x="0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0" name="Line 184"/>
              <p:cNvSpPr>
                <a:spLocks noChangeShapeType="1"/>
              </p:cNvSpPr>
              <p:nvPr>
                <p:custDataLst>
                  <p:tags r:id="rId76"/>
                </p:custDataLst>
              </p:nvPr>
            </p:nvSpPr>
            <p:spPr bwMode="auto">
              <a:xfrm flipV="1">
                <a:off x="13611493" y="4455685"/>
                <a:ext cx="1587" cy="3175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1" name="Freeform 185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13595618" y="4439810"/>
                <a:ext cx="1587" cy="15875"/>
              </a:xfrm>
              <a:custGeom>
                <a:avLst/>
                <a:gdLst>
                  <a:gd name="T0" fmla="*/ 0 w 1587"/>
                  <a:gd name="T1" fmla="*/ 2147483647 h 31"/>
                  <a:gd name="T2" fmla="*/ 0 w 1587"/>
                  <a:gd name="T3" fmla="*/ 2147483647 h 31"/>
                  <a:gd name="T4" fmla="*/ 0 w 1587"/>
                  <a:gd name="T5" fmla="*/ 2014289133 h 31"/>
                  <a:gd name="T6" fmla="*/ 0 w 1587"/>
                  <a:gd name="T7" fmla="*/ 1074409758 h 31"/>
                  <a:gd name="T8" fmla="*/ 0 w 158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7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2" name="Freeform 186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13316218" y="5428822"/>
                <a:ext cx="96837" cy="87313"/>
              </a:xfrm>
              <a:custGeom>
                <a:avLst/>
                <a:gdLst>
                  <a:gd name="T0" fmla="*/ 1514647745 w 225"/>
                  <a:gd name="T1" fmla="*/ 2147483647 h 167"/>
                  <a:gd name="T2" fmla="*/ 558106062 w 225"/>
                  <a:gd name="T3" fmla="*/ 2147483647 h 167"/>
                  <a:gd name="T4" fmla="*/ 0 w 225"/>
                  <a:gd name="T5" fmla="*/ 2147483647 h 167"/>
                  <a:gd name="T6" fmla="*/ 79649939 w 225"/>
                  <a:gd name="T7" fmla="*/ 2147483647 h 167"/>
                  <a:gd name="T8" fmla="*/ 876891314 w 225"/>
                  <a:gd name="T9" fmla="*/ 2147483647 h 167"/>
                  <a:gd name="T10" fmla="*/ 1913268433 w 225"/>
                  <a:gd name="T11" fmla="*/ 2147483647 h 167"/>
                  <a:gd name="T12" fmla="*/ 2147483647 w 225"/>
                  <a:gd name="T13" fmla="*/ 2147483647 h 167"/>
                  <a:gd name="T14" fmla="*/ 2147483647 w 225"/>
                  <a:gd name="T15" fmla="*/ 1286128855 h 167"/>
                  <a:gd name="T16" fmla="*/ 2147483647 w 225"/>
                  <a:gd name="T17" fmla="*/ 142963797 h 167"/>
                  <a:gd name="T18" fmla="*/ 2147483647 w 225"/>
                  <a:gd name="T19" fmla="*/ 142963797 h 167"/>
                  <a:gd name="T20" fmla="*/ 2147483647 w 225"/>
                  <a:gd name="T21" fmla="*/ 428618471 h 167"/>
                  <a:gd name="T22" fmla="*/ 2147483647 w 225"/>
                  <a:gd name="T23" fmla="*/ 1143438500 h 167"/>
                  <a:gd name="T24" fmla="*/ 2147483647 w 225"/>
                  <a:gd name="T25" fmla="*/ 2147483647 h 167"/>
                  <a:gd name="T26" fmla="*/ 2147483647 w 225"/>
                  <a:gd name="T27" fmla="*/ 2147483647 h 167"/>
                  <a:gd name="T28" fmla="*/ 2147483647 w 225"/>
                  <a:gd name="T29" fmla="*/ 2147483647 h 167"/>
                  <a:gd name="T30" fmla="*/ 2147483647 w 225"/>
                  <a:gd name="T31" fmla="*/ 2147483647 h 167"/>
                  <a:gd name="T32" fmla="*/ 2147483647 w 225"/>
                  <a:gd name="T33" fmla="*/ 1000474181 h 167"/>
                  <a:gd name="T34" fmla="*/ 2147483647 w 225"/>
                  <a:gd name="T35" fmla="*/ 0 h 167"/>
                  <a:gd name="T36" fmla="*/ 2147483647 w 225"/>
                  <a:gd name="T37" fmla="*/ 2147483647 h 167"/>
                  <a:gd name="T38" fmla="*/ 2147483647 w 225"/>
                  <a:gd name="T39" fmla="*/ 2147483647 h 167"/>
                  <a:gd name="T40" fmla="*/ 2147483647 w 225"/>
                  <a:gd name="T41" fmla="*/ 2147483647 h 167"/>
                  <a:gd name="T42" fmla="*/ 2147483647 w 225"/>
                  <a:gd name="T43" fmla="*/ 2147483647 h 167"/>
                  <a:gd name="T44" fmla="*/ 2147483647 w 225"/>
                  <a:gd name="T45" fmla="*/ 2147483647 h 167"/>
                  <a:gd name="T46" fmla="*/ 2147483647 w 225"/>
                  <a:gd name="T47" fmla="*/ 2147483647 h 167"/>
                  <a:gd name="T48" fmla="*/ 2147483647 w 225"/>
                  <a:gd name="T49" fmla="*/ 2147483647 h 167"/>
                  <a:gd name="T50" fmla="*/ 2147483647 w 225"/>
                  <a:gd name="T51" fmla="*/ 2147483647 h 167"/>
                  <a:gd name="T52" fmla="*/ 2147483647 w 225"/>
                  <a:gd name="T53" fmla="*/ 2147483647 h 167"/>
                  <a:gd name="T54" fmla="*/ 2147483647 w 225"/>
                  <a:gd name="T55" fmla="*/ 2147483647 h 167"/>
                  <a:gd name="T56" fmla="*/ 2147483647 w 225"/>
                  <a:gd name="T57" fmla="*/ 2147483647 h 167"/>
                  <a:gd name="T58" fmla="*/ 2147483647 w 225"/>
                  <a:gd name="T59" fmla="*/ 2147483647 h 167"/>
                  <a:gd name="T60" fmla="*/ 2147483647 w 225"/>
                  <a:gd name="T61" fmla="*/ 2147483647 h 167"/>
                  <a:gd name="T62" fmla="*/ 2147483647 w 225"/>
                  <a:gd name="T63" fmla="*/ 2147483647 h 167"/>
                  <a:gd name="T64" fmla="*/ 2072753807 w 225"/>
                  <a:gd name="T65" fmla="*/ 2147483647 h 16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25" h="167">
                    <a:moveTo>
                      <a:pt x="26" y="167"/>
                    </a:moveTo>
                    <a:lnTo>
                      <a:pt x="19" y="158"/>
                    </a:lnTo>
                    <a:lnTo>
                      <a:pt x="10" y="148"/>
                    </a:lnTo>
                    <a:lnTo>
                      <a:pt x="7" y="142"/>
                    </a:lnTo>
                    <a:lnTo>
                      <a:pt x="3" y="136"/>
                    </a:lnTo>
                    <a:lnTo>
                      <a:pt x="0" y="130"/>
                    </a:lnTo>
                    <a:lnTo>
                      <a:pt x="0" y="123"/>
                    </a:lnTo>
                    <a:lnTo>
                      <a:pt x="1" y="108"/>
                    </a:lnTo>
                    <a:lnTo>
                      <a:pt x="5" y="89"/>
                    </a:lnTo>
                    <a:lnTo>
                      <a:pt x="11" y="68"/>
                    </a:lnTo>
                    <a:lnTo>
                      <a:pt x="20" y="48"/>
                    </a:lnTo>
                    <a:lnTo>
                      <a:pt x="24" y="39"/>
                    </a:lnTo>
                    <a:lnTo>
                      <a:pt x="28" y="29"/>
                    </a:lnTo>
                    <a:lnTo>
                      <a:pt x="34" y="21"/>
                    </a:lnTo>
                    <a:lnTo>
                      <a:pt x="38" y="14"/>
                    </a:lnTo>
                    <a:lnTo>
                      <a:pt x="44" y="9"/>
                    </a:lnTo>
                    <a:lnTo>
                      <a:pt x="49" y="4"/>
                    </a:lnTo>
                    <a:lnTo>
                      <a:pt x="54" y="1"/>
                    </a:lnTo>
                    <a:lnTo>
                      <a:pt x="59" y="0"/>
                    </a:lnTo>
                    <a:lnTo>
                      <a:pt x="65" y="1"/>
                    </a:lnTo>
                    <a:lnTo>
                      <a:pt x="70" y="1"/>
                    </a:lnTo>
                    <a:lnTo>
                      <a:pt x="76" y="3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94" y="13"/>
                    </a:lnTo>
                    <a:lnTo>
                      <a:pt x="100" y="17"/>
                    </a:lnTo>
                    <a:lnTo>
                      <a:pt x="106" y="21"/>
                    </a:lnTo>
                    <a:lnTo>
                      <a:pt x="112" y="24"/>
                    </a:lnTo>
                    <a:lnTo>
                      <a:pt x="120" y="25"/>
                    </a:lnTo>
                    <a:lnTo>
                      <a:pt x="128" y="24"/>
                    </a:lnTo>
                    <a:lnTo>
                      <a:pt x="137" y="22"/>
                    </a:lnTo>
                    <a:lnTo>
                      <a:pt x="145" y="19"/>
                    </a:lnTo>
                    <a:lnTo>
                      <a:pt x="151" y="15"/>
                    </a:lnTo>
                    <a:lnTo>
                      <a:pt x="165" y="7"/>
                    </a:lnTo>
                    <a:lnTo>
                      <a:pt x="179" y="0"/>
                    </a:lnTo>
                    <a:lnTo>
                      <a:pt x="225" y="0"/>
                    </a:lnTo>
                    <a:lnTo>
                      <a:pt x="221" y="11"/>
                    </a:lnTo>
                    <a:lnTo>
                      <a:pt x="215" y="22"/>
                    </a:lnTo>
                    <a:lnTo>
                      <a:pt x="209" y="31"/>
                    </a:lnTo>
                    <a:lnTo>
                      <a:pt x="201" y="41"/>
                    </a:lnTo>
                    <a:lnTo>
                      <a:pt x="185" y="57"/>
                    </a:lnTo>
                    <a:lnTo>
                      <a:pt x="168" y="72"/>
                    </a:lnTo>
                    <a:lnTo>
                      <a:pt x="151" y="86"/>
                    </a:lnTo>
                    <a:lnTo>
                      <a:pt x="138" y="100"/>
                    </a:lnTo>
                    <a:lnTo>
                      <a:pt x="133" y="107"/>
                    </a:lnTo>
                    <a:lnTo>
                      <a:pt x="129" y="114"/>
                    </a:lnTo>
                    <a:lnTo>
                      <a:pt x="126" y="122"/>
                    </a:lnTo>
                    <a:lnTo>
                      <a:pt x="126" y="130"/>
                    </a:lnTo>
                    <a:lnTo>
                      <a:pt x="125" y="129"/>
                    </a:lnTo>
                    <a:lnTo>
                      <a:pt x="123" y="126"/>
                    </a:lnTo>
                    <a:lnTo>
                      <a:pt x="120" y="122"/>
                    </a:lnTo>
                    <a:lnTo>
                      <a:pt x="120" y="117"/>
                    </a:lnTo>
                    <a:lnTo>
                      <a:pt x="112" y="119"/>
                    </a:lnTo>
                    <a:lnTo>
                      <a:pt x="106" y="121"/>
                    </a:lnTo>
                    <a:lnTo>
                      <a:pt x="101" y="124"/>
                    </a:lnTo>
                    <a:lnTo>
                      <a:pt x="97" y="128"/>
                    </a:lnTo>
                    <a:lnTo>
                      <a:pt x="88" y="135"/>
                    </a:lnTo>
                    <a:lnTo>
                      <a:pt x="80" y="145"/>
                    </a:lnTo>
                    <a:lnTo>
                      <a:pt x="76" y="149"/>
                    </a:lnTo>
                    <a:lnTo>
                      <a:pt x="71" y="153"/>
                    </a:lnTo>
                    <a:lnTo>
                      <a:pt x="66" y="157"/>
                    </a:lnTo>
                    <a:lnTo>
                      <a:pt x="60" y="160"/>
                    </a:lnTo>
                    <a:lnTo>
                      <a:pt x="54" y="163"/>
                    </a:lnTo>
                    <a:lnTo>
                      <a:pt x="46" y="165"/>
                    </a:lnTo>
                    <a:lnTo>
                      <a:pt x="36" y="166"/>
                    </a:lnTo>
                    <a:lnTo>
                      <a:pt x="26" y="16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3" name="Freeform 187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13454330" y="4647772"/>
                <a:ext cx="3175" cy="17463"/>
              </a:xfrm>
              <a:custGeom>
                <a:avLst/>
                <a:gdLst>
                  <a:gd name="T0" fmla="*/ 0 w 7"/>
                  <a:gd name="T1" fmla="*/ 2147483647 h 31"/>
                  <a:gd name="T2" fmla="*/ 466588929 w 7"/>
                  <a:gd name="T3" fmla="*/ 2147483647 h 31"/>
                  <a:gd name="T4" fmla="*/ 559783343 w 7"/>
                  <a:gd name="T5" fmla="*/ 2147483647 h 31"/>
                  <a:gd name="T6" fmla="*/ 653183225 w 7"/>
                  <a:gd name="T7" fmla="*/ 1072583093 h 31"/>
                  <a:gd name="T8" fmla="*/ 653183225 w 7"/>
                  <a:gd name="T9" fmla="*/ 0 h 31"/>
                  <a:gd name="T10" fmla="*/ 559783343 w 7"/>
                  <a:gd name="T11" fmla="*/ 1072583093 h 31"/>
                  <a:gd name="T12" fmla="*/ 373189046 w 7"/>
                  <a:gd name="T13" fmla="*/ 2147483647 h 31"/>
                  <a:gd name="T14" fmla="*/ 93399882 w 7"/>
                  <a:gd name="T15" fmla="*/ 2147483647 h 31"/>
                  <a:gd name="T16" fmla="*/ 0 w 7"/>
                  <a:gd name="T17" fmla="*/ 2147483647 h 3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" h="31">
                    <a:moveTo>
                      <a:pt x="0" y="31"/>
                    </a:moveTo>
                    <a:lnTo>
                      <a:pt x="5" y="22"/>
                    </a:lnTo>
                    <a:lnTo>
                      <a:pt x="6" y="13"/>
                    </a:lnTo>
                    <a:lnTo>
                      <a:pt x="7" y="6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4" y="13"/>
                    </a:lnTo>
                    <a:lnTo>
                      <a:pt x="1" y="22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4" name="Freeform 188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13387655" y="4569985"/>
                <a:ext cx="15875" cy="15875"/>
              </a:xfrm>
              <a:custGeom>
                <a:avLst/>
                <a:gdLst>
                  <a:gd name="T0" fmla="*/ 2147483647 w 33"/>
                  <a:gd name="T1" fmla="*/ 2147483647 h 31"/>
                  <a:gd name="T2" fmla="*/ 2147483647 w 33"/>
                  <a:gd name="T3" fmla="*/ 0 h 31"/>
                  <a:gd name="T4" fmla="*/ 2147483647 w 33"/>
                  <a:gd name="T5" fmla="*/ 0 h 31"/>
                  <a:gd name="T6" fmla="*/ 2147483647 w 33"/>
                  <a:gd name="T7" fmla="*/ 268536891 h 31"/>
                  <a:gd name="T8" fmla="*/ 1781234170 w 33"/>
                  <a:gd name="T9" fmla="*/ 671342484 h 31"/>
                  <a:gd name="T10" fmla="*/ 1224671102 w 33"/>
                  <a:gd name="T11" fmla="*/ 1074409758 h 31"/>
                  <a:gd name="T12" fmla="*/ 667876163 w 33"/>
                  <a:gd name="T13" fmla="*/ 1611484052 h 31"/>
                  <a:gd name="T14" fmla="*/ 333937841 w 33"/>
                  <a:gd name="T15" fmla="*/ 2147483647 h 31"/>
                  <a:gd name="T16" fmla="*/ 111312614 w 33"/>
                  <a:gd name="T17" fmla="*/ 2147483647 h 31"/>
                  <a:gd name="T18" fmla="*/ 0 w 33"/>
                  <a:gd name="T19" fmla="*/ 2147483647 h 31"/>
                  <a:gd name="T20" fmla="*/ 111312614 w 33"/>
                  <a:gd name="T21" fmla="*/ 2147483647 h 31"/>
                  <a:gd name="T22" fmla="*/ 333937841 w 33"/>
                  <a:gd name="T23" fmla="*/ 2147483647 h 31"/>
                  <a:gd name="T24" fmla="*/ 667876163 w 33"/>
                  <a:gd name="T25" fmla="*/ 2147483647 h 31"/>
                  <a:gd name="T26" fmla="*/ 1224671102 w 33"/>
                  <a:gd name="T27" fmla="*/ 2147483647 h 31"/>
                  <a:gd name="T28" fmla="*/ 2147483647 w 33"/>
                  <a:gd name="T29" fmla="*/ 2147483647 h 31"/>
                  <a:gd name="T30" fmla="*/ 2147483647 w 33"/>
                  <a:gd name="T31" fmla="*/ 2147483647 h 3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33" y="31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2"/>
                    </a:lnTo>
                    <a:lnTo>
                      <a:pt x="16" y="5"/>
                    </a:lnTo>
                    <a:lnTo>
                      <a:pt x="11" y="8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2" y="31"/>
                    </a:lnTo>
                    <a:lnTo>
                      <a:pt x="33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5" name="Freeform 189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13403530" y="4482672"/>
                <a:ext cx="3175" cy="9525"/>
              </a:xfrm>
              <a:custGeom>
                <a:avLst/>
                <a:gdLst>
                  <a:gd name="T0" fmla="*/ 0 w 13"/>
                  <a:gd name="T1" fmla="*/ 2147483647 h 19"/>
                  <a:gd name="T2" fmla="*/ 29108644 w 13"/>
                  <a:gd name="T3" fmla="*/ 2147483647 h 19"/>
                  <a:gd name="T4" fmla="*/ 72831081 w 13"/>
                  <a:gd name="T5" fmla="*/ 2141727833 h 19"/>
                  <a:gd name="T6" fmla="*/ 101999317 w 13"/>
                  <a:gd name="T7" fmla="*/ 1889907888 h 19"/>
                  <a:gd name="T8" fmla="*/ 116553517 w 13"/>
                  <a:gd name="T9" fmla="*/ 1511926311 h 19"/>
                  <a:gd name="T10" fmla="*/ 174830154 w 13"/>
                  <a:gd name="T11" fmla="*/ 755963155 h 19"/>
                  <a:gd name="T12" fmla="*/ 189384598 w 13"/>
                  <a:gd name="T13" fmla="*/ 0 h 19"/>
                  <a:gd name="T14" fmla="*/ 0 w 1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lnTo>
                      <a:pt x="2" y="18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8" y="12"/>
                    </a:lnTo>
                    <a:lnTo>
                      <a:pt x="12" y="6"/>
                    </a:lnTo>
                    <a:lnTo>
                      <a:pt x="13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6" name="Freeform 190"/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13243193" y="4485847"/>
                <a:ext cx="36512" cy="22225"/>
              </a:xfrm>
              <a:custGeom>
                <a:avLst/>
                <a:gdLst>
                  <a:gd name="T0" fmla="*/ 2147483647 w 87"/>
                  <a:gd name="T1" fmla="*/ 2147483647 h 42"/>
                  <a:gd name="T2" fmla="*/ 2147483647 w 87"/>
                  <a:gd name="T3" fmla="*/ 2147483647 h 42"/>
                  <a:gd name="T4" fmla="*/ 2147483647 w 87"/>
                  <a:gd name="T5" fmla="*/ 2147483647 h 42"/>
                  <a:gd name="T6" fmla="*/ 2147483647 w 87"/>
                  <a:gd name="T7" fmla="*/ 2147483647 h 42"/>
                  <a:gd name="T8" fmla="*/ 2147483647 w 87"/>
                  <a:gd name="T9" fmla="*/ 2147483647 h 42"/>
                  <a:gd name="T10" fmla="*/ 2147483647 w 87"/>
                  <a:gd name="T11" fmla="*/ 2147483647 h 42"/>
                  <a:gd name="T12" fmla="*/ 2147483647 w 87"/>
                  <a:gd name="T13" fmla="*/ 2147483647 h 42"/>
                  <a:gd name="T14" fmla="*/ 2147483647 w 87"/>
                  <a:gd name="T15" fmla="*/ 2147483647 h 42"/>
                  <a:gd name="T16" fmla="*/ 2147483647 w 87"/>
                  <a:gd name="T17" fmla="*/ 2147483647 h 42"/>
                  <a:gd name="T18" fmla="*/ 2147483647 w 87"/>
                  <a:gd name="T19" fmla="*/ 1629980971 h 42"/>
                  <a:gd name="T20" fmla="*/ 2147483647 w 87"/>
                  <a:gd name="T21" fmla="*/ 889055033 h 42"/>
                  <a:gd name="T22" fmla="*/ 2147483647 w 87"/>
                  <a:gd name="T23" fmla="*/ 296258192 h 42"/>
                  <a:gd name="T24" fmla="*/ 2147483647 w 87"/>
                  <a:gd name="T25" fmla="*/ 0 h 42"/>
                  <a:gd name="T26" fmla="*/ 2147483647 w 87"/>
                  <a:gd name="T27" fmla="*/ 0 h 42"/>
                  <a:gd name="T28" fmla="*/ 2147483647 w 87"/>
                  <a:gd name="T29" fmla="*/ 0 h 42"/>
                  <a:gd name="T30" fmla="*/ 2147483647 w 87"/>
                  <a:gd name="T31" fmla="*/ 0 h 42"/>
                  <a:gd name="T32" fmla="*/ 2147483647 w 87"/>
                  <a:gd name="T33" fmla="*/ 296258192 h 42"/>
                  <a:gd name="T34" fmla="*/ 1847953318 w 87"/>
                  <a:gd name="T35" fmla="*/ 592796842 h 42"/>
                  <a:gd name="T36" fmla="*/ 1404458841 w 87"/>
                  <a:gd name="T37" fmla="*/ 889055033 h 42"/>
                  <a:gd name="T38" fmla="*/ 591267774 w 87"/>
                  <a:gd name="T39" fmla="*/ 1778110067 h 42"/>
                  <a:gd name="T40" fmla="*/ 0 w 87"/>
                  <a:gd name="T41" fmla="*/ 2147483647 h 42"/>
                  <a:gd name="T42" fmla="*/ 813014802 w 87"/>
                  <a:gd name="T43" fmla="*/ 2147483647 h 42"/>
                  <a:gd name="T44" fmla="*/ 1995726195 w 87"/>
                  <a:gd name="T45" fmla="*/ 2147483647 h 42"/>
                  <a:gd name="T46" fmla="*/ 2147483647 w 87"/>
                  <a:gd name="T47" fmla="*/ 2147483647 h 42"/>
                  <a:gd name="T48" fmla="*/ 2147483647 w 87"/>
                  <a:gd name="T49" fmla="*/ 2147483647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87" h="42">
                    <a:moveTo>
                      <a:pt x="54" y="42"/>
                    </a:moveTo>
                    <a:lnTo>
                      <a:pt x="59" y="42"/>
                    </a:lnTo>
                    <a:lnTo>
                      <a:pt x="64" y="41"/>
                    </a:lnTo>
                    <a:lnTo>
                      <a:pt x="68" y="40"/>
                    </a:lnTo>
                    <a:lnTo>
                      <a:pt x="71" y="38"/>
                    </a:lnTo>
                    <a:lnTo>
                      <a:pt x="75" y="34"/>
                    </a:lnTo>
                    <a:lnTo>
                      <a:pt x="78" y="28"/>
                    </a:lnTo>
                    <a:lnTo>
                      <a:pt x="79" y="22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7" y="6"/>
                    </a:lnTo>
                    <a:lnTo>
                      <a:pt x="77" y="2"/>
                    </a:lnTo>
                    <a:lnTo>
                      <a:pt x="67" y="0"/>
                    </a:lnTo>
                    <a:lnTo>
                      <a:pt x="57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8" y="12"/>
                    </a:lnTo>
                    <a:lnTo>
                      <a:pt x="0" y="18"/>
                    </a:lnTo>
                    <a:lnTo>
                      <a:pt x="11" y="24"/>
                    </a:lnTo>
                    <a:lnTo>
                      <a:pt x="27" y="32"/>
                    </a:lnTo>
                    <a:lnTo>
                      <a:pt x="43" y="39"/>
                    </a:lnTo>
                    <a:lnTo>
                      <a:pt x="54" y="4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7" name="Freeform 191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13487668" y="4949397"/>
                <a:ext cx="1587" cy="14288"/>
              </a:xfrm>
              <a:custGeom>
                <a:avLst/>
                <a:gdLst>
                  <a:gd name="T0" fmla="*/ 0 w 7"/>
                  <a:gd name="T1" fmla="*/ 0 h 31"/>
                  <a:gd name="T2" fmla="*/ 81570893 w 7"/>
                  <a:gd name="T3" fmla="*/ 0 h 31"/>
                  <a:gd name="T4" fmla="*/ 81570893 w 7"/>
                  <a:gd name="T5" fmla="*/ 1762334002 h 31"/>
                  <a:gd name="T6" fmla="*/ 0 w 7"/>
                  <a:gd name="T7" fmla="*/ 2147483647 h 31"/>
                  <a:gd name="T8" fmla="*/ 0 w 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31">
                    <a:moveTo>
                      <a:pt x="0" y="0"/>
                    </a:moveTo>
                    <a:lnTo>
                      <a:pt x="7" y="0"/>
                    </a:lnTo>
                    <a:lnTo>
                      <a:pt x="7" y="18"/>
                    </a:lnTo>
                    <a:lnTo>
                      <a:pt x="0" y="3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8" name="Freeform 192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12724080" y="4455685"/>
                <a:ext cx="1019175" cy="908050"/>
              </a:xfrm>
              <a:custGeom>
                <a:avLst/>
                <a:gdLst>
                  <a:gd name="T0" fmla="*/ 2147483647 w 2332"/>
                  <a:gd name="T1" fmla="*/ 2147483647 h 1731"/>
                  <a:gd name="T2" fmla="*/ 2147483647 w 2332"/>
                  <a:gd name="T3" fmla="*/ 2147483647 h 1731"/>
                  <a:gd name="T4" fmla="*/ 2147483647 w 2332"/>
                  <a:gd name="T5" fmla="*/ 2147483647 h 1731"/>
                  <a:gd name="T6" fmla="*/ 2147483647 w 2332"/>
                  <a:gd name="T7" fmla="*/ 2147483647 h 1731"/>
                  <a:gd name="T8" fmla="*/ 2147483647 w 2332"/>
                  <a:gd name="T9" fmla="*/ 2147483647 h 1731"/>
                  <a:gd name="T10" fmla="*/ 2147483647 w 2332"/>
                  <a:gd name="T11" fmla="*/ 2147483647 h 1731"/>
                  <a:gd name="T12" fmla="*/ 2147483647 w 2332"/>
                  <a:gd name="T13" fmla="*/ 2147483647 h 1731"/>
                  <a:gd name="T14" fmla="*/ 2147483647 w 2332"/>
                  <a:gd name="T15" fmla="*/ 2147483647 h 1731"/>
                  <a:gd name="T16" fmla="*/ 2147483647 w 2332"/>
                  <a:gd name="T17" fmla="*/ 2147483647 h 1731"/>
                  <a:gd name="T18" fmla="*/ 2147483647 w 2332"/>
                  <a:gd name="T19" fmla="*/ 2147483647 h 1731"/>
                  <a:gd name="T20" fmla="*/ 2147483647 w 2332"/>
                  <a:gd name="T21" fmla="*/ 2147483647 h 1731"/>
                  <a:gd name="T22" fmla="*/ 2147483647 w 2332"/>
                  <a:gd name="T23" fmla="*/ 2147483647 h 1731"/>
                  <a:gd name="T24" fmla="*/ 2147483647 w 2332"/>
                  <a:gd name="T25" fmla="*/ 2147483647 h 1731"/>
                  <a:gd name="T26" fmla="*/ 2147483647 w 2332"/>
                  <a:gd name="T27" fmla="*/ 2147483647 h 1731"/>
                  <a:gd name="T28" fmla="*/ 2147483647 w 2332"/>
                  <a:gd name="T29" fmla="*/ 2147483647 h 1731"/>
                  <a:gd name="T30" fmla="*/ 2147483647 w 2332"/>
                  <a:gd name="T31" fmla="*/ 2147483647 h 1731"/>
                  <a:gd name="T32" fmla="*/ 2147483647 w 2332"/>
                  <a:gd name="T33" fmla="*/ 2147483647 h 1731"/>
                  <a:gd name="T34" fmla="*/ 2147483647 w 2332"/>
                  <a:gd name="T35" fmla="*/ 2147483647 h 1731"/>
                  <a:gd name="T36" fmla="*/ 2147483647 w 2332"/>
                  <a:gd name="T37" fmla="*/ 2147483647 h 1731"/>
                  <a:gd name="T38" fmla="*/ 2147483647 w 2332"/>
                  <a:gd name="T39" fmla="*/ 2147483647 h 1731"/>
                  <a:gd name="T40" fmla="*/ 2147483647 w 2332"/>
                  <a:gd name="T41" fmla="*/ 2147483647 h 1731"/>
                  <a:gd name="T42" fmla="*/ 2147483647 w 2332"/>
                  <a:gd name="T43" fmla="*/ 2147483647 h 1731"/>
                  <a:gd name="T44" fmla="*/ 2147483647 w 2332"/>
                  <a:gd name="T45" fmla="*/ 2147483647 h 1731"/>
                  <a:gd name="T46" fmla="*/ 2147483647 w 2332"/>
                  <a:gd name="T47" fmla="*/ 1443622716 h 1731"/>
                  <a:gd name="T48" fmla="*/ 2147483647 w 2332"/>
                  <a:gd name="T49" fmla="*/ 2147483647 h 1731"/>
                  <a:gd name="T50" fmla="*/ 2147483647 w 2332"/>
                  <a:gd name="T51" fmla="*/ 2147483647 h 1731"/>
                  <a:gd name="T52" fmla="*/ 2147483647 w 2332"/>
                  <a:gd name="T53" fmla="*/ 2147483647 h 1731"/>
                  <a:gd name="T54" fmla="*/ 2147483647 w 2332"/>
                  <a:gd name="T55" fmla="*/ 2147483647 h 1731"/>
                  <a:gd name="T56" fmla="*/ 2147483647 w 2332"/>
                  <a:gd name="T57" fmla="*/ 2147483647 h 1731"/>
                  <a:gd name="T58" fmla="*/ 2147483647 w 2332"/>
                  <a:gd name="T59" fmla="*/ 2147483647 h 1731"/>
                  <a:gd name="T60" fmla="*/ 2147483647 w 2332"/>
                  <a:gd name="T61" fmla="*/ 2147483647 h 1731"/>
                  <a:gd name="T62" fmla="*/ 2147483647 w 2332"/>
                  <a:gd name="T63" fmla="*/ 2147483647 h 1731"/>
                  <a:gd name="T64" fmla="*/ 2147483647 w 2332"/>
                  <a:gd name="T65" fmla="*/ 2147483647 h 1731"/>
                  <a:gd name="T66" fmla="*/ 2147483647 w 2332"/>
                  <a:gd name="T67" fmla="*/ 2147483647 h 1731"/>
                  <a:gd name="T68" fmla="*/ 2147483647 w 2332"/>
                  <a:gd name="T69" fmla="*/ 2147483647 h 1731"/>
                  <a:gd name="T70" fmla="*/ 2147483647 w 2332"/>
                  <a:gd name="T71" fmla="*/ 2147483647 h 1731"/>
                  <a:gd name="T72" fmla="*/ 2147483647 w 2332"/>
                  <a:gd name="T73" fmla="*/ 2147483647 h 1731"/>
                  <a:gd name="T74" fmla="*/ 2147483647 w 2332"/>
                  <a:gd name="T75" fmla="*/ 2147483647 h 1731"/>
                  <a:gd name="T76" fmla="*/ 2147483647 w 2332"/>
                  <a:gd name="T77" fmla="*/ 2147483647 h 1731"/>
                  <a:gd name="T78" fmla="*/ 2147483647 w 2332"/>
                  <a:gd name="T79" fmla="*/ 2147483647 h 1731"/>
                  <a:gd name="T80" fmla="*/ 2147483647 w 2332"/>
                  <a:gd name="T81" fmla="*/ 2147483647 h 1731"/>
                  <a:gd name="T82" fmla="*/ 2147483647 w 2332"/>
                  <a:gd name="T83" fmla="*/ 2147483647 h 1731"/>
                  <a:gd name="T84" fmla="*/ 2147483647 w 2332"/>
                  <a:gd name="T85" fmla="*/ 2147483647 h 1731"/>
                  <a:gd name="T86" fmla="*/ 2147483647 w 2332"/>
                  <a:gd name="T87" fmla="*/ 2147483647 h 1731"/>
                  <a:gd name="T88" fmla="*/ 2147483647 w 2332"/>
                  <a:gd name="T89" fmla="*/ 2147483647 h 1731"/>
                  <a:gd name="T90" fmla="*/ 2147483647 w 2332"/>
                  <a:gd name="T91" fmla="*/ 2147483647 h 1731"/>
                  <a:gd name="T92" fmla="*/ 2147483647 w 2332"/>
                  <a:gd name="T93" fmla="*/ 2147483647 h 1731"/>
                  <a:gd name="T94" fmla="*/ 2147483647 w 2332"/>
                  <a:gd name="T95" fmla="*/ 2147483647 h 1731"/>
                  <a:gd name="T96" fmla="*/ 2147483647 w 2332"/>
                  <a:gd name="T97" fmla="*/ 2147483647 h 1731"/>
                  <a:gd name="T98" fmla="*/ 2147483647 w 2332"/>
                  <a:gd name="T99" fmla="*/ 2147483647 h 1731"/>
                  <a:gd name="T100" fmla="*/ 2147483647 w 2332"/>
                  <a:gd name="T101" fmla="*/ 2147483647 h 1731"/>
                  <a:gd name="T102" fmla="*/ 166936669 w 2332"/>
                  <a:gd name="T103" fmla="*/ 2147483647 h 1731"/>
                  <a:gd name="T104" fmla="*/ 2147483647 w 2332"/>
                  <a:gd name="T105" fmla="*/ 2147483647 h 1731"/>
                  <a:gd name="T106" fmla="*/ 2147483647 w 2332"/>
                  <a:gd name="T107" fmla="*/ 2147483647 h 1731"/>
                  <a:gd name="T108" fmla="*/ 2147483647 w 2332"/>
                  <a:gd name="T109" fmla="*/ 2147483647 h 1731"/>
                  <a:gd name="T110" fmla="*/ 2147483647 w 2332"/>
                  <a:gd name="T111" fmla="*/ 2147483647 h 1731"/>
                  <a:gd name="T112" fmla="*/ 2147483647 w 2332"/>
                  <a:gd name="T113" fmla="*/ 2147483647 h 1731"/>
                  <a:gd name="T114" fmla="*/ 2147483647 w 2332"/>
                  <a:gd name="T115" fmla="*/ 2147483647 h 1731"/>
                  <a:gd name="T116" fmla="*/ 2147483647 w 2332"/>
                  <a:gd name="T117" fmla="*/ 2147483647 h 173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332" h="1731">
                    <a:moveTo>
                      <a:pt x="153" y="721"/>
                    </a:moveTo>
                    <a:lnTo>
                      <a:pt x="156" y="727"/>
                    </a:lnTo>
                    <a:lnTo>
                      <a:pt x="159" y="732"/>
                    </a:lnTo>
                    <a:lnTo>
                      <a:pt x="162" y="735"/>
                    </a:lnTo>
                    <a:lnTo>
                      <a:pt x="167" y="738"/>
                    </a:lnTo>
                    <a:lnTo>
                      <a:pt x="173" y="744"/>
                    </a:lnTo>
                    <a:lnTo>
                      <a:pt x="180" y="751"/>
                    </a:lnTo>
                    <a:lnTo>
                      <a:pt x="189" y="744"/>
                    </a:lnTo>
                    <a:lnTo>
                      <a:pt x="195" y="737"/>
                    </a:lnTo>
                    <a:lnTo>
                      <a:pt x="201" y="729"/>
                    </a:lnTo>
                    <a:lnTo>
                      <a:pt x="205" y="722"/>
                    </a:lnTo>
                    <a:lnTo>
                      <a:pt x="210" y="714"/>
                    </a:lnTo>
                    <a:lnTo>
                      <a:pt x="214" y="707"/>
                    </a:lnTo>
                    <a:lnTo>
                      <a:pt x="219" y="701"/>
                    </a:lnTo>
                    <a:lnTo>
                      <a:pt x="226" y="696"/>
                    </a:lnTo>
                    <a:lnTo>
                      <a:pt x="234" y="690"/>
                    </a:lnTo>
                    <a:lnTo>
                      <a:pt x="241" y="685"/>
                    </a:lnTo>
                    <a:lnTo>
                      <a:pt x="249" y="680"/>
                    </a:lnTo>
                    <a:lnTo>
                      <a:pt x="258" y="677"/>
                    </a:lnTo>
                    <a:lnTo>
                      <a:pt x="274" y="672"/>
                    </a:lnTo>
                    <a:lnTo>
                      <a:pt x="290" y="667"/>
                    </a:lnTo>
                    <a:lnTo>
                      <a:pt x="297" y="665"/>
                    </a:lnTo>
                    <a:lnTo>
                      <a:pt x="305" y="661"/>
                    </a:lnTo>
                    <a:lnTo>
                      <a:pt x="312" y="658"/>
                    </a:lnTo>
                    <a:lnTo>
                      <a:pt x="318" y="654"/>
                    </a:lnTo>
                    <a:lnTo>
                      <a:pt x="325" y="649"/>
                    </a:lnTo>
                    <a:lnTo>
                      <a:pt x="330" y="644"/>
                    </a:lnTo>
                    <a:lnTo>
                      <a:pt x="335" y="637"/>
                    </a:lnTo>
                    <a:lnTo>
                      <a:pt x="339" y="628"/>
                    </a:lnTo>
                    <a:lnTo>
                      <a:pt x="360" y="631"/>
                    </a:lnTo>
                    <a:lnTo>
                      <a:pt x="370" y="631"/>
                    </a:lnTo>
                    <a:lnTo>
                      <a:pt x="375" y="629"/>
                    </a:lnTo>
                    <a:lnTo>
                      <a:pt x="385" y="628"/>
                    </a:lnTo>
                    <a:lnTo>
                      <a:pt x="393" y="628"/>
                    </a:lnTo>
                    <a:lnTo>
                      <a:pt x="400" y="627"/>
                    </a:lnTo>
                    <a:lnTo>
                      <a:pt x="405" y="624"/>
                    </a:lnTo>
                    <a:lnTo>
                      <a:pt x="412" y="622"/>
                    </a:lnTo>
                    <a:lnTo>
                      <a:pt x="423" y="615"/>
                    </a:lnTo>
                    <a:lnTo>
                      <a:pt x="435" y="606"/>
                    </a:lnTo>
                    <a:lnTo>
                      <a:pt x="447" y="598"/>
                    </a:lnTo>
                    <a:lnTo>
                      <a:pt x="461" y="592"/>
                    </a:lnTo>
                    <a:lnTo>
                      <a:pt x="469" y="589"/>
                    </a:lnTo>
                    <a:lnTo>
                      <a:pt x="478" y="587"/>
                    </a:lnTo>
                    <a:lnTo>
                      <a:pt x="487" y="585"/>
                    </a:lnTo>
                    <a:lnTo>
                      <a:pt x="498" y="585"/>
                    </a:lnTo>
                    <a:lnTo>
                      <a:pt x="520" y="585"/>
                    </a:lnTo>
                    <a:lnTo>
                      <a:pt x="544" y="584"/>
                    </a:lnTo>
                    <a:lnTo>
                      <a:pt x="558" y="584"/>
                    </a:lnTo>
                    <a:lnTo>
                      <a:pt x="570" y="582"/>
                    </a:lnTo>
                    <a:lnTo>
                      <a:pt x="581" y="581"/>
                    </a:lnTo>
                    <a:lnTo>
                      <a:pt x="592" y="579"/>
                    </a:lnTo>
                    <a:lnTo>
                      <a:pt x="605" y="570"/>
                    </a:lnTo>
                    <a:lnTo>
                      <a:pt x="619" y="558"/>
                    </a:lnTo>
                    <a:lnTo>
                      <a:pt x="635" y="542"/>
                    </a:lnTo>
                    <a:lnTo>
                      <a:pt x="650" y="525"/>
                    </a:lnTo>
                    <a:lnTo>
                      <a:pt x="664" y="508"/>
                    </a:lnTo>
                    <a:lnTo>
                      <a:pt x="677" y="490"/>
                    </a:lnTo>
                    <a:lnTo>
                      <a:pt x="688" y="475"/>
                    </a:lnTo>
                    <a:lnTo>
                      <a:pt x="698" y="462"/>
                    </a:lnTo>
                    <a:lnTo>
                      <a:pt x="695" y="461"/>
                    </a:lnTo>
                    <a:lnTo>
                      <a:pt x="693" y="459"/>
                    </a:lnTo>
                    <a:lnTo>
                      <a:pt x="691" y="456"/>
                    </a:lnTo>
                    <a:lnTo>
                      <a:pt x="688" y="452"/>
                    </a:lnTo>
                    <a:lnTo>
                      <a:pt x="683" y="444"/>
                    </a:lnTo>
                    <a:lnTo>
                      <a:pt x="677" y="437"/>
                    </a:lnTo>
                    <a:lnTo>
                      <a:pt x="688" y="432"/>
                    </a:lnTo>
                    <a:lnTo>
                      <a:pt x="697" y="426"/>
                    </a:lnTo>
                    <a:lnTo>
                      <a:pt x="705" y="419"/>
                    </a:lnTo>
                    <a:lnTo>
                      <a:pt x="710" y="413"/>
                    </a:lnTo>
                    <a:lnTo>
                      <a:pt x="716" y="406"/>
                    </a:lnTo>
                    <a:lnTo>
                      <a:pt x="721" y="399"/>
                    </a:lnTo>
                    <a:lnTo>
                      <a:pt x="729" y="393"/>
                    </a:lnTo>
                    <a:lnTo>
                      <a:pt x="738" y="388"/>
                    </a:lnTo>
                    <a:lnTo>
                      <a:pt x="739" y="399"/>
                    </a:lnTo>
                    <a:lnTo>
                      <a:pt x="741" y="409"/>
                    </a:lnTo>
                    <a:lnTo>
                      <a:pt x="744" y="418"/>
                    </a:lnTo>
                    <a:lnTo>
                      <a:pt x="749" y="425"/>
                    </a:lnTo>
                    <a:lnTo>
                      <a:pt x="758" y="439"/>
                    </a:lnTo>
                    <a:lnTo>
                      <a:pt x="764" y="450"/>
                    </a:lnTo>
                    <a:lnTo>
                      <a:pt x="768" y="437"/>
                    </a:lnTo>
                    <a:lnTo>
                      <a:pt x="770" y="428"/>
                    </a:lnTo>
                    <a:lnTo>
                      <a:pt x="771" y="418"/>
                    </a:lnTo>
                    <a:lnTo>
                      <a:pt x="771" y="406"/>
                    </a:lnTo>
                    <a:lnTo>
                      <a:pt x="775" y="402"/>
                    </a:lnTo>
                    <a:lnTo>
                      <a:pt x="776" y="397"/>
                    </a:lnTo>
                    <a:lnTo>
                      <a:pt x="777" y="391"/>
                    </a:lnTo>
                    <a:lnTo>
                      <a:pt x="777" y="385"/>
                    </a:lnTo>
                    <a:lnTo>
                      <a:pt x="777" y="379"/>
                    </a:lnTo>
                    <a:lnTo>
                      <a:pt x="778" y="373"/>
                    </a:lnTo>
                    <a:lnTo>
                      <a:pt x="781" y="368"/>
                    </a:lnTo>
                    <a:lnTo>
                      <a:pt x="784" y="363"/>
                    </a:lnTo>
                    <a:lnTo>
                      <a:pt x="787" y="370"/>
                    </a:lnTo>
                    <a:lnTo>
                      <a:pt x="790" y="381"/>
                    </a:lnTo>
                    <a:lnTo>
                      <a:pt x="838" y="381"/>
                    </a:lnTo>
                    <a:lnTo>
                      <a:pt x="833" y="369"/>
                    </a:lnTo>
                    <a:lnTo>
                      <a:pt x="832" y="358"/>
                    </a:lnTo>
                    <a:lnTo>
                      <a:pt x="831" y="349"/>
                    </a:lnTo>
                    <a:lnTo>
                      <a:pt x="832" y="341"/>
                    </a:lnTo>
                    <a:lnTo>
                      <a:pt x="835" y="327"/>
                    </a:lnTo>
                    <a:lnTo>
                      <a:pt x="838" y="314"/>
                    </a:lnTo>
                    <a:lnTo>
                      <a:pt x="852" y="315"/>
                    </a:lnTo>
                    <a:lnTo>
                      <a:pt x="860" y="316"/>
                    </a:lnTo>
                    <a:lnTo>
                      <a:pt x="863" y="316"/>
                    </a:lnTo>
                    <a:lnTo>
                      <a:pt x="866" y="316"/>
                    </a:lnTo>
                    <a:lnTo>
                      <a:pt x="871" y="315"/>
                    </a:lnTo>
                    <a:lnTo>
                      <a:pt x="877" y="314"/>
                    </a:lnTo>
                    <a:lnTo>
                      <a:pt x="885" y="295"/>
                    </a:lnTo>
                    <a:lnTo>
                      <a:pt x="891" y="281"/>
                    </a:lnTo>
                    <a:lnTo>
                      <a:pt x="898" y="268"/>
                    </a:lnTo>
                    <a:lnTo>
                      <a:pt x="910" y="252"/>
                    </a:lnTo>
                    <a:lnTo>
                      <a:pt x="916" y="255"/>
                    </a:lnTo>
                    <a:lnTo>
                      <a:pt x="921" y="256"/>
                    </a:lnTo>
                    <a:lnTo>
                      <a:pt x="925" y="256"/>
                    </a:lnTo>
                    <a:lnTo>
                      <a:pt x="930" y="255"/>
                    </a:lnTo>
                    <a:lnTo>
                      <a:pt x="933" y="253"/>
                    </a:lnTo>
                    <a:lnTo>
                      <a:pt x="935" y="250"/>
                    </a:lnTo>
                    <a:lnTo>
                      <a:pt x="939" y="246"/>
                    </a:lnTo>
                    <a:lnTo>
                      <a:pt x="940" y="242"/>
                    </a:lnTo>
                    <a:lnTo>
                      <a:pt x="946" y="224"/>
                    </a:lnTo>
                    <a:lnTo>
                      <a:pt x="951" y="209"/>
                    </a:lnTo>
                    <a:lnTo>
                      <a:pt x="957" y="212"/>
                    </a:lnTo>
                    <a:lnTo>
                      <a:pt x="965" y="214"/>
                    </a:lnTo>
                    <a:lnTo>
                      <a:pt x="973" y="215"/>
                    </a:lnTo>
                    <a:lnTo>
                      <a:pt x="980" y="214"/>
                    </a:lnTo>
                    <a:lnTo>
                      <a:pt x="989" y="214"/>
                    </a:lnTo>
                    <a:lnTo>
                      <a:pt x="998" y="213"/>
                    </a:lnTo>
                    <a:lnTo>
                      <a:pt x="1007" y="213"/>
                    </a:lnTo>
                    <a:lnTo>
                      <a:pt x="1017" y="215"/>
                    </a:lnTo>
                    <a:lnTo>
                      <a:pt x="1022" y="219"/>
                    </a:lnTo>
                    <a:lnTo>
                      <a:pt x="1027" y="223"/>
                    </a:lnTo>
                    <a:lnTo>
                      <a:pt x="1031" y="227"/>
                    </a:lnTo>
                    <a:lnTo>
                      <a:pt x="1033" y="232"/>
                    </a:lnTo>
                    <a:lnTo>
                      <a:pt x="1037" y="244"/>
                    </a:lnTo>
                    <a:lnTo>
                      <a:pt x="1040" y="257"/>
                    </a:lnTo>
                    <a:lnTo>
                      <a:pt x="1043" y="269"/>
                    </a:lnTo>
                    <a:lnTo>
                      <a:pt x="1046" y="280"/>
                    </a:lnTo>
                    <a:lnTo>
                      <a:pt x="1050" y="284"/>
                    </a:lnTo>
                    <a:lnTo>
                      <a:pt x="1053" y="287"/>
                    </a:lnTo>
                    <a:lnTo>
                      <a:pt x="1057" y="289"/>
                    </a:lnTo>
                    <a:lnTo>
                      <a:pt x="1063" y="290"/>
                    </a:lnTo>
                    <a:lnTo>
                      <a:pt x="1069" y="289"/>
                    </a:lnTo>
                    <a:lnTo>
                      <a:pt x="1076" y="286"/>
                    </a:lnTo>
                    <a:lnTo>
                      <a:pt x="1078" y="284"/>
                    </a:lnTo>
                    <a:lnTo>
                      <a:pt x="1081" y="282"/>
                    </a:lnTo>
                    <a:lnTo>
                      <a:pt x="1083" y="280"/>
                    </a:lnTo>
                    <a:lnTo>
                      <a:pt x="1084" y="277"/>
                    </a:lnTo>
                    <a:lnTo>
                      <a:pt x="1088" y="279"/>
                    </a:lnTo>
                    <a:lnTo>
                      <a:pt x="1092" y="280"/>
                    </a:lnTo>
                    <a:lnTo>
                      <a:pt x="1096" y="280"/>
                    </a:lnTo>
                    <a:lnTo>
                      <a:pt x="1099" y="280"/>
                    </a:lnTo>
                    <a:lnTo>
                      <a:pt x="1104" y="278"/>
                    </a:lnTo>
                    <a:lnTo>
                      <a:pt x="1110" y="277"/>
                    </a:lnTo>
                    <a:lnTo>
                      <a:pt x="1120" y="277"/>
                    </a:lnTo>
                    <a:lnTo>
                      <a:pt x="1128" y="276"/>
                    </a:lnTo>
                    <a:lnTo>
                      <a:pt x="1133" y="274"/>
                    </a:lnTo>
                    <a:lnTo>
                      <a:pt x="1135" y="270"/>
                    </a:lnTo>
                    <a:lnTo>
                      <a:pt x="1136" y="261"/>
                    </a:lnTo>
                    <a:lnTo>
                      <a:pt x="1136" y="246"/>
                    </a:lnTo>
                    <a:lnTo>
                      <a:pt x="1136" y="240"/>
                    </a:lnTo>
                    <a:lnTo>
                      <a:pt x="1137" y="234"/>
                    </a:lnTo>
                    <a:lnTo>
                      <a:pt x="1140" y="228"/>
                    </a:lnTo>
                    <a:lnTo>
                      <a:pt x="1143" y="223"/>
                    </a:lnTo>
                    <a:lnTo>
                      <a:pt x="1148" y="212"/>
                    </a:lnTo>
                    <a:lnTo>
                      <a:pt x="1156" y="204"/>
                    </a:lnTo>
                    <a:lnTo>
                      <a:pt x="1164" y="195"/>
                    </a:lnTo>
                    <a:lnTo>
                      <a:pt x="1170" y="186"/>
                    </a:lnTo>
                    <a:lnTo>
                      <a:pt x="1173" y="182"/>
                    </a:lnTo>
                    <a:lnTo>
                      <a:pt x="1175" y="177"/>
                    </a:lnTo>
                    <a:lnTo>
                      <a:pt x="1176" y="172"/>
                    </a:lnTo>
                    <a:lnTo>
                      <a:pt x="1176" y="167"/>
                    </a:lnTo>
                    <a:lnTo>
                      <a:pt x="1189" y="154"/>
                    </a:lnTo>
                    <a:lnTo>
                      <a:pt x="1201" y="146"/>
                    </a:lnTo>
                    <a:lnTo>
                      <a:pt x="1213" y="139"/>
                    </a:lnTo>
                    <a:lnTo>
                      <a:pt x="1225" y="134"/>
                    </a:lnTo>
                    <a:lnTo>
                      <a:pt x="1237" y="131"/>
                    </a:lnTo>
                    <a:lnTo>
                      <a:pt x="1248" y="128"/>
                    </a:lnTo>
                    <a:lnTo>
                      <a:pt x="1259" y="127"/>
                    </a:lnTo>
                    <a:lnTo>
                      <a:pt x="1270" y="126"/>
                    </a:lnTo>
                    <a:lnTo>
                      <a:pt x="1289" y="125"/>
                    </a:lnTo>
                    <a:lnTo>
                      <a:pt x="1305" y="123"/>
                    </a:lnTo>
                    <a:lnTo>
                      <a:pt x="1313" y="121"/>
                    </a:lnTo>
                    <a:lnTo>
                      <a:pt x="1320" y="117"/>
                    </a:lnTo>
                    <a:lnTo>
                      <a:pt x="1324" y="112"/>
                    </a:lnTo>
                    <a:lnTo>
                      <a:pt x="1328" y="104"/>
                    </a:lnTo>
                    <a:lnTo>
                      <a:pt x="1322" y="94"/>
                    </a:lnTo>
                    <a:lnTo>
                      <a:pt x="1314" y="86"/>
                    </a:lnTo>
                    <a:lnTo>
                      <a:pt x="1308" y="80"/>
                    </a:lnTo>
                    <a:lnTo>
                      <a:pt x="1301" y="75"/>
                    </a:lnTo>
                    <a:lnTo>
                      <a:pt x="1297" y="69"/>
                    </a:lnTo>
                    <a:lnTo>
                      <a:pt x="1292" y="64"/>
                    </a:lnTo>
                    <a:lnTo>
                      <a:pt x="1290" y="58"/>
                    </a:lnTo>
                    <a:lnTo>
                      <a:pt x="1289" y="49"/>
                    </a:lnTo>
                    <a:lnTo>
                      <a:pt x="1305" y="48"/>
                    </a:lnTo>
                    <a:lnTo>
                      <a:pt x="1322" y="45"/>
                    </a:lnTo>
                    <a:lnTo>
                      <a:pt x="1336" y="41"/>
                    </a:lnTo>
                    <a:lnTo>
                      <a:pt x="1349" y="36"/>
                    </a:lnTo>
                    <a:lnTo>
                      <a:pt x="1352" y="46"/>
                    </a:lnTo>
                    <a:lnTo>
                      <a:pt x="1356" y="56"/>
                    </a:lnTo>
                    <a:lnTo>
                      <a:pt x="1360" y="64"/>
                    </a:lnTo>
                    <a:lnTo>
                      <a:pt x="1366" y="72"/>
                    </a:lnTo>
                    <a:lnTo>
                      <a:pt x="1372" y="78"/>
                    </a:lnTo>
                    <a:lnTo>
                      <a:pt x="1379" y="84"/>
                    </a:lnTo>
                    <a:lnTo>
                      <a:pt x="1387" y="90"/>
                    </a:lnTo>
                    <a:lnTo>
                      <a:pt x="1394" y="94"/>
                    </a:lnTo>
                    <a:lnTo>
                      <a:pt x="1403" y="98"/>
                    </a:lnTo>
                    <a:lnTo>
                      <a:pt x="1412" y="101"/>
                    </a:lnTo>
                    <a:lnTo>
                      <a:pt x="1422" y="104"/>
                    </a:lnTo>
                    <a:lnTo>
                      <a:pt x="1432" y="107"/>
                    </a:lnTo>
                    <a:lnTo>
                      <a:pt x="1443" y="109"/>
                    </a:lnTo>
                    <a:lnTo>
                      <a:pt x="1453" y="110"/>
                    </a:lnTo>
                    <a:lnTo>
                      <a:pt x="1464" y="111"/>
                    </a:lnTo>
                    <a:lnTo>
                      <a:pt x="1476" y="111"/>
                    </a:lnTo>
                    <a:lnTo>
                      <a:pt x="1481" y="110"/>
                    </a:lnTo>
                    <a:lnTo>
                      <a:pt x="1489" y="108"/>
                    </a:lnTo>
                    <a:lnTo>
                      <a:pt x="1499" y="105"/>
                    </a:lnTo>
                    <a:lnTo>
                      <a:pt x="1509" y="104"/>
                    </a:lnTo>
                    <a:lnTo>
                      <a:pt x="1514" y="109"/>
                    </a:lnTo>
                    <a:lnTo>
                      <a:pt x="1523" y="113"/>
                    </a:lnTo>
                    <a:lnTo>
                      <a:pt x="1532" y="116"/>
                    </a:lnTo>
                    <a:lnTo>
                      <a:pt x="1541" y="117"/>
                    </a:lnTo>
                    <a:lnTo>
                      <a:pt x="1544" y="117"/>
                    </a:lnTo>
                    <a:lnTo>
                      <a:pt x="1547" y="115"/>
                    </a:lnTo>
                    <a:lnTo>
                      <a:pt x="1549" y="113"/>
                    </a:lnTo>
                    <a:lnTo>
                      <a:pt x="1551" y="110"/>
                    </a:lnTo>
                    <a:lnTo>
                      <a:pt x="1557" y="103"/>
                    </a:lnTo>
                    <a:lnTo>
                      <a:pt x="1561" y="98"/>
                    </a:lnTo>
                    <a:lnTo>
                      <a:pt x="1561" y="135"/>
                    </a:lnTo>
                    <a:lnTo>
                      <a:pt x="1556" y="146"/>
                    </a:lnTo>
                    <a:lnTo>
                      <a:pt x="1545" y="163"/>
                    </a:lnTo>
                    <a:lnTo>
                      <a:pt x="1530" y="183"/>
                    </a:lnTo>
                    <a:lnTo>
                      <a:pt x="1513" y="205"/>
                    </a:lnTo>
                    <a:lnTo>
                      <a:pt x="1495" y="228"/>
                    </a:lnTo>
                    <a:lnTo>
                      <a:pt x="1479" y="247"/>
                    </a:lnTo>
                    <a:lnTo>
                      <a:pt x="1465" y="262"/>
                    </a:lnTo>
                    <a:lnTo>
                      <a:pt x="1455" y="270"/>
                    </a:lnTo>
                    <a:lnTo>
                      <a:pt x="1464" y="275"/>
                    </a:lnTo>
                    <a:lnTo>
                      <a:pt x="1470" y="278"/>
                    </a:lnTo>
                    <a:lnTo>
                      <a:pt x="1474" y="282"/>
                    </a:lnTo>
                    <a:lnTo>
                      <a:pt x="1479" y="286"/>
                    </a:lnTo>
                    <a:lnTo>
                      <a:pt x="1485" y="294"/>
                    </a:lnTo>
                    <a:lnTo>
                      <a:pt x="1489" y="302"/>
                    </a:lnTo>
                    <a:lnTo>
                      <a:pt x="1492" y="310"/>
                    </a:lnTo>
                    <a:lnTo>
                      <a:pt x="1495" y="317"/>
                    </a:lnTo>
                    <a:lnTo>
                      <a:pt x="1498" y="321"/>
                    </a:lnTo>
                    <a:lnTo>
                      <a:pt x="1500" y="325"/>
                    </a:lnTo>
                    <a:lnTo>
                      <a:pt x="1504" y="328"/>
                    </a:lnTo>
                    <a:lnTo>
                      <a:pt x="1509" y="333"/>
                    </a:lnTo>
                    <a:lnTo>
                      <a:pt x="1514" y="336"/>
                    </a:lnTo>
                    <a:lnTo>
                      <a:pt x="1520" y="338"/>
                    </a:lnTo>
                    <a:lnTo>
                      <a:pt x="1525" y="339"/>
                    </a:lnTo>
                    <a:lnTo>
                      <a:pt x="1532" y="338"/>
                    </a:lnTo>
                    <a:lnTo>
                      <a:pt x="1538" y="338"/>
                    </a:lnTo>
                    <a:lnTo>
                      <a:pt x="1544" y="337"/>
                    </a:lnTo>
                    <a:lnTo>
                      <a:pt x="1549" y="337"/>
                    </a:lnTo>
                    <a:lnTo>
                      <a:pt x="1555" y="339"/>
                    </a:lnTo>
                    <a:lnTo>
                      <a:pt x="1560" y="340"/>
                    </a:lnTo>
                    <a:lnTo>
                      <a:pt x="1566" y="342"/>
                    </a:lnTo>
                    <a:lnTo>
                      <a:pt x="1570" y="345"/>
                    </a:lnTo>
                    <a:lnTo>
                      <a:pt x="1574" y="347"/>
                    </a:lnTo>
                    <a:lnTo>
                      <a:pt x="1582" y="354"/>
                    </a:lnTo>
                    <a:lnTo>
                      <a:pt x="1588" y="361"/>
                    </a:lnTo>
                    <a:lnTo>
                      <a:pt x="1594" y="368"/>
                    </a:lnTo>
                    <a:lnTo>
                      <a:pt x="1602" y="376"/>
                    </a:lnTo>
                    <a:lnTo>
                      <a:pt x="1605" y="379"/>
                    </a:lnTo>
                    <a:lnTo>
                      <a:pt x="1611" y="382"/>
                    </a:lnTo>
                    <a:lnTo>
                      <a:pt x="1615" y="386"/>
                    </a:lnTo>
                    <a:lnTo>
                      <a:pt x="1622" y="388"/>
                    </a:lnTo>
                    <a:lnTo>
                      <a:pt x="1629" y="391"/>
                    </a:lnTo>
                    <a:lnTo>
                      <a:pt x="1637" y="394"/>
                    </a:lnTo>
                    <a:lnTo>
                      <a:pt x="1644" y="398"/>
                    </a:lnTo>
                    <a:lnTo>
                      <a:pt x="1649" y="403"/>
                    </a:lnTo>
                    <a:lnTo>
                      <a:pt x="1659" y="413"/>
                    </a:lnTo>
                    <a:lnTo>
                      <a:pt x="1668" y="423"/>
                    </a:lnTo>
                    <a:lnTo>
                      <a:pt x="1677" y="433"/>
                    </a:lnTo>
                    <a:lnTo>
                      <a:pt x="1686" y="442"/>
                    </a:lnTo>
                    <a:lnTo>
                      <a:pt x="1692" y="445"/>
                    </a:lnTo>
                    <a:lnTo>
                      <a:pt x="1698" y="448"/>
                    </a:lnTo>
                    <a:lnTo>
                      <a:pt x="1706" y="449"/>
                    </a:lnTo>
                    <a:lnTo>
                      <a:pt x="1714" y="450"/>
                    </a:lnTo>
                    <a:lnTo>
                      <a:pt x="1719" y="449"/>
                    </a:lnTo>
                    <a:lnTo>
                      <a:pt x="1724" y="448"/>
                    </a:lnTo>
                    <a:lnTo>
                      <a:pt x="1729" y="446"/>
                    </a:lnTo>
                    <a:lnTo>
                      <a:pt x="1735" y="444"/>
                    </a:lnTo>
                    <a:lnTo>
                      <a:pt x="1745" y="435"/>
                    </a:lnTo>
                    <a:lnTo>
                      <a:pt x="1754" y="425"/>
                    </a:lnTo>
                    <a:lnTo>
                      <a:pt x="1764" y="413"/>
                    </a:lnTo>
                    <a:lnTo>
                      <a:pt x="1773" y="400"/>
                    </a:lnTo>
                    <a:lnTo>
                      <a:pt x="1782" y="385"/>
                    </a:lnTo>
                    <a:lnTo>
                      <a:pt x="1791" y="368"/>
                    </a:lnTo>
                    <a:lnTo>
                      <a:pt x="1798" y="351"/>
                    </a:lnTo>
                    <a:lnTo>
                      <a:pt x="1805" y="334"/>
                    </a:lnTo>
                    <a:lnTo>
                      <a:pt x="1812" y="316"/>
                    </a:lnTo>
                    <a:lnTo>
                      <a:pt x="1817" y="299"/>
                    </a:lnTo>
                    <a:lnTo>
                      <a:pt x="1821" y="283"/>
                    </a:lnTo>
                    <a:lnTo>
                      <a:pt x="1825" y="266"/>
                    </a:lnTo>
                    <a:lnTo>
                      <a:pt x="1827" y="252"/>
                    </a:lnTo>
                    <a:lnTo>
                      <a:pt x="1827" y="240"/>
                    </a:lnTo>
                    <a:lnTo>
                      <a:pt x="1828" y="223"/>
                    </a:lnTo>
                    <a:lnTo>
                      <a:pt x="1830" y="205"/>
                    </a:lnTo>
                    <a:lnTo>
                      <a:pt x="1834" y="189"/>
                    </a:lnTo>
                    <a:lnTo>
                      <a:pt x="1839" y="174"/>
                    </a:lnTo>
                    <a:lnTo>
                      <a:pt x="1845" y="159"/>
                    </a:lnTo>
                    <a:lnTo>
                      <a:pt x="1850" y="145"/>
                    </a:lnTo>
                    <a:lnTo>
                      <a:pt x="1857" y="131"/>
                    </a:lnTo>
                    <a:lnTo>
                      <a:pt x="1863" y="118"/>
                    </a:lnTo>
                    <a:lnTo>
                      <a:pt x="1877" y="90"/>
                    </a:lnTo>
                    <a:lnTo>
                      <a:pt x="1888" y="63"/>
                    </a:lnTo>
                    <a:lnTo>
                      <a:pt x="1894" y="47"/>
                    </a:lnTo>
                    <a:lnTo>
                      <a:pt x="1897" y="32"/>
                    </a:lnTo>
                    <a:lnTo>
                      <a:pt x="1899" y="17"/>
                    </a:lnTo>
                    <a:lnTo>
                      <a:pt x="1901" y="0"/>
                    </a:lnTo>
                    <a:lnTo>
                      <a:pt x="1904" y="10"/>
                    </a:lnTo>
                    <a:lnTo>
                      <a:pt x="1909" y="21"/>
                    </a:lnTo>
                    <a:lnTo>
                      <a:pt x="1917" y="32"/>
                    </a:lnTo>
                    <a:lnTo>
                      <a:pt x="1925" y="43"/>
                    </a:lnTo>
                    <a:lnTo>
                      <a:pt x="1932" y="55"/>
                    </a:lnTo>
                    <a:lnTo>
                      <a:pt x="1940" y="63"/>
                    </a:lnTo>
                    <a:lnTo>
                      <a:pt x="1948" y="70"/>
                    </a:lnTo>
                    <a:lnTo>
                      <a:pt x="1953" y="74"/>
                    </a:lnTo>
                    <a:lnTo>
                      <a:pt x="1952" y="76"/>
                    </a:lnTo>
                    <a:lnTo>
                      <a:pt x="1950" y="77"/>
                    </a:lnTo>
                    <a:lnTo>
                      <a:pt x="1947" y="78"/>
                    </a:lnTo>
                    <a:lnTo>
                      <a:pt x="1943" y="79"/>
                    </a:lnTo>
                    <a:lnTo>
                      <a:pt x="1937" y="80"/>
                    </a:lnTo>
                    <a:lnTo>
                      <a:pt x="1933" y="80"/>
                    </a:lnTo>
                    <a:lnTo>
                      <a:pt x="1935" y="90"/>
                    </a:lnTo>
                    <a:lnTo>
                      <a:pt x="1937" y="98"/>
                    </a:lnTo>
                    <a:lnTo>
                      <a:pt x="1940" y="104"/>
                    </a:lnTo>
                    <a:lnTo>
                      <a:pt x="1943" y="110"/>
                    </a:lnTo>
                    <a:lnTo>
                      <a:pt x="1947" y="115"/>
                    </a:lnTo>
                    <a:lnTo>
                      <a:pt x="1950" y="121"/>
                    </a:lnTo>
                    <a:lnTo>
                      <a:pt x="1952" y="127"/>
                    </a:lnTo>
                    <a:lnTo>
                      <a:pt x="1953" y="135"/>
                    </a:lnTo>
                    <a:lnTo>
                      <a:pt x="1953" y="144"/>
                    </a:lnTo>
                    <a:lnTo>
                      <a:pt x="1951" y="152"/>
                    </a:lnTo>
                    <a:lnTo>
                      <a:pt x="1949" y="160"/>
                    </a:lnTo>
                    <a:lnTo>
                      <a:pt x="1947" y="169"/>
                    </a:lnTo>
                    <a:lnTo>
                      <a:pt x="1944" y="176"/>
                    </a:lnTo>
                    <a:lnTo>
                      <a:pt x="1942" y="183"/>
                    </a:lnTo>
                    <a:lnTo>
                      <a:pt x="1941" y="190"/>
                    </a:lnTo>
                    <a:lnTo>
                      <a:pt x="1940" y="197"/>
                    </a:lnTo>
                    <a:lnTo>
                      <a:pt x="1940" y="201"/>
                    </a:lnTo>
                    <a:lnTo>
                      <a:pt x="1941" y="206"/>
                    </a:lnTo>
                    <a:lnTo>
                      <a:pt x="1942" y="210"/>
                    </a:lnTo>
                    <a:lnTo>
                      <a:pt x="1944" y="214"/>
                    </a:lnTo>
                    <a:lnTo>
                      <a:pt x="1950" y="222"/>
                    </a:lnTo>
                    <a:lnTo>
                      <a:pt x="1955" y="228"/>
                    </a:lnTo>
                    <a:lnTo>
                      <a:pt x="1963" y="233"/>
                    </a:lnTo>
                    <a:lnTo>
                      <a:pt x="1971" y="237"/>
                    </a:lnTo>
                    <a:lnTo>
                      <a:pt x="1978" y="239"/>
                    </a:lnTo>
                    <a:lnTo>
                      <a:pt x="1986" y="240"/>
                    </a:lnTo>
                    <a:lnTo>
                      <a:pt x="1987" y="244"/>
                    </a:lnTo>
                    <a:lnTo>
                      <a:pt x="1989" y="248"/>
                    </a:lnTo>
                    <a:lnTo>
                      <a:pt x="1993" y="251"/>
                    </a:lnTo>
                    <a:lnTo>
                      <a:pt x="1997" y="254"/>
                    </a:lnTo>
                    <a:lnTo>
                      <a:pt x="2006" y="257"/>
                    </a:lnTo>
                    <a:lnTo>
                      <a:pt x="2014" y="258"/>
                    </a:lnTo>
                    <a:lnTo>
                      <a:pt x="2014" y="278"/>
                    </a:lnTo>
                    <a:lnTo>
                      <a:pt x="2015" y="297"/>
                    </a:lnTo>
                    <a:lnTo>
                      <a:pt x="2017" y="314"/>
                    </a:lnTo>
                    <a:lnTo>
                      <a:pt x="2019" y="332"/>
                    </a:lnTo>
                    <a:lnTo>
                      <a:pt x="2026" y="365"/>
                    </a:lnTo>
                    <a:lnTo>
                      <a:pt x="2033" y="398"/>
                    </a:lnTo>
                    <a:lnTo>
                      <a:pt x="2040" y="429"/>
                    </a:lnTo>
                    <a:lnTo>
                      <a:pt x="2047" y="461"/>
                    </a:lnTo>
                    <a:lnTo>
                      <a:pt x="2050" y="476"/>
                    </a:lnTo>
                    <a:lnTo>
                      <a:pt x="2051" y="491"/>
                    </a:lnTo>
                    <a:lnTo>
                      <a:pt x="2053" y="508"/>
                    </a:lnTo>
                    <a:lnTo>
                      <a:pt x="2053" y="523"/>
                    </a:lnTo>
                    <a:lnTo>
                      <a:pt x="2053" y="526"/>
                    </a:lnTo>
                    <a:lnTo>
                      <a:pt x="2054" y="528"/>
                    </a:lnTo>
                    <a:lnTo>
                      <a:pt x="2056" y="529"/>
                    </a:lnTo>
                    <a:lnTo>
                      <a:pt x="2060" y="531"/>
                    </a:lnTo>
                    <a:lnTo>
                      <a:pt x="2066" y="533"/>
                    </a:lnTo>
                    <a:lnTo>
                      <a:pt x="2074" y="536"/>
                    </a:lnTo>
                    <a:lnTo>
                      <a:pt x="2082" y="538"/>
                    </a:lnTo>
                    <a:lnTo>
                      <a:pt x="2089" y="540"/>
                    </a:lnTo>
                    <a:lnTo>
                      <a:pt x="2096" y="544"/>
                    </a:lnTo>
                    <a:lnTo>
                      <a:pt x="2099" y="548"/>
                    </a:lnTo>
                    <a:lnTo>
                      <a:pt x="2108" y="562"/>
                    </a:lnTo>
                    <a:lnTo>
                      <a:pt x="2116" y="574"/>
                    </a:lnTo>
                    <a:lnTo>
                      <a:pt x="2120" y="578"/>
                    </a:lnTo>
                    <a:lnTo>
                      <a:pt x="2123" y="582"/>
                    </a:lnTo>
                    <a:lnTo>
                      <a:pt x="2128" y="584"/>
                    </a:lnTo>
                    <a:lnTo>
                      <a:pt x="2133" y="585"/>
                    </a:lnTo>
                    <a:lnTo>
                      <a:pt x="2134" y="596"/>
                    </a:lnTo>
                    <a:lnTo>
                      <a:pt x="2139" y="615"/>
                    </a:lnTo>
                    <a:lnTo>
                      <a:pt x="2146" y="637"/>
                    </a:lnTo>
                    <a:lnTo>
                      <a:pt x="2154" y="661"/>
                    </a:lnTo>
                    <a:lnTo>
                      <a:pt x="2163" y="686"/>
                    </a:lnTo>
                    <a:lnTo>
                      <a:pt x="2172" y="707"/>
                    </a:lnTo>
                    <a:lnTo>
                      <a:pt x="2179" y="724"/>
                    </a:lnTo>
                    <a:lnTo>
                      <a:pt x="2186" y="733"/>
                    </a:lnTo>
                    <a:lnTo>
                      <a:pt x="2188" y="735"/>
                    </a:lnTo>
                    <a:lnTo>
                      <a:pt x="2194" y="737"/>
                    </a:lnTo>
                    <a:lnTo>
                      <a:pt x="2201" y="738"/>
                    </a:lnTo>
                    <a:lnTo>
                      <a:pt x="2211" y="739"/>
                    </a:lnTo>
                    <a:lnTo>
                      <a:pt x="2231" y="742"/>
                    </a:lnTo>
                    <a:lnTo>
                      <a:pt x="2245" y="745"/>
                    </a:lnTo>
                    <a:lnTo>
                      <a:pt x="2242" y="756"/>
                    </a:lnTo>
                    <a:lnTo>
                      <a:pt x="2238" y="762"/>
                    </a:lnTo>
                    <a:lnTo>
                      <a:pt x="2231" y="766"/>
                    </a:lnTo>
                    <a:lnTo>
                      <a:pt x="2219" y="769"/>
                    </a:lnTo>
                    <a:lnTo>
                      <a:pt x="2223" y="781"/>
                    </a:lnTo>
                    <a:lnTo>
                      <a:pt x="2228" y="790"/>
                    </a:lnTo>
                    <a:lnTo>
                      <a:pt x="2233" y="800"/>
                    </a:lnTo>
                    <a:lnTo>
                      <a:pt x="2239" y="809"/>
                    </a:lnTo>
                    <a:lnTo>
                      <a:pt x="2251" y="827"/>
                    </a:lnTo>
                    <a:lnTo>
                      <a:pt x="2263" y="846"/>
                    </a:lnTo>
                    <a:lnTo>
                      <a:pt x="2289" y="879"/>
                    </a:lnTo>
                    <a:lnTo>
                      <a:pt x="2312" y="912"/>
                    </a:lnTo>
                    <a:lnTo>
                      <a:pt x="2318" y="907"/>
                    </a:lnTo>
                    <a:lnTo>
                      <a:pt x="2324" y="902"/>
                    </a:lnTo>
                    <a:lnTo>
                      <a:pt x="2328" y="899"/>
                    </a:lnTo>
                    <a:lnTo>
                      <a:pt x="2330" y="896"/>
                    </a:lnTo>
                    <a:lnTo>
                      <a:pt x="2332" y="892"/>
                    </a:lnTo>
                    <a:lnTo>
                      <a:pt x="2332" y="887"/>
                    </a:lnTo>
                    <a:lnTo>
                      <a:pt x="2332" y="896"/>
                    </a:lnTo>
                    <a:lnTo>
                      <a:pt x="2332" y="903"/>
                    </a:lnTo>
                    <a:lnTo>
                      <a:pt x="2332" y="910"/>
                    </a:lnTo>
                    <a:lnTo>
                      <a:pt x="2332" y="918"/>
                    </a:lnTo>
                    <a:lnTo>
                      <a:pt x="2293" y="1010"/>
                    </a:lnTo>
                    <a:lnTo>
                      <a:pt x="2295" y="1024"/>
                    </a:lnTo>
                    <a:lnTo>
                      <a:pt x="2296" y="1038"/>
                    </a:lnTo>
                    <a:lnTo>
                      <a:pt x="2295" y="1051"/>
                    </a:lnTo>
                    <a:lnTo>
                      <a:pt x="2291" y="1066"/>
                    </a:lnTo>
                    <a:lnTo>
                      <a:pt x="2288" y="1079"/>
                    </a:lnTo>
                    <a:lnTo>
                      <a:pt x="2283" y="1092"/>
                    </a:lnTo>
                    <a:lnTo>
                      <a:pt x="2276" y="1105"/>
                    </a:lnTo>
                    <a:lnTo>
                      <a:pt x="2269" y="1118"/>
                    </a:lnTo>
                    <a:lnTo>
                      <a:pt x="2253" y="1143"/>
                    </a:lnTo>
                    <a:lnTo>
                      <a:pt x="2237" y="1167"/>
                    </a:lnTo>
                    <a:lnTo>
                      <a:pt x="2220" y="1188"/>
                    </a:lnTo>
                    <a:lnTo>
                      <a:pt x="2206" y="1207"/>
                    </a:lnTo>
                    <a:lnTo>
                      <a:pt x="2188" y="1233"/>
                    </a:lnTo>
                    <a:lnTo>
                      <a:pt x="2172" y="1260"/>
                    </a:lnTo>
                    <a:lnTo>
                      <a:pt x="2153" y="1289"/>
                    </a:lnTo>
                    <a:lnTo>
                      <a:pt x="2133" y="1317"/>
                    </a:lnTo>
                    <a:lnTo>
                      <a:pt x="2123" y="1329"/>
                    </a:lnTo>
                    <a:lnTo>
                      <a:pt x="2111" y="1342"/>
                    </a:lnTo>
                    <a:lnTo>
                      <a:pt x="2100" y="1352"/>
                    </a:lnTo>
                    <a:lnTo>
                      <a:pt x="2087" y="1362"/>
                    </a:lnTo>
                    <a:lnTo>
                      <a:pt x="2081" y="1366"/>
                    </a:lnTo>
                    <a:lnTo>
                      <a:pt x="2074" y="1369"/>
                    </a:lnTo>
                    <a:lnTo>
                      <a:pt x="2066" y="1372"/>
                    </a:lnTo>
                    <a:lnTo>
                      <a:pt x="2059" y="1375"/>
                    </a:lnTo>
                    <a:lnTo>
                      <a:pt x="2051" y="1377"/>
                    </a:lnTo>
                    <a:lnTo>
                      <a:pt x="2043" y="1378"/>
                    </a:lnTo>
                    <a:lnTo>
                      <a:pt x="2036" y="1379"/>
                    </a:lnTo>
                    <a:lnTo>
                      <a:pt x="2027" y="1380"/>
                    </a:lnTo>
                    <a:lnTo>
                      <a:pt x="2026" y="1393"/>
                    </a:lnTo>
                    <a:lnTo>
                      <a:pt x="2022" y="1404"/>
                    </a:lnTo>
                    <a:lnTo>
                      <a:pt x="2018" y="1414"/>
                    </a:lnTo>
                    <a:lnTo>
                      <a:pt x="2013" y="1423"/>
                    </a:lnTo>
                    <a:lnTo>
                      <a:pt x="2005" y="1432"/>
                    </a:lnTo>
                    <a:lnTo>
                      <a:pt x="1997" y="1440"/>
                    </a:lnTo>
                    <a:lnTo>
                      <a:pt x="1988" y="1449"/>
                    </a:lnTo>
                    <a:lnTo>
                      <a:pt x="1978" y="1456"/>
                    </a:lnTo>
                    <a:lnTo>
                      <a:pt x="1958" y="1470"/>
                    </a:lnTo>
                    <a:lnTo>
                      <a:pt x="1937" y="1483"/>
                    </a:lnTo>
                    <a:lnTo>
                      <a:pt x="1917" y="1495"/>
                    </a:lnTo>
                    <a:lnTo>
                      <a:pt x="1901" y="1510"/>
                    </a:lnTo>
                    <a:lnTo>
                      <a:pt x="1885" y="1525"/>
                    </a:lnTo>
                    <a:lnTo>
                      <a:pt x="1873" y="1539"/>
                    </a:lnTo>
                    <a:lnTo>
                      <a:pt x="1864" y="1553"/>
                    </a:lnTo>
                    <a:lnTo>
                      <a:pt x="1857" y="1565"/>
                    </a:lnTo>
                    <a:lnTo>
                      <a:pt x="1848" y="1578"/>
                    </a:lnTo>
                    <a:lnTo>
                      <a:pt x="1838" y="1591"/>
                    </a:lnTo>
                    <a:lnTo>
                      <a:pt x="1825" y="1604"/>
                    </a:lnTo>
                    <a:lnTo>
                      <a:pt x="1807" y="1621"/>
                    </a:lnTo>
                    <a:lnTo>
                      <a:pt x="1801" y="1630"/>
                    </a:lnTo>
                    <a:lnTo>
                      <a:pt x="1796" y="1639"/>
                    </a:lnTo>
                    <a:lnTo>
                      <a:pt x="1793" y="1648"/>
                    </a:lnTo>
                    <a:lnTo>
                      <a:pt x="1790" y="1657"/>
                    </a:lnTo>
                    <a:lnTo>
                      <a:pt x="1786" y="1665"/>
                    </a:lnTo>
                    <a:lnTo>
                      <a:pt x="1782" y="1671"/>
                    </a:lnTo>
                    <a:lnTo>
                      <a:pt x="1780" y="1673"/>
                    </a:lnTo>
                    <a:lnTo>
                      <a:pt x="1776" y="1675"/>
                    </a:lnTo>
                    <a:lnTo>
                      <a:pt x="1772" y="1676"/>
                    </a:lnTo>
                    <a:lnTo>
                      <a:pt x="1768" y="1676"/>
                    </a:lnTo>
                    <a:lnTo>
                      <a:pt x="1749" y="1676"/>
                    </a:lnTo>
                    <a:lnTo>
                      <a:pt x="1733" y="1676"/>
                    </a:lnTo>
                    <a:lnTo>
                      <a:pt x="1718" y="1676"/>
                    </a:lnTo>
                    <a:lnTo>
                      <a:pt x="1707" y="1676"/>
                    </a:lnTo>
                    <a:lnTo>
                      <a:pt x="1702" y="1676"/>
                    </a:lnTo>
                    <a:lnTo>
                      <a:pt x="1695" y="1678"/>
                    </a:lnTo>
                    <a:lnTo>
                      <a:pt x="1689" y="1680"/>
                    </a:lnTo>
                    <a:lnTo>
                      <a:pt x="1682" y="1683"/>
                    </a:lnTo>
                    <a:lnTo>
                      <a:pt x="1668" y="1690"/>
                    </a:lnTo>
                    <a:lnTo>
                      <a:pt x="1652" y="1699"/>
                    </a:lnTo>
                    <a:lnTo>
                      <a:pt x="1634" y="1708"/>
                    </a:lnTo>
                    <a:lnTo>
                      <a:pt x="1613" y="1717"/>
                    </a:lnTo>
                    <a:lnTo>
                      <a:pt x="1602" y="1722"/>
                    </a:lnTo>
                    <a:lnTo>
                      <a:pt x="1589" y="1726"/>
                    </a:lnTo>
                    <a:lnTo>
                      <a:pt x="1576" y="1729"/>
                    </a:lnTo>
                    <a:lnTo>
                      <a:pt x="1561" y="1731"/>
                    </a:lnTo>
                    <a:lnTo>
                      <a:pt x="1558" y="1725"/>
                    </a:lnTo>
                    <a:lnTo>
                      <a:pt x="1555" y="1718"/>
                    </a:lnTo>
                    <a:lnTo>
                      <a:pt x="1548" y="1718"/>
                    </a:lnTo>
                    <a:lnTo>
                      <a:pt x="1541" y="1717"/>
                    </a:lnTo>
                    <a:lnTo>
                      <a:pt x="1536" y="1715"/>
                    </a:lnTo>
                    <a:lnTo>
                      <a:pt x="1532" y="1713"/>
                    </a:lnTo>
                    <a:lnTo>
                      <a:pt x="1528" y="1711"/>
                    </a:lnTo>
                    <a:lnTo>
                      <a:pt x="1525" y="1708"/>
                    </a:lnTo>
                    <a:lnTo>
                      <a:pt x="1522" y="1705"/>
                    </a:lnTo>
                    <a:lnTo>
                      <a:pt x="1520" y="1701"/>
                    </a:lnTo>
                    <a:lnTo>
                      <a:pt x="1517" y="1693"/>
                    </a:lnTo>
                    <a:lnTo>
                      <a:pt x="1515" y="1685"/>
                    </a:lnTo>
                    <a:lnTo>
                      <a:pt x="1515" y="1677"/>
                    </a:lnTo>
                    <a:lnTo>
                      <a:pt x="1515" y="1670"/>
                    </a:lnTo>
                    <a:lnTo>
                      <a:pt x="1489" y="1690"/>
                    </a:lnTo>
                    <a:lnTo>
                      <a:pt x="1462" y="1709"/>
                    </a:lnTo>
                    <a:lnTo>
                      <a:pt x="1449" y="1718"/>
                    </a:lnTo>
                    <a:lnTo>
                      <a:pt x="1437" y="1725"/>
                    </a:lnTo>
                    <a:lnTo>
                      <a:pt x="1432" y="1728"/>
                    </a:lnTo>
                    <a:lnTo>
                      <a:pt x="1426" y="1730"/>
                    </a:lnTo>
                    <a:lnTo>
                      <a:pt x="1421" y="1731"/>
                    </a:lnTo>
                    <a:lnTo>
                      <a:pt x="1415" y="1731"/>
                    </a:lnTo>
                    <a:lnTo>
                      <a:pt x="1413" y="1731"/>
                    </a:lnTo>
                    <a:lnTo>
                      <a:pt x="1410" y="1729"/>
                    </a:lnTo>
                    <a:lnTo>
                      <a:pt x="1406" y="1727"/>
                    </a:lnTo>
                    <a:lnTo>
                      <a:pt x="1403" y="1725"/>
                    </a:lnTo>
                    <a:lnTo>
                      <a:pt x="1400" y="1722"/>
                    </a:lnTo>
                    <a:lnTo>
                      <a:pt x="1398" y="1718"/>
                    </a:lnTo>
                    <a:lnTo>
                      <a:pt x="1395" y="1715"/>
                    </a:lnTo>
                    <a:lnTo>
                      <a:pt x="1395" y="1712"/>
                    </a:lnTo>
                    <a:lnTo>
                      <a:pt x="1372" y="1711"/>
                    </a:lnTo>
                    <a:lnTo>
                      <a:pt x="1349" y="1709"/>
                    </a:lnTo>
                    <a:lnTo>
                      <a:pt x="1338" y="1707"/>
                    </a:lnTo>
                    <a:lnTo>
                      <a:pt x="1327" y="1704"/>
                    </a:lnTo>
                    <a:lnTo>
                      <a:pt x="1316" y="1701"/>
                    </a:lnTo>
                    <a:lnTo>
                      <a:pt x="1307" y="1697"/>
                    </a:lnTo>
                    <a:lnTo>
                      <a:pt x="1297" y="1693"/>
                    </a:lnTo>
                    <a:lnTo>
                      <a:pt x="1289" y="1688"/>
                    </a:lnTo>
                    <a:lnTo>
                      <a:pt x="1281" y="1683"/>
                    </a:lnTo>
                    <a:lnTo>
                      <a:pt x="1275" y="1677"/>
                    </a:lnTo>
                    <a:lnTo>
                      <a:pt x="1269" y="1670"/>
                    </a:lnTo>
                    <a:lnTo>
                      <a:pt x="1266" y="1662"/>
                    </a:lnTo>
                    <a:lnTo>
                      <a:pt x="1264" y="1653"/>
                    </a:lnTo>
                    <a:lnTo>
                      <a:pt x="1263" y="1645"/>
                    </a:lnTo>
                    <a:lnTo>
                      <a:pt x="1263" y="1639"/>
                    </a:lnTo>
                    <a:lnTo>
                      <a:pt x="1264" y="1635"/>
                    </a:lnTo>
                    <a:lnTo>
                      <a:pt x="1266" y="1631"/>
                    </a:lnTo>
                    <a:lnTo>
                      <a:pt x="1268" y="1627"/>
                    </a:lnTo>
                    <a:lnTo>
                      <a:pt x="1272" y="1620"/>
                    </a:lnTo>
                    <a:lnTo>
                      <a:pt x="1279" y="1614"/>
                    </a:lnTo>
                    <a:lnTo>
                      <a:pt x="1286" y="1609"/>
                    </a:lnTo>
                    <a:lnTo>
                      <a:pt x="1290" y="1601"/>
                    </a:lnTo>
                    <a:lnTo>
                      <a:pt x="1292" y="1597"/>
                    </a:lnTo>
                    <a:lnTo>
                      <a:pt x="1294" y="1593"/>
                    </a:lnTo>
                    <a:lnTo>
                      <a:pt x="1296" y="1589"/>
                    </a:lnTo>
                    <a:lnTo>
                      <a:pt x="1296" y="1583"/>
                    </a:lnTo>
                    <a:lnTo>
                      <a:pt x="1296" y="1546"/>
                    </a:lnTo>
                    <a:lnTo>
                      <a:pt x="1309" y="1528"/>
                    </a:lnTo>
                    <a:lnTo>
                      <a:pt x="1309" y="1522"/>
                    </a:lnTo>
                    <a:lnTo>
                      <a:pt x="1256" y="1522"/>
                    </a:lnTo>
                    <a:lnTo>
                      <a:pt x="1249" y="1534"/>
                    </a:lnTo>
                    <a:lnTo>
                      <a:pt x="1255" y="1525"/>
                    </a:lnTo>
                    <a:lnTo>
                      <a:pt x="1263" y="1516"/>
                    </a:lnTo>
                    <a:lnTo>
                      <a:pt x="1269" y="1509"/>
                    </a:lnTo>
                    <a:lnTo>
                      <a:pt x="1276" y="1504"/>
                    </a:lnTo>
                    <a:lnTo>
                      <a:pt x="1276" y="1460"/>
                    </a:lnTo>
                    <a:lnTo>
                      <a:pt x="1270" y="1462"/>
                    </a:lnTo>
                    <a:lnTo>
                      <a:pt x="1265" y="1464"/>
                    </a:lnTo>
                    <a:lnTo>
                      <a:pt x="1260" y="1466"/>
                    </a:lnTo>
                    <a:lnTo>
                      <a:pt x="1256" y="1469"/>
                    </a:lnTo>
                    <a:lnTo>
                      <a:pt x="1249" y="1475"/>
                    </a:lnTo>
                    <a:lnTo>
                      <a:pt x="1243" y="1481"/>
                    </a:lnTo>
                    <a:lnTo>
                      <a:pt x="1237" y="1488"/>
                    </a:lnTo>
                    <a:lnTo>
                      <a:pt x="1232" y="1494"/>
                    </a:lnTo>
                    <a:lnTo>
                      <a:pt x="1229" y="1498"/>
                    </a:lnTo>
                    <a:lnTo>
                      <a:pt x="1225" y="1500"/>
                    </a:lnTo>
                    <a:lnTo>
                      <a:pt x="1221" y="1502"/>
                    </a:lnTo>
                    <a:lnTo>
                      <a:pt x="1216" y="1504"/>
                    </a:lnTo>
                    <a:lnTo>
                      <a:pt x="1189" y="1504"/>
                    </a:lnTo>
                    <a:lnTo>
                      <a:pt x="1222" y="1472"/>
                    </a:lnTo>
                    <a:lnTo>
                      <a:pt x="1252" y="1442"/>
                    </a:lnTo>
                    <a:lnTo>
                      <a:pt x="1280" y="1411"/>
                    </a:lnTo>
                    <a:lnTo>
                      <a:pt x="1309" y="1380"/>
                    </a:lnTo>
                    <a:lnTo>
                      <a:pt x="1305" y="1378"/>
                    </a:lnTo>
                    <a:lnTo>
                      <a:pt x="1301" y="1377"/>
                    </a:lnTo>
                    <a:lnTo>
                      <a:pt x="1298" y="1376"/>
                    </a:lnTo>
                    <a:lnTo>
                      <a:pt x="1294" y="1376"/>
                    </a:lnTo>
                    <a:lnTo>
                      <a:pt x="1287" y="1378"/>
                    </a:lnTo>
                    <a:lnTo>
                      <a:pt x="1280" y="1382"/>
                    </a:lnTo>
                    <a:lnTo>
                      <a:pt x="1267" y="1392"/>
                    </a:lnTo>
                    <a:lnTo>
                      <a:pt x="1256" y="1399"/>
                    </a:lnTo>
                    <a:lnTo>
                      <a:pt x="1230" y="1418"/>
                    </a:lnTo>
                    <a:lnTo>
                      <a:pt x="1185" y="1450"/>
                    </a:lnTo>
                    <a:lnTo>
                      <a:pt x="1142" y="1478"/>
                    </a:lnTo>
                    <a:lnTo>
                      <a:pt x="1123" y="1490"/>
                    </a:lnTo>
                    <a:lnTo>
                      <a:pt x="1123" y="1380"/>
                    </a:lnTo>
                    <a:lnTo>
                      <a:pt x="1113" y="1379"/>
                    </a:lnTo>
                    <a:lnTo>
                      <a:pt x="1106" y="1377"/>
                    </a:lnTo>
                    <a:lnTo>
                      <a:pt x="1099" y="1375"/>
                    </a:lnTo>
                    <a:lnTo>
                      <a:pt x="1093" y="1371"/>
                    </a:lnTo>
                    <a:lnTo>
                      <a:pt x="1090" y="1367"/>
                    </a:lnTo>
                    <a:lnTo>
                      <a:pt x="1088" y="1362"/>
                    </a:lnTo>
                    <a:lnTo>
                      <a:pt x="1088" y="1356"/>
                    </a:lnTo>
                    <a:lnTo>
                      <a:pt x="1090" y="1349"/>
                    </a:lnTo>
                    <a:lnTo>
                      <a:pt x="1078" y="1338"/>
                    </a:lnTo>
                    <a:lnTo>
                      <a:pt x="1064" y="1325"/>
                    </a:lnTo>
                    <a:lnTo>
                      <a:pt x="1047" y="1314"/>
                    </a:lnTo>
                    <a:lnTo>
                      <a:pt x="1030" y="1304"/>
                    </a:lnTo>
                    <a:lnTo>
                      <a:pt x="1020" y="1299"/>
                    </a:lnTo>
                    <a:lnTo>
                      <a:pt x="1011" y="1295"/>
                    </a:lnTo>
                    <a:lnTo>
                      <a:pt x="1001" y="1291"/>
                    </a:lnTo>
                    <a:lnTo>
                      <a:pt x="990" y="1288"/>
                    </a:lnTo>
                    <a:lnTo>
                      <a:pt x="980" y="1285"/>
                    </a:lnTo>
                    <a:lnTo>
                      <a:pt x="971" y="1283"/>
                    </a:lnTo>
                    <a:lnTo>
                      <a:pt x="961" y="1282"/>
                    </a:lnTo>
                    <a:lnTo>
                      <a:pt x="951" y="1282"/>
                    </a:lnTo>
                    <a:lnTo>
                      <a:pt x="941" y="1283"/>
                    </a:lnTo>
                    <a:lnTo>
                      <a:pt x="931" y="1285"/>
                    </a:lnTo>
                    <a:lnTo>
                      <a:pt x="923" y="1289"/>
                    </a:lnTo>
                    <a:lnTo>
                      <a:pt x="917" y="1294"/>
                    </a:lnTo>
                    <a:lnTo>
                      <a:pt x="831" y="1294"/>
                    </a:lnTo>
                    <a:lnTo>
                      <a:pt x="819" y="1301"/>
                    </a:lnTo>
                    <a:lnTo>
                      <a:pt x="807" y="1307"/>
                    </a:lnTo>
                    <a:lnTo>
                      <a:pt x="796" y="1312"/>
                    </a:lnTo>
                    <a:lnTo>
                      <a:pt x="785" y="1316"/>
                    </a:lnTo>
                    <a:lnTo>
                      <a:pt x="775" y="1319"/>
                    </a:lnTo>
                    <a:lnTo>
                      <a:pt x="764" y="1321"/>
                    </a:lnTo>
                    <a:lnTo>
                      <a:pt x="754" y="1323"/>
                    </a:lnTo>
                    <a:lnTo>
                      <a:pt x="745" y="1324"/>
                    </a:lnTo>
                    <a:lnTo>
                      <a:pt x="726" y="1326"/>
                    </a:lnTo>
                    <a:lnTo>
                      <a:pt x="706" y="1328"/>
                    </a:lnTo>
                    <a:lnTo>
                      <a:pt x="686" y="1332"/>
                    </a:lnTo>
                    <a:lnTo>
                      <a:pt x="664" y="1337"/>
                    </a:lnTo>
                    <a:lnTo>
                      <a:pt x="636" y="1345"/>
                    </a:lnTo>
                    <a:lnTo>
                      <a:pt x="596" y="1356"/>
                    </a:lnTo>
                    <a:lnTo>
                      <a:pt x="577" y="1362"/>
                    </a:lnTo>
                    <a:lnTo>
                      <a:pt x="560" y="1369"/>
                    </a:lnTo>
                    <a:lnTo>
                      <a:pt x="547" y="1374"/>
                    </a:lnTo>
                    <a:lnTo>
                      <a:pt x="538" y="1380"/>
                    </a:lnTo>
                    <a:lnTo>
                      <a:pt x="521" y="1402"/>
                    </a:lnTo>
                    <a:lnTo>
                      <a:pt x="507" y="1419"/>
                    </a:lnTo>
                    <a:lnTo>
                      <a:pt x="501" y="1426"/>
                    </a:lnTo>
                    <a:lnTo>
                      <a:pt x="493" y="1431"/>
                    </a:lnTo>
                    <a:lnTo>
                      <a:pt x="488" y="1433"/>
                    </a:lnTo>
                    <a:lnTo>
                      <a:pt x="483" y="1434"/>
                    </a:lnTo>
                    <a:lnTo>
                      <a:pt x="478" y="1435"/>
                    </a:lnTo>
                    <a:lnTo>
                      <a:pt x="472" y="1435"/>
                    </a:lnTo>
                    <a:lnTo>
                      <a:pt x="306" y="1435"/>
                    </a:lnTo>
                    <a:lnTo>
                      <a:pt x="291" y="1439"/>
                    </a:lnTo>
                    <a:lnTo>
                      <a:pt x="277" y="1444"/>
                    </a:lnTo>
                    <a:lnTo>
                      <a:pt x="265" y="1448"/>
                    </a:lnTo>
                    <a:lnTo>
                      <a:pt x="254" y="1453"/>
                    </a:lnTo>
                    <a:lnTo>
                      <a:pt x="233" y="1463"/>
                    </a:lnTo>
                    <a:lnTo>
                      <a:pt x="214" y="1473"/>
                    </a:lnTo>
                    <a:lnTo>
                      <a:pt x="204" y="1478"/>
                    </a:lnTo>
                    <a:lnTo>
                      <a:pt x="193" y="1482"/>
                    </a:lnTo>
                    <a:lnTo>
                      <a:pt x="182" y="1486"/>
                    </a:lnTo>
                    <a:lnTo>
                      <a:pt x="170" y="1490"/>
                    </a:lnTo>
                    <a:lnTo>
                      <a:pt x="157" y="1493"/>
                    </a:lnTo>
                    <a:lnTo>
                      <a:pt x="142" y="1495"/>
                    </a:lnTo>
                    <a:lnTo>
                      <a:pt x="125" y="1496"/>
                    </a:lnTo>
                    <a:lnTo>
                      <a:pt x="106" y="1496"/>
                    </a:lnTo>
                    <a:lnTo>
                      <a:pt x="95" y="1496"/>
                    </a:lnTo>
                    <a:lnTo>
                      <a:pt x="84" y="1495"/>
                    </a:lnTo>
                    <a:lnTo>
                      <a:pt x="75" y="1494"/>
                    </a:lnTo>
                    <a:lnTo>
                      <a:pt x="65" y="1492"/>
                    </a:lnTo>
                    <a:lnTo>
                      <a:pt x="55" y="1490"/>
                    </a:lnTo>
                    <a:lnTo>
                      <a:pt x="46" y="1487"/>
                    </a:lnTo>
                    <a:lnTo>
                      <a:pt x="38" y="1483"/>
                    </a:lnTo>
                    <a:lnTo>
                      <a:pt x="31" y="1479"/>
                    </a:lnTo>
                    <a:lnTo>
                      <a:pt x="24" y="1475"/>
                    </a:lnTo>
                    <a:lnTo>
                      <a:pt x="19" y="1470"/>
                    </a:lnTo>
                    <a:lnTo>
                      <a:pt x="13" y="1464"/>
                    </a:lnTo>
                    <a:lnTo>
                      <a:pt x="9" y="1458"/>
                    </a:lnTo>
                    <a:lnTo>
                      <a:pt x="4" y="1452"/>
                    </a:lnTo>
                    <a:lnTo>
                      <a:pt x="2" y="1445"/>
                    </a:lnTo>
                    <a:lnTo>
                      <a:pt x="1" y="1437"/>
                    </a:lnTo>
                    <a:lnTo>
                      <a:pt x="0" y="1429"/>
                    </a:lnTo>
                    <a:lnTo>
                      <a:pt x="1" y="1426"/>
                    </a:lnTo>
                    <a:lnTo>
                      <a:pt x="2" y="1423"/>
                    </a:lnTo>
                    <a:lnTo>
                      <a:pt x="4" y="1421"/>
                    </a:lnTo>
                    <a:lnTo>
                      <a:pt x="6" y="1418"/>
                    </a:lnTo>
                    <a:lnTo>
                      <a:pt x="13" y="1415"/>
                    </a:lnTo>
                    <a:lnTo>
                      <a:pt x="22" y="1413"/>
                    </a:lnTo>
                    <a:lnTo>
                      <a:pt x="39" y="1411"/>
                    </a:lnTo>
                    <a:lnTo>
                      <a:pt x="54" y="1411"/>
                    </a:lnTo>
                    <a:lnTo>
                      <a:pt x="58" y="1408"/>
                    </a:lnTo>
                    <a:lnTo>
                      <a:pt x="64" y="1404"/>
                    </a:lnTo>
                    <a:lnTo>
                      <a:pt x="68" y="1399"/>
                    </a:lnTo>
                    <a:lnTo>
                      <a:pt x="72" y="1393"/>
                    </a:lnTo>
                    <a:lnTo>
                      <a:pt x="82" y="1378"/>
                    </a:lnTo>
                    <a:lnTo>
                      <a:pt x="90" y="1361"/>
                    </a:lnTo>
                    <a:lnTo>
                      <a:pt x="97" y="1344"/>
                    </a:lnTo>
                    <a:lnTo>
                      <a:pt x="102" y="1325"/>
                    </a:lnTo>
                    <a:lnTo>
                      <a:pt x="105" y="1309"/>
                    </a:lnTo>
                    <a:lnTo>
                      <a:pt x="106" y="1294"/>
                    </a:lnTo>
                    <a:lnTo>
                      <a:pt x="106" y="1288"/>
                    </a:lnTo>
                    <a:lnTo>
                      <a:pt x="105" y="1284"/>
                    </a:lnTo>
                    <a:lnTo>
                      <a:pt x="103" y="1279"/>
                    </a:lnTo>
                    <a:lnTo>
                      <a:pt x="101" y="1275"/>
                    </a:lnTo>
                    <a:lnTo>
                      <a:pt x="95" y="1267"/>
                    </a:lnTo>
                    <a:lnTo>
                      <a:pt x="90" y="1260"/>
                    </a:lnTo>
                    <a:lnTo>
                      <a:pt x="83" y="1254"/>
                    </a:lnTo>
                    <a:lnTo>
                      <a:pt x="79" y="1248"/>
                    </a:lnTo>
                    <a:lnTo>
                      <a:pt x="77" y="1244"/>
                    </a:lnTo>
                    <a:lnTo>
                      <a:pt x="75" y="1241"/>
                    </a:lnTo>
                    <a:lnTo>
                      <a:pt x="73" y="1237"/>
                    </a:lnTo>
                    <a:lnTo>
                      <a:pt x="73" y="1232"/>
                    </a:lnTo>
                    <a:lnTo>
                      <a:pt x="73" y="1225"/>
                    </a:lnTo>
                    <a:lnTo>
                      <a:pt x="75" y="1218"/>
                    </a:lnTo>
                    <a:lnTo>
                      <a:pt x="77" y="1212"/>
                    </a:lnTo>
                    <a:lnTo>
                      <a:pt x="79" y="1207"/>
                    </a:lnTo>
                    <a:lnTo>
                      <a:pt x="86" y="1200"/>
                    </a:lnTo>
                    <a:lnTo>
                      <a:pt x="93" y="1193"/>
                    </a:lnTo>
                    <a:lnTo>
                      <a:pt x="101" y="1188"/>
                    </a:lnTo>
                    <a:lnTo>
                      <a:pt x="106" y="1182"/>
                    </a:lnTo>
                    <a:lnTo>
                      <a:pt x="110" y="1179"/>
                    </a:lnTo>
                    <a:lnTo>
                      <a:pt x="112" y="1175"/>
                    </a:lnTo>
                    <a:lnTo>
                      <a:pt x="113" y="1170"/>
                    </a:lnTo>
                    <a:lnTo>
                      <a:pt x="113" y="1165"/>
                    </a:lnTo>
                    <a:lnTo>
                      <a:pt x="113" y="1150"/>
                    </a:lnTo>
                    <a:lnTo>
                      <a:pt x="111" y="1137"/>
                    </a:lnTo>
                    <a:lnTo>
                      <a:pt x="109" y="1123"/>
                    </a:lnTo>
                    <a:lnTo>
                      <a:pt x="105" y="1110"/>
                    </a:lnTo>
                    <a:lnTo>
                      <a:pt x="98" y="1082"/>
                    </a:lnTo>
                    <a:lnTo>
                      <a:pt x="88" y="1056"/>
                    </a:lnTo>
                    <a:lnTo>
                      <a:pt x="78" y="1030"/>
                    </a:lnTo>
                    <a:lnTo>
                      <a:pt x="68" y="1006"/>
                    </a:lnTo>
                    <a:lnTo>
                      <a:pt x="59" y="982"/>
                    </a:lnTo>
                    <a:lnTo>
                      <a:pt x="54" y="961"/>
                    </a:lnTo>
                    <a:lnTo>
                      <a:pt x="54" y="930"/>
                    </a:lnTo>
                    <a:lnTo>
                      <a:pt x="58" y="943"/>
                    </a:lnTo>
                    <a:lnTo>
                      <a:pt x="64" y="954"/>
                    </a:lnTo>
                    <a:lnTo>
                      <a:pt x="71" y="964"/>
                    </a:lnTo>
                    <a:lnTo>
                      <a:pt x="80" y="973"/>
                    </a:lnTo>
                    <a:lnTo>
                      <a:pt x="80" y="949"/>
                    </a:lnTo>
                    <a:lnTo>
                      <a:pt x="80" y="954"/>
                    </a:lnTo>
                    <a:lnTo>
                      <a:pt x="82" y="958"/>
                    </a:lnTo>
                    <a:lnTo>
                      <a:pt x="84" y="962"/>
                    </a:lnTo>
                    <a:lnTo>
                      <a:pt x="88" y="966"/>
                    </a:lnTo>
                    <a:lnTo>
                      <a:pt x="92" y="969"/>
                    </a:lnTo>
                    <a:lnTo>
                      <a:pt x="97" y="971"/>
                    </a:lnTo>
                    <a:lnTo>
                      <a:pt x="102" y="973"/>
                    </a:lnTo>
                    <a:lnTo>
                      <a:pt x="106" y="973"/>
                    </a:lnTo>
                    <a:lnTo>
                      <a:pt x="113" y="964"/>
                    </a:lnTo>
                    <a:lnTo>
                      <a:pt x="122" y="955"/>
                    </a:lnTo>
                    <a:lnTo>
                      <a:pt x="126" y="951"/>
                    </a:lnTo>
                    <a:lnTo>
                      <a:pt x="129" y="946"/>
                    </a:lnTo>
                    <a:lnTo>
                      <a:pt x="132" y="940"/>
                    </a:lnTo>
                    <a:lnTo>
                      <a:pt x="133" y="936"/>
                    </a:lnTo>
                    <a:lnTo>
                      <a:pt x="132" y="923"/>
                    </a:lnTo>
                    <a:lnTo>
                      <a:pt x="128" y="913"/>
                    </a:lnTo>
                    <a:lnTo>
                      <a:pt x="125" y="903"/>
                    </a:lnTo>
                    <a:lnTo>
                      <a:pt x="120" y="895"/>
                    </a:lnTo>
                    <a:lnTo>
                      <a:pt x="115" y="887"/>
                    </a:lnTo>
                    <a:lnTo>
                      <a:pt x="111" y="879"/>
                    </a:lnTo>
                    <a:lnTo>
                      <a:pt x="107" y="871"/>
                    </a:lnTo>
                    <a:lnTo>
                      <a:pt x="106" y="862"/>
                    </a:lnTo>
                    <a:lnTo>
                      <a:pt x="107" y="855"/>
                    </a:lnTo>
                    <a:lnTo>
                      <a:pt x="111" y="847"/>
                    </a:lnTo>
                    <a:lnTo>
                      <a:pt x="115" y="839"/>
                    </a:lnTo>
                    <a:lnTo>
                      <a:pt x="121" y="831"/>
                    </a:lnTo>
                    <a:lnTo>
                      <a:pt x="126" y="823"/>
                    </a:lnTo>
                    <a:lnTo>
                      <a:pt x="132" y="818"/>
                    </a:lnTo>
                    <a:lnTo>
                      <a:pt x="136" y="814"/>
                    </a:lnTo>
                    <a:lnTo>
                      <a:pt x="139" y="813"/>
                    </a:lnTo>
                    <a:lnTo>
                      <a:pt x="139" y="807"/>
                    </a:lnTo>
                    <a:lnTo>
                      <a:pt x="140" y="800"/>
                    </a:lnTo>
                    <a:lnTo>
                      <a:pt x="143" y="792"/>
                    </a:lnTo>
                    <a:lnTo>
                      <a:pt x="146" y="783"/>
                    </a:lnTo>
                    <a:lnTo>
                      <a:pt x="147" y="765"/>
                    </a:lnTo>
                    <a:lnTo>
                      <a:pt x="149" y="751"/>
                    </a:lnTo>
                    <a:lnTo>
                      <a:pt x="151" y="737"/>
                    </a:lnTo>
                    <a:lnTo>
                      <a:pt x="153" y="72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9" name="Freeform 226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10176143" y="1726772"/>
                <a:ext cx="236537" cy="92075"/>
              </a:xfrm>
              <a:custGeom>
                <a:avLst/>
                <a:gdLst>
                  <a:gd name="T0" fmla="*/ 2147483647 w 546"/>
                  <a:gd name="T1" fmla="*/ 2147483647 h 173"/>
                  <a:gd name="T2" fmla="*/ 2147483647 w 546"/>
                  <a:gd name="T3" fmla="*/ 2147483647 h 173"/>
                  <a:gd name="T4" fmla="*/ 2147483647 w 546"/>
                  <a:gd name="T5" fmla="*/ 2147483647 h 173"/>
                  <a:gd name="T6" fmla="*/ 2147483647 w 546"/>
                  <a:gd name="T7" fmla="*/ 2147483647 h 173"/>
                  <a:gd name="T8" fmla="*/ 2147483647 w 546"/>
                  <a:gd name="T9" fmla="*/ 2147483647 h 173"/>
                  <a:gd name="T10" fmla="*/ 2147483647 w 546"/>
                  <a:gd name="T11" fmla="*/ 2147483647 h 173"/>
                  <a:gd name="T12" fmla="*/ 2147483647 w 546"/>
                  <a:gd name="T13" fmla="*/ 2147483647 h 173"/>
                  <a:gd name="T14" fmla="*/ 2147483647 w 546"/>
                  <a:gd name="T15" fmla="*/ 2147483647 h 173"/>
                  <a:gd name="T16" fmla="*/ 2147483647 w 546"/>
                  <a:gd name="T17" fmla="*/ 2110599566 h 173"/>
                  <a:gd name="T18" fmla="*/ 2147483647 w 546"/>
                  <a:gd name="T19" fmla="*/ 1658227108 h 173"/>
                  <a:gd name="T20" fmla="*/ 2147483647 w 546"/>
                  <a:gd name="T21" fmla="*/ 452372458 h 173"/>
                  <a:gd name="T22" fmla="*/ 2147483647 w 546"/>
                  <a:gd name="T23" fmla="*/ 753765335 h 173"/>
                  <a:gd name="T24" fmla="*/ 2147483647 w 546"/>
                  <a:gd name="T25" fmla="*/ 1809206690 h 173"/>
                  <a:gd name="T26" fmla="*/ 2147483647 w 546"/>
                  <a:gd name="T27" fmla="*/ 1055441355 h 173"/>
                  <a:gd name="T28" fmla="*/ 2147483647 w 546"/>
                  <a:gd name="T29" fmla="*/ 0 h 173"/>
                  <a:gd name="T30" fmla="*/ 2147483647 w 546"/>
                  <a:gd name="T31" fmla="*/ 1055441355 h 173"/>
                  <a:gd name="T32" fmla="*/ 2147483647 w 546"/>
                  <a:gd name="T33" fmla="*/ 1055441355 h 173"/>
                  <a:gd name="T34" fmla="*/ 2147483647 w 546"/>
                  <a:gd name="T35" fmla="*/ 150696438 h 173"/>
                  <a:gd name="T36" fmla="*/ 2147483647 w 546"/>
                  <a:gd name="T37" fmla="*/ 904461773 h 173"/>
                  <a:gd name="T38" fmla="*/ 2147483647 w 546"/>
                  <a:gd name="T39" fmla="*/ 1809206690 h 173"/>
                  <a:gd name="T40" fmla="*/ 2147483647 w 546"/>
                  <a:gd name="T41" fmla="*/ 2147483647 h 173"/>
                  <a:gd name="T42" fmla="*/ 2147483647 w 546"/>
                  <a:gd name="T43" fmla="*/ 2147483647 h 173"/>
                  <a:gd name="T44" fmla="*/ 2147483647 w 546"/>
                  <a:gd name="T45" fmla="*/ 2147483647 h 173"/>
                  <a:gd name="T46" fmla="*/ 2147483647 w 546"/>
                  <a:gd name="T47" fmla="*/ 2147483647 h 173"/>
                  <a:gd name="T48" fmla="*/ 2147483647 w 546"/>
                  <a:gd name="T49" fmla="*/ 2147483647 h 173"/>
                  <a:gd name="T50" fmla="*/ 2147483647 w 546"/>
                  <a:gd name="T51" fmla="*/ 2147483647 h 173"/>
                  <a:gd name="T52" fmla="*/ 2147483647 w 546"/>
                  <a:gd name="T53" fmla="*/ 2147483647 h 173"/>
                  <a:gd name="T54" fmla="*/ 2147483647 w 546"/>
                  <a:gd name="T55" fmla="*/ 2147483647 h 173"/>
                  <a:gd name="T56" fmla="*/ 2147483647 w 546"/>
                  <a:gd name="T57" fmla="*/ 2147483647 h 173"/>
                  <a:gd name="T58" fmla="*/ 2147483647 w 546"/>
                  <a:gd name="T59" fmla="*/ 2147483647 h 173"/>
                  <a:gd name="T60" fmla="*/ 2147483647 w 546"/>
                  <a:gd name="T61" fmla="*/ 2147483647 h 173"/>
                  <a:gd name="T62" fmla="*/ 2147483647 w 546"/>
                  <a:gd name="T63" fmla="*/ 2147483647 h 173"/>
                  <a:gd name="T64" fmla="*/ 2147483647 w 546"/>
                  <a:gd name="T65" fmla="*/ 2147483647 h 173"/>
                  <a:gd name="T66" fmla="*/ 2147483647 w 546"/>
                  <a:gd name="T67" fmla="*/ 2147483647 h 173"/>
                  <a:gd name="T68" fmla="*/ 2147483647 w 546"/>
                  <a:gd name="T69" fmla="*/ 2147483647 h 173"/>
                  <a:gd name="T70" fmla="*/ 2147483647 w 546"/>
                  <a:gd name="T71" fmla="*/ 2147483647 h 173"/>
                  <a:gd name="T72" fmla="*/ 2147483647 w 546"/>
                  <a:gd name="T73" fmla="*/ 2147483647 h 173"/>
                  <a:gd name="T74" fmla="*/ 2147483647 w 546"/>
                  <a:gd name="T75" fmla="*/ 2147483647 h 173"/>
                  <a:gd name="T76" fmla="*/ 2147483647 w 546"/>
                  <a:gd name="T77" fmla="*/ 2147483647 h 173"/>
                  <a:gd name="T78" fmla="*/ 2147483647 w 546"/>
                  <a:gd name="T79" fmla="*/ 2147483647 h 173"/>
                  <a:gd name="T80" fmla="*/ 2147483647 w 546"/>
                  <a:gd name="T81" fmla="*/ 2147483647 h 173"/>
                  <a:gd name="T82" fmla="*/ 2147483647 w 546"/>
                  <a:gd name="T83" fmla="*/ 2147483647 h 173"/>
                  <a:gd name="T84" fmla="*/ 2147483647 w 546"/>
                  <a:gd name="T85" fmla="*/ 2147483647 h 173"/>
                  <a:gd name="T86" fmla="*/ 2147483647 w 546"/>
                  <a:gd name="T87" fmla="*/ 2147483647 h 173"/>
                  <a:gd name="T88" fmla="*/ 2147483647 w 546"/>
                  <a:gd name="T89" fmla="*/ 2147483647 h 173"/>
                  <a:gd name="T90" fmla="*/ 2147483647 w 546"/>
                  <a:gd name="T91" fmla="*/ 2147483647 h 173"/>
                  <a:gd name="T92" fmla="*/ 2147483647 w 546"/>
                  <a:gd name="T93" fmla="*/ 2147483647 h 173"/>
                  <a:gd name="T94" fmla="*/ 1300794942 w 546"/>
                  <a:gd name="T95" fmla="*/ 2147483647 h 173"/>
                  <a:gd name="T96" fmla="*/ 894284880 w 546"/>
                  <a:gd name="T97" fmla="*/ 2147483647 h 173"/>
                  <a:gd name="T98" fmla="*/ 2147483647 w 546"/>
                  <a:gd name="T99" fmla="*/ 2147483647 h 173"/>
                  <a:gd name="T100" fmla="*/ 2147483647 w 546"/>
                  <a:gd name="T101" fmla="*/ 1809206690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0" name="Freeform 227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10103118" y="1956960"/>
                <a:ext cx="449262" cy="361950"/>
              </a:xfrm>
              <a:custGeom>
                <a:avLst/>
                <a:gdLst>
                  <a:gd name="T0" fmla="*/ 2147483647 w 1037"/>
                  <a:gd name="T1" fmla="*/ 2147483647 h 690"/>
                  <a:gd name="T2" fmla="*/ 2147483647 w 1037"/>
                  <a:gd name="T3" fmla="*/ 2147483647 h 690"/>
                  <a:gd name="T4" fmla="*/ 2147483647 w 1037"/>
                  <a:gd name="T5" fmla="*/ 2147483647 h 690"/>
                  <a:gd name="T6" fmla="*/ 2147483647 w 1037"/>
                  <a:gd name="T7" fmla="*/ 2147483647 h 690"/>
                  <a:gd name="T8" fmla="*/ 1463608950 w 1037"/>
                  <a:gd name="T9" fmla="*/ 2147483647 h 690"/>
                  <a:gd name="T10" fmla="*/ 2147483647 w 1037"/>
                  <a:gd name="T11" fmla="*/ 2147483647 h 690"/>
                  <a:gd name="T12" fmla="*/ 2147483647 w 1037"/>
                  <a:gd name="T13" fmla="*/ 2147483647 h 690"/>
                  <a:gd name="T14" fmla="*/ 650534842 w 1037"/>
                  <a:gd name="T15" fmla="*/ 2147483647 h 690"/>
                  <a:gd name="T16" fmla="*/ 2147483647 w 1037"/>
                  <a:gd name="T17" fmla="*/ 2147483647 h 690"/>
                  <a:gd name="T18" fmla="*/ 0 w 1037"/>
                  <a:gd name="T19" fmla="*/ 2147483647 h 690"/>
                  <a:gd name="T20" fmla="*/ 1626336671 w 1037"/>
                  <a:gd name="T21" fmla="*/ 2147483647 h 690"/>
                  <a:gd name="T22" fmla="*/ 2147483647 w 1037"/>
                  <a:gd name="T23" fmla="*/ 2147483647 h 690"/>
                  <a:gd name="T24" fmla="*/ 2147483647 w 1037"/>
                  <a:gd name="T25" fmla="*/ 2147483647 h 690"/>
                  <a:gd name="T26" fmla="*/ 2147483647 w 1037"/>
                  <a:gd name="T27" fmla="*/ 2147483647 h 690"/>
                  <a:gd name="T28" fmla="*/ 2147483647 w 1037"/>
                  <a:gd name="T29" fmla="*/ 2147483647 h 690"/>
                  <a:gd name="T30" fmla="*/ 2147483647 w 1037"/>
                  <a:gd name="T31" fmla="*/ 2147483647 h 690"/>
                  <a:gd name="T32" fmla="*/ 2147483647 w 1037"/>
                  <a:gd name="T33" fmla="*/ 2147483647 h 690"/>
                  <a:gd name="T34" fmla="*/ 2147483647 w 1037"/>
                  <a:gd name="T35" fmla="*/ 2147483647 h 690"/>
                  <a:gd name="T36" fmla="*/ 2147483647 w 1037"/>
                  <a:gd name="T37" fmla="*/ 2147483647 h 690"/>
                  <a:gd name="T38" fmla="*/ 2147483647 w 1037"/>
                  <a:gd name="T39" fmla="*/ 2147483647 h 690"/>
                  <a:gd name="T40" fmla="*/ 2147483647 w 1037"/>
                  <a:gd name="T41" fmla="*/ 2147483647 h 690"/>
                  <a:gd name="T42" fmla="*/ 2147483647 w 1037"/>
                  <a:gd name="T43" fmla="*/ 2147483647 h 690"/>
                  <a:gd name="T44" fmla="*/ 2147483647 w 1037"/>
                  <a:gd name="T45" fmla="*/ 2147483647 h 690"/>
                  <a:gd name="T46" fmla="*/ 2147483647 w 1037"/>
                  <a:gd name="T47" fmla="*/ 2147483647 h 690"/>
                  <a:gd name="T48" fmla="*/ 2147483647 w 1037"/>
                  <a:gd name="T49" fmla="*/ 2147483647 h 690"/>
                  <a:gd name="T50" fmla="*/ 2147483647 w 1037"/>
                  <a:gd name="T51" fmla="*/ 2147483647 h 690"/>
                  <a:gd name="T52" fmla="*/ 2147483647 w 1037"/>
                  <a:gd name="T53" fmla="*/ 2147483647 h 690"/>
                  <a:gd name="T54" fmla="*/ 2147483647 w 1037"/>
                  <a:gd name="T55" fmla="*/ 2147483647 h 690"/>
                  <a:gd name="T56" fmla="*/ 2147483647 w 1037"/>
                  <a:gd name="T57" fmla="*/ 2147483647 h 690"/>
                  <a:gd name="T58" fmla="*/ 2147483647 w 1037"/>
                  <a:gd name="T59" fmla="*/ 2147483647 h 690"/>
                  <a:gd name="T60" fmla="*/ 2147483647 w 1037"/>
                  <a:gd name="T61" fmla="*/ 2147483647 h 690"/>
                  <a:gd name="T62" fmla="*/ 2147483647 w 1037"/>
                  <a:gd name="T63" fmla="*/ 2147483647 h 690"/>
                  <a:gd name="T64" fmla="*/ 2147483647 w 1037"/>
                  <a:gd name="T65" fmla="*/ 2147483647 h 690"/>
                  <a:gd name="T66" fmla="*/ 2147483647 w 1037"/>
                  <a:gd name="T67" fmla="*/ 2147483647 h 690"/>
                  <a:gd name="T68" fmla="*/ 2147483647 w 1037"/>
                  <a:gd name="T69" fmla="*/ 1876375028 h 690"/>
                  <a:gd name="T70" fmla="*/ 2147483647 w 1037"/>
                  <a:gd name="T71" fmla="*/ 2147483647 h 690"/>
                  <a:gd name="T72" fmla="*/ 2147483647 w 1037"/>
                  <a:gd name="T73" fmla="*/ 2147483647 h 690"/>
                  <a:gd name="T74" fmla="*/ 2147483647 w 1037"/>
                  <a:gd name="T75" fmla="*/ 1732186738 h 690"/>
                  <a:gd name="T76" fmla="*/ 2147483647 w 1037"/>
                  <a:gd name="T77" fmla="*/ 865955933 h 690"/>
                  <a:gd name="T78" fmla="*/ 2147483647 w 1037"/>
                  <a:gd name="T79" fmla="*/ 1154882783 h 690"/>
                  <a:gd name="T80" fmla="*/ 2147483647 w 1037"/>
                  <a:gd name="T81" fmla="*/ 1587723051 h 690"/>
                  <a:gd name="T82" fmla="*/ 2147483647 w 1037"/>
                  <a:gd name="T83" fmla="*/ 865955933 h 690"/>
                  <a:gd name="T84" fmla="*/ 2147483647 w 1037"/>
                  <a:gd name="T85" fmla="*/ 2147483647 h 690"/>
                  <a:gd name="T86" fmla="*/ 2147483647 w 1037"/>
                  <a:gd name="T87" fmla="*/ 2147483647 h 690"/>
                  <a:gd name="T88" fmla="*/ 2147483647 w 1037"/>
                  <a:gd name="T89" fmla="*/ 2147483647 h 690"/>
                  <a:gd name="T90" fmla="*/ 2147483647 w 1037"/>
                  <a:gd name="T91" fmla="*/ 2147483647 h 690"/>
                  <a:gd name="T92" fmla="*/ 2147483647 w 1037"/>
                  <a:gd name="T93" fmla="*/ 2147483647 h 690"/>
                  <a:gd name="T94" fmla="*/ 2147483647 w 1037"/>
                  <a:gd name="T95" fmla="*/ 2147483647 h 690"/>
                  <a:gd name="T96" fmla="*/ 2147483647 w 1037"/>
                  <a:gd name="T97" fmla="*/ 2147483647 h 690"/>
                  <a:gd name="T98" fmla="*/ 2147483647 w 1037"/>
                  <a:gd name="T99" fmla="*/ 2147483647 h 690"/>
                  <a:gd name="T100" fmla="*/ 2147483647 w 1037"/>
                  <a:gd name="T101" fmla="*/ 2147483647 h 690"/>
                  <a:gd name="T102" fmla="*/ 2147483647 w 1037"/>
                  <a:gd name="T103" fmla="*/ 2147483647 h 690"/>
                  <a:gd name="T104" fmla="*/ 2147483647 w 1037"/>
                  <a:gd name="T105" fmla="*/ 2147483647 h 690"/>
                  <a:gd name="T106" fmla="*/ 2147483647 w 1037"/>
                  <a:gd name="T107" fmla="*/ 2147483647 h 690"/>
                  <a:gd name="T108" fmla="*/ 2147483647 w 1037"/>
                  <a:gd name="T109" fmla="*/ 2147483647 h 690"/>
                  <a:gd name="T110" fmla="*/ 2147483647 w 1037"/>
                  <a:gd name="T111" fmla="*/ 2147483647 h 690"/>
                  <a:gd name="T112" fmla="*/ 2147483647 w 1037"/>
                  <a:gd name="T113" fmla="*/ 2147483647 h 690"/>
                  <a:gd name="T114" fmla="*/ 2147483647 w 1037"/>
                  <a:gd name="T115" fmla="*/ 2147483647 h 690"/>
                  <a:gd name="T116" fmla="*/ 2147483647 w 1037"/>
                  <a:gd name="T117" fmla="*/ 2147483647 h 690"/>
                  <a:gd name="T118" fmla="*/ 2147483647 w 1037"/>
                  <a:gd name="T119" fmla="*/ 2147483647 h 69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037" h="690">
                    <a:moveTo>
                      <a:pt x="286" y="647"/>
                    </a:moveTo>
                    <a:lnTo>
                      <a:pt x="273" y="631"/>
                    </a:lnTo>
                    <a:lnTo>
                      <a:pt x="262" y="621"/>
                    </a:lnTo>
                    <a:lnTo>
                      <a:pt x="253" y="612"/>
                    </a:lnTo>
                    <a:lnTo>
                      <a:pt x="246" y="604"/>
                    </a:lnTo>
                    <a:lnTo>
                      <a:pt x="243" y="613"/>
                    </a:lnTo>
                    <a:lnTo>
                      <a:pt x="240" y="622"/>
                    </a:lnTo>
                    <a:lnTo>
                      <a:pt x="239" y="627"/>
                    </a:lnTo>
                    <a:lnTo>
                      <a:pt x="235" y="632"/>
                    </a:lnTo>
                    <a:lnTo>
                      <a:pt x="231" y="638"/>
                    </a:lnTo>
                    <a:lnTo>
                      <a:pt x="224" y="644"/>
                    </a:lnTo>
                    <a:lnTo>
                      <a:pt x="208" y="655"/>
                    </a:lnTo>
                    <a:lnTo>
                      <a:pt x="190" y="665"/>
                    </a:lnTo>
                    <a:lnTo>
                      <a:pt x="155" y="683"/>
                    </a:lnTo>
                    <a:lnTo>
                      <a:pt x="140" y="690"/>
                    </a:lnTo>
                    <a:lnTo>
                      <a:pt x="107" y="690"/>
                    </a:lnTo>
                    <a:lnTo>
                      <a:pt x="86" y="683"/>
                    </a:lnTo>
                    <a:lnTo>
                      <a:pt x="60" y="672"/>
                    </a:lnTo>
                    <a:lnTo>
                      <a:pt x="48" y="666"/>
                    </a:lnTo>
                    <a:lnTo>
                      <a:pt x="37" y="658"/>
                    </a:lnTo>
                    <a:lnTo>
                      <a:pt x="32" y="654"/>
                    </a:lnTo>
                    <a:lnTo>
                      <a:pt x="30" y="650"/>
                    </a:lnTo>
                    <a:lnTo>
                      <a:pt x="28" y="646"/>
                    </a:lnTo>
                    <a:lnTo>
                      <a:pt x="27" y="641"/>
                    </a:lnTo>
                    <a:lnTo>
                      <a:pt x="40" y="641"/>
                    </a:lnTo>
                    <a:lnTo>
                      <a:pt x="50" y="640"/>
                    </a:lnTo>
                    <a:lnTo>
                      <a:pt x="58" y="639"/>
                    </a:lnTo>
                    <a:lnTo>
                      <a:pt x="67" y="634"/>
                    </a:lnTo>
                    <a:lnTo>
                      <a:pt x="59" y="627"/>
                    </a:lnTo>
                    <a:lnTo>
                      <a:pt x="49" y="620"/>
                    </a:lnTo>
                    <a:lnTo>
                      <a:pt x="38" y="613"/>
                    </a:lnTo>
                    <a:lnTo>
                      <a:pt x="27" y="606"/>
                    </a:lnTo>
                    <a:lnTo>
                      <a:pt x="8" y="596"/>
                    </a:lnTo>
                    <a:lnTo>
                      <a:pt x="0" y="592"/>
                    </a:lnTo>
                    <a:lnTo>
                      <a:pt x="18" y="596"/>
                    </a:lnTo>
                    <a:lnTo>
                      <a:pt x="32" y="599"/>
                    </a:lnTo>
                    <a:lnTo>
                      <a:pt x="38" y="600"/>
                    </a:lnTo>
                    <a:lnTo>
                      <a:pt x="43" y="600"/>
                    </a:lnTo>
                    <a:lnTo>
                      <a:pt x="49" y="600"/>
                    </a:lnTo>
                    <a:lnTo>
                      <a:pt x="54" y="598"/>
                    </a:lnTo>
                    <a:lnTo>
                      <a:pt x="49" y="597"/>
                    </a:lnTo>
                    <a:lnTo>
                      <a:pt x="44" y="595"/>
                    </a:lnTo>
                    <a:lnTo>
                      <a:pt x="40" y="591"/>
                    </a:lnTo>
                    <a:lnTo>
                      <a:pt x="36" y="587"/>
                    </a:lnTo>
                    <a:lnTo>
                      <a:pt x="32" y="583"/>
                    </a:lnTo>
                    <a:lnTo>
                      <a:pt x="29" y="576"/>
                    </a:lnTo>
                    <a:lnTo>
                      <a:pt x="28" y="571"/>
                    </a:lnTo>
                    <a:lnTo>
                      <a:pt x="27" y="567"/>
                    </a:lnTo>
                    <a:lnTo>
                      <a:pt x="67" y="567"/>
                    </a:lnTo>
                    <a:lnTo>
                      <a:pt x="56" y="566"/>
                    </a:lnTo>
                    <a:lnTo>
                      <a:pt x="45" y="564"/>
                    </a:lnTo>
                    <a:lnTo>
                      <a:pt x="35" y="562"/>
                    </a:lnTo>
                    <a:lnTo>
                      <a:pt x="25" y="558"/>
                    </a:lnTo>
                    <a:lnTo>
                      <a:pt x="16" y="554"/>
                    </a:lnTo>
                    <a:lnTo>
                      <a:pt x="10" y="549"/>
                    </a:lnTo>
                    <a:lnTo>
                      <a:pt x="8" y="546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7" y="536"/>
                    </a:lnTo>
                    <a:lnTo>
                      <a:pt x="0" y="523"/>
                    </a:lnTo>
                    <a:lnTo>
                      <a:pt x="29" y="523"/>
                    </a:lnTo>
                    <a:lnTo>
                      <a:pt x="54" y="523"/>
                    </a:lnTo>
                    <a:lnTo>
                      <a:pt x="74" y="523"/>
                    </a:lnTo>
                    <a:lnTo>
                      <a:pt x="87" y="523"/>
                    </a:lnTo>
                    <a:lnTo>
                      <a:pt x="72" y="519"/>
                    </a:lnTo>
                    <a:lnTo>
                      <a:pt x="39" y="511"/>
                    </a:lnTo>
                    <a:lnTo>
                      <a:pt x="22" y="507"/>
                    </a:lnTo>
                    <a:lnTo>
                      <a:pt x="8" y="503"/>
                    </a:lnTo>
                    <a:lnTo>
                      <a:pt x="0" y="500"/>
                    </a:lnTo>
                    <a:lnTo>
                      <a:pt x="0" y="499"/>
                    </a:lnTo>
                    <a:lnTo>
                      <a:pt x="2" y="485"/>
                    </a:lnTo>
                    <a:lnTo>
                      <a:pt x="3" y="476"/>
                    </a:lnTo>
                    <a:lnTo>
                      <a:pt x="4" y="472"/>
                    </a:lnTo>
                    <a:lnTo>
                      <a:pt x="4" y="467"/>
                    </a:lnTo>
                    <a:lnTo>
                      <a:pt x="3" y="462"/>
                    </a:lnTo>
                    <a:lnTo>
                      <a:pt x="0" y="456"/>
                    </a:lnTo>
                    <a:lnTo>
                      <a:pt x="20" y="456"/>
                    </a:lnTo>
                    <a:lnTo>
                      <a:pt x="21" y="460"/>
                    </a:lnTo>
                    <a:lnTo>
                      <a:pt x="24" y="463"/>
                    </a:lnTo>
                    <a:lnTo>
                      <a:pt x="25" y="464"/>
                    </a:lnTo>
                    <a:lnTo>
                      <a:pt x="26" y="464"/>
                    </a:lnTo>
                    <a:lnTo>
                      <a:pt x="27" y="463"/>
                    </a:lnTo>
                    <a:lnTo>
                      <a:pt x="27" y="462"/>
                    </a:lnTo>
                    <a:lnTo>
                      <a:pt x="37" y="461"/>
                    </a:lnTo>
                    <a:lnTo>
                      <a:pt x="51" y="459"/>
                    </a:lnTo>
                    <a:lnTo>
                      <a:pt x="67" y="457"/>
                    </a:lnTo>
                    <a:lnTo>
                      <a:pt x="81" y="456"/>
                    </a:lnTo>
                    <a:lnTo>
                      <a:pt x="78" y="455"/>
                    </a:lnTo>
                    <a:lnTo>
                      <a:pt x="77" y="454"/>
                    </a:lnTo>
                    <a:lnTo>
                      <a:pt x="77" y="452"/>
                    </a:lnTo>
                    <a:lnTo>
                      <a:pt x="77" y="449"/>
                    </a:lnTo>
                    <a:lnTo>
                      <a:pt x="80" y="443"/>
                    </a:lnTo>
                    <a:lnTo>
                      <a:pt x="81" y="437"/>
                    </a:lnTo>
                    <a:lnTo>
                      <a:pt x="91" y="437"/>
                    </a:lnTo>
                    <a:lnTo>
                      <a:pt x="100" y="437"/>
                    </a:lnTo>
                    <a:lnTo>
                      <a:pt x="99" y="433"/>
                    </a:lnTo>
                    <a:lnTo>
                      <a:pt x="96" y="428"/>
                    </a:lnTo>
                    <a:lnTo>
                      <a:pt x="92" y="424"/>
                    </a:lnTo>
                    <a:lnTo>
                      <a:pt x="87" y="419"/>
                    </a:lnTo>
                    <a:lnTo>
                      <a:pt x="97" y="416"/>
                    </a:lnTo>
                    <a:lnTo>
                      <a:pt x="107" y="413"/>
                    </a:lnTo>
                    <a:lnTo>
                      <a:pt x="117" y="412"/>
                    </a:lnTo>
                    <a:lnTo>
                      <a:pt x="127" y="412"/>
                    </a:lnTo>
                    <a:lnTo>
                      <a:pt x="129" y="412"/>
                    </a:lnTo>
                    <a:lnTo>
                      <a:pt x="130" y="409"/>
                    </a:lnTo>
                    <a:lnTo>
                      <a:pt x="130" y="406"/>
                    </a:lnTo>
                    <a:lnTo>
                      <a:pt x="129" y="402"/>
                    </a:lnTo>
                    <a:lnTo>
                      <a:pt x="128" y="394"/>
                    </a:lnTo>
                    <a:lnTo>
                      <a:pt x="127" y="388"/>
                    </a:lnTo>
                    <a:lnTo>
                      <a:pt x="147" y="388"/>
                    </a:lnTo>
                    <a:lnTo>
                      <a:pt x="133" y="382"/>
                    </a:lnTo>
                    <a:lnTo>
                      <a:pt x="220" y="382"/>
                    </a:lnTo>
                    <a:lnTo>
                      <a:pt x="207" y="376"/>
                    </a:lnTo>
                    <a:lnTo>
                      <a:pt x="213" y="373"/>
                    </a:lnTo>
                    <a:lnTo>
                      <a:pt x="218" y="370"/>
                    </a:lnTo>
                    <a:lnTo>
                      <a:pt x="221" y="367"/>
                    </a:lnTo>
                    <a:lnTo>
                      <a:pt x="224" y="362"/>
                    </a:lnTo>
                    <a:lnTo>
                      <a:pt x="227" y="351"/>
                    </a:lnTo>
                    <a:lnTo>
                      <a:pt x="227" y="339"/>
                    </a:lnTo>
                    <a:lnTo>
                      <a:pt x="243" y="339"/>
                    </a:lnTo>
                    <a:lnTo>
                      <a:pt x="255" y="339"/>
                    </a:lnTo>
                    <a:lnTo>
                      <a:pt x="266" y="339"/>
                    </a:lnTo>
                    <a:lnTo>
                      <a:pt x="279" y="339"/>
                    </a:lnTo>
                    <a:lnTo>
                      <a:pt x="279" y="333"/>
                    </a:lnTo>
                    <a:lnTo>
                      <a:pt x="282" y="327"/>
                    </a:lnTo>
                    <a:lnTo>
                      <a:pt x="283" y="325"/>
                    </a:lnTo>
                    <a:lnTo>
                      <a:pt x="285" y="323"/>
                    </a:lnTo>
                    <a:lnTo>
                      <a:pt x="288" y="321"/>
                    </a:lnTo>
                    <a:lnTo>
                      <a:pt x="293" y="321"/>
                    </a:lnTo>
                    <a:lnTo>
                      <a:pt x="286" y="318"/>
                    </a:lnTo>
                    <a:lnTo>
                      <a:pt x="279" y="314"/>
                    </a:lnTo>
                    <a:lnTo>
                      <a:pt x="280" y="312"/>
                    </a:lnTo>
                    <a:lnTo>
                      <a:pt x="282" y="310"/>
                    </a:lnTo>
                    <a:lnTo>
                      <a:pt x="284" y="308"/>
                    </a:lnTo>
                    <a:lnTo>
                      <a:pt x="287" y="305"/>
                    </a:lnTo>
                    <a:lnTo>
                      <a:pt x="294" y="300"/>
                    </a:lnTo>
                    <a:lnTo>
                      <a:pt x="299" y="295"/>
                    </a:lnTo>
                    <a:lnTo>
                      <a:pt x="298" y="292"/>
                    </a:lnTo>
                    <a:lnTo>
                      <a:pt x="297" y="288"/>
                    </a:lnTo>
                    <a:lnTo>
                      <a:pt x="298" y="285"/>
                    </a:lnTo>
                    <a:lnTo>
                      <a:pt x="299" y="281"/>
                    </a:lnTo>
                    <a:lnTo>
                      <a:pt x="305" y="274"/>
                    </a:lnTo>
                    <a:lnTo>
                      <a:pt x="311" y="267"/>
                    </a:lnTo>
                    <a:lnTo>
                      <a:pt x="325" y="254"/>
                    </a:lnTo>
                    <a:lnTo>
                      <a:pt x="333" y="246"/>
                    </a:lnTo>
                    <a:lnTo>
                      <a:pt x="333" y="244"/>
                    </a:lnTo>
                    <a:lnTo>
                      <a:pt x="335" y="243"/>
                    </a:lnTo>
                    <a:lnTo>
                      <a:pt x="338" y="243"/>
                    </a:lnTo>
                    <a:lnTo>
                      <a:pt x="340" y="244"/>
                    </a:lnTo>
                    <a:lnTo>
                      <a:pt x="344" y="245"/>
                    </a:lnTo>
                    <a:lnTo>
                      <a:pt x="346" y="246"/>
                    </a:lnTo>
                    <a:lnTo>
                      <a:pt x="344" y="239"/>
                    </a:lnTo>
                    <a:lnTo>
                      <a:pt x="343" y="233"/>
                    </a:lnTo>
                    <a:lnTo>
                      <a:pt x="343" y="226"/>
                    </a:lnTo>
                    <a:lnTo>
                      <a:pt x="344" y="220"/>
                    </a:lnTo>
                    <a:lnTo>
                      <a:pt x="345" y="210"/>
                    </a:lnTo>
                    <a:lnTo>
                      <a:pt x="346" y="204"/>
                    </a:lnTo>
                    <a:lnTo>
                      <a:pt x="370" y="204"/>
                    </a:lnTo>
                    <a:lnTo>
                      <a:pt x="385" y="203"/>
                    </a:lnTo>
                    <a:lnTo>
                      <a:pt x="388" y="202"/>
                    </a:lnTo>
                    <a:lnTo>
                      <a:pt x="390" y="200"/>
                    </a:lnTo>
                    <a:lnTo>
                      <a:pt x="392" y="198"/>
                    </a:lnTo>
                    <a:lnTo>
                      <a:pt x="394" y="196"/>
                    </a:lnTo>
                    <a:lnTo>
                      <a:pt x="397" y="188"/>
                    </a:lnTo>
                    <a:lnTo>
                      <a:pt x="399" y="178"/>
                    </a:lnTo>
                    <a:lnTo>
                      <a:pt x="395" y="173"/>
                    </a:lnTo>
                    <a:lnTo>
                      <a:pt x="390" y="166"/>
                    </a:lnTo>
                    <a:lnTo>
                      <a:pt x="387" y="157"/>
                    </a:lnTo>
                    <a:lnTo>
                      <a:pt x="386" y="148"/>
                    </a:lnTo>
                    <a:lnTo>
                      <a:pt x="384" y="148"/>
                    </a:lnTo>
                    <a:lnTo>
                      <a:pt x="379" y="147"/>
                    </a:lnTo>
                    <a:lnTo>
                      <a:pt x="377" y="147"/>
                    </a:lnTo>
                    <a:lnTo>
                      <a:pt x="375" y="146"/>
                    </a:lnTo>
                    <a:lnTo>
                      <a:pt x="373" y="144"/>
                    </a:lnTo>
                    <a:lnTo>
                      <a:pt x="373" y="142"/>
                    </a:lnTo>
                    <a:lnTo>
                      <a:pt x="363" y="150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3" y="159"/>
                    </a:lnTo>
                    <a:lnTo>
                      <a:pt x="338" y="160"/>
                    </a:lnTo>
                    <a:lnTo>
                      <a:pt x="333" y="160"/>
                    </a:lnTo>
                    <a:lnTo>
                      <a:pt x="334" y="154"/>
                    </a:lnTo>
                    <a:lnTo>
                      <a:pt x="338" y="148"/>
                    </a:lnTo>
                    <a:lnTo>
                      <a:pt x="341" y="143"/>
                    </a:lnTo>
                    <a:lnTo>
                      <a:pt x="345" y="138"/>
                    </a:lnTo>
                    <a:lnTo>
                      <a:pt x="355" y="128"/>
                    </a:lnTo>
                    <a:lnTo>
                      <a:pt x="367" y="120"/>
                    </a:lnTo>
                    <a:lnTo>
                      <a:pt x="378" y="112"/>
                    </a:lnTo>
                    <a:lnTo>
                      <a:pt x="390" y="103"/>
                    </a:lnTo>
                    <a:lnTo>
                      <a:pt x="395" y="98"/>
                    </a:lnTo>
                    <a:lnTo>
                      <a:pt x="399" y="93"/>
                    </a:lnTo>
                    <a:lnTo>
                      <a:pt x="403" y="87"/>
                    </a:lnTo>
                    <a:lnTo>
                      <a:pt x="406" y="80"/>
                    </a:lnTo>
                    <a:lnTo>
                      <a:pt x="407" y="83"/>
                    </a:lnTo>
                    <a:lnTo>
                      <a:pt x="409" y="88"/>
                    </a:lnTo>
                    <a:lnTo>
                      <a:pt x="411" y="96"/>
                    </a:lnTo>
                    <a:lnTo>
                      <a:pt x="412" y="105"/>
                    </a:lnTo>
                    <a:lnTo>
                      <a:pt x="414" y="107"/>
                    </a:lnTo>
                    <a:lnTo>
                      <a:pt x="420" y="111"/>
                    </a:lnTo>
                    <a:lnTo>
                      <a:pt x="426" y="115"/>
                    </a:lnTo>
                    <a:lnTo>
                      <a:pt x="432" y="117"/>
                    </a:lnTo>
                    <a:lnTo>
                      <a:pt x="450" y="116"/>
                    </a:lnTo>
                    <a:lnTo>
                      <a:pt x="463" y="114"/>
                    </a:lnTo>
                    <a:lnTo>
                      <a:pt x="473" y="112"/>
                    </a:lnTo>
                    <a:lnTo>
                      <a:pt x="479" y="111"/>
                    </a:lnTo>
                    <a:lnTo>
                      <a:pt x="474" y="106"/>
                    </a:lnTo>
                    <a:lnTo>
                      <a:pt x="469" y="101"/>
                    </a:lnTo>
                    <a:lnTo>
                      <a:pt x="468" y="98"/>
                    </a:lnTo>
                    <a:lnTo>
                      <a:pt x="467" y="95"/>
                    </a:lnTo>
                    <a:lnTo>
                      <a:pt x="466" y="91"/>
                    </a:lnTo>
                    <a:lnTo>
                      <a:pt x="466" y="87"/>
                    </a:lnTo>
                    <a:lnTo>
                      <a:pt x="485" y="83"/>
                    </a:lnTo>
                    <a:lnTo>
                      <a:pt x="510" y="78"/>
                    </a:lnTo>
                    <a:lnTo>
                      <a:pt x="523" y="75"/>
                    </a:lnTo>
                    <a:lnTo>
                      <a:pt x="536" y="72"/>
                    </a:lnTo>
                    <a:lnTo>
                      <a:pt x="548" y="67"/>
                    </a:lnTo>
                    <a:lnTo>
                      <a:pt x="558" y="61"/>
                    </a:lnTo>
                    <a:lnTo>
                      <a:pt x="565" y="57"/>
                    </a:lnTo>
                    <a:lnTo>
                      <a:pt x="573" y="53"/>
                    </a:lnTo>
                    <a:lnTo>
                      <a:pt x="579" y="50"/>
                    </a:lnTo>
                    <a:lnTo>
                      <a:pt x="586" y="49"/>
                    </a:lnTo>
                    <a:lnTo>
                      <a:pt x="587" y="55"/>
                    </a:lnTo>
                    <a:lnTo>
                      <a:pt x="589" y="61"/>
                    </a:lnTo>
                    <a:lnTo>
                      <a:pt x="591" y="63"/>
                    </a:lnTo>
                    <a:lnTo>
                      <a:pt x="593" y="65"/>
                    </a:lnTo>
                    <a:lnTo>
                      <a:pt x="596" y="67"/>
                    </a:lnTo>
                    <a:lnTo>
                      <a:pt x="599" y="67"/>
                    </a:lnTo>
                    <a:lnTo>
                      <a:pt x="609" y="66"/>
                    </a:lnTo>
                    <a:lnTo>
                      <a:pt x="624" y="61"/>
                    </a:lnTo>
                    <a:lnTo>
                      <a:pt x="638" y="57"/>
                    </a:lnTo>
                    <a:lnTo>
                      <a:pt x="645" y="55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8" y="48"/>
                    </a:lnTo>
                    <a:lnTo>
                      <a:pt x="638" y="46"/>
                    </a:lnTo>
                    <a:lnTo>
                      <a:pt x="638" y="42"/>
                    </a:lnTo>
                    <a:lnTo>
                      <a:pt x="641" y="37"/>
                    </a:lnTo>
                    <a:lnTo>
                      <a:pt x="645" y="33"/>
                    </a:lnTo>
                    <a:lnTo>
                      <a:pt x="650" y="28"/>
                    </a:lnTo>
                    <a:lnTo>
                      <a:pt x="657" y="24"/>
                    </a:lnTo>
                    <a:lnTo>
                      <a:pt x="665" y="20"/>
                    </a:lnTo>
                    <a:lnTo>
                      <a:pt x="674" y="17"/>
                    </a:lnTo>
                    <a:lnTo>
                      <a:pt x="682" y="15"/>
                    </a:lnTo>
                    <a:lnTo>
                      <a:pt x="691" y="14"/>
                    </a:lnTo>
                    <a:lnTo>
                      <a:pt x="699" y="13"/>
                    </a:lnTo>
                    <a:lnTo>
                      <a:pt x="708" y="13"/>
                    </a:lnTo>
                    <a:lnTo>
                      <a:pt x="714" y="13"/>
                    </a:lnTo>
                    <a:lnTo>
                      <a:pt x="721" y="15"/>
                    </a:lnTo>
                    <a:lnTo>
                      <a:pt x="725" y="18"/>
                    </a:lnTo>
                    <a:lnTo>
                      <a:pt x="717" y="20"/>
                    </a:lnTo>
                    <a:lnTo>
                      <a:pt x="709" y="26"/>
                    </a:lnTo>
                    <a:lnTo>
                      <a:pt x="705" y="29"/>
                    </a:lnTo>
                    <a:lnTo>
                      <a:pt x="701" y="32"/>
                    </a:lnTo>
                    <a:lnTo>
                      <a:pt x="699" y="35"/>
                    </a:lnTo>
                    <a:lnTo>
                      <a:pt x="699" y="37"/>
                    </a:lnTo>
                    <a:lnTo>
                      <a:pt x="702" y="39"/>
                    </a:lnTo>
                    <a:lnTo>
                      <a:pt x="705" y="40"/>
                    </a:lnTo>
                    <a:lnTo>
                      <a:pt x="709" y="41"/>
                    </a:lnTo>
                    <a:lnTo>
                      <a:pt x="712" y="40"/>
                    </a:lnTo>
                    <a:lnTo>
                      <a:pt x="719" y="39"/>
                    </a:lnTo>
                    <a:lnTo>
                      <a:pt x="725" y="36"/>
                    </a:lnTo>
                    <a:lnTo>
                      <a:pt x="733" y="32"/>
                    </a:lnTo>
                    <a:lnTo>
                      <a:pt x="741" y="29"/>
                    </a:lnTo>
                    <a:lnTo>
                      <a:pt x="748" y="26"/>
                    </a:lnTo>
                    <a:lnTo>
                      <a:pt x="758" y="24"/>
                    </a:lnTo>
                    <a:lnTo>
                      <a:pt x="758" y="12"/>
                    </a:lnTo>
                    <a:lnTo>
                      <a:pt x="758" y="0"/>
                    </a:lnTo>
                    <a:lnTo>
                      <a:pt x="777" y="0"/>
                    </a:lnTo>
                    <a:lnTo>
                      <a:pt x="793" y="1"/>
                    </a:lnTo>
                    <a:lnTo>
                      <a:pt x="800" y="1"/>
                    </a:lnTo>
                    <a:lnTo>
                      <a:pt x="806" y="2"/>
                    </a:lnTo>
                    <a:lnTo>
                      <a:pt x="813" y="4"/>
                    </a:lnTo>
                    <a:lnTo>
                      <a:pt x="817" y="6"/>
                    </a:lnTo>
                    <a:lnTo>
                      <a:pt x="812" y="11"/>
                    </a:lnTo>
                    <a:lnTo>
                      <a:pt x="805" y="18"/>
                    </a:lnTo>
                    <a:lnTo>
                      <a:pt x="800" y="26"/>
                    </a:lnTo>
                    <a:lnTo>
                      <a:pt x="798" y="31"/>
                    </a:lnTo>
                    <a:lnTo>
                      <a:pt x="815" y="22"/>
                    </a:lnTo>
                    <a:lnTo>
                      <a:pt x="828" y="15"/>
                    </a:lnTo>
                    <a:lnTo>
                      <a:pt x="844" y="8"/>
                    </a:lnTo>
                    <a:lnTo>
                      <a:pt x="865" y="0"/>
                    </a:lnTo>
                    <a:lnTo>
                      <a:pt x="865" y="4"/>
                    </a:lnTo>
                    <a:lnTo>
                      <a:pt x="864" y="9"/>
                    </a:lnTo>
                    <a:lnTo>
                      <a:pt x="861" y="14"/>
                    </a:lnTo>
                    <a:lnTo>
                      <a:pt x="858" y="18"/>
                    </a:lnTo>
                    <a:lnTo>
                      <a:pt x="860" y="14"/>
                    </a:lnTo>
                    <a:lnTo>
                      <a:pt x="862" y="11"/>
                    </a:lnTo>
                    <a:lnTo>
                      <a:pt x="866" y="9"/>
                    </a:lnTo>
                    <a:lnTo>
                      <a:pt x="869" y="7"/>
                    </a:lnTo>
                    <a:lnTo>
                      <a:pt x="876" y="6"/>
                    </a:lnTo>
                    <a:lnTo>
                      <a:pt x="884" y="6"/>
                    </a:lnTo>
                    <a:lnTo>
                      <a:pt x="892" y="6"/>
                    </a:lnTo>
                    <a:lnTo>
                      <a:pt x="907" y="6"/>
                    </a:lnTo>
                    <a:lnTo>
                      <a:pt x="924" y="6"/>
                    </a:lnTo>
                    <a:lnTo>
                      <a:pt x="930" y="6"/>
                    </a:lnTo>
                    <a:lnTo>
                      <a:pt x="947" y="12"/>
                    </a:lnTo>
                    <a:lnTo>
                      <a:pt x="979" y="22"/>
                    </a:lnTo>
                    <a:lnTo>
                      <a:pt x="996" y="28"/>
                    </a:lnTo>
                    <a:lnTo>
                      <a:pt x="1013" y="33"/>
                    </a:lnTo>
                    <a:lnTo>
                      <a:pt x="1027" y="38"/>
                    </a:lnTo>
                    <a:lnTo>
                      <a:pt x="1037" y="43"/>
                    </a:lnTo>
                    <a:lnTo>
                      <a:pt x="1031" y="52"/>
                    </a:lnTo>
                    <a:lnTo>
                      <a:pt x="1025" y="61"/>
                    </a:lnTo>
                    <a:lnTo>
                      <a:pt x="1022" y="66"/>
                    </a:lnTo>
                    <a:lnTo>
                      <a:pt x="1019" y="70"/>
                    </a:lnTo>
                    <a:lnTo>
                      <a:pt x="1017" y="75"/>
                    </a:lnTo>
                    <a:lnTo>
                      <a:pt x="1017" y="80"/>
                    </a:lnTo>
                    <a:lnTo>
                      <a:pt x="1005" y="79"/>
                    </a:lnTo>
                    <a:lnTo>
                      <a:pt x="993" y="76"/>
                    </a:lnTo>
                    <a:lnTo>
                      <a:pt x="982" y="72"/>
                    </a:lnTo>
                    <a:lnTo>
                      <a:pt x="971" y="67"/>
                    </a:lnTo>
                    <a:lnTo>
                      <a:pt x="961" y="63"/>
                    </a:lnTo>
                    <a:lnTo>
                      <a:pt x="951" y="59"/>
                    </a:lnTo>
                    <a:lnTo>
                      <a:pt x="940" y="56"/>
                    </a:lnTo>
                    <a:lnTo>
                      <a:pt x="930" y="55"/>
                    </a:lnTo>
                    <a:lnTo>
                      <a:pt x="919" y="55"/>
                    </a:lnTo>
                    <a:lnTo>
                      <a:pt x="906" y="55"/>
                    </a:lnTo>
                    <a:lnTo>
                      <a:pt x="892" y="55"/>
                    </a:lnTo>
                    <a:lnTo>
                      <a:pt x="878" y="55"/>
                    </a:lnTo>
                    <a:lnTo>
                      <a:pt x="877" y="62"/>
                    </a:lnTo>
                    <a:lnTo>
                      <a:pt x="876" y="68"/>
                    </a:lnTo>
                    <a:lnTo>
                      <a:pt x="873" y="74"/>
                    </a:lnTo>
                    <a:lnTo>
                      <a:pt x="871" y="80"/>
                    </a:lnTo>
                    <a:lnTo>
                      <a:pt x="869" y="88"/>
                    </a:lnTo>
                    <a:lnTo>
                      <a:pt x="867" y="95"/>
                    </a:lnTo>
                    <a:lnTo>
                      <a:pt x="865" y="102"/>
                    </a:lnTo>
                    <a:lnTo>
                      <a:pt x="865" y="111"/>
                    </a:lnTo>
                    <a:lnTo>
                      <a:pt x="854" y="114"/>
                    </a:lnTo>
                    <a:lnTo>
                      <a:pt x="848" y="116"/>
                    </a:lnTo>
                    <a:lnTo>
                      <a:pt x="844" y="116"/>
                    </a:lnTo>
                    <a:lnTo>
                      <a:pt x="842" y="115"/>
                    </a:lnTo>
                    <a:lnTo>
                      <a:pt x="838" y="114"/>
                    </a:lnTo>
                    <a:lnTo>
                      <a:pt x="835" y="113"/>
                    </a:lnTo>
                    <a:lnTo>
                      <a:pt x="828" y="111"/>
                    </a:lnTo>
                    <a:lnTo>
                      <a:pt x="817" y="111"/>
                    </a:lnTo>
                    <a:lnTo>
                      <a:pt x="811" y="111"/>
                    </a:lnTo>
                    <a:lnTo>
                      <a:pt x="804" y="112"/>
                    </a:lnTo>
                    <a:lnTo>
                      <a:pt x="798" y="113"/>
                    </a:lnTo>
                    <a:lnTo>
                      <a:pt x="790" y="115"/>
                    </a:lnTo>
                    <a:lnTo>
                      <a:pt x="776" y="121"/>
                    </a:lnTo>
                    <a:lnTo>
                      <a:pt x="758" y="129"/>
                    </a:lnTo>
                    <a:lnTo>
                      <a:pt x="750" y="129"/>
                    </a:lnTo>
                    <a:lnTo>
                      <a:pt x="745" y="128"/>
                    </a:lnTo>
                    <a:lnTo>
                      <a:pt x="738" y="126"/>
                    </a:lnTo>
                    <a:lnTo>
                      <a:pt x="734" y="124"/>
                    </a:lnTo>
                    <a:lnTo>
                      <a:pt x="724" y="119"/>
                    </a:lnTo>
                    <a:lnTo>
                      <a:pt x="716" y="112"/>
                    </a:lnTo>
                    <a:lnTo>
                      <a:pt x="709" y="105"/>
                    </a:lnTo>
                    <a:lnTo>
                      <a:pt x="702" y="98"/>
                    </a:lnTo>
                    <a:lnTo>
                      <a:pt x="694" y="92"/>
                    </a:lnTo>
                    <a:lnTo>
                      <a:pt x="685" y="87"/>
                    </a:lnTo>
                    <a:lnTo>
                      <a:pt x="677" y="92"/>
                    </a:lnTo>
                    <a:lnTo>
                      <a:pt x="669" y="96"/>
                    </a:lnTo>
                    <a:lnTo>
                      <a:pt x="661" y="100"/>
                    </a:lnTo>
                    <a:lnTo>
                      <a:pt x="654" y="103"/>
                    </a:lnTo>
                    <a:lnTo>
                      <a:pt x="637" y="109"/>
                    </a:lnTo>
                    <a:lnTo>
                      <a:pt x="620" y="112"/>
                    </a:lnTo>
                    <a:lnTo>
                      <a:pt x="602" y="116"/>
                    </a:lnTo>
                    <a:lnTo>
                      <a:pt x="584" y="119"/>
                    </a:lnTo>
                    <a:lnTo>
                      <a:pt x="565" y="123"/>
                    </a:lnTo>
                    <a:lnTo>
                      <a:pt x="545" y="129"/>
                    </a:lnTo>
                    <a:lnTo>
                      <a:pt x="542" y="130"/>
                    </a:lnTo>
                    <a:lnTo>
                      <a:pt x="537" y="131"/>
                    </a:lnTo>
                    <a:lnTo>
                      <a:pt x="534" y="134"/>
                    </a:lnTo>
                    <a:lnTo>
                      <a:pt x="530" y="138"/>
                    </a:lnTo>
                    <a:lnTo>
                      <a:pt x="521" y="147"/>
                    </a:lnTo>
                    <a:lnTo>
                      <a:pt x="513" y="158"/>
                    </a:lnTo>
                    <a:lnTo>
                      <a:pt x="506" y="170"/>
                    </a:lnTo>
                    <a:lnTo>
                      <a:pt x="498" y="184"/>
                    </a:lnTo>
                    <a:lnTo>
                      <a:pt x="491" y="198"/>
                    </a:lnTo>
                    <a:lnTo>
                      <a:pt x="486" y="210"/>
                    </a:lnTo>
                    <a:lnTo>
                      <a:pt x="482" y="217"/>
                    </a:lnTo>
                    <a:lnTo>
                      <a:pt x="478" y="225"/>
                    </a:lnTo>
                    <a:lnTo>
                      <a:pt x="473" y="232"/>
                    </a:lnTo>
                    <a:lnTo>
                      <a:pt x="466" y="239"/>
                    </a:lnTo>
                    <a:lnTo>
                      <a:pt x="453" y="255"/>
                    </a:lnTo>
                    <a:lnTo>
                      <a:pt x="437" y="270"/>
                    </a:lnTo>
                    <a:lnTo>
                      <a:pt x="430" y="279"/>
                    </a:lnTo>
                    <a:lnTo>
                      <a:pt x="423" y="288"/>
                    </a:lnTo>
                    <a:lnTo>
                      <a:pt x="417" y="298"/>
                    </a:lnTo>
                    <a:lnTo>
                      <a:pt x="411" y="309"/>
                    </a:lnTo>
                    <a:lnTo>
                      <a:pt x="406" y="321"/>
                    </a:lnTo>
                    <a:lnTo>
                      <a:pt x="402" y="334"/>
                    </a:lnTo>
                    <a:lnTo>
                      <a:pt x="400" y="348"/>
                    </a:lnTo>
                    <a:lnTo>
                      <a:pt x="399" y="364"/>
                    </a:lnTo>
                    <a:lnTo>
                      <a:pt x="396" y="362"/>
                    </a:lnTo>
                    <a:lnTo>
                      <a:pt x="392" y="361"/>
                    </a:lnTo>
                    <a:lnTo>
                      <a:pt x="387" y="361"/>
                    </a:lnTo>
                    <a:lnTo>
                      <a:pt x="381" y="362"/>
                    </a:lnTo>
                    <a:lnTo>
                      <a:pt x="367" y="363"/>
                    </a:lnTo>
                    <a:lnTo>
                      <a:pt x="353" y="364"/>
                    </a:lnTo>
                    <a:lnTo>
                      <a:pt x="333" y="425"/>
                    </a:lnTo>
                    <a:lnTo>
                      <a:pt x="333" y="441"/>
                    </a:lnTo>
                    <a:lnTo>
                      <a:pt x="336" y="464"/>
                    </a:lnTo>
                    <a:lnTo>
                      <a:pt x="340" y="477"/>
                    </a:lnTo>
                    <a:lnTo>
                      <a:pt x="344" y="487"/>
                    </a:lnTo>
                    <a:lnTo>
                      <a:pt x="347" y="491"/>
                    </a:lnTo>
                    <a:lnTo>
                      <a:pt x="351" y="495"/>
                    </a:lnTo>
                    <a:lnTo>
                      <a:pt x="355" y="497"/>
                    </a:lnTo>
                    <a:lnTo>
                      <a:pt x="360" y="499"/>
                    </a:lnTo>
                    <a:lnTo>
                      <a:pt x="358" y="515"/>
                    </a:lnTo>
                    <a:lnTo>
                      <a:pt x="357" y="528"/>
                    </a:lnTo>
                    <a:lnTo>
                      <a:pt x="356" y="537"/>
                    </a:lnTo>
                    <a:lnTo>
                      <a:pt x="354" y="544"/>
                    </a:lnTo>
                    <a:lnTo>
                      <a:pt x="354" y="551"/>
                    </a:lnTo>
                    <a:lnTo>
                      <a:pt x="354" y="558"/>
                    </a:lnTo>
                    <a:lnTo>
                      <a:pt x="355" y="567"/>
                    </a:lnTo>
                    <a:lnTo>
                      <a:pt x="360" y="579"/>
                    </a:lnTo>
                    <a:lnTo>
                      <a:pt x="352" y="585"/>
                    </a:lnTo>
                    <a:lnTo>
                      <a:pt x="346" y="591"/>
                    </a:lnTo>
                    <a:lnTo>
                      <a:pt x="340" y="598"/>
                    </a:lnTo>
                    <a:lnTo>
                      <a:pt x="335" y="606"/>
                    </a:lnTo>
                    <a:lnTo>
                      <a:pt x="331" y="615"/>
                    </a:lnTo>
                    <a:lnTo>
                      <a:pt x="329" y="625"/>
                    </a:lnTo>
                    <a:lnTo>
                      <a:pt x="327" y="635"/>
                    </a:lnTo>
                    <a:lnTo>
                      <a:pt x="327" y="647"/>
                    </a:lnTo>
                    <a:lnTo>
                      <a:pt x="318" y="646"/>
                    </a:lnTo>
                    <a:lnTo>
                      <a:pt x="306" y="645"/>
                    </a:lnTo>
                    <a:lnTo>
                      <a:pt x="300" y="645"/>
                    </a:lnTo>
                    <a:lnTo>
                      <a:pt x="295" y="645"/>
                    </a:lnTo>
                    <a:lnTo>
                      <a:pt x="289" y="646"/>
                    </a:lnTo>
                    <a:lnTo>
                      <a:pt x="286" y="6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1" name="Freeform 228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10442843" y="2798335"/>
                <a:ext cx="49212" cy="90487"/>
              </a:xfrm>
              <a:custGeom>
                <a:avLst/>
                <a:gdLst>
                  <a:gd name="T0" fmla="*/ 2147483647 w 120"/>
                  <a:gd name="T1" fmla="*/ 2147483647 h 173"/>
                  <a:gd name="T2" fmla="*/ 2147483647 w 120"/>
                  <a:gd name="T3" fmla="*/ 2147483647 h 173"/>
                  <a:gd name="T4" fmla="*/ 2147483647 w 120"/>
                  <a:gd name="T5" fmla="*/ 2147483647 h 173"/>
                  <a:gd name="T6" fmla="*/ 2147483647 w 120"/>
                  <a:gd name="T7" fmla="*/ 2147483647 h 173"/>
                  <a:gd name="T8" fmla="*/ 2147483647 w 120"/>
                  <a:gd name="T9" fmla="*/ 1144647474 h 173"/>
                  <a:gd name="T10" fmla="*/ 2147483647 w 120"/>
                  <a:gd name="T11" fmla="*/ 572323998 h 173"/>
                  <a:gd name="T12" fmla="*/ 2147483647 w 120"/>
                  <a:gd name="T13" fmla="*/ 286161738 h 173"/>
                  <a:gd name="T14" fmla="*/ 2147483647 w 120"/>
                  <a:gd name="T15" fmla="*/ 143080869 h 173"/>
                  <a:gd name="T16" fmla="*/ 2147483647 w 120"/>
                  <a:gd name="T17" fmla="*/ 0 h 173"/>
                  <a:gd name="T18" fmla="*/ 2147483647 w 120"/>
                  <a:gd name="T19" fmla="*/ 0 h 173"/>
                  <a:gd name="T20" fmla="*/ 1862279274 w 120"/>
                  <a:gd name="T21" fmla="*/ 143080869 h 173"/>
                  <a:gd name="T22" fmla="*/ 1655247260 w 120"/>
                  <a:gd name="T23" fmla="*/ 429243130 h 173"/>
                  <a:gd name="T24" fmla="*/ 1448383388 w 120"/>
                  <a:gd name="T25" fmla="*/ 715404867 h 173"/>
                  <a:gd name="T26" fmla="*/ 1310474140 w 120"/>
                  <a:gd name="T27" fmla="*/ 1144647474 h 173"/>
                  <a:gd name="T28" fmla="*/ 1103610268 w 120"/>
                  <a:gd name="T29" fmla="*/ 1717245025 h 173"/>
                  <a:gd name="T30" fmla="*/ 1034655644 w 120"/>
                  <a:gd name="T31" fmla="*/ 2146488155 h 173"/>
                  <a:gd name="T32" fmla="*/ 1034655644 w 120"/>
                  <a:gd name="T33" fmla="*/ 2147483647 h 173"/>
                  <a:gd name="T34" fmla="*/ 965532878 w 120"/>
                  <a:gd name="T35" fmla="*/ 2147483647 h 173"/>
                  <a:gd name="T36" fmla="*/ 827623630 w 120"/>
                  <a:gd name="T37" fmla="*/ 2147483647 h 173"/>
                  <a:gd name="T38" fmla="*/ 689714382 w 120"/>
                  <a:gd name="T39" fmla="*/ 2147483647 h 173"/>
                  <a:gd name="T40" fmla="*/ 551805134 w 120"/>
                  <a:gd name="T41" fmla="*/ 2147483647 h 173"/>
                  <a:gd name="T42" fmla="*/ 275818496 w 120"/>
                  <a:gd name="T43" fmla="*/ 2147483647 h 173"/>
                  <a:gd name="T44" fmla="*/ 0 w 120"/>
                  <a:gd name="T45" fmla="*/ 2147483647 h 173"/>
                  <a:gd name="T46" fmla="*/ 344941262 w 120"/>
                  <a:gd name="T47" fmla="*/ 2147483647 h 173"/>
                  <a:gd name="T48" fmla="*/ 689714382 w 120"/>
                  <a:gd name="T49" fmla="*/ 2147483647 h 173"/>
                  <a:gd name="T50" fmla="*/ 1034655644 w 120"/>
                  <a:gd name="T51" fmla="*/ 2147483647 h 173"/>
                  <a:gd name="T52" fmla="*/ 1379428764 w 120"/>
                  <a:gd name="T53" fmla="*/ 2147483647 h 173"/>
                  <a:gd name="T54" fmla="*/ 1655247260 w 120"/>
                  <a:gd name="T55" fmla="*/ 2147483647 h 173"/>
                  <a:gd name="T56" fmla="*/ 2069143146 w 120"/>
                  <a:gd name="T57" fmla="*/ 2147483647 h 173"/>
                  <a:gd name="T58" fmla="*/ 2147483647 w 120"/>
                  <a:gd name="T59" fmla="*/ 2147483647 h 173"/>
                  <a:gd name="T60" fmla="*/ 2147483647 w 120"/>
                  <a:gd name="T61" fmla="*/ 2147483647 h 173"/>
                  <a:gd name="T62" fmla="*/ 2147483647 w 120"/>
                  <a:gd name="T63" fmla="*/ 2147483647 h 173"/>
                  <a:gd name="T64" fmla="*/ 2147483647 w 120"/>
                  <a:gd name="T65" fmla="*/ 2147483647 h 173"/>
                  <a:gd name="T66" fmla="*/ 2147483647 w 120"/>
                  <a:gd name="T67" fmla="*/ 2147483647 h 173"/>
                  <a:gd name="T68" fmla="*/ 2147483647 w 120"/>
                  <a:gd name="T69" fmla="*/ 2147483647 h 173"/>
                  <a:gd name="T70" fmla="*/ 2147483647 w 120"/>
                  <a:gd name="T71" fmla="*/ 2147483647 h 173"/>
                  <a:gd name="T72" fmla="*/ 2147483647 w 120"/>
                  <a:gd name="T73" fmla="*/ 2147483647 h 173"/>
                  <a:gd name="T74" fmla="*/ 2147483647 w 120"/>
                  <a:gd name="T75" fmla="*/ 2147483647 h 173"/>
                  <a:gd name="T76" fmla="*/ 2147483647 w 120"/>
                  <a:gd name="T77" fmla="*/ 2147483647 h 173"/>
                  <a:gd name="T78" fmla="*/ 2147483647 w 120"/>
                  <a:gd name="T79" fmla="*/ 2147483647 h 173"/>
                  <a:gd name="T80" fmla="*/ 2147483647 w 120"/>
                  <a:gd name="T81" fmla="*/ 2147483647 h 173"/>
                  <a:gd name="T82" fmla="*/ 2147483647 w 120"/>
                  <a:gd name="T83" fmla="*/ 2147483647 h 173"/>
                  <a:gd name="T84" fmla="*/ 2147483647 w 120"/>
                  <a:gd name="T85" fmla="*/ 2147483647 h 173"/>
                  <a:gd name="T86" fmla="*/ 2147483647 w 120"/>
                  <a:gd name="T87" fmla="*/ 2147483647 h 173"/>
                  <a:gd name="T88" fmla="*/ 2147483647 w 120"/>
                  <a:gd name="T89" fmla="*/ 2147483647 h 1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2" name="Freeform 229"/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10150743" y="2637997"/>
                <a:ext cx="84137" cy="58738"/>
              </a:xfrm>
              <a:custGeom>
                <a:avLst/>
                <a:gdLst>
                  <a:gd name="T0" fmla="*/ 2147483647 w 200"/>
                  <a:gd name="T1" fmla="*/ 2147483647 h 98"/>
                  <a:gd name="T2" fmla="*/ 2147483647 w 200"/>
                  <a:gd name="T3" fmla="*/ 2147483647 h 98"/>
                  <a:gd name="T4" fmla="*/ 2147483647 w 200"/>
                  <a:gd name="T5" fmla="*/ 2147483647 h 98"/>
                  <a:gd name="T6" fmla="*/ 2147483647 w 200"/>
                  <a:gd name="T7" fmla="*/ 2147483647 h 98"/>
                  <a:gd name="T8" fmla="*/ 2147483647 w 200"/>
                  <a:gd name="T9" fmla="*/ 2147483647 h 98"/>
                  <a:gd name="T10" fmla="*/ 2147483647 w 200"/>
                  <a:gd name="T11" fmla="*/ 2147483647 h 98"/>
                  <a:gd name="T12" fmla="*/ 2147483647 w 200"/>
                  <a:gd name="T13" fmla="*/ 2147483647 h 98"/>
                  <a:gd name="T14" fmla="*/ 2147483647 w 200"/>
                  <a:gd name="T15" fmla="*/ 2147483647 h 98"/>
                  <a:gd name="T16" fmla="*/ 2147483647 w 200"/>
                  <a:gd name="T17" fmla="*/ 2147483647 h 98"/>
                  <a:gd name="T18" fmla="*/ 2147483647 w 200"/>
                  <a:gd name="T19" fmla="*/ 2147483647 h 98"/>
                  <a:gd name="T20" fmla="*/ 2147483647 w 200"/>
                  <a:gd name="T21" fmla="*/ 2147483647 h 98"/>
                  <a:gd name="T22" fmla="*/ 2147483647 w 200"/>
                  <a:gd name="T23" fmla="*/ 2147483647 h 98"/>
                  <a:gd name="T24" fmla="*/ 2147483647 w 200"/>
                  <a:gd name="T25" fmla="*/ 2147483647 h 98"/>
                  <a:gd name="T26" fmla="*/ 2147483647 w 200"/>
                  <a:gd name="T27" fmla="*/ 2147483647 h 98"/>
                  <a:gd name="T28" fmla="*/ 2147483647 w 200"/>
                  <a:gd name="T29" fmla="*/ 2147483647 h 98"/>
                  <a:gd name="T30" fmla="*/ 2147483647 w 200"/>
                  <a:gd name="T31" fmla="*/ 2147483647 h 98"/>
                  <a:gd name="T32" fmla="*/ 2147483647 w 200"/>
                  <a:gd name="T33" fmla="*/ 2147483647 h 98"/>
                  <a:gd name="T34" fmla="*/ 2147483647 w 200"/>
                  <a:gd name="T35" fmla="*/ 2147483647 h 98"/>
                  <a:gd name="T36" fmla="*/ 2147483647 w 200"/>
                  <a:gd name="T37" fmla="*/ 2147483647 h 98"/>
                  <a:gd name="T38" fmla="*/ 2147483647 w 200"/>
                  <a:gd name="T39" fmla="*/ 2147483647 h 98"/>
                  <a:gd name="T40" fmla="*/ 2147483647 w 200"/>
                  <a:gd name="T41" fmla="*/ 2147483647 h 98"/>
                  <a:gd name="T42" fmla="*/ 2147483647 w 200"/>
                  <a:gd name="T43" fmla="*/ 2147483647 h 98"/>
                  <a:gd name="T44" fmla="*/ 2147483647 w 200"/>
                  <a:gd name="T45" fmla="*/ 2147483647 h 98"/>
                  <a:gd name="T46" fmla="*/ 2147483647 w 200"/>
                  <a:gd name="T47" fmla="*/ 2147483647 h 98"/>
                  <a:gd name="T48" fmla="*/ 2147483647 w 200"/>
                  <a:gd name="T49" fmla="*/ 2147483647 h 98"/>
                  <a:gd name="T50" fmla="*/ 2084598926 w 200"/>
                  <a:gd name="T51" fmla="*/ 2147483647 h 98"/>
                  <a:gd name="T52" fmla="*/ 1637911806 w 200"/>
                  <a:gd name="T53" fmla="*/ 2147483647 h 98"/>
                  <a:gd name="T54" fmla="*/ 1116717588 w 200"/>
                  <a:gd name="T55" fmla="*/ 2147483647 h 98"/>
                  <a:gd name="T56" fmla="*/ 670030468 w 200"/>
                  <a:gd name="T57" fmla="*/ 2147483647 h 98"/>
                  <a:gd name="T58" fmla="*/ 297850449 w 200"/>
                  <a:gd name="T59" fmla="*/ 2147483647 h 98"/>
                  <a:gd name="T60" fmla="*/ 74506679 w 200"/>
                  <a:gd name="T61" fmla="*/ 2147483647 h 98"/>
                  <a:gd name="T62" fmla="*/ 0 w 200"/>
                  <a:gd name="T63" fmla="*/ 2147483647 h 98"/>
                  <a:gd name="T64" fmla="*/ 372180440 w 200"/>
                  <a:gd name="T65" fmla="*/ 2147483647 h 98"/>
                  <a:gd name="T66" fmla="*/ 744537568 w 200"/>
                  <a:gd name="T67" fmla="*/ 2147483647 h 98"/>
                  <a:gd name="T68" fmla="*/ 1042388017 w 200"/>
                  <a:gd name="T69" fmla="*/ 2147483647 h 98"/>
                  <a:gd name="T70" fmla="*/ 1489075136 w 200"/>
                  <a:gd name="T71" fmla="*/ 2147483647 h 98"/>
                  <a:gd name="T72" fmla="*/ 1712418485 w 200"/>
                  <a:gd name="T73" fmla="*/ 2147483647 h 98"/>
                  <a:gd name="T74" fmla="*/ 2010091826 w 200"/>
                  <a:gd name="T75" fmla="*/ 2147483647 h 98"/>
                  <a:gd name="T76" fmla="*/ 2147483647 w 200"/>
                  <a:gd name="T77" fmla="*/ 2147483647 h 98"/>
                  <a:gd name="T78" fmla="*/ 2147483647 w 200"/>
                  <a:gd name="T79" fmla="*/ 2147483647 h 98"/>
                  <a:gd name="T80" fmla="*/ 2147483647 w 200"/>
                  <a:gd name="T81" fmla="*/ 2147483647 h 98"/>
                  <a:gd name="T82" fmla="*/ 2147483647 w 200"/>
                  <a:gd name="T83" fmla="*/ 1937746841 h 98"/>
                  <a:gd name="T84" fmla="*/ 2147483647 w 200"/>
                  <a:gd name="T85" fmla="*/ 861101477 h 98"/>
                  <a:gd name="T86" fmla="*/ 2147483647 w 200"/>
                  <a:gd name="T87" fmla="*/ 0 h 98"/>
                  <a:gd name="T88" fmla="*/ 2147483647 w 200"/>
                  <a:gd name="T89" fmla="*/ 2147483647 h 98"/>
                  <a:gd name="T90" fmla="*/ 2147483647 w 200"/>
                  <a:gd name="T91" fmla="*/ 2147483647 h 98"/>
                  <a:gd name="T92" fmla="*/ 2147483647 w 200"/>
                  <a:gd name="T93" fmla="*/ 2147483647 h 98"/>
                  <a:gd name="T94" fmla="*/ 2147483647 w 200"/>
                  <a:gd name="T95" fmla="*/ 2147483647 h 98"/>
                  <a:gd name="T96" fmla="*/ 2147483647 w 200"/>
                  <a:gd name="T97" fmla="*/ 2147483647 h 98"/>
                  <a:gd name="T98" fmla="*/ 2147483647 w 200"/>
                  <a:gd name="T99" fmla="*/ 2147483647 h 98"/>
                  <a:gd name="T100" fmla="*/ 2147483647 w 200"/>
                  <a:gd name="T101" fmla="*/ 2147483647 h 98"/>
                  <a:gd name="T102" fmla="*/ 2147483647 w 200"/>
                  <a:gd name="T103" fmla="*/ 2147483647 h 98"/>
                  <a:gd name="T104" fmla="*/ 2147483647 w 200"/>
                  <a:gd name="T105" fmla="*/ 2147483647 h 98"/>
                  <a:gd name="T106" fmla="*/ 2147483647 w 200"/>
                  <a:gd name="T107" fmla="*/ 2147483647 h 98"/>
                  <a:gd name="T108" fmla="*/ 2147483647 w 200"/>
                  <a:gd name="T109" fmla="*/ 2147483647 h 98"/>
                  <a:gd name="T110" fmla="*/ 2147483647 w 200"/>
                  <a:gd name="T111" fmla="*/ 2147483647 h 98"/>
                  <a:gd name="T112" fmla="*/ 2147483647 w 200"/>
                  <a:gd name="T113" fmla="*/ 2147483647 h 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3" name="Freeform 230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10088830" y="2457022"/>
                <a:ext cx="84138" cy="73025"/>
              </a:xfrm>
              <a:custGeom>
                <a:avLst/>
                <a:gdLst>
                  <a:gd name="T0" fmla="*/ 0 w 186"/>
                  <a:gd name="T1" fmla="*/ 2147483647 h 142"/>
                  <a:gd name="T2" fmla="*/ 185185476 w 186"/>
                  <a:gd name="T3" fmla="*/ 2147483647 h 142"/>
                  <a:gd name="T4" fmla="*/ 277676208 w 186"/>
                  <a:gd name="T5" fmla="*/ 2147483647 h 142"/>
                  <a:gd name="T6" fmla="*/ 277676208 w 186"/>
                  <a:gd name="T7" fmla="*/ 2147483647 h 142"/>
                  <a:gd name="T8" fmla="*/ 833028173 w 186"/>
                  <a:gd name="T9" fmla="*/ 2147483647 h 142"/>
                  <a:gd name="T10" fmla="*/ 1573565613 w 186"/>
                  <a:gd name="T11" fmla="*/ 2147483647 h 142"/>
                  <a:gd name="T12" fmla="*/ 1851241369 w 186"/>
                  <a:gd name="T13" fmla="*/ 2147483647 h 142"/>
                  <a:gd name="T14" fmla="*/ 2128917577 w 186"/>
                  <a:gd name="T15" fmla="*/ 2147483647 h 142"/>
                  <a:gd name="T16" fmla="*/ 2147483647 w 186"/>
                  <a:gd name="T17" fmla="*/ 2147483647 h 142"/>
                  <a:gd name="T18" fmla="*/ 2147483647 w 186"/>
                  <a:gd name="T19" fmla="*/ 2147483647 h 142"/>
                  <a:gd name="T20" fmla="*/ 2147483647 w 186"/>
                  <a:gd name="T21" fmla="*/ 2147483647 h 142"/>
                  <a:gd name="T22" fmla="*/ 2147483647 w 186"/>
                  <a:gd name="T23" fmla="*/ 2147483647 h 142"/>
                  <a:gd name="T24" fmla="*/ 2147483647 w 186"/>
                  <a:gd name="T25" fmla="*/ 2147483647 h 142"/>
                  <a:gd name="T26" fmla="*/ 2147483647 w 186"/>
                  <a:gd name="T27" fmla="*/ 2147483647 h 142"/>
                  <a:gd name="T28" fmla="*/ 2147483647 w 186"/>
                  <a:gd name="T29" fmla="*/ 2147483647 h 142"/>
                  <a:gd name="T30" fmla="*/ 2147483647 w 186"/>
                  <a:gd name="T31" fmla="*/ 2147483647 h 142"/>
                  <a:gd name="T32" fmla="*/ 2147483647 w 186"/>
                  <a:gd name="T33" fmla="*/ 2147483647 h 142"/>
                  <a:gd name="T34" fmla="*/ 2147483647 w 186"/>
                  <a:gd name="T35" fmla="*/ 2147483647 h 142"/>
                  <a:gd name="T36" fmla="*/ 2147483647 w 186"/>
                  <a:gd name="T37" fmla="*/ 2147483647 h 142"/>
                  <a:gd name="T38" fmla="*/ 2147483647 w 186"/>
                  <a:gd name="T39" fmla="*/ 2147483647 h 142"/>
                  <a:gd name="T40" fmla="*/ 2147483647 w 186"/>
                  <a:gd name="T41" fmla="*/ 1904140246 h 142"/>
                  <a:gd name="T42" fmla="*/ 2147483647 w 186"/>
                  <a:gd name="T43" fmla="*/ 1360137937 h 142"/>
                  <a:gd name="T44" fmla="*/ 2147483647 w 186"/>
                  <a:gd name="T45" fmla="*/ 816135628 h 142"/>
                  <a:gd name="T46" fmla="*/ 2147483647 w 186"/>
                  <a:gd name="T47" fmla="*/ 408067814 h 142"/>
                  <a:gd name="T48" fmla="*/ 2147483647 w 186"/>
                  <a:gd name="T49" fmla="*/ 135934495 h 142"/>
                  <a:gd name="T50" fmla="*/ 2147483647 w 186"/>
                  <a:gd name="T51" fmla="*/ 272133319 h 142"/>
                  <a:gd name="T52" fmla="*/ 2147483647 w 186"/>
                  <a:gd name="T53" fmla="*/ 135934495 h 142"/>
                  <a:gd name="T54" fmla="*/ 2147483647 w 186"/>
                  <a:gd name="T55" fmla="*/ 1360137937 h 142"/>
                  <a:gd name="T56" fmla="*/ 2147483647 w 186"/>
                  <a:gd name="T57" fmla="*/ 2147483647 h 142"/>
                  <a:gd name="T58" fmla="*/ 2147483647 w 186"/>
                  <a:gd name="T59" fmla="*/ 2147483647 h 142"/>
                  <a:gd name="T60" fmla="*/ 2147483647 w 186"/>
                  <a:gd name="T61" fmla="*/ 2147483647 h 142"/>
                  <a:gd name="T62" fmla="*/ 2147483647 w 186"/>
                  <a:gd name="T63" fmla="*/ 2147483647 h 142"/>
                  <a:gd name="T64" fmla="*/ 2147483647 w 186"/>
                  <a:gd name="T65" fmla="*/ 2147483647 h 142"/>
                  <a:gd name="T66" fmla="*/ 2147483647 w 186"/>
                  <a:gd name="T67" fmla="*/ 2147483647 h 142"/>
                  <a:gd name="T68" fmla="*/ 2147483647 w 186"/>
                  <a:gd name="T69" fmla="*/ 2147483647 h 142"/>
                  <a:gd name="T70" fmla="*/ 2147483647 w 186"/>
                  <a:gd name="T71" fmla="*/ 2147483647 h 142"/>
                  <a:gd name="T72" fmla="*/ 740537441 w 186"/>
                  <a:gd name="T73" fmla="*/ 2147483647 h 1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4" name="Freeform 231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10069780" y="2520522"/>
                <a:ext cx="84138" cy="57150"/>
              </a:xfrm>
              <a:custGeom>
                <a:avLst/>
                <a:gdLst>
                  <a:gd name="T0" fmla="*/ 2147483647 w 192"/>
                  <a:gd name="T1" fmla="*/ 2147483647 h 105"/>
                  <a:gd name="T2" fmla="*/ 2147483647 w 192"/>
                  <a:gd name="T3" fmla="*/ 2147483647 h 105"/>
                  <a:gd name="T4" fmla="*/ 2147483647 w 192"/>
                  <a:gd name="T5" fmla="*/ 2147483647 h 105"/>
                  <a:gd name="T6" fmla="*/ 2147483647 w 192"/>
                  <a:gd name="T7" fmla="*/ 2147483647 h 105"/>
                  <a:gd name="T8" fmla="*/ 2147483647 w 192"/>
                  <a:gd name="T9" fmla="*/ 2147483647 h 105"/>
                  <a:gd name="T10" fmla="*/ 2147483647 w 192"/>
                  <a:gd name="T11" fmla="*/ 2147483647 h 105"/>
                  <a:gd name="T12" fmla="*/ 2147483647 w 192"/>
                  <a:gd name="T13" fmla="*/ 2147483647 h 105"/>
                  <a:gd name="T14" fmla="*/ 2147483647 w 192"/>
                  <a:gd name="T15" fmla="*/ 2147483647 h 105"/>
                  <a:gd name="T16" fmla="*/ 2147483647 w 192"/>
                  <a:gd name="T17" fmla="*/ 2147483647 h 105"/>
                  <a:gd name="T18" fmla="*/ 2147483647 w 192"/>
                  <a:gd name="T19" fmla="*/ 2147483647 h 105"/>
                  <a:gd name="T20" fmla="*/ 2147483647 w 192"/>
                  <a:gd name="T21" fmla="*/ 2147483647 h 105"/>
                  <a:gd name="T22" fmla="*/ 2147483647 w 192"/>
                  <a:gd name="T23" fmla="*/ 2147483647 h 105"/>
                  <a:gd name="T24" fmla="*/ 2147483647 w 192"/>
                  <a:gd name="T25" fmla="*/ 2147483647 h 105"/>
                  <a:gd name="T26" fmla="*/ 2147483647 w 192"/>
                  <a:gd name="T27" fmla="*/ 2147483647 h 105"/>
                  <a:gd name="T28" fmla="*/ 2147483647 w 192"/>
                  <a:gd name="T29" fmla="*/ 2147483647 h 105"/>
                  <a:gd name="T30" fmla="*/ 2147483647 w 192"/>
                  <a:gd name="T31" fmla="*/ 2147483647 h 105"/>
                  <a:gd name="T32" fmla="*/ 2147483647 w 192"/>
                  <a:gd name="T33" fmla="*/ 2147483647 h 105"/>
                  <a:gd name="T34" fmla="*/ 1598888875 w 192"/>
                  <a:gd name="T35" fmla="*/ 2147483647 h 105"/>
                  <a:gd name="T36" fmla="*/ 0 w 192"/>
                  <a:gd name="T37" fmla="*/ 2147483647 h 105"/>
                  <a:gd name="T38" fmla="*/ 0 w 192"/>
                  <a:gd name="T39" fmla="*/ 2096243494 h 105"/>
                  <a:gd name="T40" fmla="*/ 589165390 w 192"/>
                  <a:gd name="T41" fmla="*/ 1128701070 h 105"/>
                  <a:gd name="T42" fmla="*/ 1346554193 w 192"/>
                  <a:gd name="T43" fmla="*/ 644929586 h 105"/>
                  <a:gd name="T44" fmla="*/ 2147483647 w 192"/>
                  <a:gd name="T45" fmla="*/ 161158101 h 105"/>
                  <a:gd name="T46" fmla="*/ 2147483647 w 192"/>
                  <a:gd name="T47" fmla="*/ 0 h 105"/>
                  <a:gd name="T48" fmla="*/ 2147483647 w 192"/>
                  <a:gd name="T49" fmla="*/ 322612839 h 105"/>
                  <a:gd name="T50" fmla="*/ 2147483647 w 192"/>
                  <a:gd name="T51" fmla="*/ 806087687 h 105"/>
                  <a:gd name="T52" fmla="*/ 2147483647 w 192"/>
                  <a:gd name="T53" fmla="*/ 1128701070 h 105"/>
                  <a:gd name="T54" fmla="*/ 2147483647 w 192"/>
                  <a:gd name="T55" fmla="*/ 1128701070 h 105"/>
                  <a:gd name="T56" fmla="*/ 2147483647 w 192"/>
                  <a:gd name="T57" fmla="*/ 1128701070 h 105"/>
                  <a:gd name="T58" fmla="*/ 2147483647 w 192"/>
                  <a:gd name="T59" fmla="*/ 967542424 h 105"/>
                  <a:gd name="T60" fmla="*/ 2147483647 w 192"/>
                  <a:gd name="T61" fmla="*/ 1773630656 h 105"/>
                  <a:gd name="T62" fmla="*/ 2147483647 w 192"/>
                  <a:gd name="T63" fmla="*/ 2147483647 h 105"/>
                  <a:gd name="T64" fmla="*/ 2147483647 w 192"/>
                  <a:gd name="T65" fmla="*/ 2147483647 h 105"/>
                  <a:gd name="T66" fmla="*/ 2147483647 w 192"/>
                  <a:gd name="T67" fmla="*/ 2147483647 h 105"/>
                  <a:gd name="T68" fmla="*/ 2147483647 w 192"/>
                  <a:gd name="T69" fmla="*/ 2147483647 h 105"/>
                  <a:gd name="T70" fmla="*/ 2147483647 w 192"/>
                  <a:gd name="T71" fmla="*/ 2147483647 h 105"/>
                  <a:gd name="T72" fmla="*/ 2147483647 w 192"/>
                  <a:gd name="T73" fmla="*/ 2147483647 h 105"/>
                  <a:gd name="T74" fmla="*/ 2147483647 w 192"/>
                  <a:gd name="T75" fmla="*/ 2147483647 h 105"/>
                  <a:gd name="T76" fmla="*/ 2147483647 w 192"/>
                  <a:gd name="T77" fmla="*/ 2147483647 h 105"/>
                  <a:gd name="T78" fmla="*/ 2147483647 w 192"/>
                  <a:gd name="T79" fmla="*/ 2147483647 h 105"/>
                  <a:gd name="T80" fmla="*/ 2147483647 w 192"/>
                  <a:gd name="T81" fmla="*/ 2147483647 h 105"/>
                  <a:gd name="T82" fmla="*/ 2147483647 w 192"/>
                  <a:gd name="T83" fmla="*/ 2147483647 h 105"/>
                  <a:gd name="T84" fmla="*/ 2147483647 w 192"/>
                  <a:gd name="T85" fmla="*/ 2147483647 h 10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5" name="Freeform 232"/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10830193" y="3074560"/>
                <a:ext cx="33337" cy="131762"/>
              </a:xfrm>
              <a:custGeom>
                <a:avLst/>
                <a:gdLst>
                  <a:gd name="T0" fmla="*/ 2147483647 w 80"/>
                  <a:gd name="T1" fmla="*/ 0 h 254"/>
                  <a:gd name="T2" fmla="*/ 2147483647 w 80"/>
                  <a:gd name="T3" fmla="*/ 279056354 h 254"/>
                  <a:gd name="T4" fmla="*/ 2147483647 w 80"/>
                  <a:gd name="T5" fmla="*/ 558381419 h 254"/>
                  <a:gd name="T6" fmla="*/ 2147483647 w 80"/>
                  <a:gd name="T7" fmla="*/ 977100305 h 254"/>
                  <a:gd name="T8" fmla="*/ 2147483647 w 80"/>
                  <a:gd name="T9" fmla="*/ 1395819191 h 254"/>
                  <a:gd name="T10" fmla="*/ 2147483647 w 80"/>
                  <a:gd name="T11" fmla="*/ 2147483647 h 254"/>
                  <a:gd name="T12" fmla="*/ 2147483647 w 80"/>
                  <a:gd name="T13" fmla="*/ 2147483647 h 254"/>
                  <a:gd name="T14" fmla="*/ 2147483647 w 80"/>
                  <a:gd name="T15" fmla="*/ 2147483647 h 254"/>
                  <a:gd name="T16" fmla="*/ 2147483647 w 80"/>
                  <a:gd name="T17" fmla="*/ 2147483647 h 254"/>
                  <a:gd name="T18" fmla="*/ 2147483647 w 80"/>
                  <a:gd name="T19" fmla="*/ 2147483647 h 254"/>
                  <a:gd name="T20" fmla="*/ 2147483647 w 80"/>
                  <a:gd name="T21" fmla="*/ 2147483647 h 254"/>
                  <a:gd name="T22" fmla="*/ 2147483647 w 80"/>
                  <a:gd name="T23" fmla="*/ 2147483647 h 254"/>
                  <a:gd name="T24" fmla="*/ 2147483647 w 80"/>
                  <a:gd name="T25" fmla="*/ 2147483647 h 254"/>
                  <a:gd name="T26" fmla="*/ 2147483647 w 80"/>
                  <a:gd name="T27" fmla="*/ 2147483647 h 254"/>
                  <a:gd name="T28" fmla="*/ 2147483647 w 80"/>
                  <a:gd name="T29" fmla="*/ 2147483647 h 254"/>
                  <a:gd name="T30" fmla="*/ 2147483647 w 80"/>
                  <a:gd name="T31" fmla="*/ 2147483647 h 254"/>
                  <a:gd name="T32" fmla="*/ 0 w 80"/>
                  <a:gd name="T33" fmla="*/ 2147483647 h 254"/>
                  <a:gd name="T34" fmla="*/ 289473505 w 80"/>
                  <a:gd name="T35" fmla="*/ 2147483647 h 254"/>
                  <a:gd name="T36" fmla="*/ 796008385 w 80"/>
                  <a:gd name="T37" fmla="*/ 2147483647 h 254"/>
                  <a:gd name="T38" fmla="*/ 1230131550 w 80"/>
                  <a:gd name="T39" fmla="*/ 2147483647 h 254"/>
                  <a:gd name="T40" fmla="*/ 1592016769 w 80"/>
                  <a:gd name="T41" fmla="*/ 2147483647 h 254"/>
                  <a:gd name="T42" fmla="*/ 2026139934 w 80"/>
                  <a:gd name="T43" fmla="*/ 2147483647 h 254"/>
                  <a:gd name="T44" fmla="*/ 2147483647 w 80"/>
                  <a:gd name="T45" fmla="*/ 0 h 25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0" h="254">
                    <a:moveTo>
                      <a:pt x="33" y="0"/>
                    </a:moveTo>
                    <a:lnTo>
                      <a:pt x="37" y="2"/>
                    </a:lnTo>
                    <a:lnTo>
                      <a:pt x="40" y="4"/>
                    </a:lnTo>
                    <a:lnTo>
                      <a:pt x="43" y="7"/>
                    </a:lnTo>
                    <a:lnTo>
                      <a:pt x="46" y="10"/>
                    </a:lnTo>
                    <a:lnTo>
                      <a:pt x="52" y="18"/>
                    </a:lnTo>
                    <a:lnTo>
                      <a:pt x="56" y="25"/>
                    </a:lnTo>
                    <a:lnTo>
                      <a:pt x="62" y="32"/>
                    </a:lnTo>
                    <a:lnTo>
                      <a:pt x="67" y="38"/>
                    </a:lnTo>
                    <a:lnTo>
                      <a:pt x="70" y="40"/>
                    </a:lnTo>
                    <a:lnTo>
                      <a:pt x="73" y="42"/>
                    </a:lnTo>
                    <a:lnTo>
                      <a:pt x="76" y="43"/>
                    </a:lnTo>
                    <a:lnTo>
                      <a:pt x="80" y="44"/>
                    </a:lnTo>
                    <a:lnTo>
                      <a:pt x="80" y="53"/>
                    </a:lnTo>
                    <a:lnTo>
                      <a:pt x="80" y="62"/>
                    </a:lnTo>
                    <a:lnTo>
                      <a:pt x="53" y="254"/>
                    </a:lnTo>
                    <a:lnTo>
                      <a:pt x="0" y="93"/>
                    </a:lnTo>
                    <a:lnTo>
                      <a:pt x="4" y="88"/>
                    </a:lnTo>
                    <a:lnTo>
                      <a:pt x="11" y="71"/>
                    </a:lnTo>
                    <a:lnTo>
                      <a:pt x="17" y="57"/>
                    </a:lnTo>
                    <a:lnTo>
                      <a:pt x="22" y="41"/>
                    </a:lnTo>
                    <a:lnTo>
                      <a:pt x="28" y="23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6" name="Freeform 233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0779393" y="3126947"/>
                <a:ext cx="69850" cy="130175"/>
              </a:xfrm>
              <a:custGeom>
                <a:avLst/>
                <a:gdLst>
                  <a:gd name="T0" fmla="*/ 2147483647 w 167"/>
                  <a:gd name="T1" fmla="*/ 0 h 259"/>
                  <a:gd name="T2" fmla="*/ 2147483647 w 167"/>
                  <a:gd name="T3" fmla="*/ 2147483647 h 259"/>
                  <a:gd name="T4" fmla="*/ 2147483647 w 167"/>
                  <a:gd name="T5" fmla="*/ 2147483647 h 259"/>
                  <a:gd name="T6" fmla="*/ 2147483647 w 167"/>
                  <a:gd name="T7" fmla="*/ 2147483647 h 259"/>
                  <a:gd name="T8" fmla="*/ 2147483647 w 167"/>
                  <a:gd name="T9" fmla="*/ 2147483647 h 259"/>
                  <a:gd name="T10" fmla="*/ 2147483647 w 167"/>
                  <a:gd name="T11" fmla="*/ 2147483647 h 259"/>
                  <a:gd name="T12" fmla="*/ 2147483647 w 167"/>
                  <a:gd name="T13" fmla="*/ 2147483647 h 259"/>
                  <a:gd name="T14" fmla="*/ 2147483647 w 167"/>
                  <a:gd name="T15" fmla="*/ 2147483647 h 259"/>
                  <a:gd name="T16" fmla="*/ 2147483647 w 167"/>
                  <a:gd name="T17" fmla="*/ 2147483647 h 259"/>
                  <a:gd name="T18" fmla="*/ 2147483647 w 167"/>
                  <a:gd name="T19" fmla="*/ 2147483647 h 259"/>
                  <a:gd name="T20" fmla="*/ 2147483647 w 167"/>
                  <a:gd name="T21" fmla="*/ 2147483647 h 259"/>
                  <a:gd name="T22" fmla="*/ 2147483647 w 167"/>
                  <a:gd name="T23" fmla="*/ 2147483647 h 259"/>
                  <a:gd name="T24" fmla="*/ 2147483647 w 167"/>
                  <a:gd name="T25" fmla="*/ 2147483647 h 259"/>
                  <a:gd name="T26" fmla="*/ 2147483647 w 167"/>
                  <a:gd name="T27" fmla="*/ 2147483647 h 259"/>
                  <a:gd name="T28" fmla="*/ 2147483647 w 167"/>
                  <a:gd name="T29" fmla="*/ 2147483647 h 259"/>
                  <a:gd name="T30" fmla="*/ 2147483647 w 167"/>
                  <a:gd name="T31" fmla="*/ 2147483647 h 259"/>
                  <a:gd name="T32" fmla="*/ 2147483647 w 167"/>
                  <a:gd name="T33" fmla="*/ 2147483647 h 259"/>
                  <a:gd name="T34" fmla="*/ 2147483647 w 167"/>
                  <a:gd name="T35" fmla="*/ 2147483647 h 259"/>
                  <a:gd name="T36" fmla="*/ 2147483647 w 167"/>
                  <a:gd name="T37" fmla="*/ 2147483647 h 259"/>
                  <a:gd name="T38" fmla="*/ 2147483647 w 167"/>
                  <a:gd name="T39" fmla="*/ 2147483647 h 259"/>
                  <a:gd name="T40" fmla="*/ 2147483647 w 167"/>
                  <a:gd name="T41" fmla="*/ 2147483647 h 259"/>
                  <a:gd name="T42" fmla="*/ 2147483647 w 167"/>
                  <a:gd name="T43" fmla="*/ 2147483647 h 259"/>
                  <a:gd name="T44" fmla="*/ 2147483647 w 167"/>
                  <a:gd name="T45" fmla="*/ 2147483647 h 259"/>
                  <a:gd name="T46" fmla="*/ 2147483647 w 167"/>
                  <a:gd name="T47" fmla="*/ 2147483647 h 259"/>
                  <a:gd name="T48" fmla="*/ 2122074788 w 167"/>
                  <a:gd name="T49" fmla="*/ 2147483647 h 259"/>
                  <a:gd name="T50" fmla="*/ 2048773278 w 167"/>
                  <a:gd name="T51" fmla="*/ 2147483647 h 259"/>
                  <a:gd name="T52" fmla="*/ 2048773278 w 167"/>
                  <a:gd name="T53" fmla="*/ 2147483647 h 259"/>
                  <a:gd name="T54" fmla="*/ 1536710875 w 167"/>
                  <a:gd name="T55" fmla="*/ 2147483647 h 259"/>
                  <a:gd name="T56" fmla="*/ 1170727408 w 167"/>
                  <a:gd name="T57" fmla="*/ 2147483647 h 259"/>
                  <a:gd name="T58" fmla="*/ 804918775 w 167"/>
                  <a:gd name="T59" fmla="*/ 2147483647 h 259"/>
                  <a:gd name="T60" fmla="*/ 512236819 w 167"/>
                  <a:gd name="T61" fmla="*/ 2147483647 h 259"/>
                  <a:gd name="T62" fmla="*/ 365808633 w 167"/>
                  <a:gd name="T63" fmla="*/ 2147483647 h 259"/>
                  <a:gd name="T64" fmla="*/ 146428604 w 167"/>
                  <a:gd name="T65" fmla="*/ 2147483647 h 259"/>
                  <a:gd name="T66" fmla="*/ 0 w 167"/>
                  <a:gd name="T67" fmla="*/ 2147483647 h 259"/>
                  <a:gd name="T68" fmla="*/ 0 w 167"/>
                  <a:gd name="T69" fmla="*/ 2147483647 h 259"/>
                  <a:gd name="T70" fmla="*/ 0 w 167"/>
                  <a:gd name="T71" fmla="*/ 2147483647 h 259"/>
                  <a:gd name="T72" fmla="*/ 73126676 w 167"/>
                  <a:gd name="T73" fmla="*/ 2147483647 h 259"/>
                  <a:gd name="T74" fmla="*/ 878045451 w 167"/>
                  <a:gd name="T75" fmla="*/ 2147483647 h 259"/>
                  <a:gd name="T76" fmla="*/ 1609837551 w 167"/>
                  <a:gd name="T77" fmla="*/ 2147483647 h 259"/>
                  <a:gd name="T78" fmla="*/ 2147483647 w 167"/>
                  <a:gd name="T79" fmla="*/ 2147483647 h 259"/>
                  <a:gd name="T80" fmla="*/ 2147483647 w 167"/>
                  <a:gd name="T81" fmla="*/ 2147483647 h 259"/>
                  <a:gd name="T82" fmla="*/ 2147483647 w 167"/>
                  <a:gd name="T83" fmla="*/ 2147483647 h 259"/>
                  <a:gd name="T84" fmla="*/ 2147483647 w 167"/>
                  <a:gd name="T85" fmla="*/ 2147483647 h 259"/>
                  <a:gd name="T86" fmla="*/ 2147483647 w 167"/>
                  <a:gd name="T87" fmla="*/ 2147483647 h 259"/>
                  <a:gd name="T88" fmla="*/ 2147483647 w 167"/>
                  <a:gd name="T89" fmla="*/ 2147483647 h 259"/>
                  <a:gd name="T90" fmla="*/ 2147483647 w 167"/>
                  <a:gd name="T91" fmla="*/ 2147483647 h 259"/>
                  <a:gd name="T92" fmla="*/ 2147483647 w 167"/>
                  <a:gd name="T93" fmla="*/ 2147483647 h 259"/>
                  <a:gd name="T94" fmla="*/ 2147483647 w 167"/>
                  <a:gd name="T95" fmla="*/ 2147483647 h 259"/>
                  <a:gd name="T96" fmla="*/ 2147483647 w 167"/>
                  <a:gd name="T97" fmla="*/ 2147483647 h 259"/>
                  <a:gd name="T98" fmla="*/ 2147483647 w 167"/>
                  <a:gd name="T99" fmla="*/ 1650573263 h 259"/>
                  <a:gd name="T100" fmla="*/ 2147483647 w 167"/>
                  <a:gd name="T101" fmla="*/ 0 h 25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67" h="259">
                    <a:moveTo>
                      <a:pt x="114" y="0"/>
                    </a:moveTo>
                    <a:lnTo>
                      <a:pt x="167" y="155"/>
                    </a:lnTo>
                    <a:lnTo>
                      <a:pt x="121" y="259"/>
                    </a:lnTo>
                    <a:lnTo>
                      <a:pt x="113" y="259"/>
                    </a:lnTo>
                    <a:lnTo>
                      <a:pt x="107" y="257"/>
                    </a:lnTo>
                    <a:lnTo>
                      <a:pt x="100" y="254"/>
                    </a:lnTo>
                    <a:lnTo>
                      <a:pt x="95" y="251"/>
                    </a:lnTo>
                    <a:lnTo>
                      <a:pt x="89" y="245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6" y="229"/>
                    </a:lnTo>
                    <a:lnTo>
                      <a:pt x="69" y="217"/>
                    </a:lnTo>
                    <a:lnTo>
                      <a:pt x="65" y="205"/>
                    </a:lnTo>
                    <a:lnTo>
                      <a:pt x="62" y="194"/>
                    </a:lnTo>
                    <a:lnTo>
                      <a:pt x="62" y="185"/>
                    </a:lnTo>
                    <a:lnTo>
                      <a:pt x="55" y="184"/>
                    </a:lnTo>
                    <a:lnTo>
                      <a:pt x="51" y="183"/>
                    </a:lnTo>
                    <a:lnTo>
                      <a:pt x="45" y="182"/>
                    </a:lnTo>
                    <a:lnTo>
                      <a:pt x="42" y="180"/>
                    </a:lnTo>
                    <a:lnTo>
                      <a:pt x="39" y="177"/>
                    </a:lnTo>
                    <a:lnTo>
                      <a:pt x="36" y="174"/>
                    </a:lnTo>
                    <a:lnTo>
                      <a:pt x="34" y="170"/>
                    </a:lnTo>
                    <a:lnTo>
                      <a:pt x="32" y="167"/>
                    </a:lnTo>
                    <a:lnTo>
                      <a:pt x="30" y="158"/>
                    </a:lnTo>
                    <a:lnTo>
                      <a:pt x="29" y="149"/>
                    </a:lnTo>
                    <a:lnTo>
                      <a:pt x="28" y="140"/>
                    </a:lnTo>
                    <a:lnTo>
                      <a:pt x="28" y="129"/>
                    </a:lnTo>
                    <a:lnTo>
                      <a:pt x="21" y="129"/>
                    </a:lnTo>
                    <a:lnTo>
                      <a:pt x="16" y="127"/>
                    </a:lnTo>
                    <a:lnTo>
                      <a:pt x="11" y="125"/>
                    </a:lnTo>
                    <a:lnTo>
                      <a:pt x="7" y="121"/>
                    </a:lnTo>
                    <a:lnTo>
                      <a:pt x="5" y="117"/>
                    </a:lnTo>
                    <a:lnTo>
                      <a:pt x="2" y="112"/>
                    </a:lnTo>
                    <a:lnTo>
                      <a:pt x="0" y="107"/>
                    </a:lnTo>
                    <a:lnTo>
                      <a:pt x="0" y="101"/>
                    </a:lnTo>
                    <a:lnTo>
                      <a:pt x="0" y="75"/>
                    </a:lnTo>
                    <a:lnTo>
                      <a:pt x="1" y="50"/>
                    </a:lnTo>
                    <a:lnTo>
                      <a:pt x="12" y="52"/>
                    </a:lnTo>
                    <a:lnTo>
                      <a:pt x="22" y="53"/>
                    </a:lnTo>
                    <a:lnTo>
                      <a:pt x="32" y="53"/>
                    </a:lnTo>
                    <a:lnTo>
                      <a:pt x="42" y="52"/>
                    </a:lnTo>
                    <a:lnTo>
                      <a:pt x="50" y="51"/>
                    </a:lnTo>
                    <a:lnTo>
                      <a:pt x="58" y="49"/>
                    </a:lnTo>
                    <a:lnTo>
                      <a:pt x="66" y="47"/>
                    </a:lnTo>
                    <a:lnTo>
                      <a:pt x="73" y="44"/>
                    </a:lnTo>
                    <a:lnTo>
                      <a:pt x="79" y="40"/>
                    </a:lnTo>
                    <a:lnTo>
                      <a:pt x="86" y="36"/>
                    </a:lnTo>
                    <a:lnTo>
                      <a:pt x="91" y="31"/>
                    </a:lnTo>
                    <a:lnTo>
                      <a:pt x="97" y="26"/>
                    </a:lnTo>
                    <a:lnTo>
                      <a:pt x="107" y="13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7" name="Freeform 234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9780855" y="2380822"/>
                <a:ext cx="96838" cy="144463"/>
              </a:xfrm>
              <a:custGeom>
                <a:avLst/>
                <a:gdLst>
                  <a:gd name="T0" fmla="*/ 2147483647 w 225"/>
                  <a:gd name="T1" fmla="*/ 2147483647 h 273"/>
                  <a:gd name="T2" fmla="*/ 2147483647 w 225"/>
                  <a:gd name="T3" fmla="*/ 2147483647 h 273"/>
                  <a:gd name="T4" fmla="*/ 2147483647 w 225"/>
                  <a:gd name="T5" fmla="*/ 2147483647 h 273"/>
                  <a:gd name="T6" fmla="*/ 2147483647 w 225"/>
                  <a:gd name="T7" fmla="*/ 2147483647 h 273"/>
                  <a:gd name="T8" fmla="*/ 2147483647 w 225"/>
                  <a:gd name="T9" fmla="*/ 2147483647 h 273"/>
                  <a:gd name="T10" fmla="*/ 2147483647 w 225"/>
                  <a:gd name="T11" fmla="*/ 2147483647 h 273"/>
                  <a:gd name="T12" fmla="*/ 2147483647 w 225"/>
                  <a:gd name="T13" fmla="*/ 2147483647 h 273"/>
                  <a:gd name="T14" fmla="*/ 2147483647 w 225"/>
                  <a:gd name="T15" fmla="*/ 2147483647 h 273"/>
                  <a:gd name="T16" fmla="*/ 2147483647 w 225"/>
                  <a:gd name="T17" fmla="*/ 2147483647 h 273"/>
                  <a:gd name="T18" fmla="*/ 2147483647 w 225"/>
                  <a:gd name="T19" fmla="*/ 2147483647 h 273"/>
                  <a:gd name="T20" fmla="*/ 2147483647 w 225"/>
                  <a:gd name="T21" fmla="*/ 2147483647 h 273"/>
                  <a:gd name="T22" fmla="*/ 2147483647 w 225"/>
                  <a:gd name="T23" fmla="*/ 2147483647 h 273"/>
                  <a:gd name="T24" fmla="*/ 2147483647 w 225"/>
                  <a:gd name="T25" fmla="*/ 2147483647 h 273"/>
                  <a:gd name="T26" fmla="*/ 2147483647 w 225"/>
                  <a:gd name="T27" fmla="*/ 2147483647 h 273"/>
                  <a:gd name="T28" fmla="*/ 2147483647 w 225"/>
                  <a:gd name="T29" fmla="*/ 2147483647 h 273"/>
                  <a:gd name="T30" fmla="*/ 2147483647 w 225"/>
                  <a:gd name="T31" fmla="*/ 2147483647 h 273"/>
                  <a:gd name="T32" fmla="*/ 2147483647 w 225"/>
                  <a:gd name="T33" fmla="*/ 2147483647 h 273"/>
                  <a:gd name="T34" fmla="*/ 2147483647 w 225"/>
                  <a:gd name="T35" fmla="*/ 2147483647 h 273"/>
                  <a:gd name="T36" fmla="*/ 2147483647 w 225"/>
                  <a:gd name="T37" fmla="*/ 2147483647 h 273"/>
                  <a:gd name="T38" fmla="*/ 1514678880 w 225"/>
                  <a:gd name="T39" fmla="*/ 2147483647 h 273"/>
                  <a:gd name="T40" fmla="*/ 0 w 225"/>
                  <a:gd name="T41" fmla="*/ 2147483647 h 273"/>
                  <a:gd name="T42" fmla="*/ 1674167623 w 225"/>
                  <a:gd name="T43" fmla="*/ 2147483647 h 273"/>
                  <a:gd name="T44" fmla="*/ 2072796731 w 225"/>
                  <a:gd name="T45" fmla="*/ 2147483647 h 273"/>
                  <a:gd name="T46" fmla="*/ 2147483647 w 225"/>
                  <a:gd name="T47" fmla="*/ 2147483647 h 273"/>
                  <a:gd name="T48" fmla="*/ 2147483647 w 225"/>
                  <a:gd name="T49" fmla="*/ 2147483647 h 273"/>
                  <a:gd name="T50" fmla="*/ 2147483647 w 225"/>
                  <a:gd name="T51" fmla="*/ 2147483647 h 273"/>
                  <a:gd name="T52" fmla="*/ 2147483647 w 225"/>
                  <a:gd name="T53" fmla="*/ 2147483647 h 273"/>
                  <a:gd name="T54" fmla="*/ 2147483647 w 225"/>
                  <a:gd name="T55" fmla="*/ 2147483647 h 273"/>
                  <a:gd name="T56" fmla="*/ 2147483647 w 225"/>
                  <a:gd name="T57" fmla="*/ 2147483647 h 273"/>
                  <a:gd name="T58" fmla="*/ 2147483647 w 225"/>
                  <a:gd name="T59" fmla="*/ 2147483647 h 273"/>
                  <a:gd name="T60" fmla="*/ 1116049773 w 225"/>
                  <a:gd name="T61" fmla="*/ 2147483647 h 273"/>
                  <a:gd name="T62" fmla="*/ 478280730 w 225"/>
                  <a:gd name="T63" fmla="*/ 2147483647 h 273"/>
                  <a:gd name="T64" fmla="*/ 1754004314 w 225"/>
                  <a:gd name="T65" fmla="*/ 2147483647 h 273"/>
                  <a:gd name="T66" fmla="*/ 2147483647 w 225"/>
                  <a:gd name="T67" fmla="*/ 2147483647 h 273"/>
                  <a:gd name="T68" fmla="*/ 2147483647 w 225"/>
                  <a:gd name="T69" fmla="*/ 2147483647 h 273"/>
                  <a:gd name="T70" fmla="*/ 2147483647 w 225"/>
                  <a:gd name="T71" fmla="*/ 2147483647 h 273"/>
                  <a:gd name="T72" fmla="*/ 2147483647 w 225"/>
                  <a:gd name="T73" fmla="*/ 2147483647 h 273"/>
                  <a:gd name="T74" fmla="*/ 2147483647 w 225"/>
                  <a:gd name="T75" fmla="*/ 2147483647 h 273"/>
                  <a:gd name="T76" fmla="*/ 2147483647 w 225"/>
                  <a:gd name="T77" fmla="*/ 2147483647 h 273"/>
                  <a:gd name="T78" fmla="*/ 2147483647 w 225"/>
                  <a:gd name="T79" fmla="*/ 2147483647 h 273"/>
                  <a:gd name="T80" fmla="*/ 2147483647 w 225"/>
                  <a:gd name="T81" fmla="*/ 1037191423 h 273"/>
                  <a:gd name="T82" fmla="*/ 2147483647 w 225"/>
                  <a:gd name="T83" fmla="*/ 148130138 h 273"/>
                  <a:gd name="T84" fmla="*/ 2147483647 w 225"/>
                  <a:gd name="T85" fmla="*/ 444670872 h 273"/>
                  <a:gd name="T86" fmla="*/ 2147483647 w 225"/>
                  <a:gd name="T87" fmla="*/ 2147483647 h 273"/>
                  <a:gd name="T88" fmla="*/ 2147483647 w 225"/>
                  <a:gd name="T89" fmla="*/ 2147483647 h 273"/>
                  <a:gd name="T90" fmla="*/ 2147483647 w 225"/>
                  <a:gd name="T91" fmla="*/ 2147483647 h 27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8" name="Freeform 235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9593530" y="3292047"/>
                <a:ext cx="306388" cy="390525"/>
              </a:xfrm>
              <a:custGeom>
                <a:avLst/>
                <a:gdLst>
                  <a:gd name="T0" fmla="*/ 2147483647 w 232"/>
                  <a:gd name="T1" fmla="*/ 2147483647 h 248"/>
                  <a:gd name="T2" fmla="*/ 2147483647 w 232"/>
                  <a:gd name="T3" fmla="*/ 2147483647 h 248"/>
                  <a:gd name="T4" fmla="*/ 2147483647 w 232"/>
                  <a:gd name="T5" fmla="*/ 2147483647 h 248"/>
                  <a:gd name="T6" fmla="*/ 2147483647 w 232"/>
                  <a:gd name="T7" fmla="*/ 2147483647 h 248"/>
                  <a:gd name="T8" fmla="*/ 2147483647 w 232"/>
                  <a:gd name="T9" fmla="*/ 2147483647 h 248"/>
                  <a:gd name="T10" fmla="*/ 2147483647 w 232"/>
                  <a:gd name="T11" fmla="*/ 2147483647 h 248"/>
                  <a:gd name="T12" fmla="*/ 2147483647 w 232"/>
                  <a:gd name="T13" fmla="*/ 2147483647 h 248"/>
                  <a:gd name="T14" fmla="*/ 2147483647 w 232"/>
                  <a:gd name="T15" fmla="*/ 2147483647 h 248"/>
                  <a:gd name="T16" fmla="*/ 2147483647 w 232"/>
                  <a:gd name="T17" fmla="*/ 2147483647 h 248"/>
                  <a:gd name="T18" fmla="*/ 2147483647 w 232"/>
                  <a:gd name="T19" fmla="*/ 2147483647 h 248"/>
                  <a:gd name="T20" fmla="*/ 2147483647 w 232"/>
                  <a:gd name="T21" fmla="*/ 2147483647 h 248"/>
                  <a:gd name="T22" fmla="*/ 2147483647 w 232"/>
                  <a:gd name="T23" fmla="*/ 2147483647 h 248"/>
                  <a:gd name="T24" fmla="*/ 2147483647 w 232"/>
                  <a:gd name="T25" fmla="*/ 2147483647 h 248"/>
                  <a:gd name="T26" fmla="*/ 2147483647 w 232"/>
                  <a:gd name="T27" fmla="*/ 2147483647 h 248"/>
                  <a:gd name="T28" fmla="*/ 2147483647 w 232"/>
                  <a:gd name="T29" fmla="*/ 2147483647 h 248"/>
                  <a:gd name="T30" fmla="*/ 2147483647 w 232"/>
                  <a:gd name="T31" fmla="*/ 2147483647 h 248"/>
                  <a:gd name="T32" fmla="*/ 2147483647 w 232"/>
                  <a:gd name="T33" fmla="*/ 2147483647 h 248"/>
                  <a:gd name="T34" fmla="*/ 2147483647 w 232"/>
                  <a:gd name="T35" fmla="*/ 2147483647 h 248"/>
                  <a:gd name="T36" fmla="*/ 2147483647 w 232"/>
                  <a:gd name="T37" fmla="*/ 2147483647 h 248"/>
                  <a:gd name="T38" fmla="*/ 2147483647 w 232"/>
                  <a:gd name="T39" fmla="*/ 2147483647 h 248"/>
                  <a:gd name="T40" fmla="*/ 2147483647 w 232"/>
                  <a:gd name="T41" fmla="*/ 2147483647 h 248"/>
                  <a:gd name="T42" fmla="*/ 2147483647 w 232"/>
                  <a:gd name="T43" fmla="*/ 2147483647 h 248"/>
                  <a:gd name="T44" fmla="*/ 2147483647 w 232"/>
                  <a:gd name="T45" fmla="*/ 2147483647 h 248"/>
                  <a:gd name="T46" fmla="*/ 2147483647 w 232"/>
                  <a:gd name="T47" fmla="*/ 2147483647 h 248"/>
                  <a:gd name="T48" fmla="*/ 2147483647 w 232"/>
                  <a:gd name="T49" fmla="*/ 2147483647 h 248"/>
                  <a:gd name="T50" fmla="*/ 2147483647 w 232"/>
                  <a:gd name="T51" fmla="*/ 2147483647 h 248"/>
                  <a:gd name="T52" fmla="*/ 2147483647 w 232"/>
                  <a:gd name="T53" fmla="*/ 2147483647 h 248"/>
                  <a:gd name="T54" fmla="*/ 2147483647 w 232"/>
                  <a:gd name="T55" fmla="*/ 2147483647 h 248"/>
                  <a:gd name="T56" fmla="*/ 2147483647 w 232"/>
                  <a:gd name="T57" fmla="*/ 2147483647 h 248"/>
                  <a:gd name="T58" fmla="*/ 2147483647 w 232"/>
                  <a:gd name="T59" fmla="*/ 2147483647 h 248"/>
                  <a:gd name="T60" fmla="*/ 2147483647 w 232"/>
                  <a:gd name="T61" fmla="*/ 2147483647 h 248"/>
                  <a:gd name="T62" fmla="*/ 2147483647 w 232"/>
                  <a:gd name="T63" fmla="*/ 2147483647 h 248"/>
                  <a:gd name="T64" fmla="*/ 2147483647 w 232"/>
                  <a:gd name="T65" fmla="*/ 2147483647 h 248"/>
                  <a:gd name="T66" fmla="*/ 2147483647 w 232"/>
                  <a:gd name="T67" fmla="*/ 2147483647 h 248"/>
                  <a:gd name="T68" fmla="*/ 2147483647 w 232"/>
                  <a:gd name="T69" fmla="*/ 2147483647 h 248"/>
                  <a:gd name="T70" fmla="*/ 2147483647 w 232"/>
                  <a:gd name="T71" fmla="*/ 2147483647 h 248"/>
                  <a:gd name="T72" fmla="*/ 2147483647 w 232"/>
                  <a:gd name="T73" fmla="*/ 2147483647 h 248"/>
                  <a:gd name="T74" fmla="*/ 2147483647 w 232"/>
                  <a:gd name="T75" fmla="*/ 2147483647 h 248"/>
                  <a:gd name="T76" fmla="*/ 2147483647 w 232"/>
                  <a:gd name="T77" fmla="*/ 2147483647 h 248"/>
                  <a:gd name="T78" fmla="*/ 2147483647 w 232"/>
                  <a:gd name="T79" fmla="*/ 2147483647 h 248"/>
                  <a:gd name="T80" fmla="*/ 2147483647 w 232"/>
                  <a:gd name="T81" fmla="*/ 2147483647 h 248"/>
                  <a:gd name="T82" fmla="*/ 2147483647 w 232"/>
                  <a:gd name="T83" fmla="*/ 2147483647 h 248"/>
                  <a:gd name="T84" fmla="*/ 2147483647 w 232"/>
                  <a:gd name="T85" fmla="*/ 2147483647 h 248"/>
                  <a:gd name="T86" fmla="*/ 2147483647 w 232"/>
                  <a:gd name="T87" fmla="*/ 2147483647 h 248"/>
                  <a:gd name="T88" fmla="*/ 2147483647 w 232"/>
                  <a:gd name="T89" fmla="*/ 2147483647 h 248"/>
                  <a:gd name="T90" fmla="*/ 2147483647 w 232"/>
                  <a:gd name="T91" fmla="*/ 2147483647 h 248"/>
                  <a:gd name="T92" fmla="*/ 2147483647 w 232"/>
                  <a:gd name="T93" fmla="*/ 2147483647 h 248"/>
                  <a:gd name="T94" fmla="*/ 2147483647 w 232"/>
                  <a:gd name="T95" fmla="*/ 2147483647 h 248"/>
                  <a:gd name="T96" fmla="*/ 2147483647 w 232"/>
                  <a:gd name="T97" fmla="*/ 2147483647 h 248"/>
                  <a:gd name="T98" fmla="*/ 2147483647 w 232"/>
                  <a:gd name="T99" fmla="*/ 2147483647 h 248"/>
                  <a:gd name="T100" fmla="*/ 2147483647 w 232"/>
                  <a:gd name="T101" fmla="*/ 2147483647 h 248"/>
                  <a:gd name="T102" fmla="*/ 2147483647 w 232"/>
                  <a:gd name="T103" fmla="*/ 2147483647 h 248"/>
                  <a:gd name="T104" fmla="*/ 2147483647 w 232"/>
                  <a:gd name="T105" fmla="*/ 2147483647 h 248"/>
                  <a:gd name="T106" fmla="*/ 2147483647 w 232"/>
                  <a:gd name="T107" fmla="*/ 2147483647 h 24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9" name="Freeform 236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9709418" y="3352372"/>
                <a:ext cx="414337" cy="468313"/>
              </a:xfrm>
              <a:custGeom>
                <a:avLst/>
                <a:gdLst>
                  <a:gd name="T0" fmla="*/ 2147483647 w 948"/>
                  <a:gd name="T1" fmla="*/ 2147483647 h 893"/>
                  <a:gd name="T2" fmla="*/ 2147483647 w 948"/>
                  <a:gd name="T3" fmla="*/ 2147483647 h 893"/>
                  <a:gd name="T4" fmla="*/ 2147483647 w 948"/>
                  <a:gd name="T5" fmla="*/ 2147483647 h 893"/>
                  <a:gd name="T6" fmla="*/ 2147483647 w 948"/>
                  <a:gd name="T7" fmla="*/ 2147483647 h 893"/>
                  <a:gd name="T8" fmla="*/ 2147483647 w 948"/>
                  <a:gd name="T9" fmla="*/ 2147483647 h 893"/>
                  <a:gd name="T10" fmla="*/ 2147483647 w 948"/>
                  <a:gd name="T11" fmla="*/ 2147483647 h 893"/>
                  <a:gd name="T12" fmla="*/ 2147483647 w 948"/>
                  <a:gd name="T13" fmla="*/ 2147483647 h 893"/>
                  <a:gd name="T14" fmla="*/ 2147483647 w 948"/>
                  <a:gd name="T15" fmla="*/ 2147483647 h 893"/>
                  <a:gd name="T16" fmla="*/ 2147483647 w 948"/>
                  <a:gd name="T17" fmla="*/ 2147483647 h 893"/>
                  <a:gd name="T18" fmla="*/ 2147483647 w 948"/>
                  <a:gd name="T19" fmla="*/ 2147483647 h 893"/>
                  <a:gd name="T20" fmla="*/ 2147483647 w 948"/>
                  <a:gd name="T21" fmla="*/ 2147483647 h 893"/>
                  <a:gd name="T22" fmla="*/ 2147483647 w 948"/>
                  <a:gd name="T23" fmla="*/ 2147483647 h 893"/>
                  <a:gd name="T24" fmla="*/ 2147483647 w 948"/>
                  <a:gd name="T25" fmla="*/ 2147483647 h 893"/>
                  <a:gd name="T26" fmla="*/ 2147483647 w 948"/>
                  <a:gd name="T27" fmla="*/ 2147483647 h 893"/>
                  <a:gd name="T28" fmla="*/ 2147483647 w 948"/>
                  <a:gd name="T29" fmla="*/ 2147483647 h 893"/>
                  <a:gd name="T30" fmla="*/ 2147483647 w 948"/>
                  <a:gd name="T31" fmla="*/ 2147483647 h 893"/>
                  <a:gd name="T32" fmla="*/ 2147483647 w 948"/>
                  <a:gd name="T33" fmla="*/ 2147483647 h 893"/>
                  <a:gd name="T34" fmla="*/ 2147483647 w 948"/>
                  <a:gd name="T35" fmla="*/ 2147483647 h 893"/>
                  <a:gd name="T36" fmla="*/ 2147483647 w 948"/>
                  <a:gd name="T37" fmla="*/ 2147483647 h 893"/>
                  <a:gd name="T38" fmla="*/ 2147483647 w 948"/>
                  <a:gd name="T39" fmla="*/ 2147483647 h 893"/>
                  <a:gd name="T40" fmla="*/ 2147483647 w 948"/>
                  <a:gd name="T41" fmla="*/ 2147483647 h 893"/>
                  <a:gd name="T42" fmla="*/ 2147483647 w 948"/>
                  <a:gd name="T43" fmla="*/ 2147483647 h 893"/>
                  <a:gd name="T44" fmla="*/ 2147483647 w 948"/>
                  <a:gd name="T45" fmla="*/ 2147483647 h 893"/>
                  <a:gd name="T46" fmla="*/ 2147483647 w 948"/>
                  <a:gd name="T47" fmla="*/ 2147483647 h 893"/>
                  <a:gd name="T48" fmla="*/ 2147483647 w 948"/>
                  <a:gd name="T49" fmla="*/ 2147483647 h 893"/>
                  <a:gd name="T50" fmla="*/ 2147483647 w 948"/>
                  <a:gd name="T51" fmla="*/ 2147483647 h 893"/>
                  <a:gd name="T52" fmla="*/ 2147483647 w 948"/>
                  <a:gd name="T53" fmla="*/ 2147483647 h 893"/>
                  <a:gd name="T54" fmla="*/ 2147483647 w 948"/>
                  <a:gd name="T55" fmla="*/ 2147483647 h 893"/>
                  <a:gd name="T56" fmla="*/ 2147483647 w 948"/>
                  <a:gd name="T57" fmla="*/ 2147483647 h 893"/>
                  <a:gd name="T58" fmla="*/ 2147483647 w 948"/>
                  <a:gd name="T59" fmla="*/ 2147483647 h 893"/>
                  <a:gd name="T60" fmla="*/ 2147483647 w 948"/>
                  <a:gd name="T61" fmla="*/ 2147483647 h 893"/>
                  <a:gd name="T62" fmla="*/ 2147483647 w 948"/>
                  <a:gd name="T63" fmla="*/ 2147483647 h 893"/>
                  <a:gd name="T64" fmla="*/ 2147483647 w 948"/>
                  <a:gd name="T65" fmla="*/ 2147483647 h 893"/>
                  <a:gd name="T66" fmla="*/ 2147483647 w 948"/>
                  <a:gd name="T67" fmla="*/ 2147483647 h 893"/>
                  <a:gd name="T68" fmla="*/ 2147483647 w 948"/>
                  <a:gd name="T69" fmla="*/ 2147483647 h 893"/>
                  <a:gd name="T70" fmla="*/ 2147483647 w 948"/>
                  <a:gd name="T71" fmla="*/ 2147483647 h 893"/>
                  <a:gd name="T72" fmla="*/ 2147483647 w 948"/>
                  <a:gd name="T73" fmla="*/ 2147483647 h 893"/>
                  <a:gd name="T74" fmla="*/ 2147483647 w 948"/>
                  <a:gd name="T75" fmla="*/ 2147483647 h 893"/>
                  <a:gd name="T76" fmla="*/ 2147483647 w 948"/>
                  <a:gd name="T77" fmla="*/ 2147483647 h 893"/>
                  <a:gd name="T78" fmla="*/ 2147483647 w 948"/>
                  <a:gd name="T79" fmla="*/ 2147483647 h 893"/>
                  <a:gd name="T80" fmla="*/ 2147483647 w 948"/>
                  <a:gd name="T81" fmla="*/ 2147483647 h 893"/>
                  <a:gd name="T82" fmla="*/ 2147483647 w 948"/>
                  <a:gd name="T83" fmla="*/ 2147483647 h 893"/>
                  <a:gd name="T84" fmla="*/ 2147483647 w 948"/>
                  <a:gd name="T85" fmla="*/ 2147483647 h 893"/>
                  <a:gd name="T86" fmla="*/ 2147483647 w 948"/>
                  <a:gd name="T87" fmla="*/ 1730721751 h 893"/>
                  <a:gd name="T88" fmla="*/ 2147483647 w 948"/>
                  <a:gd name="T89" fmla="*/ 2147483647 h 893"/>
                  <a:gd name="T90" fmla="*/ 2147483647 w 948"/>
                  <a:gd name="T91" fmla="*/ 2147483647 h 893"/>
                  <a:gd name="T92" fmla="*/ 2147483647 w 948"/>
                  <a:gd name="T93" fmla="*/ 2147483647 h 893"/>
                  <a:gd name="T94" fmla="*/ 2147483647 w 948"/>
                  <a:gd name="T95" fmla="*/ 2147483647 h 893"/>
                  <a:gd name="T96" fmla="*/ 2147483647 w 948"/>
                  <a:gd name="T97" fmla="*/ 2147483647 h 893"/>
                  <a:gd name="T98" fmla="*/ 2147483647 w 948"/>
                  <a:gd name="T99" fmla="*/ 2147483647 h 893"/>
                  <a:gd name="T100" fmla="*/ 2147483647 w 948"/>
                  <a:gd name="T101" fmla="*/ 2147483647 h 893"/>
                  <a:gd name="T102" fmla="*/ 2147483647 w 948"/>
                  <a:gd name="T103" fmla="*/ 2147483647 h 893"/>
                  <a:gd name="T104" fmla="*/ 2147483647 w 948"/>
                  <a:gd name="T105" fmla="*/ 2147483647 h 893"/>
                  <a:gd name="T106" fmla="*/ 2147483647 w 948"/>
                  <a:gd name="T107" fmla="*/ 2147483647 h 893"/>
                  <a:gd name="T108" fmla="*/ 1252361555 w 948"/>
                  <a:gd name="T109" fmla="*/ 2147483647 h 893"/>
                  <a:gd name="T110" fmla="*/ 2147483647 w 948"/>
                  <a:gd name="T111" fmla="*/ 2147483647 h 893"/>
                  <a:gd name="T112" fmla="*/ 2147483647 w 948"/>
                  <a:gd name="T113" fmla="*/ 2147483647 h 893"/>
                  <a:gd name="T114" fmla="*/ 2147483647 w 948"/>
                  <a:gd name="T115" fmla="*/ 2147483647 h 893"/>
                  <a:gd name="T116" fmla="*/ 2147483647 w 948"/>
                  <a:gd name="T117" fmla="*/ 2147483647 h 89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0" name="Freeform 237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9807843" y="2958672"/>
                <a:ext cx="493712" cy="579438"/>
              </a:xfrm>
              <a:custGeom>
                <a:avLst/>
                <a:gdLst>
                  <a:gd name="T0" fmla="*/ 2147483647 w 373"/>
                  <a:gd name="T1" fmla="*/ 2147483647 h 370"/>
                  <a:gd name="T2" fmla="*/ 2147483647 w 373"/>
                  <a:gd name="T3" fmla="*/ 2147483647 h 370"/>
                  <a:gd name="T4" fmla="*/ 2147483647 w 373"/>
                  <a:gd name="T5" fmla="*/ 2147483647 h 370"/>
                  <a:gd name="T6" fmla="*/ 2147483647 w 373"/>
                  <a:gd name="T7" fmla="*/ 2147483647 h 370"/>
                  <a:gd name="T8" fmla="*/ 2147483647 w 373"/>
                  <a:gd name="T9" fmla="*/ 2147483647 h 370"/>
                  <a:gd name="T10" fmla="*/ 2147483647 w 373"/>
                  <a:gd name="T11" fmla="*/ 2147483647 h 370"/>
                  <a:gd name="T12" fmla="*/ 2147483647 w 373"/>
                  <a:gd name="T13" fmla="*/ 2147483647 h 370"/>
                  <a:gd name="T14" fmla="*/ 2147483647 w 373"/>
                  <a:gd name="T15" fmla="*/ 2147483647 h 370"/>
                  <a:gd name="T16" fmla="*/ 2147483647 w 373"/>
                  <a:gd name="T17" fmla="*/ 2147483647 h 370"/>
                  <a:gd name="T18" fmla="*/ 2147483647 w 373"/>
                  <a:gd name="T19" fmla="*/ 2147483647 h 370"/>
                  <a:gd name="T20" fmla="*/ 2147483647 w 373"/>
                  <a:gd name="T21" fmla="*/ 2147483647 h 370"/>
                  <a:gd name="T22" fmla="*/ 2147483647 w 373"/>
                  <a:gd name="T23" fmla="*/ 2147483647 h 370"/>
                  <a:gd name="T24" fmla="*/ 2147483647 w 373"/>
                  <a:gd name="T25" fmla="*/ 2147483647 h 370"/>
                  <a:gd name="T26" fmla="*/ 2147483647 w 373"/>
                  <a:gd name="T27" fmla="*/ 2147483647 h 370"/>
                  <a:gd name="T28" fmla="*/ 2147483647 w 373"/>
                  <a:gd name="T29" fmla="*/ 2147483647 h 370"/>
                  <a:gd name="T30" fmla="*/ 2147483647 w 373"/>
                  <a:gd name="T31" fmla="*/ 2147483647 h 370"/>
                  <a:gd name="T32" fmla="*/ 2147483647 w 373"/>
                  <a:gd name="T33" fmla="*/ 2147483647 h 370"/>
                  <a:gd name="T34" fmla="*/ 2147483647 w 373"/>
                  <a:gd name="T35" fmla="*/ 2147483647 h 370"/>
                  <a:gd name="T36" fmla="*/ 2147483647 w 373"/>
                  <a:gd name="T37" fmla="*/ 2147483647 h 370"/>
                  <a:gd name="T38" fmla="*/ 2147483647 w 373"/>
                  <a:gd name="T39" fmla="*/ 2147483647 h 370"/>
                  <a:gd name="T40" fmla="*/ 2147483647 w 373"/>
                  <a:gd name="T41" fmla="*/ 2147483647 h 370"/>
                  <a:gd name="T42" fmla="*/ 2147483647 w 373"/>
                  <a:gd name="T43" fmla="*/ 2147483647 h 370"/>
                  <a:gd name="T44" fmla="*/ 2147483647 w 373"/>
                  <a:gd name="T45" fmla="*/ 2147483647 h 370"/>
                  <a:gd name="T46" fmla="*/ 2147483647 w 373"/>
                  <a:gd name="T47" fmla="*/ 2147483647 h 370"/>
                  <a:gd name="T48" fmla="*/ 2147483647 w 373"/>
                  <a:gd name="T49" fmla="*/ 2147483647 h 370"/>
                  <a:gd name="T50" fmla="*/ 2147483647 w 373"/>
                  <a:gd name="T51" fmla="*/ 2147483647 h 370"/>
                  <a:gd name="T52" fmla="*/ 2147483647 w 373"/>
                  <a:gd name="T53" fmla="*/ 2147483647 h 370"/>
                  <a:gd name="T54" fmla="*/ 2147483647 w 373"/>
                  <a:gd name="T55" fmla="*/ 2147483647 h 370"/>
                  <a:gd name="T56" fmla="*/ 2147483647 w 373"/>
                  <a:gd name="T57" fmla="*/ 2147483647 h 370"/>
                  <a:gd name="T58" fmla="*/ 2147483647 w 373"/>
                  <a:gd name="T59" fmla="*/ 2147483647 h 370"/>
                  <a:gd name="T60" fmla="*/ 2147483647 w 373"/>
                  <a:gd name="T61" fmla="*/ 2147483647 h 370"/>
                  <a:gd name="T62" fmla="*/ 2147483647 w 373"/>
                  <a:gd name="T63" fmla="*/ 2147483647 h 370"/>
                  <a:gd name="T64" fmla="*/ 2147483647 w 373"/>
                  <a:gd name="T65" fmla="*/ 2147483647 h 370"/>
                  <a:gd name="T66" fmla="*/ 2147483647 w 373"/>
                  <a:gd name="T67" fmla="*/ 2147483647 h 370"/>
                  <a:gd name="T68" fmla="*/ 2147483647 w 373"/>
                  <a:gd name="T69" fmla="*/ 2147483647 h 370"/>
                  <a:gd name="T70" fmla="*/ 2147483647 w 373"/>
                  <a:gd name="T71" fmla="*/ 2147483647 h 370"/>
                  <a:gd name="T72" fmla="*/ 2147483647 w 373"/>
                  <a:gd name="T73" fmla="*/ 2147483647 h 370"/>
                  <a:gd name="T74" fmla="*/ 2147483647 w 373"/>
                  <a:gd name="T75" fmla="*/ 2147483647 h 370"/>
                  <a:gd name="T76" fmla="*/ 2147483647 w 373"/>
                  <a:gd name="T77" fmla="*/ 2147483647 h 370"/>
                  <a:gd name="T78" fmla="*/ 2147483647 w 373"/>
                  <a:gd name="T79" fmla="*/ 2147483647 h 370"/>
                  <a:gd name="T80" fmla="*/ 2147483647 w 373"/>
                  <a:gd name="T81" fmla="*/ 2147483647 h 370"/>
                  <a:gd name="T82" fmla="*/ 2147483647 w 373"/>
                  <a:gd name="T83" fmla="*/ 2147483647 h 370"/>
                  <a:gd name="T84" fmla="*/ 2147483647 w 373"/>
                  <a:gd name="T85" fmla="*/ 2147483647 h 370"/>
                  <a:gd name="T86" fmla="*/ 2147483647 w 373"/>
                  <a:gd name="T87" fmla="*/ 2147483647 h 370"/>
                  <a:gd name="T88" fmla="*/ 0 w 373"/>
                  <a:gd name="T89" fmla="*/ 2147483647 h 370"/>
                  <a:gd name="T90" fmla="*/ 2147483647 w 373"/>
                  <a:gd name="T91" fmla="*/ 2147483647 h 370"/>
                  <a:gd name="T92" fmla="*/ 2147483647 w 373"/>
                  <a:gd name="T93" fmla="*/ 2147483647 h 370"/>
                  <a:gd name="T94" fmla="*/ 2147483647 w 373"/>
                  <a:gd name="T95" fmla="*/ 2147483647 h 37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1" name="Freeform 238"/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>
                <a:off x="10244405" y="3093610"/>
                <a:ext cx="384175" cy="436562"/>
              </a:xfrm>
              <a:custGeom>
                <a:avLst/>
                <a:gdLst>
                  <a:gd name="T0" fmla="*/ 2147483647 w 877"/>
                  <a:gd name="T1" fmla="*/ 2147483647 h 826"/>
                  <a:gd name="T2" fmla="*/ 2147483647 w 877"/>
                  <a:gd name="T3" fmla="*/ 2147483647 h 826"/>
                  <a:gd name="T4" fmla="*/ 2147483647 w 877"/>
                  <a:gd name="T5" fmla="*/ 2147483647 h 826"/>
                  <a:gd name="T6" fmla="*/ 2147483647 w 877"/>
                  <a:gd name="T7" fmla="*/ 2147483647 h 826"/>
                  <a:gd name="T8" fmla="*/ 2147483647 w 877"/>
                  <a:gd name="T9" fmla="*/ 2147483647 h 826"/>
                  <a:gd name="T10" fmla="*/ 2147483647 w 877"/>
                  <a:gd name="T11" fmla="*/ 2147483647 h 826"/>
                  <a:gd name="T12" fmla="*/ 2147483647 w 877"/>
                  <a:gd name="T13" fmla="*/ 885784298 h 826"/>
                  <a:gd name="T14" fmla="*/ 2147483647 w 877"/>
                  <a:gd name="T15" fmla="*/ 2147483647 h 826"/>
                  <a:gd name="T16" fmla="*/ 2147483647 w 877"/>
                  <a:gd name="T17" fmla="*/ 2147483647 h 826"/>
                  <a:gd name="T18" fmla="*/ 2147483647 w 877"/>
                  <a:gd name="T19" fmla="*/ 2147483647 h 826"/>
                  <a:gd name="T20" fmla="*/ 2147483647 w 877"/>
                  <a:gd name="T21" fmla="*/ 2147483647 h 826"/>
                  <a:gd name="T22" fmla="*/ 2147483647 w 877"/>
                  <a:gd name="T23" fmla="*/ 2147483647 h 826"/>
                  <a:gd name="T24" fmla="*/ 2147483647 w 877"/>
                  <a:gd name="T25" fmla="*/ 2147483647 h 826"/>
                  <a:gd name="T26" fmla="*/ 2147483647 w 877"/>
                  <a:gd name="T27" fmla="*/ 2147483647 h 826"/>
                  <a:gd name="T28" fmla="*/ 2147483647 w 877"/>
                  <a:gd name="T29" fmla="*/ 2147483647 h 826"/>
                  <a:gd name="T30" fmla="*/ 2147483647 w 877"/>
                  <a:gd name="T31" fmla="*/ 2147483647 h 826"/>
                  <a:gd name="T32" fmla="*/ 2147483647 w 877"/>
                  <a:gd name="T33" fmla="*/ 2147483647 h 826"/>
                  <a:gd name="T34" fmla="*/ 2147483647 w 877"/>
                  <a:gd name="T35" fmla="*/ 2147483647 h 826"/>
                  <a:gd name="T36" fmla="*/ 2147483647 w 877"/>
                  <a:gd name="T37" fmla="*/ 2147483647 h 826"/>
                  <a:gd name="T38" fmla="*/ 2147483647 w 877"/>
                  <a:gd name="T39" fmla="*/ 2147483647 h 826"/>
                  <a:gd name="T40" fmla="*/ 2147483647 w 877"/>
                  <a:gd name="T41" fmla="*/ 2147483647 h 826"/>
                  <a:gd name="T42" fmla="*/ 2147483647 w 877"/>
                  <a:gd name="T43" fmla="*/ 2147483647 h 826"/>
                  <a:gd name="T44" fmla="*/ 2147483647 w 877"/>
                  <a:gd name="T45" fmla="*/ 590523042 h 826"/>
                  <a:gd name="T46" fmla="*/ 2147483647 w 877"/>
                  <a:gd name="T47" fmla="*/ 0 h 826"/>
                  <a:gd name="T48" fmla="*/ 2147483647 w 877"/>
                  <a:gd name="T49" fmla="*/ 885784298 h 826"/>
                  <a:gd name="T50" fmla="*/ 2147483647 w 877"/>
                  <a:gd name="T51" fmla="*/ 2147483647 h 826"/>
                  <a:gd name="T52" fmla="*/ 2147483647 w 877"/>
                  <a:gd name="T53" fmla="*/ 2147483647 h 826"/>
                  <a:gd name="T54" fmla="*/ 2147483647 w 877"/>
                  <a:gd name="T55" fmla="*/ 2147483647 h 826"/>
                  <a:gd name="T56" fmla="*/ 2147483647 w 877"/>
                  <a:gd name="T57" fmla="*/ 2147483647 h 826"/>
                  <a:gd name="T58" fmla="*/ 2147483647 w 877"/>
                  <a:gd name="T59" fmla="*/ 2147483647 h 826"/>
                  <a:gd name="T60" fmla="*/ 2147483647 w 877"/>
                  <a:gd name="T61" fmla="*/ 2147483647 h 826"/>
                  <a:gd name="T62" fmla="*/ 2147483647 w 877"/>
                  <a:gd name="T63" fmla="*/ 2147483647 h 826"/>
                  <a:gd name="T64" fmla="*/ 2147483647 w 877"/>
                  <a:gd name="T65" fmla="*/ 2147483647 h 826"/>
                  <a:gd name="T66" fmla="*/ 2147483647 w 877"/>
                  <a:gd name="T67" fmla="*/ 2147483647 h 826"/>
                  <a:gd name="T68" fmla="*/ 2147483647 w 877"/>
                  <a:gd name="T69" fmla="*/ 2147483647 h 826"/>
                  <a:gd name="T70" fmla="*/ 2147483647 w 877"/>
                  <a:gd name="T71" fmla="*/ 2147483647 h 826"/>
                  <a:gd name="T72" fmla="*/ 2147483647 w 877"/>
                  <a:gd name="T73" fmla="*/ 2147483647 h 826"/>
                  <a:gd name="T74" fmla="*/ 2147483647 w 877"/>
                  <a:gd name="T75" fmla="*/ 2147483647 h 826"/>
                  <a:gd name="T76" fmla="*/ 2147483647 w 877"/>
                  <a:gd name="T77" fmla="*/ 2147483647 h 826"/>
                  <a:gd name="T78" fmla="*/ 2147483647 w 877"/>
                  <a:gd name="T79" fmla="*/ 2147483647 h 826"/>
                  <a:gd name="T80" fmla="*/ 2147483647 w 877"/>
                  <a:gd name="T81" fmla="*/ 2147483647 h 826"/>
                  <a:gd name="T82" fmla="*/ 2147483647 w 877"/>
                  <a:gd name="T83" fmla="*/ 2147483647 h 826"/>
                  <a:gd name="T84" fmla="*/ 2147483647 w 877"/>
                  <a:gd name="T85" fmla="*/ 2147483647 h 826"/>
                  <a:gd name="T86" fmla="*/ 2147483647 w 877"/>
                  <a:gd name="T87" fmla="*/ 2147483647 h 826"/>
                  <a:gd name="T88" fmla="*/ 2147483647 w 877"/>
                  <a:gd name="T89" fmla="*/ 2147483647 h 826"/>
                  <a:gd name="T90" fmla="*/ 2147483647 w 877"/>
                  <a:gd name="T91" fmla="*/ 2147483647 h 826"/>
                  <a:gd name="T92" fmla="*/ 2147483647 w 877"/>
                  <a:gd name="T93" fmla="*/ 2147483647 h 826"/>
                  <a:gd name="T94" fmla="*/ 2147483647 w 877"/>
                  <a:gd name="T95" fmla="*/ 2147483647 h 826"/>
                  <a:gd name="T96" fmla="*/ 2147483647 w 877"/>
                  <a:gd name="T97" fmla="*/ 2147483647 h 826"/>
                  <a:gd name="T98" fmla="*/ 2147483647 w 877"/>
                  <a:gd name="T99" fmla="*/ 2147483647 h 826"/>
                  <a:gd name="T100" fmla="*/ 2147483647 w 877"/>
                  <a:gd name="T101" fmla="*/ 2147483647 h 826"/>
                  <a:gd name="T102" fmla="*/ 2147483647 w 877"/>
                  <a:gd name="T103" fmla="*/ 2147483647 h 826"/>
                  <a:gd name="T104" fmla="*/ 2147483647 w 877"/>
                  <a:gd name="T105" fmla="*/ 2147483647 h 826"/>
                  <a:gd name="T106" fmla="*/ 1344977839 w 877"/>
                  <a:gd name="T107" fmla="*/ 2147483647 h 826"/>
                  <a:gd name="T108" fmla="*/ 1176879592 w 877"/>
                  <a:gd name="T109" fmla="*/ 2147483647 h 826"/>
                  <a:gd name="T110" fmla="*/ 1597124989 w 877"/>
                  <a:gd name="T111" fmla="*/ 2147483647 h 826"/>
                  <a:gd name="T112" fmla="*/ 1429026743 w 877"/>
                  <a:gd name="T113" fmla="*/ 2147483647 h 826"/>
                  <a:gd name="T114" fmla="*/ 336196493 w 877"/>
                  <a:gd name="T115" fmla="*/ 2147483647 h 8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2" name="Freeform 239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10196780" y="2958672"/>
                <a:ext cx="93663" cy="236538"/>
              </a:xfrm>
              <a:custGeom>
                <a:avLst/>
                <a:gdLst>
                  <a:gd name="T0" fmla="*/ 2147483647 w 206"/>
                  <a:gd name="T1" fmla="*/ 2147483647 h 455"/>
                  <a:gd name="T2" fmla="*/ 2147483647 w 206"/>
                  <a:gd name="T3" fmla="*/ 2147483647 h 455"/>
                  <a:gd name="T4" fmla="*/ 2147483647 w 206"/>
                  <a:gd name="T5" fmla="*/ 2147483647 h 455"/>
                  <a:gd name="T6" fmla="*/ 2147483647 w 206"/>
                  <a:gd name="T7" fmla="*/ 2147483647 h 455"/>
                  <a:gd name="T8" fmla="*/ 2147483647 w 206"/>
                  <a:gd name="T9" fmla="*/ 2147483647 h 455"/>
                  <a:gd name="T10" fmla="*/ 2147483647 w 206"/>
                  <a:gd name="T11" fmla="*/ 2147483647 h 455"/>
                  <a:gd name="T12" fmla="*/ 2147483647 w 206"/>
                  <a:gd name="T13" fmla="*/ 2147483647 h 455"/>
                  <a:gd name="T14" fmla="*/ 2147483647 w 206"/>
                  <a:gd name="T15" fmla="*/ 2147483647 h 455"/>
                  <a:gd name="T16" fmla="*/ 2147483647 w 206"/>
                  <a:gd name="T17" fmla="*/ 2147483647 h 455"/>
                  <a:gd name="T18" fmla="*/ 2147483647 w 206"/>
                  <a:gd name="T19" fmla="*/ 2147483647 h 455"/>
                  <a:gd name="T20" fmla="*/ 2147483647 w 206"/>
                  <a:gd name="T21" fmla="*/ 2147483647 h 455"/>
                  <a:gd name="T22" fmla="*/ 2147483647 w 206"/>
                  <a:gd name="T23" fmla="*/ 2147483647 h 455"/>
                  <a:gd name="T24" fmla="*/ 2147483647 w 206"/>
                  <a:gd name="T25" fmla="*/ 2147483647 h 455"/>
                  <a:gd name="T26" fmla="*/ 2147483647 w 206"/>
                  <a:gd name="T27" fmla="*/ 2147483647 h 455"/>
                  <a:gd name="T28" fmla="*/ 2147483647 w 206"/>
                  <a:gd name="T29" fmla="*/ 2147483647 h 455"/>
                  <a:gd name="T30" fmla="*/ 2147483647 w 206"/>
                  <a:gd name="T31" fmla="*/ 2147483647 h 455"/>
                  <a:gd name="T32" fmla="*/ 2147483647 w 206"/>
                  <a:gd name="T33" fmla="*/ 2147483647 h 455"/>
                  <a:gd name="T34" fmla="*/ 2147483647 w 206"/>
                  <a:gd name="T35" fmla="*/ 2147483647 h 455"/>
                  <a:gd name="T36" fmla="*/ 2147483647 w 206"/>
                  <a:gd name="T37" fmla="*/ 2147483647 h 455"/>
                  <a:gd name="T38" fmla="*/ 2147483647 w 206"/>
                  <a:gd name="T39" fmla="*/ 2147483647 h 455"/>
                  <a:gd name="T40" fmla="*/ 2147483647 w 206"/>
                  <a:gd name="T41" fmla="*/ 2147483647 h 455"/>
                  <a:gd name="T42" fmla="*/ 2147483647 w 206"/>
                  <a:gd name="T43" fmla="*/ 2147483647 h 455"/>
                  <a:gd name="T44" fmla="*/ 2147483647 w 206"/>
                  <a:gd name="T45" fmla="*/ 2147483647 h 455"/>
                  <a:gd name="T46" fmla="*/ 2147483647 w 206"/>
                  <a:gd name="T47" fmla="*/ 2147483647 h 455"/>
                  <a:gd name="T48" fmla="*/ 2147483647 w 206"/>
                  <a:gd name="T49" fmla="*/ 2147483647 h 455"/>
                  <a:gd name="T50" fmla="*/ 2147483647 w 206"/>
                  <a:gd name="T51" fmla="*/ 2147483647 h 455"/>
                  <a:gd name="T52" fmla="*/ 2147483647 w 206"/>
                  <a:gd name="T53" fmla="*/ 2147483647 h 455"/>
                  <a:gd name="T54" fmla="*/ 2147483647 w 206"/>
                  <a:gd name="T55" fmla="*/ 2147483647 h 455"/>
                  <a:gd name="T56" fmla="*/ 2147483647 w 206"/>
                  <a:gd name="T57" fmla="*/ 2147483647 h 455"/>
                  <a:gd name="T58" fmla="*/ 2147483647 w 206"/>
                  <a:gd name="T59" fmla="*/ 2147483647 h 455"/>
                  <a:gd name="T60" fmla="*/ 2147483647 w 206"/>
                  <a:gd name="T61" fmla="*/ 2147483647 h 455"/>
                  <a:gd name="T62" fmla="*/ 2147483647 w 206"/>
                  <a:gd name="T63" fmla="*/ 2147483647 h 455"/>
                  <a:gd name="T64" fmla="*/ 2147483647 w 206"/>
                  <a:gd name="T65" fmla="*/ 2147483647 h 455"/>
                  <a:gd name="T66" fmla="*/ 2147483647 w 206"/>
                  <a:gd name="T67" fmla="*/ 2147483647 h 455"/>
                  <a:gd name="T68" fmla="*/ 2147483647 w 206"/>
                  <a:gd name="T69" fmla="*/ 2147483647 h 455"/>
                  <a:gd name="T70" fmla="*/ 2147483647 w 206"/>
                  <a:gd name="T71" fmla="*/ 2147483647 h 455"/>
                  <a:gd name="T72" fmla="*/ 2147483647 w 206"/>
                  <a:gd name="T73" fmla="*/ 2147483647 h 455"/>
                  <a:gd name="T74" fmla="*/ 2147483647 w 206"/>
                  <a:gd name="T75" fmla="*/ 0 h 455"/>
                  <a:gd name="T76" fmla="*/ 2147483647 w 206"/>
                  <a:gd name="T77" fmla="*/ 1545607394 h 455"/>
                  <a:gd name="T78" fmla="*/ 2147483647 w 206"/>
                  <a:gd name="T79" fmla="*/ 2147483647 h 455"/>
                  <a:gd name="T80" fmla="*/ 2147483647 w 206"/>
                  <a:gd name="T81" fmla="*/ 2147483647 h 455"/>
                  <a:gd name="T82" fmla="*/ 2067911720 w 206"/>
                  <a:gd name="T83" fmla="*/ 2147483647 h 455"/>
                  <a:gd name="T84" fmla="*/ 1879788220 w 206"/>
                  <a:gd name="T85" fmla="*/ 2147483647 h 455"/>
                  <a:gd name="T86" fmla="*/ 1879788220 w 206"/>
                  <a:gd name="T87" fmla="*/ 2147483647 h 455"/>
                  <a:gd name="T88" fmla="*/ 1127913944 w 206"/>
                  <a:gd name="T89" fmla="*/ 2147483647 h 455"/>
                  <a:gd name="T90" fmla="*/ 751873822 w 206"/>
                  <a:gd name="T91" fmla="*/ 2147483647 h 455"/>
                  <a:gd name="T92" fmla="*/ 0 w 206"/>
                  <a:gd name="T93" fmla="*/ 2147483647 h 455"/>
                  <a:gd name="T94" fmla="*/ 2067911720 w 206"/>
                  <a:gd name="T95" fmla="*/ 2147483647 h 455"/>
                  <a:gd name="T96" fmla="*/ 2147483647 w 206"/>
                  <a:gd name="T97" fmla="*/ 2147483647 h 455"/>
                  <a:gd name="T98" fmla="*/ 2147483647 w 206"/>
                  <a:gd name="T99" fmla="*/ 2147483647 h 455"/>
                  <a:gd name="T100" fmla="*/ 2147483647 w 206"/>
                  <a:gd name="T101" fmla="*/ 2147483647 h 455"/>
                  <a:gd name="T102" fmla="*/ 2147483647 w 206"/>
                  <a:gd name="T103" fmla="*/ 2147483647 h 455"/>
                  <a:gd name="T104" fmla="*/ 2147483647 w 206"/>
                  <a:gd name="T105" fmla="*/ 2147483647 h 455"/>
                  <a:gd name="T106" fmla="*/ 2147483647 w 206"/>
                  <a:gd name="T107" fmla="*/ 2147483647 h 45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3" name="Freeform 240"/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>
                <a:off x="9579243" y="3269822"/>
                <a:ext cx="231775" cy="215900"/>
              </a:xfrm>
              <a:custGeom>
                <a:avLst/>
                <a:gdLst>
                  <a:gd name="T0" fmla="*/ 2147483647 w 518"/>
                  <a:gd name="T1" fmla="*/ 2147483647 h 406"/>
                  <a:gd name="T2" fmla="*/ 2147483647 w 518"/>
                  <a:gd name="T3" fmla="*/ 2147483647 h 406"/>
                  <a:gd name="T4" fmla="*/ 2147483647 w 518"/>
                  <a:gd name="T5" fmla="*/ 2147483647 h 406"/>
                  <a:gd name="T6" fmla="*/ 2147483647 w 518"/>
                  <a:gd name="T7" fmla="*/ 2147483647 h 406"/>
                  <a:gd name="T8" fmla="*/ 2147483647 w 518"/>
                  <a:gd name="T9" fmla="*/ 2147483647 h 406"/>
                  <a:gd name="T10" fmla="*/ 2147483647 w 518"/>
                  <a:gd name="T11" fmla="*/ 2147483647 h 406"/>
                  <a:gd name="T12" fmla="*/ 2147483647 w 518"/>
                  <a:gd name="T13" fmla="*/ 2147483647 h 406"/>
                  <a:gd name="T14" fmla="*/ 2147483647 w 518"/>
                  <a:gd name="T15" fmla="*/ 2147483647 h 406"/>
                  <a:gd name="T16" fmla="*/ 2147483647 w 518"/>
                  <a:gd name="T17" fmla="*/ 2147483647 h 406"/>
                  <a:gd name="T18" fmla="*/ 2147483647 w 518"/>
                  <a:gd name="T19" fmla="*/ 2147483647 h 406"/>
                  <a:gd name="T20" fmla="*/ 1970812356 w 518"/>
                  <a:gd name="T21" fmla="*/ 2147483647 h 406"/>
                  <a:gd name="T22" fmla="*/ 447857311 w 518"/>
                  <a:gd name="T23" fmla="*/ 2147483647 h 406"/>
                  <a:gd name="T24" fmla="*/ 89491549 w 518"/>
                  <a:gd name="T25" fmla="*/ 2147483647 h 406"/>
                  <a:gd name="T26" fmla="*/ 89491549 w 518"/>
                  <a:gd name="T27" fmla="*/ 2147483647 h 406"/>
                  <a:gd name="T28" fmla="*/ 358365762 w 518"/>
                  <a:gd name="T29" fmla="*/ 2147483647 h 406"/>
                  <a:gd name="T30" fmla="*/ 985406178 w 518"/>
                  <a:gd name="T31" fmla="*/ 2147483647 h 406"/>
                  <a:gd name="T32" fmla="*/ 1791629251 w 518"/>
                  <a:gd name="T33" fmla="*/ 2147483647 h 406"/>
                  <a:gd name="T34" fmla="*/ 2147483647 w 518"/>
                  <a:gd name="T35" fmla="*/ 2147483647 h 406"/>
                  <a:gd name="T36" fmla="*/ 2147483647 w 518"/>
                  <a:gd name="T37" fmla="*/ 2147483647 h 406"/>
                  <a:gd name="T38" fmla="*/ 2147483647 w 518"/>
                  <a:gd name="T39" fmla="*/ 2147483647 h 406"/>
                  <a:gd name="T40" fmla="*/ 2147483647 w 518"/>
                  <a:gd name="T41" fmla="*/ 2147483647 h 406"/>
                  <a:gd name="T42" fmla="*/ 2147483647 w 518"/>
                  <a:gd name="T43" fmla="*/ 2147483647 h 406"/>
                  <a:gd name="T44" fmla="*/ 2147483647 w 518"/>
                  <a:gd name="T45" fmla="*/ 2147483647 h 406"/>
                  <a:gd name="T46" fmla="*/ 2147483647 w 518"/>
                  <a:gd name="T47" fmla="*/ 2147483647 h 406"/>
                  <a:gd name="T48" fmla="*/ 2147483647 w 518"/>
                  <a:gd name="T49" fmla="*/ 2147483647 h 406"/>
                  <a:gd name="T50" fmla="*/ 2147483647 w 518"/>
                  <a:gd name="T51" fmla="*/ 2147483647 h 406"/>
                  <a:gd name="T52" fmla="*/ 2147483647 w 518"/>
                  <a:gd name="T53" fmla="*/ 2147483647 h 406"/>
                  <a:gd name="T54" fmla="*/ 2147483647 w 518"/>
                  <a:gd name="T55" fmla="*/ 2147483647 h 406"/>
                  <a:gd name="T56" fmla="*/ 2147483647 w 518"/>
                  <a:gd name="T57" fmla="*/ 2147483647 h 406"/>
                  <a:gd name="T58" fmla="*/ 2147483647 w 518"/>
                  <a:gd name="T59" fmla="*/ 2147483647 h 406"/>
                  <a:gd name="T60" fmla="*/ 2147483647 w 518"/>
                  <a:gd name="T61" fmla="*/ 2147483647 h 406"/>
                  <a:gd name="T62" fmla="*/ 2147483647 w 518"/>
                  <a:gd name="T63" fmla="*/ 2147483647 h 406"/>
                  <a:gd name="T64" fmla="*/ 2147483647 w 518"/>
                  <a:gd name="T65" fmla="*/ 2147483647 h 406"/>
                  <a:gd name="T66" fmla="*/ 2147483647 w 518"/>
                  <a:gd name="T67" fmla="*/ 2147483647 h 406"/>
                  <a:gd name="T68" fmla="*/ 2147483647 w 518"/>
                  <a:gd name="T69" fmla="*/ 2147483647 h 406"/>
                  <a:gd name="T70" fmla="*/ 2147483647 w 518"/>
                  <a:gd name="T71" fmla="*/ 2147483647 h 406"/>
                  <a:gd name="T72" fmla="*/ 2147483647 w 518"/>
                  <a:gd name="T73" fmla="*/ 2147483647 h 406"/>
                  <a:gd name="T74" fmla="*/ 2147483647 w 518"/>
                  <a:gd name="T75" fmla="*/ 1202958639 h 406"/>
                  <a:gd name="T76" fmla="*/ 2147483647 w 518"/>
                  <a:gd name="T77" fmla="*/ 0 h 406"/>
                  <a:gd name="T78" fmla="*/ 2147483647 w 518"/>
                  <a:gd name="T79" fmla="*/ 2147483647 h 406"/>
                  <a:gd name="T80" fmla="*/ 2147483647 w 518"/>
                  <a:gd name="T81" fmla="*/ 2147483647 h 40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4" name="Freeform 241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9547493" y="2077610"/>
                <a:ext cx="190500" cy="93662"/>
              </a:xfrm>
              <a:custGeom>
                <a:avLst/>
                <a:gdLst>
                  <a:gd name="T0" fmla="*/ 2147483647 w 446"/>
                  <a:gd name="T1" fmla="*/ 2147483647 h 178"/>
                  <a:gd name="T2" fmla="*/ 2147483647 w 446"/>
                  <a:gd name="T3" fmla="*/ 2147483647 h 178"/>
                  <a:gd name="T4" fmla="*/ 2147483647 w 446"/>
                  <a:gd name="T5" fmla="*/ 2147483647 h 178"/>
                  <a:gd name="T6" fmla="*/ 2147483647 w 446"/>
                  <a:gd name="T7" fmla="*/ 2147483647 h 178"/>
                  <a:gd name="T8" fmla="*/ 2147483647 w 446"/>
                  <a:gd name="T9" fmla="*/ 2039752619 h 178"/>
                  <a:gd name="T10" fmla="*/ 2147483647 w 446"/>
                  <a:gd name="T11" fmla="*/ 0 h 178"/>
                  <a:gd name="T12" fmla="*/ 2147483647 w 446"/>
                  <a:gd name="T13" fmla="*/ 1456926617 h 178"/>
                  <a:gd name="T14" fmla="*/ 2147483647 w 446"/>
                  <a:gd name="T15" fmla="*/ 2147483647 h 178"/>
                  <a:gd name="T16" fmla="*/ 2147483647 w 446"/>
                  <a:gd name="T17" fmla="*/ 2147483647 h 178"/>
                  <a:gd name="T18" fmla="*/ 2147483647 w 446"/>
                  <a:gd name="T19" fmla="*/ 2147483647 h 178"/>
                  <a:gd name="T20" fmla="*/ 2147483647 w 446"/>
                  <a:gd name="T21" fmla="*/ 2147483647 h 178"/>
                  <a:gd name="T22" fmla="*/ 2147483647 w 446"/>
                  <a:gd name="T23" fmla="*/ 2147483647 h 178"/>
                  <a:gd name="T24" fmla="*/ 2147483647 w 446"/>
                  <a:gd name="T25" fmla="*/ 2147483647 h 178"/>
                  <a:gd name="T26" fmla="*/ 2147483647 w 446"/>
                  <a:gd name="T27" fmla="*/ 2147483647 h 178"/>
                  <a:gd name="T28" fmla="*/ 2147483647 w 446"/>
                  <a:gd name="T29" fmla="*/ 1602564187 h 178"/>
                  <a:gd name="T30" fmla="*/ 2147483647 w 446"/>
                  <a:gd name="T31" fmla="*/ 2147483647 h 178"/>
                  <a:gd name="T32" fmla="*/ 2147483647 w 446"/>
                  <a:gd name="T33" fmla="*/ 2147483647 h 178"/>
                  <a:gd name="T34" fmla="*/ 2147483647 w 446"/>
                  <a:gd name="T35" fmla="*/ 2147483647 h 178"/>
                  <a:gd name="T36" fmla="*/ 2147483647 w 446"/>
                  <a:gd name="T37" fmla="*/ 2147483647 h 178"/>
                  <a:gd name="T38" fmla="*/ 2147483647 w 446"/>
                  <a:gd name="T39" fmla="*/ 2147483647 h 178"/>
                  <a:gd name="T40" fmla="*/ 2147483647 w 446"/>
                  <a:gd name="T41" fmla="*/ 2147483647 h 178"/>
                  <a:gd name="T42" fmla="*/ 2147483647 w 446"/>
                  <a:gd name="T43" fmla="*/ 2147483647 h 178"/>
                  <a:gd name="T44" fmla="*/ 2147483647 w 446"/>
                  <a:gd name="T45" fmla="*/ 2147483647 h 178"/>
                  <a:gd name="T46" fmla="*/ 2147483647 w 446"/>
                  <a:gd name="T47" fmla="*/ 2147483647 h 178"/>
                  <a:gd name="T48" fmla="*/ 2147483647 w 446"/>
                  <a:gd name="T49" fmla="*/ 2147483647 h 178"/>
                  <a:gd name="T50" fmla="*/ 2147483647 w 446"/>
                  <a:gd name="T51" fmla="*/ 2147483647 h 178"/>
                  <a:gd name="T52" fmla="*/ 2147483647 w 446"/>
                  <a:gd name="T53" fmla="*/ 2147483647 h 178"/>
                  <a:gd name="T54" fmla="*/ 2147483647 w 446"/>
                  <a:gd name="T55" fmla="*/ 2147483647 h 178"/>
                  <a:gd name="T56" fmla="*/ 2147483647 w 446"/>
                  <a:gd name="T57" fmla="*/ 2147483647 h 178"/>
                  <a:gd name="T58" fmla="*/ 2147483647 w 446"/>
                  <a:gd name="T59" fmla="*/ 2147483647 h 178"/>
                  <a:gd name="T60" fmla="*/ 2147483647 w 446"/>
                  <a:gd name="T61" fmla="*/ 2147483647 h 178"/>
                  <a:gd name="T62" fmla="*/ 2147483647 w 446"/>
                  <a:gd name="T63" fmla="*/ 2147483647 h 178"/>
                  <a:gd name="T64" fmla="*/ 2147483647 w 446"/>
                  <a:gd name="T65" fmla="*/ 2147483647 h 178"/>
                  <a:gd name="T66" fmla="*/ 2147483647 w 446"/>
                  <a:gd name="T67" fmla="*/ 2147483647 h 178"/>
                  <a:gd name="T68" fmla="*/ 2147483647 w 446"/>
                  <a:gd name="T69" fmla="*/ 2147483647 h 178"/>
                  <a:gd name="T70" fmla="*/ 2147483647 w 446"/>
                  <a:gd name="T71" fmla="*/ 2147483647 h 178"/>
                  <a:gd name="T72" fmla="*/ 2147483647 w 446"/>
                  <a:gd name="T73" fmla="*/ 2147483647 h 178"/>
                  <a:gd name="T74" fmla="*/ 2147483647 w 446"/>
                  <a:gd name="T75" fmla="*/ 2147483647 h 178"/>
                  <a:gd name="T76" fmla="*/ 2104081470 w 446"/>
                  <a:gd name="T77" fmla="*/ 2147483647 h 178"/>
                  <a:gd name="T78" fmla="*/ 701299695 w 446"/>
                  <a:gd name="T79" fmla="*/ 2147483647 h 178"/>
                  <a:gd name="T80" fmla="*/ 0 w 446"/>
                  <a:gd name="T81" fmla="*/ 2147483647 h 178"/>
                  <a:gd name="T82" fmla="*/ 2147483647 w 446"/>
                  <a:gd name="T83" fmla="*/ 2147483647 h 178"/>
                  <a:gd name="T84" fmla="*/ 2147483647 w 446"/>
                  <a:gd name="T85" fmla="*/ 2147483647 h 178"/>
                  <a:gd name="T86" fmla="*/ 1792291487 w 446"/>
                  <a:gd name="T87" fmla="*/ 2147483647 h 178"/>
                  <a:gd name="T88" fmla="*/ 1246795591 w 446"/>
                  <a:gd name="T89" fmla="*/ 2147483647 h 17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46" h="178">
                    <a:moveTo>
                      <a:pt x="27" y="43"/>
                    </a:moveTo>
                    <a:lnTo>
                      <a:pt x="31" y="52"/>
                    </a:lnTo>
                    <a:lnTo>
                      <a:pt x="34" y="61"/>
                    </a:lnTo>
                    <a:lnTo>
                      <a:pt x="37" y="53"/>
                    </a:lnTo>
                    <a:lnTo>
                      <a:pt x="40" y="47"/>
                    </a:lnTo>
                    <a:lnTo>
                      <a:pt x="41" y="42"/>
                    </a:lnTo>
                    <a:lnTo>
                      <a:pt x="41" y="37"/>
                    </a:lnTo>
                    <a:lnTo>
                      <a:pt x="55" y="37"/>
                    </a:lnTo>
                    <a:lnTo>
                      <a:pt x="68" y="37"/>
                    </a:lnTo>
                    <a:lnTo>
                      <a:pt x="77" y="37"/>
                    </a:lnTo>
                    <a:lnTo>
                      <a:pt x="80" y="37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0" y="11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69" y="3"/>
                    </a:lnTo>
                    <a:lnTo>
                      <a:pt x="78" y="6"/>
                    </a:lnTo>
                    <a:lnTo>
                      <a:pt x="85" y="10"/>
                    </a:lnTo>
                    <a:lnTo>
                      <a:pt x="90" y="15"/>
                    </a:lnTo>
                    <a:lnTo>
                      <a:pt x="100" y="27"/>
                    </a:lnTo>
                    <a:lnTo>
                      <a:pt x="108" y="39"/>
                    </a:lnTo>
                    <a:lnTo>
                      <a:pt x="114" y="49"/>
                    </a:lnTo>
                    <a:lnTo>
                      <a:pt x="121" y="59"/>
                    </a:lnTo>
                    <a:lnTo>
                      <a:pt x="125" y="62"/>
                    </a:lnTo>
                    <a:lnTo>
                      <a:pt x="130" y="65"/>
                    </a:lnTo>
                    <a:lnTo>
                      <a:pt x="134" y="67"/>
                    </a:lnTo>
                    <a:lnTo>
                      <a:pt x="139" y="67"/>
                    </a:lnTo>
                    <a:lnTo>
                      <a:pt x="146" y="67"/>
                    </a:lnTo>
                    <a:lnTo>
                      <a:pt x="152" y="66"/>
                    </a:lnTo>
                    <a:lnTo>
                      <a:pt x="157" y="63"/>
                    </a:lnTo>
                    <a:lnTo>
                      <a:pt x="163" y="61"/>
                    </a:lnTo>
                    <a:lnTo>
                      <a:pt x="172" y="54"/>
                    </a:lnTo>
                    <a:lnTo>
                      <a:pt x="181" y="45"/>
                    </a:lnTo>
                    <a:lnTo>
                      <a:pt x="190" y="37"/>
                    </a:lnTo>
                    <a:lnTo>
                      <a:pt x="198" y="29"/>
                    </a:lnTo>
                    <a:lnTo>
                      <a:pt x="205" y="23"/>
                    </a:lnTo>
                    <a:lnTo>
                      <a:pt x="213" y="18"/>
                    </a:lnTo>
                    <a:lnTo>
                      <a:pt x="216" y="25"/>
                    </a:lnTo>
                    <a:lnTo>
                      <a:pt x="220" y="31"/>
                    </a:lnTo>
                    <a:lnTo>
                      <a:pt x="293" y="31"/>
                    </a:lnTo>
                    <a:lnTo>
                      <a:pt x="352" y="6"/>
                    </a:lnTo>
                    <a:lnTo>
                      <a:pt x="359" y="11"/>
                    </a:lnTo>
                    <a:lnTo>
                      <a:pt x="367" y="17"/>
                    </a:lnTo>
                    <a:lnTo>
                      <a:pt x="371" y="21"/>
                    </a:lnTo>
                    <a:lnTo>
                      <a:pt x="376" y="23"/>
                    </a:lnTo>
                    <a:lnTo>
                      <a:pt x="381" y="24"/>
                    </a:lnTo>
                    <a:lnTo>
                      <a:pt x="385" y="25"/>
                    </a:lnTo>
                    <a:lnTo>
                      <a:pt x="396" y="22"/>
                    </a:lnTo>
                    <a:lnTo>
                      <a:pt x="413" y="18"/>
                    </a:lnTo>
                    <a:lnTo>
                      <a:pt x="413" y="28"/>
                    </a:lnTo>
                    <a:lnTo>
                      <a:pt x="413" y="37"/>
                    </a:lnTo>
                    <a:lnTo>
                      <a:pt x="413" y="39"/>
                    </a:lnTo>
                    <a:lnTo>
                      <a:pt x="414" y="41"/>
                    </a:lnTo>
                    <a:lnTo>
                      <a:pt x="415" y="43"/>
                    </a:lnTo>
                    <a:lnTo>
                      <a:pt x="417" y="45"/>
                    </a:lnTo>
                    <a:lnTo>
                      <a:pt x="423" y="49"/>
                    </a:lnTo>
                    <a:lnTo>
                      <a:pt x="429" y="54"/>
                    </a:lnTo>
                    <a:lnTo>
                      <a:pt x="435" y="59"/>
                    </a:lnTo>
                    <a:lnTo>
                      <a:pt x="440" y="64"/>
                    </a:lnTo>
                    <a:lnTo>
                      <a:pt x="443" y="68"/>
                    </a:lnTo>
                    <a:lnTo>
                      <a:pt x="444" y="71"/>
                    </a:lnTo>
                    <a:lnTo>
                      <a:pt x="445" y="76"/>
                    </a:lnTo>
                    <a:lnTo>
                      <a:pt x="446" y="80"/>
                    </a:lnTo>
                    <a:lnTo>
                      <a:pt x="445" y="87"/>
                    </a:lnTo>
                    <a:lnTo>
                      <a:pt x="443" y="92"/>
                    </a:lnTo>
                    <a:lnTo>
                      <a:pt x="438" y="96"/>
                    </a:lnTo>
                    <a:lnTo>
                      <a:pt x="434" y="100"/>
                    </a:lnTo>
                    <a:lnTo>
                      <a:pt x="423" y="106"/>
                    </a:lnTo>
                    <a:lnTo>
                      <a:pt x="413" y="111"/>
                    </a:lnTo>
                    <a:lnTo>
                      <a:pt x="407" y="115"/>
                    </a:lnTo>
                    <a:lnTo>
                      <a:pt x="402" y="118"/>
                    </a:lnTo>
                    <a:lnTo>
                      <a:pt x="397" y="120"/>
                    </a:lnTo>
                    <a:lnTo>
                      <a:pt x="392" y="121"/>
                    </a:lnTo>
                    <a:lnTo>
                      <a:pt x="380" y="123"/>
                    </a:lnTo>
                    <a:lnTo>
                      <a:pt x="366" y="123"/>
                    </a:lnTo>
                    <a:lnTo>
                      <a:pt x="344" y="129"/>
                    </a:lnTo>
                    <a:lnTo>
                      <a:pt x="322" y="137"/>
                    </a:lnTo>
                    <a:lnTo>
                      <a:pt x="300" y="146"/>
                    </a:lnTo>
                    <a:lnTo>
                      <a:pt x="279" y="156"/>
                    </a:lnTo>
                    <a:lnTo>
                      <a:pt x="257" y="164"/>
                    </a:lnTo>
                    <a:lnTo>
                      <a:pt x="234" y="171"/>
                    </a:lnTo>
                    <a:lnTo>
                      <a:pt x="223" y="174"/>
                    </a:lnTo>
                    <a:lnTo>
                      <a:pt x="211" y="176"/>
                    </a:lnTo>
                    <a:lnTo>
                      <a:pt x="199" y="178"/>
                    </a:lnTo>
                    <a:lnTo>
                      <a:pt x="187" y="178"/>
                    </a:lnTo>
                    <a:lnTo>
                      <a:pt x="181" y="177"/>
                    </a:lnTo>
                    <a:lnTo>
                      <a:pt x="177" y="174"/>
                    </a:lnTo>
                    <a:lnTo>
                      <a:pt x="175" y="171"/>
                    </a:lnTo>
                    <a:lnTo>
                      <a:pt x="173" y="166"/>
                    </a:lnTo>
                    <a:lnTo>
                      <a:pt x="172" y="164"/>
                    </a:lnTo>
                    <a:lnTo>
                      <a:pt x="172" y="163"/>
                    </a:lnTo>
                    <a:lnTo>
                      <a:pt x="171" y="162"/>
                    </a:lnTo>
                    <a:lnTo>
                      <a:pt x="170" y="161"/>
                    </a:lnTo>
                    <a:lnTo>
                      <a:pt x="166" y="161"/>
                    </a:lnTo>
                    <a:lnTo>
                      <a:pt x="161" y="161"/>
                    </a:lnTo>
                    <a:lnTo>
                      <a:pt x="156" y="161"/>
                    </a:lnTo>
                    <a:lnTo>
                      <a:pt x="150" y="162"/>
                    </a:lnTo>
                    <a:lnTo>
                      <a:pt x="145" y="162"/>
                    </a:lnTo>
                    <a:lnTo>
                      <a:pt x="139" y="160"/>
                    </a:lnTo>
                    <a:lnTo>
                      <a:pt x="125" y="156"/>
                    </a:lnTo>
                    <a:lnTo>
                      <a:pt x="112" y="152"/>
                    </a:lnTo>
                    <a:lnTo>
                      <a:pt x="100" y="147"/>
                    </a:lnTo>
                    <a:lnTo>
                      <a:pt x="91" y="143"/>
                    </a:lnTo>
                    <a:lnTo>
                      <a:pt x="87" y="140"/>
                    </a:lnTo>
                    <a:lnTo>
                      <a:pt x="85" y="137"/>
                    </a:lnTo>
                    <a:lnTo>
                      <a:pt x="82" y="134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1"/>
                    </a:lnTo>
                    <a:lnTo>
                      <a:pt x="83" y="116"/>
                    </a:lnTo>
                    <a:lnTo>
                      <a:pt x="87" y="111"/>
                    </a:lnTo>
                    <a:lnTo>
                      <a:pt x="63" y="108"/>
                    </a:lnTo>
                    <a:lnTo>
                      <a:pt x="38" y="104"/>
                    </a:lnTo>
                    <a:lnTo>
                      <a:pt x="27" y="103"/>
                    </a:lnTo>
                    <a:lnTo>
                      <a:pt x="18" y="103"/>
                    </a:lnTo>
                    <a:lnTo>
                      <a:pt x="13" y="104"/>
                    </a:lnTo>
                    <a:lnTo>
                      <a:pt x="9" y="105"/>
                    </a:lnTo>
                    <a:lnTo>
                      <a:pt x="4" y="108"/>
                    </a:lnTo>
                    <a:lnTo>
                      <a:pt x="0" y="111"/>
                    </a:lnTo>
                    <a:lnTo>
                      <a:pt x="0" y="80"/>
                    </a:lnTo>
                    <a:lnTo>
                      <a:pt x="30" y="82"/>
                    </a:lnTo>
                    <a:lnTo>
                      <a:pt x="51" y="85"/>
                    </a:lnTo>
                    <a:lnTo>
                      <a:pt x="60" y="86"/>
                    </a:lnTo>
                    <a:lnTo>
                      <a:pt x="68" y="86"/>
                    </a:lnTo>
                    <a:lnTo>
                      <a:pt x="77" y="84"/>
                    </a:lnTo>
                    <a:lnTo>
                      <a:pt x="87" y="80"/>
                    </a:lnTo>
                    <a:lnTo>
                      <a:pt x="64" y="76"/>
                    </a:lnTo>
                    <a:lnTo>
                      <a:pt x="44" y="71"/>
                    </a:lnTo>
                    <a:lnTo>
                      <a:pt x="23" y="68"/>
                    </a:lnTo>
                    <a:lnTo>
                      <a:pt x="0" y="67"/>
                    </a:lnTo>
                    <a:lnTo>
                      <a:pt x="9" y="62"/>
                    </a:lnTo>
                    <a:lnTo>
                      <a:pt x="16" y="55"/>
                    </a:lnTo>
                    <a:lnTo>
                      <a:pt x="22" y="49"/>
                    </a:lnTo>
                    <a:lnTo>
                      <a:pt x="27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5" name="Freeform 242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10339655" y="2341135"/>
                <a:ext cx="14288" cy="57150"/>
              </a:xfrm>
              <a:custGeom>
                <a:avLst/>
                <a:gdLst>
                  <a:gd name="T0" fmla="*/ 0 w 28"/>
                  <a:gd name="T1" fmla="*/ 2147483647 h 73"/>
                  <a:gd name="T2" fmla="*/ 265859878 w 28"/>
                  <a:gd name="T3" fmla="*/ 2147483647 h 73"/>
                  <a:gd name="T4" fmla="*/ 797318877 w 28"/>
                  <a:gd name="T5" fmla="*/ 2147483647 h 73"/>
                  <a:gd name="T6" fmla="*/ 930118693 w 28"/>
                  <a:gd name="T7" fmla="*/ 2147483647 h 73"/>
                  <a:gd name="T8" fmla="*/ 797318877 w 28"/>
                  <a:gd name="T9" fmla="*/ 2147483647 h 73"/>
                  <a:gd name="T10" fmla="*/ 531458999 w 28"/>
                  <a:gd name="T11" fmla="*/ 2147483647 h 73"/>
                  <a:gd name="T12" fmla="*/ 0 w 28"/>
                  <a:gd name="T13" fmla="*/ 0 h 73"/>
                  <a:gd name="T14" fmla="*/ 2147483647 w 28"/>
                  <a:gd name="T15" fmla="*/ 0 h 73"/>
                  <a:gd name="T16" fmla="*/ 2147483647 w 28"/>
                  <a:gd name="T17" fmla="*/ 2147483647 h 73"/>
                  <a:gd name="T18" fmla="*/ 2147483647 w 28"/>
                  <a:gd name="T19" fmla="*/ 2147483647 h 73"/>
                  <a:gd name="T20" fmla="*/ 1594376998 w 28"/>
                  <a:gd name="T21" fmla="*/ 2147483647 h 73"/>
                  <a:gd name="T22" fmla="*/ 930118693 w 28"/>
                  <a:gd name="T23" fmla="*/ 2147483647 h 73"/>
                  <a:gd name="T24" fmla="*/ 0 w 28"/>
                  <a:gd name="T25" fmla="*/ 2147483647 h 7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6" name="Freeform 243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10226943" y="2004585"/>
                <a:ext cx="234950" cy="395287"/>
              </a:xfrm>
              <a:custGeom>
                <a:avLst/>
                <a:gdLst>
                  <a:gd name="T0" fmla="*/ 2147483647 w 531"/>
                  <a:gd name="T1" fmla="*/ 2147483647 h 757"/>
                  <a:gd name="T2" fmla="*/ 2147483647 w 531"/>
                  <a:gd name="T3" fmla="*/ 2147483647 h 757"/>
                  <a:gd name="T4" fmla="*/ 2147483647 w 531"/>
                  <a:gd name="T5" fmla="*/ 2147483647 h 757"/>
                  <a:gd name="T6" fmla="*/ 2147483647 w 531"/>
                  <a:gd name="T7" fmla="*/ 2147483647 h 757"/>
                  <a:gd name="T8" fmla="*/ 2147483647 w 531"/>
                  <a:gd name="T9" fmla="*/ 2147483647 h 757"/>
                  <a:gd name="T10" fmla="*/ 2147483647 w 531"/>
                  <a:gd name="T11" fmla="*/ 2147483647 h 757"/>
                  <a:gd name="T12" fmla="*/ 2147483647 w 531"/>
                  <a:gd name="T13" fmla="*/ 2147483647 h 757"/>
                  <a:gd name="T14" fmla="*/ 2147483647 w 531"/>
                  <a:gd name="T15" fmla="*/ 2147483647 h 757"/>
                  <a:gd name="T16" fmla="*/ 2147483647 w 531"/>
                  <a:gd name="T17" fmla="*/ 2147483647 h 757"/>
                  <a:gd name="T18" fmla="*/ 2147483647 w 531"/>
                  <a:gd name="T19" fmla="*/ 2147483647 h 757"/>
                  <a:gd name="T20" fmla="*/ 2147483647 w 531"/>
                  <a:gd name="T21" fmla="*/ 2147483647 h 757"/>
                  <a:gd name="T22" fmla="*/ 2147483647 w 531"/>
                  <a:gd name="T23" fmla="*/ 2147483647 h 757"/>
                  <a:gd name="T24" fmla="*/ 2147483647 w 531"/>
                  <a:gd name="T25" fmla="*/ 2147483647 h 757"/>
                  <a:gd name="T26" fmla="*/ 2147483647 w 531"/>
                  <a:gd name="T27" fmla="*/ 2147483647 h 757"/>
                  <a:gd name="T28" fmla="*/ 2147483647 w 531"/>
                  <a:gd name="T29" fmla="*/ 2147483647 h 757"/>
                  <a:gd name="T30" fmla="*/ 2147483647 w 531"/>
                  <a:gd name="T31" fmla="*/ 2147483647 h 757"/>
                  <a:gd name="T32" fmla="*/ 2147483647 w 531"/>
                  <a:gd name="T33" fmla="*/ 2147483647 h 757"/>
                  <a:gd name="T34" fmla="*/ 2147483647 w 531"/>
                  <a:gd name="T35" fmla="*/ 2147483647 h 757"/>
                  <a:gd name="T36" fmla="*/ 2147483647 w 531"/>
                  <a:gd name="T37" fmla="*/ 2147483647 h 757"/>
                  <a:gd name="T38" fmla="*/ 2147483647 w 531"/>
                  <a:gd name="T39" fmla="*/ 2147483647 h 757"/>
                  <a:gd name="T40" fmla="*/ 2147483647 w 531"/>
                  <a:gd name="T41" fmla="*/ 2147483647 h 757"/>
                  <a:gd name="T42" fmla="*/ 2147483647 w 531"/>
                  <a:gd name="T43" fmla="*/ 2147483647 h 757"/>
                  <a:gd name="T44" fmla="*/ 2147483647 w 531"/>
                  <a:gd name="T45" fmla="*/ 2147483647 h 757"/>
                  <a:gd name="T46" fmla="*/ 2147483647 w 531"/>
                  <a:gd name="T47" fmla="*/ 2147483647 h 757"/>
                  <a:gd name="T48" fmla="*/ 2147483647 w 531"/>
                  <a:gd name="T49" fmla="*/ 2147483647 h 757"/>
                  <a:gd name="T50" fmla="*/ 2147483647 w 531"/>
                  <a:gd name="T51" fmla="*/ 2147483647 h 757"/>
                  <a:gd name="T52" fmla="*/ 1212838890 w 531"/>
                  <a:gd name="T53" fmla="*/ 2147483647 h 757"/>
                  <a:gd name="T54" fmla="*/ 1645897757 w 531"/>
                  <a:gd name="T55" fmla="*/ 2147483647 h 757"/>
                  <a:gd name="T56" fmla="*/ 2147483647 w 531"/>
                  <a:gd name="T57" fmla="*/ 2147483647 h 757"/>
                  <a:gd name="T58" fmla="*/ 2147483647 w 531"/>
                  <a:gd name="T59" fmla="*/ 2147483647 h 757"/>
                  <a:gd name="T60" fmla="*/ 2147483647 w 531"/>
                  <a:gd name="T61" fmla="*/ 2147483647 h 757"/>
                  <a:gd name="T62" fmla="*/ 2147483647 w 531"/>
                  <a:gd name="T63" fmla="*/ 2147483647 h 757"/>
                  <a:gd name="T64" fmla="*/ 2147483647 w 531"/>
                  <a:gd name="T65" fmla="*/ 2147483647 h 757"/>
                  <a:gd name="T66" fmla="*/ 2147483647 w 531"/>
                  <a:gd name="T67" fmla="*/ 2147483647 h 757"/>
                  <a:gd name="T68" fmla="*/ 2147483647 w 531"/>
                  <a:gd name="T69" fmla="*/ 2147483647 h 757"/>
                  <a:gd name="T70" fmla="*/ 2147483647 w 531"/>
                  <a:gd name="T71" fmla="*/ 2147483647 h 757"/>
                  <a:gd name="T72" fmla="*/ 2147483647 w 531"/>
                  <a:gd name="T73" fmla="*/ 2147483647 h 757"/>
                  <a:gd name="T74" fmla="*/ 2147483647 w 531"/>
                  <a:gd name="T75" fmla="*/ 2147483647 h 757"/>
                  <a:gd name="T76" fmla="*/ 2147483647 w 531"/>
                  <a:gd name="T77" fmla="*/ 2147483647 h 757"/>
                  <a:gd name="T78" fmla="*/ 2147483647 w 531"/>
                  <a:gd name="T79" fmla="*/ 2147483647 h 757"/>
                  <a:gd name="T80" fmla="*/ 2147483647 w 531"/>
                  <a:gd name="T81" fmla="*/ 2147483647 h 757"/>
                  <a:gd name="T82" fmla="*/ 2147483647 w 531"/>
                  <a:gd name="T83" fmla="*/ 2147483647 h 757"/>
                  <a:gd name="T84" fmla="*/ 2147483647 w 531"/>
                  <a:gd name="T85" fmla="*/ 2147483647 h 757"/>
                  <a:gd name="T86" fmla="*/ 2147483647 w 531"/>
                  <a:gd name="T87" fmla="*/ 1850866889 h 757"/>
                  <a:gd name="T88" fmla="*/ 2147483647 w 531"/>
                  <a:gd name="T89" fmla="*/ 711934863 h 757"/>
                  <a:gd name="T90" fmla="*/ 2147483647 w 531"/>
                  <a:gd name="T91" fmla="*/ 2147483647 h 757"/>
                  <a:gd name="T92" fmla="*/ 2147483647 w 531"/>
                  <a:gd name="T93" fmla="*/ 2147483647 h 757"/>
                  <a:gd name="T94" fmla="*/ 2147483647 w 531"/>
                  <a:gd name="T95" fmla="*/ 2147483647 h 757"/>
                  <a:gd name="T96" fmla="*/ 2147483647 w 531"/>
                  <a:gd name="T97" fmla="*/ 2147483647 h 75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31" h="757">
                    <a:moveTo>
                      <a:pt x="531" y="190"/>
                    </a:moveTo>
                    <a:lnTo>
                      <a:pt x="432" y="190"/>
                    </a:lnTo>
                    <a:lnTo>
                      <a:pt x="428" y="194"/>
                    </a:lnTo>
                    <a:lnTo>
                      <a:pt x="419" y="203"/>
                    </a:lnTo>
                    <a:lnTo>
                      <a:pt x="413" y="208"/>
                    </a:lnTo>
                    <a:lnTo>
                      <a:pt x="409" y="213"/>
                    </a:lnTo>
                    <a:lnTo>
                      <a:pt x="407" y="218"/>
                    </a:lnTo>
                    <a:lnTo>
                      <a:pt x="406" y="221"/>
                    </a:lnTo>
                    <a:lnTo>
                      <a:pt x="404" y="226"/>
                    </a:lnTo>
                    <a:lnTo>
                      <a:pt x="403" y="230"/>
                    </a:lnTo>
                    <a:lnTo>
                      <a:pt x="403" y="233"/>
                    </a:lnTo>
                    <a:lnTo>
                      <a:pt x="404" y="237"/>
                    </a:lnTo>
                    <a:lnTo>
                      <a:pt x="407" y="244"/>
                    </a:lnTo>
                    <a:lnTo>
                      <a:pt x="412" y="252"/>
                    </a:lnTo>
                    <a:lnTo>
                      <a:pt x="397" y="264"/>
                    </a:lnTo>
                    <a:lnTo>
                      <a:pt x="382" y="275"/>
                    </a:lnTo>
                    <a:lnTo>
                      <a:pt x="367" y="284"/>
                    </a:lnTo>
                    <a:lnTo>
                      <a:pt x="353" y="291"/>
                    </a:lnTo>
                    <a:lnTo>
                      <a:pt x="339" y="299"/>
                    </a:lnTo>
                    <a:lnTo>
                      <a:pt x="325" y="306"/>
                    </a:lnTo>
                    <a:lnTo>
                      <a:pt x="311" y="315"/>
                    </a:lnTo>
                    <a:lnTo>
                      <a:pt x="299" y="325"/>
                    </a:lnTo>
                    <a:lnTo>
                      <a:pt x="277" y="338"/>
                    </a:lnTo>
                    <a:lnTo>
                      <a:pt x="252" y="354"/>
                    </a:lnTo>
                    <a:lnTo>
                      <a:pt x="248" y="358"/>
                    </a:lnTo>
                    <a:lnTo>
                      <a:pt x="242" y="361"/>
                    </a:lnTo>
                    <a:lnTo>
                      <a:pt x="239" y="365"/>
                    </a:lnTo>
                    <a:lnTo>
                      <a:pt x="237" y="369"/>
                    </a:lnTo>
                    <a:lnTo>
                      <a:pt x="237" y="372"/>
                    </a:lnTo>
                    <a:lnTo>
                      <a:pt x="238" y="375"/>
                    </a:lnTo>
                    <a:lnTo>
                      <a:pt x="241" y="378"/>
                    </a:lnTo>
                    <a:lnTo>
                      <a:pt x="245" y="381"/>
                    </a:lnTo>
                    <a:lnTo>
                      <a:pt x="245" y="391"/>
                    </a:lnTo>
                    <a:lnTo>
                      <a:pt x="245" y="400"/>
                    </a:lnTo>
                    <a:lnTo>
                      <a:pt x="243" y="413"/>
                    </a:lnTo>
                    <a:lnTo>
                      <a:pt x="240" y="424"/>
                    </a:lnTo>
                    <a:lnTo>
                      <a:pt x="238" y="430"/>
                    </a:lnTo>
                    <a:lnTo>
                      <a:pt x="238" y="436"/>
                    </a:lnTo>
                    <a:lnTo>
                      <a:pt x="238" y="443"/>
                    </a:lnTo>
                    <a:lnTo>
                      <a:pt x="239" y="449"/>
                    </a:lnTo>
                    <a:lnTo>
                      <a:pt x="243" y="456"/>
                    </a:lnTo>
                    <a:lnTo>
                      <a:pt x="249" y="461"/>
                    </a:lnTo>
                    <a:lnTo>
                      <a:pt x="255" y="465"/>
                    </a:lnTo>
                    <a:lnTo>
                      <a:pt x="262" y="468"/>
                    </a:lnTo>
                    <a:lnTo>
                      <a:pt x="277" y="473"/>
                    </a:lnTo>
                    <a:lnTo>
                      <a:pt x="293" y="477"/>
                    </a:lnTo>
                    <a:lnTo>
                      <a:pt x="308" y="480"/>
                    </a:lnTo>
                    <a:lnTo>
                      <a:pt x="320" y="485"/>
                    </a:lnTo>
                    <a:lnTo>
                      <a:pt x="326" y="488"/>
                    </a:lnTo>
                    <a:lnTo>
                      <a:pt x="329" y="492"/>
                    </a:lnTo>
                    <a:lnTo>
                      <a:pt x="331" y="499"/>
                    </a:lnTo>
                    <a:lnTo>
                      <a:pt x="332" y="505"/>
                    </a:lnTo>
                    <a:lnTo>
                      <a:pt x="332" y="517"/>
                    </a:lnTo>
                    <a:lnTo>
                      <a:pt x="332" y="529"/>
                    </a:lnTo>
                    <a:lnTo>
                      <a:pt x="321" y="530"/>
                    </a:lnTo>
                    <a:lnTo>
                      <a:pt x="310" y="531"/>
                    </a:lnTo>
                    <a:lnTo>
                      <a:pt x="299" y="534"/>
                    </a:lnTo>
                    <a:lnTo>
                      <a:pt x="289" y="537"/>
                    </a:lnTo>
                    <a:lnTo>
                      <a:pt x="280" y="542"/>
                    </a:lnTo>
                    <a:lnTo>
                      <a:pt x="272" y="547"/>
                    </a:lnTo>
                    <a:lnTo>
                      <a:pt x="270" y="551"/>
                    </a:lnTo>
                    <a:lnTo>
                      <a:pt x="267" y="554"/>
                    </a:lnTo>
                    <a:lnTo>
                      <a:pt x="266" y="557"/>
                    </a:lnTo>
                    <a:lnTo>
                      <a:pt x="265" y="560"/>
                    </a:lnTo>
                    <a:lnTo>
                      <a:pt x="264" y="576"/>
                    </a:lnTo>
                    <a:lnTo>
                      <a:pt x="262" y="593"/>
                    </a:lnTo>
                    <a:lnTo>
                      <a:pt x="258" y="612"/>
                    </a:lnTo>
                    <a:lnTo>
                      <a:pt x="252" y="631"/>
                    </a:lnTo>
                    <a:lnTo>
                      <a:pt x="248" y="651"/>
                    </a:lnTo>
                    <a:lnTo>
                      <a:pt x="243" y="673"/>
                    </a:lnTo>
                    <a:lnTo>
                      <a:pt x="240" y="695"/>
                    </a:lnTo>
                    <a:lnTo>
                      <a:pt x="239" y="721"/>
                    </a:lnTo>
                    <a:lnTo>
                      <a:pt x="224" y="721"/>
                    </a:lnTo>
                    <a:lnTo>
                      <a:pt x="206" y="722"/>
                    </a:lnTo>
                    <a:lnTo>
                      <a:pt x="189" y="724"/>
                    </a:lnTo>
                    <a:lnTo>
                      <a:pt x="173" y="727"/>
                    </a:lnTo>
                    <a:lnTo>
                      <a:pt x="166" y="730"/>
                    </a:lnTo>
                    <a:lnTo>
                      <a:pt x="161" y="732"/>
                    </a:lnTo>
                    <a:lnTo>
                      <a:pt x="155" y="735"/>
                    </a:lnTo>
                    <a:lnTo>
                      <a:pt x="152" y="738"/>
                    </a:lnTo>
                    <a:lnTo>
                      <a:pt x="150" y="742"/>
                    </a:lnTo>
                    <a:lnTo>
                      <a:pt x="149" y="747"/>
                    </a:lnTo>
                    <a:lnTo>
                      <a:pt x="150" y="751"/>
                    </a:lnTo>
                    <a:lnTo>
                      <a:pt x="153" y="757"/>
                    </a:lnTo>
                    <a:lnTo>
                      <a:pt x="142" y="757"/>
                    </a:lnTo>
                    <a:lnTo>
                      <a:pt x="127" y="757"/>
                    </a:lnTo>
                    <a:lnTo>
                      <a:pt x="113" y="757"/>
                    </a:lnTo>
                    <a:lnTo>
                      <a:pt x="106" y="757"/>
                    </a:lnTo>
                    <a:lnTo>
                      <a:pt x="104" y="757"/>
                    </a:lnTo>
                    <a:lnTo>
                      <a:pt x="101" y="756"/>
                    </a:lnTo>
                    <a:lnTo>
                      <a:pt x="98" y="754"/>
                    </a:lnTo>
                    <a:lnTo>
                      <a:pt x="95" y="752"/>
                    </a:lnTo>
                    <a:lnTo>
                      <a:pt x="90" y="746"/>
                    </a:lnTo>
                    <a:lnTo>
                      <a:pt x="84" y="738"/>
                    </a:lnTo>
                    <a:lnTo>
                      <a:pt x="77" y="729"/>
                    </a:lnTo>
                    <a:lnTo>
                      <a:pt x="71" y="718"/>
                    </a:lnTo>
                    <a:lnTo>
                      <a:pt x="65" y="706"/>
                    </a:lnTo>
                    <a:lnTo>
                      <a:pt x="60" y="693"/>
                    </a:lnTo>
                    <a:lnTo>
                      <a:pt x="49" y="667"/>
                    </a:lnTo>
                    <a:lnTo>
                      <a:pt x="41" y="640"/>
                    </a:lnTo>
                    <a:lnTo>
                      <a:pt x="38" y="628"/>
                    </a:lnTo>
                    <a:lnTo>
                      <a:pt x="35" y="616"/>
                    </a:lnTo>
                    <a:lnTo>
                      <a:pt x="34" y="606"/>
                    </a:lnTo>
                    <a:lnTo>
                      <a:pt x="34" y="597"/>
                    </a:lnTo>
                    <a:lnTo>
                      <a:pt x="27" y="596"/>
                    </a:lnTo>
                    <a:lnTo>
                      <a:pt x="22" y="594"/>
                    </a:lnTo>
                    <a:lnTo>
                      <a:pt x="17" y="590"/>
                    </a:lnTo>
                    <a:lnTo>
                      <a:pt x="14" y="586"/>
                    </a:lnTo>
                    <a:lnTo>
                      <a:pt x="8" y="576"/>
                    </a:lnTo>
                    <a:lnTo>
                      <a:pt x="0" y="566"/>
                    </a:lnTo>
                    <a:lnTo>
                      <a:pt x="9" y="563"/>
                    </a:lnTo>
                    <a:lnTo>
                      <a:pt x="19" y="561"/>
                    </a:lnTo>
                    <a:lnTo>
                      <a:pt x="27" y="560"/>
                    </a:lnTo>
                    <a:lnTo>
                      <a:pt x="34" y="560"/>
                    </a:lnTo>
                    <a:lnTo>
                      <a:pt x="34" y="548"/>
                    </a:lnTo>
                    <a:lnTo>
                      <a:pt x="36" y="538"/>
                    </a:lnTo>
                    <a:lnTo>
                      <a:pt x="38" y="528"/>
                    </a:lnTo>
                    <a:lnTo>
                      <a:pt x="42" y="519"/>
                    </a:lnTo>
                    <a:lnTo>
                      <a:pt x="47" y="511"/>
                    </a:lnTo>
                    <a:lnTo>
                      <a:pt x="53" y="504"/>
                    </a:lnTo>
                    <a:lnTo>
                      <a:pt x="59" y="498"/>
                    </a:lnTo>
                    <a:lnTo>
                      <a:pt x="67" y="492"/>
                    </a:lnTo>
                    <a:lnTo>
                      <a:pt x="62" y="480"/>
                    </a:lnTo>
                    <a:lnTo>
                      <a:pt x="61" y="471"/>
                    </a:lnTo>
                    <a:lnTo>
                      <a:pt x="61" y="464"/>
                    </a:lnTo>
                    <a:lnTo>
                      <a:pt x="61" y="457"/>
                    </a:lnTo>
                    <a:lnTo>
                      <a:pt x="63" y="450"/>
                    </a:lnTo>
                    <a:lnTo>
                      <a:pt x="64" y="441"/>
                    </a:lnTo>
                    <a:lnTo>
                      <a:pt x="65" y="428"/>
                    </a:lnTo>
                    <a:lnTo>
                      <a:pt x="67" y="412"/>
                    </a:lnTo>
                    <a:lnTo>
                      <a:pt x="62" y="410"/>
                    </a:lnTo>
                    <a:lnTo>
                      <a:pt x="58" y="408"/>
                    </a:lnTo>
                    <a:lnTo>
                      <a:pt x="54" y="404"/>
                    </a:lnTo>
                    <a:lnTo>
                      <a:pt x="51" y="400"/>
                    </a:lnTo>
                    <a:lnTo>
                      <a:pt x="47" y="390"/>
                    </a:lnTo>
                    <a:lnTo>
                      <a:pt x="43" y="377"/>
                    </a:lnTo>
                    <a:lnTo>
                      <a:pt x="40" y="354"/>
                    </a:lnTo>
                    <a:lnTo>
                      <a:pt x="40" y="338"/>
                    </a:lnTo>
                    <a:lnTo>
                      <a:pt x="60" y="277"/>
                    </a:lnTo>
                    <a:lnTo>
                      <a:pt x="74" y="276"/>
                    </a:lnTo>
                    <a:lnTo>
                      <a:pt x="88" y="275"/>
                    </a:lnTo>
                    <a:lnTo>
                      <a:pt x="94" y="274"/>
                    </a:lnTo>
                    <a:lnTo>
                      <a:pt x="99" y="274"/>
                    </a:lnTo>
                    <a:lnTo>
                      <a:pt x="103" y="275"/>
                    </a:lnTo>
                    <a:lnTo>
                      <a:pt x="106" y="277"/>
                    </a:lnTo>
                    <a:lnTo>
                      <a:pt x="107" y="261"/>
                    </a:lnTo>
                    <a:lnTo>
                      <a:pt x="109" y="247"/>
                    </a:lnTo>
                    <a:lnTo>
                      <a:pt x="113" y="234"/>
                    </a:lnTo>
                    <a:lnTo>
                      <a:pt x="118" y="222"/>
                    </a:lnTo>
                    <a:lnTo>
                      <a:pt x="124" y="211"/>
                    </a:lnTo>
                    <a:lnTo>
                      <a:pt x="130" y="201"/>
                    </a:lnTo>
                    <a:lnTo>
                      <a:pt x="137" y="192"/>
                    </a:lnTo>
                    <a:lnTo>
                      <a:pt x="144" y="183"/>
                    </a:lnTo>
                    <a:lnTo>
                      <a:pt x="160" y="168"/>
                    </a:lnTo>
                    <a:lnTo>
                      <a:pt x="173" y="152"/>
                    </a:lnTo>
                    <a:lnTo>
                      <a:pt x="180" y="145"/>
                    </a:lnTo>
                    <a:lnTo>
                      <a:pt x="185" y="138"/>
                    </a:lnTo>
                    <a:lnTo>
                      <a:pt x="189" y="130"/>
                    </a:lnTo>
                    <a:lnTo>
                      <a:pt x="193" y="123"/>
                    </a:lnTo>
                    <a:lnTo>
                      <a:pt x="198" y="111"/>
                    </a:lnTo>
                    <a:lnTo>
                      <a:pt x="205" y="97"/>
                    </a:lnTo>
                    <a:lnTo>
                      <a:pt x="213" y="83"/>
                    </a:lnTo>
                    <a:lnTo>
                      <a:pt x="220" y="71"/>
                    </a:lnTo>
                    <a:lnTo>
                      <a:pt x="228" y="60"/>
                    </a:lnTo>
                    <a:lnTo>
                      <a:pt x="237" y="51"/>
                    </a:lnTo>
                    <a:lnTo>
                      <a:pt x="241" y="47"/>
                    </a:lnTo>
                    <a:lnTo>
                      <a:pt x="244" y="44"/>
                    </a:lnTo>
                    <a:lnTo>
                      <a:pt x="249" y="43"/>
                    </a:lnTo>
                    <a:lnTo>
                      <a:pt x="252" y="42"/>
                    </a:lnTo>
                    <a:lnTo>
                      <a:pt x="272" y="36"/>
                    </a:lnTo>
                    <a:lnTo>
                      <a:pt x="291" y="32"/>
                    </a:lnTo>
                    <a:lnTo>
                      <a:pt x="309" y="29"/>
                    </a:lnTo>
                    <a:lnTo>
                      <a:pt x="327" y="25"/>
                    </a:lnTo>
                    <a:lnTo>
                      <a:pt x="344" y="22"/>
                    </a:lnTo>
                    <a:lnTo>
                      <a:pt x="361" y="16"/>
                    </a:lnTo>
                    <a:lnTo>
                      <a:pt x="368" y="13"/>
                    </a:lnTo>
                    <a:lnTo>
                      <a:pt x="376" y="9"/>
                    </a:lnTo>
                    <a:lnTo>
                      <a:pt x="384" y="5"/>
                    </a:lnTo>
                    <a:lnTo>
                      <a:pt x="392" y="0"/>
                    </a:lnTo>
                    <a:lnTo>
                      <a:pt x="401" y="5"/>
                    </a:lnTo>
                    <a:lnTo>
                      <a:pt x="409" y="11"/>
                    </a:lnTo>
                    <a:lnTo>
                      <a:pt x="416" y="18"/>
                    </a:lnTo>
                    <a:lnTo>
                      <a:pt x="423" y="25"/>
                    </a:lnTo>
                    <a:lnTo>
                      <a:pt x="431" y="32"/>
                    </a:lnTo>
                    <a:lnTo>
                      <a:pt x="441" y="37"/>
                    </a:lnTo>
                    <a:lnTo>
                      <a:pt x="445" y="39"/>
                    </a:lnTo>
                    <a:lnTo>
                      <a:pt x="452" y="41"/>
                    </a:lnTo>
                    <a:lnTo>
                      <a:pt x="457" y="42"/>
                    </a:lnTo>
                    <a:lnTo>
                      <a:pt x="465" y="42"/>
                    </a:lnTo>
                    <a:lnTo>
                      <a:pt x="487" y="72"/>
                    </a:lnTo>
                    <a:lnTo>
                      <a:pt x="508" y="102"/>
                    </a:lnTo>
                    <a:lnTo>
                      <a:pt x="513" y="111"/>
                    </a:lnTo>
                    <a:lnTo>
                      <a:pt x="518" y="120"/>
                    </a:lnTo>
                    <a:lnTo>
                      <a:pt x="521" y="129"/>
                    </a:lnTo>
                    <a:lnTo>
                      <a:pt x="524" y="139"/>
                    </a:lnTo>
                    <a:lnTo>
                      <a:pt x="528" y="150"/>
                    </a:lnTo>
                    <a:lnTo>
                      <a:pt x="530" y="163"/>
                    </a:lnTo>
                    <a:lnTo>
                      <a:pt x="531" y="176"/>
                    </a:lnTo>
                    <a:lnTo>
                      <a:pt x="531" y="19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7" name="Freeform 244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10365055" y="2318910"/>
                <a:ext cx="26988" cy="57150"/>
              </a:xfrm>
              <a:custGeom>
                <a:avLst/>
                <a:gdLst>
                  <a:gd name="T0" fmla="*/ 0 w 60"/>
                  <a:gd name="T1" fmla="*/ 2147483647 h 51"/>
                  <a:gd name="T2" fmla="*/ 546061698 w 60"/>
                  <a:gd name="T3" fmla="*/ 2147483647 h 51"/>
                  <a:gd name="T4" fmla="*/ 1365053490 w 60"/>
                  <a:gd name="T5" fmla="*/ 2147483647 h 51"/>
                  <a:gd name="T6" fmla="*/ 1820071170 w 60"/>
                  <a:gd name="T7" fmla="*/ 2147483647 h 51"/>
                  <a:gd name="T8" fmla="*/ 2147483647 w 60"/>
                  <a:gd name="T9" fmla="*/ 2147483647 h 51"/>
                  <a:gd name="T10" fmla="*/ 2147483647 w 60"/>
                  <a:gd name="T11" fmla="*/ 2147483647 h 51"/>
                  <a:gd name="T12" fmla="*/ 2147483647 w 60"/>
                  <a:gd name="T13" fmla="*/ 0 h 51"/>
                  <a:gd name="T14" fmla="*/ 2147483647 w 60"/>
                  <a:gd name="T15" fmla="*/ 2147483647 h 51"/>
                  <a:gd name="T16" fmla="*/ 2147483647 w 60"/>
                  <a:gd name="T17" fmla="*/ 2147483647 h 51"/>
                  <a:gd name="T18" fmla="*/ 2147483647 w 60"/>
                  <a:gd name="T19" fmla="*/ 2147483647 h 51"/>
                  <a:gd name="T20" fmla="*/ 2147483647 w 60"/>
                  <a:gd name="T21" fmla="*/ 2147483647 h 51"/>
                  <a:gd name="T22" fmla="*/ 2147483647 w 60"/>
                  <a:gd name="T23" fmla="*/ 2147483647 h 51"/>
                  <a:gd name="T24" fmla="*/ 2147483647 w 60"/>
                  <a:gd name="T25" fmla="*/ 2147483647 h 51"/>
                  <a:gd name="T26" fmla="*/ 2147483647 w 60"/>
                  <a:gd name="T27" fmla="*/ 2147483647 h 51"/>
                  <a:gd name="T28" fmla="*/ 2147483647 w 60"/>
                  <a:gd name="T29" fmla="*/ 2147483647 h 51"/>
                  <a:gd name="T30" fmla="*/ 2147483647 w 60"/>
                  <a:gd name="T31" fmla="*/ 2147483647 h 51"/>
                  <a:gd name="T32" fmla="*/ 2147483647 w 60"/>
                  <a:gd name="T33" fmla="*/ 2147483647 h 51"/>
                  <a:gd name="T34" fmla="*/ 2147483647 w 60"/>
                  <a:gd name="T35" fmla="*/ 2147483647 h 51"/>
                  <a:gd name="T36" fmla="*/ 2147483647 w 60"/>
                  <a:gd name="T37" fmla="*/ 2147483647 h 51"/>
                  <a:gd name="T38" fmla="*/ 1820071170 w 60"/>
                  <a:gd name="T39" fmla="*/ 2147483647 h 51"/>
                  <a:gd name="T40" fmla="*/ 1365053490 w 60"/>
                  <a:gd name="T41" fmla="*/ 2147483647 h 51"/>
                  <a:gd name="T42" fmla="*/ 637105716 w 60"/>
                  <a:gd name="T43" fmla="*/ 2147483647 h 51"/>
                  <a:gd name="T44" fmla="*/ 0 w 60"/>
                  <a:gd name="T45" fmla="*/ 2147483647 h 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8" name="Freeform 245"/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auto">
              <a:xfrm>
                <a:off x="9809430" y="2480835"/>
                <a:ext cx="28575" cy="57150"/>
              </a:xfrm>
              <a:custGeom>
                <a:avLst/>
                <a:gdLst>
                  <a:gd name="T0" fmla="*/ 2147483647 w 66"/>
                  <a:gd name="T1" fmla="*/ 2147483647 h 51"/>
                  <a:gd name="T2" fmla="*/ 2147483647 w 66"/>
                  <a:gd name="T3" fmla="*/ 2147483647 h 51"/>
                  <a:gd name="T4" fmla="*/ 1785457786 w 66"/>
                  <a:gd name="T5" fmla="*/ 2147483647 h 51"/>
                  <a:gd name="T6" fmla="*/ 1379629142 w 66"/>
                  <a:gd name="T7" fmla="*/ 2147483647 h 51"/>
                  <a:gd name="T8" fmla="*/ 1054966486 w 66"/>
                  <a:gd name="T9" fmla="*/ 2147483647 h 51"/>
                  <a:gd name="T10" fmla="*/ 811656856 w 66"/>
                  <a:gd name="T11" fmla="*/ 2147483647 h 51"/>
                  <a:gd name="T12" fmla="*/ 568159756 w 66"/>
                  <a:gd name="T13" fmla="*/ 2147483647 h 51"/>
                  <a:gd name="T14" fmla="*/ 243497100 w 66"/>
                  <a:gd name="T15" fmla="*/ 2147483647 h 51"/>
                  <a:gd name="T16" fmla="*/ 81165556 w 66"/>
                  <a:gd name="T17" fmla="*/ 2147483647 h 51"/>
                  <a:gd name="T18" fmla="*/ 0 w 66"/>
                  <a:gd name="T19" fmla="*/ 2147483647 h 51"/>
                  <a:gd name="T20" fmla="*/ 0 w 66"/>
                  <a:gd name="T21" fmla="*/ 2147483647 h 51"/>
                  <a:gd name="T22" fmla="*/ 324662656 w 66"/>
                  <a:gd name="T23" fmla="*/ 2147483647 h 51"/>
                  <a:gd name="T24" fmla="*/ 811656856 w 66"/>
                  <a:gd name="T25" fmla="*/ 2147483647 h 51"/>
                  <a:gd name="T26" fmla="*/ 1136132475 w 66"/>
                  <a:gd name="T27" fmla="*/ 2147483647 h 51"/>
                  <a:gd name="T28" fmla="*/ 1541960686 w 66"/>
                  <a:gd name="T29" fmla="*/ 2147483647 h 51"/>
                  <a:gd name="T30" fmla="*/ 2110120442 w 66"/>
                  <a:gd name="T31" fmla="*/ 2147483647 h 51"/>
                  <a:gd name="T32" fmla="*/ 2147483647 w 66"/>
                  <a:gd name="T33" fmla="*/ 0 h 51"/>
                  <a:gd name="T34" fmla="*/ 2147483647 w 66"/>
                  <a:gd name="T35" fmla="*/ 1407659409 h 51"/>
                  <a:gd name="T36" fmla="*/ 2147483647 w 66"/>
                  <a:gd name="T37" fmla="*/ 2147483647 h 51"/>
                  <a:gd name="T38" fmla="*/ 2147483647 w 66"/>
                  <a:gd name="T39" fmla="*/ 2147483647 h 51"/>
                  <a:gd name="T40" fmla="*/ 2147483647 w 66"/>
                  <a:gd name="T41" fmla="*/ 0 h 51"/>
                  <a:gd name="T42" fmla="*/ 2147483647 w 66"/>
                  <a:gd name="T43" fmla="*/ 2147483647 h 51"/>
                  <a:gd name="T44" fmla="*/ 2147483647 w 66"/>
                  <a:gd name="T45" fmla="*/ 2147483647 h 51"/>
                  <a:gd name="T46" fmla="*/ 2147483647 w 66"/>
                  <a:gd name="T47" fmla="*/ 2147483647 h 51"/>
                  <a:gd name="T48" fmla="*/ 2147483647 w 66"/>
                  <a:gd name="T49" fmla="*/ 2147483647 h 5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9" name="Freeform 246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10761930" y="3009472"/>
                <a:ext cx="50800" cy="57150"/>
              </a:xfrm>
              <a:custGeom>
                <a:avLst/>
                <a:gdLst>
                  <a:gd name="T0" fmla="*/ 0 w 113"/>
                  <a:gd name="T1" fmla="*/ 2147483647 h 74"/>
                  <a:gd name="T2" fmla="*/ 1817098917 w 113"/>
                  <a:gd name="T3" fmla="*/ 2147483647 h 74"/>
                  <a:gd name="T4" fmla="*/ 2147483647 w 113"/>
                  <a:gd name="T5" fmla="*/ 2147483647 h 74"/>
                  <a:gd name="T6" fmla="*/ 2147483647 w 113"/>
                  <a:gd name="T7" fmla="*/ 2147483647 h 74"/>
                  <a:gd name="T8" fmla="*/ 2147483647 w 113"/>
                  <a:gd name="T9" fmla="*/ 2147483647 h 74"/>
                  <a:gd name="T10" fmla="*/ 2147483647 w 113"/>
                  <a:gd name="T11" fmla="*/ 2147483647 h 74"/>
                  <a:gd name="T12" fmla="*/ 2147483647 w 113"/>
                  <a:gd name="T13" fmla="*/ 2147483647 h 74"/>
                  <a:gd name="T14" fmla="*/ 2147483647 w 113"/>
                  <a:gd name="T15" fmla="*/ 2147483647 h 74"/>
                  <a:gd name="T16" fmla="*/ 2147483647 w 113"/>
                  <a:gd name="T17" fmla="*/ 2147483647 h 74"/>
                  <a:gd name="T18" fmla="*/ 2147483647 w 113"/>
                  <a:gd name="T19" fmla="*/ 2147483647 h 74"/>
                  <a:gd name="T20" fmla="*/ 2147483647 w 113"/>
                  <a:gd name="T21" fmla="*/ 2147483647 h 74"/>
                  <a:gd name="T22" fmla="*/ 2147483647 w 113"/>
                  <a:gd name="T23" fmla="*/ 2147483647 h 74"/>
                  <a:gd name="T24" fmla="*/ 2147483647 w 113"/>
                  <a:gd name="T25" fmla="*/ 2147483647 h 74"/>
                  <a:gd name="T26" fmla="*/ 2147483647 w 113"/>
                  <a:gd name="T27" fmla="*/ 2147483647 h 74"/>
                  <a:gd name="T28" fmla="*/ 2147483647 w 113"/>
                  <a:gd name="T29" fmla="*/ 2147483647 h 74"/>
                  <a:gd name="T30" fmla="*/ 2147483647 w 113"/>
                  <a:gd name="T31" fmla="*/ 2147483647 h 74"/>
                  <a:gd name="T32" fmla="*/ 2147483647 w 113"/>
                  <a:gd name="T33" fmla="*/ 2147483647 h 74"/>
                  <a:gd name="T34" fmla="*/ 2147483647 w 113"/>
                  <a:gd name="T35" fmla="*/ 2147483647 h 74"/>
                  <a:gd name="T36" fmla="*/ 2147483647 w 113"/>
                  <a:gd name="T37" fmla="*/ 1381958824 h 74"/>
                  <a:gd name="T38" fmla="*/ 2147483647 w 113"/>
                  <a:gd name="T39" fmla="*/ 0 h 74"/>
                  <a:gd name="T40" fmla="*/ 2147483647 w 113"/>
                  <a:gd name="T41" fmla="*/ 1842412512 h 74"/>
                  <a:gd name="T42" fmla="*/ 2147483647 w 113"/>
                  <a:gd name="T43" fmla="*/ 2147483647 h 74"/>
                  <a:gd name="T44" fmla="*/ 2147483647 w 113"/>
                  <a:gd name="T45" fmla="*/ 2147483647 h 74"/>
                  <a:gd name="T46" fmla="*/ 2147483647 w 113"/>
                  <a:gd name="T47" fmla="*/ 2147483647 h 74"/>
                  <a:gd name="T48" fmla="*/ 1817098917 w 113"/>
                  <a:gd name="T49" fmla="*/ 2147483647 h 74"/>
                  <a:gd name="T50" fmla="*/ 0 w 113"/>
                  <a:gd name="T51" fmla="*/ 2147483647 h 7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13" h="74">
                    <a:moveTo>
                      <a:pt x="0" y="44"/>
                    </a:moveTo>
                    <a:lnTo>
                      <a:pt x="20" y="74"/>
                    </a:lnTo>
                    <a:lnTo>
                      <a:pt x="37" y="69"/>
                    </a:lnTo>
                    <a:lnTo>
                      <a:pt x="51" y="65"/>
                    </a:lnTo>
                    <a:lnTo>
                      <a:pt x="64" y="59"/>
                    </a:lnTo>
                    <a:lnTo>
                      <a:pt x="74" y="53"/>
                    </a:lnTo>
                    <a:lnTo>
                      <a:pt x="78" y="49"/>
                    </a:lnTo>
                    <a:lnTo>
                      <a:pt x="83" y="45"/>
                    </a:lnTo>
                    <a:lnTo>
                      <a:pt x="86" y="41"/>
                    </a:lnTo>
                    <a:lnTo>
                      <a:pt x="88" y="37"/>
                    </a:lnTo>
                    <a:lnTo>
                      <a:pt x="90" y="32"/>
                    </a:lnTo>
                    <a:lnTo>
                      <a:pt x="91" y="26"/>
                    </a:lnTo>
                    <a:lnTo>
                      <a:pt x="93" y="19"/>
                    </a:lnTo>
                    <a:lnTo>
                      <a:pt x="94" y="13"/>
                    </a:lnTo>
                    <a:lnTo>
                      <a:pt x="99" y="12"/>
                    </a:lnTo>
                    <a:lnTo>
                      <a:pt x="106" y="9"/>
                    </a:lnTo>
                    <a:lnTo>
                      <a:pt x="108" y="7"/>
                    </a:lnTo>
                    <a:lnTo>
                      <a:pt x="111" y="5"/>
                    </a:lnTo>
                    <a:lnTo>
                      <a:pt x="112" y="3"/>
                    </a:lnTo>
                    <a:lnTo>
                      <a:pt x="113" y="0"/>
                    </a:lnTo>
                    <a:lnTo>
                      <a:pt x="98" y="4"/>
                    </a:lnTo>
                    <a:lnTo>
                      <a:pt x="82" y="8"/>
                    </a:lnTo>
                    <a:lnTo>
                      <a:pt x="65" y="13"/>
                    </a:lnTo>
                    <a:lnTo>
                      <a:pt x="49" y="19"/>
                    </a:lnTo>
                    <a:lnTo>
                      <a:pt x="20" y="33"/>
                    </a:lnTo>
                    <a:lnTo>
                      <a:pt x="0" y="4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0" name="Freeform 247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10369818" y="3801635"/>
                <a:ext cx="325437" cy="244475"/>
              </a:xfrm>
              <a:custGeom>
                <a:avLst/>
                <a:gdLst>
                  <a:gd name="T0" fmla="*/ 2147483647 w 746"/>
                  <a:gd name="T1" fmla="*/ 2147483647 h 469"/>
                  <a:gd name="T2" fmla="*/ 2147483647 w 746"/>
                  <a:gd name="T3" fmla="*/ 2147483647 h 469"/>
                  <a:gd name="T4" fmla="*/ 1743408325 w 746"/>
                  <a:gd name="T5" fmla="*/ 2147483647 h 469"/>
                  <a:gd name="T6" fmla="*/ 415060867 w 746"/>
                  <a:gd name="T7" fmla="*/ 2147483647 h 469"/>
                  <a:gd name="T8" fmla="*/ 0 w 746"/>
                  <a:gd name="T9" fmla="*/ 2147483647 h 469"/>
                  <a:gd name="T10" fmla="*/ 415060867 w 746"/>
                  <a:gd name="T11" fmla="*/ 2147483647 h 469"/>
                  <a:gd name="T12" fmla="*/ 1909546967 w 746"/>
                  <a:gd name="T13" fmla="*/ 2147483647 h 469"/>
                  <a:gd name="T14" fmla="*/ 2147483647 w 746"/>
                  <a:gd name="T15" fmla="*/ 2147483647 h 469"/>
                  <a:gd name="T16" fmla="*/ 2147483647 w 746"/>
                  <a:gd name="T17" fmla="*/ 2147483647 h 469"/>
                  <a:gd name="T18" fmla="*/ 2147483647 w 746"/>
                  <a:gd name="T19" fmla="*/ 2147483647 h 469"/>
                  <a:gd name="T20" fmla="*/ 2147483647 w 746"/>
                  <a:gd name="T21" fmla="*/ 2147483647 h 469"/>
                  <a:gd name="T22" fmla="*/ 2147483647 w 746"/>
                  <a:gd name="T23" fmla="*/ 2147483647 h 469"/>
                  <a:gd name="T24" fmla="*/ 2147483647 w 746"/>
                  <a:gd name="T25" fmla="*/ 2147483647 h 469"/>
                  <a:gd name="T26" fmla="*/ 2147483647 w 746"/>
                  <a:gd name="T27" fmla="*/ 2147483647 h 469"/>
                  <a:gd name="T28" fmla="*/ 2147483647 w 746"/>
                  <a:gd name="T29" fmla="*/ 2147483647 h 469"/>
                  <a:gd name="T30" fmla="*/ 2147483647 w 746"/>
                  <a:gd name="T31" fmla="*/ 2147483647 h 469"/>
                  <a:gd name="T32" fmla="*/ 2147483647 w 746"/>
                  <a:gd name="T33" fmla="*/ 2147483647 h 469"/>
                  <a:gd name="T34" fmla="*/ 2147483647 w 746"/>
                  <a:gd name="T35" fmla="*/ 2147483647 h 469"/>
                  <a:gd name="T36" fmla="*/ 2147483647 w 746"/>
                  <a:gd name="T37" fmla="*/ 849943140 h 469"/>
                  <a:gd name="T38" fmla="*/ 2147483647 w 746"/>
                  <a:gd name="T39" fmla="*/ 0 h 469"/>
                  <a:gd name="T40" fmla="*/ 2147483647 w 746"/>
                  <a:gd name="T41" fmla="*/ 2147483647 h 469"/>
                  <a:gd name="T42" fmla="*/ 2147483647 w 746"/>
                  <a:gd name="T43" fmla="*/ 2147483647 h 469"/>
                  <a:gd name="T44" fmla="*/ 2147483647 w 746"/>
                  <a:gd name="T45" fmla="*/ 2147483647 h 469"/>
                  <a:gd name="T46" fmla="*/ 2147483647 w 746"/>
                  <a:gd name="T47" fmla="*/ 2147483647 h 469"/>
                  <a:gd name="T48" fmla="*/ 2147483647 w 746"/>
                  <a:gd name="T49" fmla="*/ 2147483647 h 469"/>
                  <a:gd name="T50" fmla="*/ 2147483647 w 746"/>
                  <a:gd name="T51" fmla="*/ 2147483647 h 469"/>
                  <a:gd name="T52" fmla="*/ 2147483647 w 746"/>
                  <a:gd name="T53" fmla="*/ 2147483647 h 469"/>
                  <a:gd name="T54" fmla="*/ 2147483647 w 746"/>
                  <a:gd name="T55" fmla="*/ 2147483647 h 469"/>
                  <a:gd name="T56" fmla="*/ 2147483647 w 746"/>
                  <a:gd name="T57" fmla="*/ 2147483647 h 469"/>
                  <a:gd name="T58" fmla="*/ 2147483647 w 746"/>
                  <a:gd name="T59" fmla="*/ 2147483647 h 469"/>
                  <a:gd name="T60" fmla="*/ 2147483647 w 746"/>
                  <a:gd name="T61" fmla="*/ 2147483647 h 469"/>
                  <a:gd name="T62" fmla="*/ 2147483647 w 746"/>
                  <a:gd name="T63" fmla="*/ 2147483647 h 469"/>
                  <a:gd name="T64" fmla="*/ 2147483647 w 746"/>
                  <a:gd name="T65" fmla="*/ 2147483647 h 469"/>
                  <a:gd name="T66" fmla="*/ 2147483647 w 746"/>
                  <a:gd name="T67" fmla="*/ 2147483647 h 469"/>
                  <a:gd name="T68" fmla="*/ 2147483647 w 746"/>
                  <a:gd name="T69" fmla="*/ 2147483647 h 469"/>
                  <a:gd name="T70" fmla="*/ 2147483647 w 746"/>
                  <a:gd name="T71" fmla="*/ 2147483647 h 469"/>
                  <a:gd name="T72" fmla="*/ 2147483647 w 746"/>
                  <a:gd name="T73" fmla="*/ 2147483647 h 469"/>
                  <a:gd name="T74" fmla="*/ 2147483647 w 746"/>
                  <a:gd name="T75" fmla="*/ 2147483647 h 469"/>
                  <a:gd name="T76" fmla="*/ 2147483647 w 746"/>
                  <a:gd name="T77" fmla="*/ 2147483647 h 469"/>
                  <a:gd name="T78" fmla="*/ 2147483647 w 746"/>
                  <a:gd name="T79" fmla="*/ 2147483647 h 469"/>
                  <a:gd name="T80" fmla="*/ 2147483647 w 746"/>
                  <a:gd name="T81" fmla="*/ 2147483647 h 469"/>
                  <a:gd name="T82" fmla="*/ 2147483647 w 746"/>
                  <a:gd name="T83" fmla="*/ 2147483647 h 469"/>
                  <a:gd name="T84" fmla="*/ 2147483647 w 746"/>
                  <a:gd name="T85" fmla="*/ 2147483647 h 469"/>
                  <a:gd name="T86" fmla="*/ 2147483647 w 746"/>
                  <a:gd name="T87" fmla="*/ 2147483647 h 469"/>
                  <a:gd name="T88" fmla="*/ 2147483647 w 746"/>
                  <a:gd name="T89" fmla="*/ 2147483647 h 469"/>
                  <a:gd name="T90" fmla="*/ 2147483647 w 746"/>
                  <a:gd name="T91" fmla="*/ 2147483647 h 469"/>
                  <a:gd name="T92" fmla="*/ 2147483647 w 746"/>
                  <a:gd name="T93" fmla="*/ 2147483647 h 469"/>
                  <a:gd name="T94" fmla="*/ 2147483647 w 746"/>
                  <a:gd name="T95" fmla="*/ 2147483647 h 46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1" name="Freeform 248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10306318" y="3969910"/>
                <a:ext cx="500062" cy="552450"/>
              </a:xfrm>
              <a:custGeom>
                <a:avLst/>
                <a:gdLst>
                  <a:gd name="T0" fmla="*/ 2147483647 w 1145"/>
                  <a:gd name="T1" fmla="*/ 2147483647 h 1053"/>
                  <a:gd name="T2" fmla="*/ 2147483647 w 1145"/>
                  <a:gd name="T3" fmla="*/ 2147483647 h 1053"/>
                  <a:gd name="T4" fmla="*/ 2147483647 w 1145"/>
                  <a:gd name="T5" fmla="*/ 2147483647 h 1053"/>
                  <a:gd name="T6" fmla="*/ 2147483647 w 1145"/>
                  <a:gd name="T7" fmla="*/ 2147483647 h 1053"/>
                  <a:gd name="T8" fmla="*/ 2147483647 w 1145"/>
                  <a:gd name="T9" fmla="*/ 2147483647 h 1053"/>
                  <a:gd name="T10" fmla="*/ 2147483647 w 1145"/>
                  <a:gd name="T11" fmla="*/ 2147483647 h 1053"/>
                  <a:gd name="T12" fmla="*/ 2147483647 w 1145"/>
                  <a:gd name="T13" fmla="*/ 2147483647 h 1053"/>
                  <a:gd name="T14" fmla="*/ 2147483647 w 1145"/>
                  <a:gd name="T15" fmla="*/ 2147483647 h 1053"/>
                  <a:gd name="T16" fmla="*/ 2147483647 w 1145"/>
                  <a:gd name="T17" fmla="*/ 2147483647 h 1053"/>
                  <a:gd name="T18" fmla="*/ 2147483647 w 1145"/>
                  <a:gd name="T19" fmla="*/ 2147483647 h 1053"/>
                  <a:gd name="T20" fmla="*/ 2147483647 w 1145"/>
                  <a:gd name="T21" fmla="*/ 2147483647 h 1053"/>
                  <a:gd name="T22" fmla="*/ 2147483647 w 1145"/>
                  <a:gd name="T23" fmla="*/ 2147483647 h 1053"/>
                  <a:gd name="T24" fmla="*/ 2147483647 w 1145"/>
                  <a:gd name="T25" fmla="*/ 2147483647 h 1053"/>
                  <a:gd name="T26" fmla="*/ 2147483647 w 1145"/>
                  <a:gd name="T27" fmla="*/ 2147483647 h 1053"/>
                  <a:gd name="T28" fmla="*/ 2147483647 w 1145"/>
                  <a:gd name="T29" fmla="*/ 2147483647 h 1053"/>
                  <a:gd name="T30" fmla="*/ 2147483647 w 1145"/>
                  <a:gd name="T31" fmla="*/ 2147483647 h 1053"/>
                  <a:gd name="T32" fmla="*/ 2147483647 w 1145"/>
                  <a:gd name="T33" fmla="*/ 2147483647 h 1053"/>
                  <a:gd name="T34" fmla="*/ 2147483647 w 1145"/>
                  <a:gd name="T35" fmla="*/ 2147483647 h 1053"/>
                  <a:gd name="T36" fmla="*/ 2147483647 w 1145"/>
                  <a:gd name="T37" fmla="*/ 2147483647 h 1053"/>
                  <a:gd name="T38" fmla="*/ 2147483647 w 1145"/>
                  <a:gd name="T39" fmla="*/ 2147483647 h 1053"/>
                  <a:gd name="T40" fmla="*/ 2147483647 w 1145"/>
                  <a:gd name="T41" fmla="*/ 2147483647 h 1053"/>
                  <a:gd name="T42" fmla="*/ 2147483647 w 1145"/>
                  <a:gd name="T43" fmla="*/ 2147483647 h 1053"/>
                  <a:gd name="T44" fmla="*/ 2147483647 w 1145"/>
                  <a:gd name="T45" fmla="*/ 2147483647 h 1053"/>
                  <a:gd name="T46" fmla="*/ 2147483647 w 1145"/>
                  <a:gd name="T47" fmla="*/ 2147483647 h 1053"/>
                  <a:gd name="T48" fmla="*/ 2147483647 w 1145"/>
                  <a:gd name="T49" fmla="*/ 2147483647 h 1053"/>
                  <a:gd name="T50" fmla="*/ 2147483647 w 1145"/>
                  <a:gd name="T51" fmla="*/ 2147483647 h 1053"/>
                  <a:gd name="T52" fmla="*/ 2147483647 w 1145"/>
                  <a:gd name="T53" fmla="*/ 2147483647 h 1053"/>
                  <a:gd name="T54" fmla="*/ 2147483647 w 1145"/>
                  <a:gd name="T55" fmla="*/ 2147483647 h 1053"/>
                  <a:gd name="T56" fmla="*/ 2147483647 w 1145"/>
                  <a:gd name="T57" fmla="*/ 2147483647 h 1053"/>
                  <a:gd name="T58" fmla="*/ 2147483647 w 1145"/>
                  <a:gd name="T59" fmla="*/ 2147483647 h 1053"/>
                  <a:gd name="T60" fmla="*/ 2147483647 w 1145"/>
                  <a:gd name="T61" fmla="*/ 2147483647 h 1053"/>
                  <a:gd name="T62" fmla="*/ 2147483647 w 1145"/>
                  <a:gd name="T63" fmla="*/ 2147483647 h 1053"/>
                  <a:gd name="T64" fmla="*/ 2147483647 w 1145"/>
                  <a:gd name="T65" fmla="*/ 2147483647 h 1053"/>
                  <a:gd name="T66" fmla="*/ 2147483647 w 1145"/>
                  <a:gd name="T67" fmla="*/ 2147483647 h 1053"/>
                  <a:gd name="T68" fmla="*/ 249866351 w 1145"/>
                  <a:gd name="T69" fmla="*/ 2147483647 h 1053"/>
                  <a:gd name="T70" fmla="*/ 2147483647 w 1145"/>
                  <a:gd name="T71" fmla="*/ 2147483647 h 1053"/>
                  <a:gd name="T72" fmla="*/ 2147483647 w 1145"/>
                  <a:gd name="T73" fmla="*/ 2147483647 h 1053"/>
                  <a:gd name="T74" fmla="*/ 2147483647 w 1145"/>
                  <a:gd name="T75" fmla="*/ 2147483647 h 1053"/>
                  <a:gd name="T76" fmla="*/ 2147483647 w 1145"/>
                  <a:gd name="T77" fmla="*/ 2147483647 h 1053"/>
                  <a:gd name="T78" fmla="*/ 2147483647 w 1145"/>
                  <a:gd name="T79" fmla="*/ 2147483647 h 1053"/>
                  <a:gd name="T80" fmla="*/ 2147483647 w 1145"/>
                  <a:gd name="T81" fmla="*/ 2147483647 h 1053"/>
                  <a:gd name="T82" fmla="*/ 2147483647 w 1145"/>
                  <a:gd name="T83" fmla="*/ 2147483647 h 1053"/>
                  <a:gd name="T84" fmla="*/ 2147483647 w 1145"/>
                  <a:gd name="T85" fmla="*/ 2147483647 h 1053"/>
                  <a:gd name="T86" fmla="*/ 2147483647 w 1145"/>
                  <a:gd name="T87" fmla="*/ 2147483647 h 1053"/>
                  <a:gd name="T88" fmla="*/ 2147483647 w 1145"/>
                  <a:gd name="T89" fmla="*/ 2147483647 h 1053"/>
                  <a:gd name="T90" fmla="*/ 2147483647 w 1145"/>
                  <a:gd name="T91" fmla="*/ 2147483647 h 1053"/>
                  <a:gd name="T92" fmla="*/ 2147483647 w 1145"/>
                  <a:gd name="T93" fmla="*/ 2147483647 h 1053"/>
                  <a:gd name="T94" fmla="*/ 2147483647 w 1145"/>
                  <a:gd name="T95" fmla="*/ 2147483647 h 1053"/>
                  <a:gd name="T96" fmla="*/ 2147483647 w 1145"/>
                  <a:gd name="T97" fmla="*/ 2147483647 h 1053"/>
                  <a:gd name="T98" fmla="*/ 2147483647 w 1145"/>
                  <a:gd name="T99" fmla="*/ 2147483647 h 1053"/>
                  <a:gd name="T100" fmla="*/ 2147483647 w 1145"/>
                  <a:gd name="T101" fmla="*/ 2147483647 h 1053"/>
                  <a:gd name="T102" fmla="*/ 2147483647 w 1145"/>
                  <a:gd name="T103" fmla="*/ 2147483647 h 1053"/>
                  <a:gd name="T104" fmla="*/ 2147483647 w 1145"/>
                  <a:gd name="T105" fmla="*/ 2147483647 h 1053"/>
                  <a:gd name="T106" fmla="*/ 2147483647 w 1145"/>
                  <a:gd name="T107" fmla="*/ 2147483647 h 1053"/>
                  <a:gd name="T108" fmla="*/ 2147483647 w 1145"/>
                  <a:gd name="T109" fmla="*/ 1155229087 h 1053"/>
                  <a:gd name="T110" fmla="*/ 2147483647 w 1145"/>
                  <a:gd name="T111" fmla="*/ 2147483647 h 10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2" name="Freeform 249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10242818" y="4069922"/>
                <a:ext cx="55562" cy="55563"/>
              </a:xfrm>
              <a:custGeom>
                <a:avLst/>
                <a:gdLst>
                  <a:gd name="T0" fmla="*/ 2147483647 w 125"/>
                  <a:gd name="T1" fmla="*/ 0 h 81"/>
                  <a:gd name="T2" fmla="*/ 2147483647 w 125"/>
                  <a:gd name="T3" fmla="*/ 2147483647 h 81"/>
                  <a:gd name="T4" fmla="*/ 2147483647 w 125"/>
                  <a:gd name="T5" fmla="*/ 2147483647 h 81"/>
                  <a:gd name="T6" fmla="*/ 2147483647 w 125"/>
                  <a:gd name="T7" fmla="*/ 2147483647 h 81"/>
                  <a:gd name="T8" fmla="*/ 2147483647 w 125"/>
                  <a:gd name="T9" fmla="*/ 2147483647 h 81"/>
                  <a:gd name="T10" fmla="*/ 2147483647 w 125"/>
                  <a:gd name="T11" fmla="*/ 2147483647 h 81"/>
                  <a:gd name="T12" fmla="*/ 2147483647 w 125"/>
                  <a:gd name="T13" fmla="*/ 2147483647 h 81"/>
                  <a:gd name="T14" fmla="*/ 2147483647 w 125"/>
                  <a:gd name="T15" fmla="*/ 2147483647 h 81"/>
                  <a:gd name="T16" fmla="*/ 2147483647 w 125"/>
                  <a:gd name="T17" fmla="*/ 2147483647 h 81"/>
                  <a:gd name="T18" fmla="*/ 2147483647 w 125"/>
                  <a:gd name="T19" fmla="*/ 2147483647 h 81"/>
                  <a:gd name="T20" fmla="*/ 2147483647 w 125"/>
                  <a:gd name="T21" fmla="*/ 2147483647 h 81"/>
                  <a:gd name="T22" fmla="*/ 2147483647 w 125"/>
                  <a:gd name="T23" fmla="*/ 2147483647 h 81"/>
                  <a:gd name="T24" fmla="*/ 614661070 w 125"/>
                  <a:gd name="T25" fmla="*/ 2147483647 h 81"/>
                  <a:gd name="T26" fmla="*/ 439015364 w 125"/>
                  <a:gd name="T27" fmla="*/ 2147483647 h 81"/>
                  <a:gd name="T28" fmla="*/ 263369658 w 125"/>
                  <a:gd name="T29" fmla="*/ 2147483647 h 81"/>
                  <a:gd name="T30" fmla="*/ 87723953 w 125"/>
                  <a:gd name="T31" fmla="*/ 2147483647 h 81"/>
                  <a:gd name="T32" fmla="*/ 0 w 125"/>
                  <a:gd name="T33" fmla="*/ 2147483647 h 81"/>
                  <a:gd name="T34" fmla="*/ 0 w 125"/>
                  <a:gd name="T35" fmla="*/ 2147483647 h 81"/>
                  <a:gd name="T36" fmla="*/ 87723953 w 125"/>
                  <a:gd name="T37" fmla="*/ 2147483647 h 81"/>
                  <a:gd name="T38" fmla="*/ 175645706 w 125"/>
                  <a:gd name="T39" fmla="*/ 2147483647 h 81"/>
                  <a:gd name="T40" fmla="*/ 351291412 w 125"/>
                  <a:gd name="T41" fmla="*/ 2147483647 h 81"/>
                  <a:gd name="T42" fmla="*/ 702582823 w 125"/>
                  <a:gd name="T43" fmla="*/ 2147483647 h 81"/>
                  <a:gd name="T44" fmla="*/ 965952482 w 125"/>
                  <a:gd name="T45" fmla="*/ 2147483647 h 81"/>
                  <a:gd name="T46" fmla="*/ 1229519941 w 125"/>
                  <a:gd name="T47" fmla="*/ 1613970015 h 81"/>
                  <a:gd name="T48" fmla="*/ 1756456614 w 125"/>
                  <a:gd name="T49" fmla="*/ 0 h 81"/>
                  <a:gd name="T50" fmla="*/ 2147483647 w 125"/>
                  <a:gd name="T51" fmla="*/ 0 h 8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3" name="Freeform 250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10225355" y="4069922"/>
                <a:ext cx="152400" cy="201613"/>
              </a:xfrm>
              <a:custGeom>
                <a:avLst/>
                <a:gdLst>
                  <a:gd name="T0" fmla="*/ 2147483647 w 355"/>
                  <a:gd name="T1" fmla="*/ 2104427660 h 388"/>
                  <a:gd name="T2" fmla="*/ 2147483647 w 355"/>
                  <a:gd name="T3" fmla="*/ 2147483647 h 388"/>
                  <a:gd name="T4" fmla="*/ 2147483647 w 355"/>
                  <a:gd name="T5" fmla="*/ 2147483647 h 388"/>
                  <a:gd name="T6" fmla="*/ 2147483647 w 355"/>
                  <a:gd name="T7" fmla="*/ 2147483647 h 388"/>
                  <a:gd name="T8" fmla="*/ 2147483647 w 355"/>
                  <a:gd name="T9" fmla="*/ 2147483647 h 388"/>
                  <a:gd name="T10" fmla="*/ 2147483647 w 355"/>
                  <a:gd name="T11" fmla="*/ 2147483647 h 388"/>
                  <a:gd name="T12" fmla="*/ 2147483647 w 355"/>
                  <a:gd name="T13" fmla="*/ 2147483647 h 388"/>
                  <a:gd name="T14" fmla="*/ 2147483647 w 355"/>
                  <a:gd name="T15" fmla="*/ 2147483647 h 388"/>
                  <a:gd name="T16" fmla="*/ 2147483647 w 355"/>
                  <a:gd name="T17" fmla="*/ 2147483647 h 388"/>
                  <a:gd name="T18" fmla="*/ 2147483647 w 355"/>
                  <a:gd name="T19" fmla="*/ 2147483647 h 388"/>
                  <a:gd name="T20" fmla="*/ 2147483647 w 355"/>
                  <a:gd name="T21" fmla="*/ 2147483647 h 388"/>
                  <a:gd name="T22" fmla="*/ 2147483647 w 355"/>
                  <a:gd name="T23" fmla="*/ 2147483647 h 388"/>
                  <a:gd name="T24" fmla="*/ 2147483647 w 355"/>
                  <a:gd name="T25" fmla="*/ 2147483647 h 388"/>
                  <a:gd name="T26" fmla="*/ 2147483647 w 355"/>
                  <a:gd name="T27" fmla="*/ 2147483647 h 388"/>
                  <a:gd name="T28" fmla="*/ 2147483647 w 355"/>
                  <a:gd name="T29" fmla="*/ 2147483647 h 388"/>
                  <a:gd name="T30" fmla="*/ 2147483647 w 355"/>
                  <a:gd name="T31" fmla="*/ 2147483647 h 388"/>
                  <a:gd name="T32" fmla="*/ 2147483647 w 355"/>
                  <a:gd name="T33" fmla="*/ 2147483647 h 388"/>
                  <a:gd name="T34" fmla="*/ 2147483647 w 355"/>
                  <a:gd name="T35" fmla="*/ 2147483647 h 388"/>
                  <a:gd name="T36" fmla="*/ 2147483647 w 355"/>
                  <a:gd name="T37" fmla="*/ 2147483647 h 388"/>
                  <a:gd name="T38" fmla="*/ 2147483647 w 355"/>
                  <a:gd name="T39" fmla="*/ 2147483647 h 388"/>
                  <a:gd name="T40" fmla="*/ 2147483647 w 355"/>
                  <a:gd name="T41" fmla="*/ 2147483647 h 388"/>
                  <a:gd name="T42" fmla="*/ 2147483647 w 355"/>
                  <a:gd name="T43" fmla="*/ 2147483647 h 388"/>
                  <a:gd name="T44" fmla="*/ 2147483647 w 355"/>
                  <a:gd name="T45" fmla="*/ 2147483647 h 388"/>
                  <a:gd name="T46" fmla="*/ 2147483647 w 355"/>
                  <a:gd name="T47" fmla="*/ 2147483647 h 388"/>
                  <a:gd name="T48" fmla="*/ 2147483647 w 355"/>
                  <a:gd name="T49" fmla="*/ 2147483647 h 388"/>
                  <a:gd name="T50" fmla="*/ 2147483647 w 355"/>
                  <a:gd name="T51" fmla="*/ 2147483647 h 388"/>
                  <a:gd name="T52" fmla="*/ 2147483647 w 355"/>
                  <a:gd name="T53" fmla="*/ 2147483647 h 388"/>
                  <a:gd name="T54" fmla="*/ 2147483647 w 355"/>
                  <a:gd name="T55" fmla="*/ 2147483647 h 388"/>
                  <a:gd name="T56" fmla="*/ 2147483647 w 355"/>
                  <a:gd name="T57" fmla="*/ 2147483647 h 388"/>
                  <a:gd name="T58" fmla="*/ 2147483647 w 355"/>
                  <a:gd name="T59" fmla="*/ 2147483647 h 388"/>
                  <a:gd name="T60" fmla="*/ 2147483647 w 355"/>
                  <a:gd name="T61" fmla="*/ 2147483647 h 388"/>
                  <a:gd name="T62" fmla="*/ 2147483647 w 355"/>
                  <a:gd name="T63" fmla="*/ 2147483647 h 388"/>
                  <a:gd name="T64" fmla="*/ 2147483647 w 355"/>
                  <a:gd name="T65" fmla="*/ 2147483647 h 388"/>
                  <a:gd name="T66" fmla="*/ 2147483647 w 355"/>
                  <a:gd name="T67" fmla="*/ 2147483647 h 388"/>
                  <a:gd name="T68" fmla="*/ 2147483647 w 355"/>
                  <a:gd name="T69" fmla="*/ 2147483647 h 388"/>
                  <a:gd name="T70" fmla="*/ 1740665148 w 355"/>
                  <a:gd name="T71" fmla="*/ 2147483647 h 388"/>
                  <a:gd name="T72" fmla="*/ 395496889 w 355"/>
                  <a:gd name="T73" fmla="*/ 2147483647 h 388"/>
                  <a:gd name="T74" fmla="*/ 79062544 w 355"/>
                  <a:gd name="T75" fmla="*/ 2147483647 h 388"/>
                  <a:gd name="T76" fmla="*/ 870240490 w 355"/>
                  <a:gd name="T77" fmla="*/ 2147483647 h 388"/>
                  <a:gd name="T78" fmla="*/ 2147483647 w 355"/>
                  <a:gd name="T79" fmla="*/ 2147483647 h 388"/>
                  <a:gd name="T80" fmla="*/ 2147483647 w 355"/>
                  <a:gd name="T81" fmla="*/ 2147483647 h 388"/>
                  <a:gd name="T82" fmla="*/ 2147483647 w 355"/>
                  <a:gd name="T83" fmla="*/ 2147483647 h 388"/>
                  <a:gd name="T84" fmla="*/ 2147483647 w 355"/>
                  <a:gd name="T85" fmla="*/ 2147483647 h 388"/>
                  <a:gd name="T86" fmla="*/ 2147483647 w 355"/>
                  <a:gd name="T87" fmla="*/ 2147483647 h 388"/>
                  <a:gd name="T88" fmla="*/ 2147483647 w 355"/>
                  <a:gd name="T89" fmla="*/ 2147483647 h 388"/>
                  <a:gd name="T90" fmla="*/ 2147483647 w 355"/>
                  <a:gd name="T91" fmla="*/ 2147483647 h 388"/>
                  <a:gd name="T92" fmla="*/ 2147483647 w 355"/>
                  <a:gd name="T93" fmla="*/ 2147483647 h 388"/>
                  <a:gd name="T94" fmla="*/ 2147483647 w 355"/>
                  <a:gd name="T95" fmla="*/ 1683488296 h 38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4" name="Freeform 251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10758755" y="4474735"/>
                <a:ext cx="260350" cy="520700"/>
              </a:xfrm>
              <a:custGeom>
                <a:avLst/>
                <a:gdLst>
                  <a:gd name="T0" fmla="*/ 0 w 599"/>
                  <a:gd name="T1" fmla="*/ 2147483647 h 993"/>
                  <a:gd name="T2" fmla="*/ 2147483647 w 599"/>
                  <a:gd name="T3" fmla="*/ 2147483647 h 993"/>
                  <a:gd name="T4" fmla="*/ 2147483647 w 599"/>
                  <a:gd name="T5" fmla="*/ 2147483647 h 993"/>
                  <a:gd name="T6" fmla="*/ 2147483647 w 599"/>
                  <a:gd name="T7" fmla="*/ 2147483647 h 993"/>
                  <a:gd name="T8" fmla="*/ 2147483647 w 599"/>
                  <a:gd name="T9" fmla="*/ 2147483647 h 993"/>
                  <a:gd name="T10" fmla="*/ 2147483647 w 599"/>
                  <a:gd name="T11" fmla="*/ 2147483647 h 993"/>
                  <a:gd name="T12" fmla="*/ 2147483647 w 599"/>
                  <a:gd name="T13" fmla="*/ 2147483647 h 993"/>
                  <a:gd name="T14" fmla="*/ 2147483647 w 599"/>
                  <a:gd name="T15" fmla="*/ 2147483647 h 993"/>
                  <a:gd name="T16" fmla="*/ 2147483647 w 599"/>
                  <a:gd name="T17" fmla="*/ 2147483647 h 993"/>
                  <a:gd name="T18" fmla="*/ 2147483647 w 599"/>
                  <a:gd name="T19" fmla="*/ 2147483647 h 993"/>
                  <a:gd name="T20" fmla="*/ 2147483647 w 599"/>
                  <a:gd name="T21" fmla="*/ 2147483647 h 993"/>
                  <a:gd name="T22" fmla="*/ 2147483647 w 599"/>
                  <a:gd name="T23" fmla="*/ 2147483647 h 993"/>
                  <a:gd name="T24" fmla="*/ 2147483647 w 599"/>
                  <a:gd name="T25" fmla="*/ 2147483647 h 993"/>
                  <a:gd name="T26" fmla="*/ 2147483647 w 599"/>
                  <a:gd name="T27" fmla="*/ 2147483647 h 993"/>
                  <a:gd name="T28" fmla="*/ 2147483647 w 599"/>
                  <a:gd name="T29" fmla="*/ 2147483647 h 993"/>
                  <a:gd name="T30" fmla="*/ 2147483647 w 599"/>
                  <a:gd name="T31" fmla="*/ 2147483647 h 993"/>
                  <a:gd name="T32" fmla="*/ 2147483647 w 599"/>
                  <a:gd name="T33" fmla="*/ 2147483647 h 993"/>
                  <a:gd name="T34" fmla="*/ 2147483647 w 599"/>
                  <a:gd name="T35" fmla="*/ 2147483647 h 993"/>
                  <a:gd name="T36" fmla="*/ 2147483647 w 599"/>
                  <a:gd name="T37" fmla="*/ 432519219 h 993"/>
                  <a:gd name="T38" fmla="*/ 2147483647 w 599"/>
                  <a:gd name="T39" fmla="*/ 2147483647 h 993"/>
                  <a:gd name="T40" fmla="*/ 2147483647 w 599"/>
                  <a:gd name="T41" fmla="*/ 2147483647 h 993"/>
                  <a:gd name="T42" fmla="*/ 2147483647 w 599"/>
                  <a:gd name="T43" fmla="*/ 2147483647 h 993"/>
                  <a:gd name="T44" fmla="*/ 2147483647 w 599"/>
                  <a:gd name="T45" fmla="*/ 2147483647 h 993"/>
                  <a:gd name="T46" fmla="*/ 2147483647 w 599"/>
                  <a:gd name="T47" fmla="*/ 2147483647 h 993"/>
                  <a:gd name="T48" fmla="*/ 2147483647 w 599"/>
                  <a:gd name="T49" fmla="*/ 2147483647 h 993"/>
                  <a:gd name="T50" fmla="*/ 2147483647 w 599"/>
                  <a:gd name="T51" fmla="*/ 2147483647 h 993"/>
                  <a:gd name="T52" fmla="*/ 2147483647 w 599"/>
                  <a:gd name="T53" fmla="*/ 2147483647 h 993"/>
                  <a:gd name="T54" fmla="*/ 2147483647 w 599"/>
                  <a:gd name="T55" fmla="*/ 2147483647 h 993"/>
                  <a:gd name="T56" fmla="*/ 2147483647 w 599"/>
                  <a:gd name="T57" fmla="*/ 2147483647 h 993"/>
                  <a:gd name="T58" fmla="*/ 2147483647 w 599"/>
                  <a:gd name="T59" fmla="*/ 2147483647 h 993"/>
                  <a:gd name="T60" fmla="*/ 2147483647 w 599"/>
                  <a:gd name="T61" fmla="*/ 2147483647 h 993"/>
                  <a:gd name="T62" fmla="*/ 2147483647 w 599"/>
                  <a:gd name="T63" fmla="*/ 2147483647 h 993"/>
                  <a:gd name="T64" fmla="*/ 2147483647 w 599"/>
                  <a:gd name="T65" fmla="*/ 2147483647 h 993"/>
                  <a:gd name="T66" fmla="*/ 2147483647 w 599"/>
                  <a:gd name="T67" fmla="*/ 2147483647 h 993"/>
                  <a:gd name="T68" fmla="*/ 2147483647 w 599"/>
                  <a:gd name="T69" fmla="*/ 2147483647 h 993"/>
                  <a:gd name="T70" fmla="*/ 2147483647 w 599"/>
                  <a:gd name="T71" fmla="*/ 2147483647 h 993"/>
                  <a:gd name="T72" fmla="*/ 2147483647 w 599"/>
                  <a:gd name="T73" fmla="*/ 2147483647 h 993"/>
                  <a:gd name="T74" fmla="*/ 2147483647 w 599"/>
                  <a:gd name="T75" fmla="*/ 2147483647 h 993"/>
                  <a:gd name="T76" fmla="*/ 2147483647 w 599"/>
                  <a:gd name="T77" fmla="*/ 2147483647 h 993"/>
                  <a:gd name="T78" fmla="*/ 2147483647 w 599"/>
                  <a:gd name="T79" fmla="*/ 2147483647 h 993"/>
                  <a:gd name="T80" fmla="*/ 2147483647 w 599"/>
                  <a:gd name="T81" fmla="*/ 2147483647 h 993"/>
                  <a:gd name="T82" fmla="*/ 2147483647 w 599"/>
                  <a:gd name="T83" fmla="*/ 2147483647 h 993"/>
                  <a:gd name="T84" fmla="*/ 2147483647 w 599"/>
                  <a:gd name="T85" fmla="*/ 2147483647 h 993"/>
                  <a:gd name="T86" fmla="*/ 2147483647 w 599"/>
                  <a:gd name="T87" fmla="*/ 2147483647 h 993"/>
                  <a:gd name="T88" fmla="*/ 2147483647 w 599"/>
                  <a:gd name="T89" fmla="*/ 2147483647 h 993"/>
                  <a:gd name="T90" fmla="*/ 2147483647 w 599"/>
                  <a:gd name="T91" fmla="*/ 2147483647 h 993"/>
                  <a:gd name="T92" fmla="*/ 2147483647 w 599"/>
                  <a:gd name="T93" fmla="*/ 2147483647 h 993"/>
                  <a:gd name="T94" fmla="*/ 2147483647 w 599"/>
                  <a:gd name="T95" fmla="*/ 2147483647 h 993"/>
                  <a:gd name="T96" fmla="*/ 2147483647 w 599"/>
                  <a:gd name="T97" fmla="*/ 2147483647 h 993"/>
                  <a:gd name="T98" fmla="*/ 2147483647 w 599"/>
                  <a:gd name="T99" fmla="*/ 2147483647 h 993"/>
                  <a:gd name="T100" fmla="*/ 2147483647 w 599"/>
                  <a:gd name="T101" fmla="*/ 2147483647 h 993"/>
                  <a:gd name="T102" fmla="*/ 2147483647 w 599"/>
                  <a:gd name="T103" fmla="*/ 2147483647 h 99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5" name="Freeform 252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10493643" y="4714447"/>
                <a:ext cx="238125" cy="287338"/>
              </a:xfrm>
              <a:custGeom>
                <a:avLst/>
                <a:gdLst>
                  <a:gd name="T0" fmla="*/ 2147483647 w 545"/>
                  <a:gd name="T1" fmla="*/ 2147483647 h 549"/>
                  <a:gd name="T2" fmla="*/ 2147483647 w 545"/>
                  <a:gd name="T3" fmla="*/ 2147483647 h 549"/>
                  <a:gd name="T4" fmla="*/ 2147483647 w 545"/>
                  <a:gd name="T5" fmla="*/ 2147483647 h 549"/>
                  <a:gd name="T6" fmla="*/ 2147483647 w 545"/>
                  <a:gd name="T7" fmla="*/ 2147483647 h 549"/>
                  <a:gd name="T8" fmla="*/ 2147483647 w 545"/>
                  <a:gd name="T9" fmla="*/ 2147483647 h 549"/>
                  <a:gd name="T10" fmla="*/ 2147483647 w 545"/>
                  <a:gd name="T11" fmla="*/ 2147483647 h 549"/>
                  <a:gd name="T12" fmla="*/ 2147483647 w 545"/>
                  <a:gd name="T13" fmla="*/ 2147483647 h 549"/>
                  <a:gd name="T14" fmla="*/ 2147483647 w 545"/>
                  <a:gd name="T15" fmla="*/ 2147483647 h 549"/>
                  <a:gd name="T16" fmla="*/ 2147483647 w 545"/>
                  <a:gd name="T17" fmla="*/ 2147483647 h 549"/>
                  <a:gd name="T18" fmla="*/ 2147483647 w 545"/>
                  <a:gd name="T19" fmla="*/ 2147483647 h 549"/>
                  <a:gd name="T20" fmla="*/ 2147483647 w 545"/>
                  <a:gd name="T21" fmla="*/ 2147483647 h 549"/>
                  <a:gd name="T22" fmla="*/ 2147483647 w 545"/>
                  <a:gd name="T23" fmla="*/ 2147483647 h 549"/>
                  <a:gd name="T24" fmla="*/ 2147483647 w 545"/>
                  <a:gd name="T25" fmla="*/ 2147483647 h 549"/>
                  <a:gd name="T26" fmla="*/ 2147483647 w 545"/>
                  <a:gd name="T27" fmla="*/ 2147483647 h 549"/>
                  <a:gd name="T28" fmla="*/ 2147483647 w 545"/>
                  <a:gd name="T29" fmla="*/ 2147483647 h 549"/>
                  <a:gd name="T30" fmla="*/ 2147483647 w 545"/>
                  <a:gd name="T31" fmla="*/ 2147483647 h 549"/>
                  <a:gd name="T32" fmla="*/ 2147483647 w 545"/>
                  <a:gd name="T33" fmla="*/ 2147483647 h 549"/>
                  <a:gd name="T34" fmla="*/ 2147483647 w 545"/>
                  <a:gd name="T35" fmla="*/ 2147483647 h 549"/>
                  <a:gd name="T36" fmla="*/ 2147483647 w 545"/>
                  <a:gd name="T37" fmla="*/ 2147483647 h 549"/>
                  <a:gd name="T38" fmla="*/ 2147483647 w 545"/>
                  <a:gd name="T39" fmla="*/ 2147483647 h 549"/>
                  <a:gd name="T40" fmla="*/ 2147483647 w 545"/>
                  <a:gd name="T41" fmla="*/ 2147483647 h 549"/>
                  <a:gd name="T42" fmla="*/ 2147483647 w 545"/>
                  <a:gd name="T43" fmla="*/ 2147483647 h 549"/>
                  <a:gd name="T44" fmla="*/ 2147483647 w 545"/>
                  <a:gd name="T45" fmla="*/ 2147483647 h 549"/>
                  <a:gd name="T46" fmla="*/ 2147483647 w 545"/>
                  <a:gd name="T47" fmla="*/ 2147483647 h 549"/>
                  <a:gd name="T48" fmla="*/ 2147483647 w 545"/>
                  <a:gd name="T49" fmla="*/ 2147483647 h 549"/>
                  <a:gd name="T50" fmla="*/ 2147483647 w 545"/>
                  <a:gd name="T51" fmla="*/ 2147483647 h 549"/>
                  <a:gd name="T52" fmla="*/ 2147483647 w 545"/>
                  <a:gd name="T53" fmla="*/ 2147483647 h 549"/>
                  <a:gd name="T54" fmla="*/ 2147483647 w 545"/>
                  <a:gd name="T55" fmla="*/ 2147483647 h 549"/>
                  <a:gd name="T56" fmla="*/ 2147483647 w 545"/>
                  <a:gd name="T57" fmla="*/ 2147483647 h 549"/>
                  <a:gd name="T58" fmla="*/ 2147483647 w 545"/>
                  <a:gd name="T59" fmla="*/ 2147483647 h 549"/>
                  <a:gd name="T60" fmla="*/ 2147483647 w 545"/>
                  <a:gd name="T61" fmla="*/ 2147483647 h 549"/>
                  <a:gd name="T62" fmla="*/ 2147483647 w 545"/>
                  <a:gd name="T63" fmla="*/ 2147483647 h 549"/>
                  <a:gd name="T64" fmla="*/ 2147483647 w 545"/>
                  <a:gd name="T65" fmla="*/ 0 h 549"/>
                  <a:gd name="T66" fmla="*/ 2147483647 w 545"/>
                  <a:gd name="T67" fmla="*/ 286805718 h 549"/>
                  <a:gd name="T68" fmla="*/ 2147483647 w 545"/>
                  <a:gd name="T69" fmla="*/ 1863827620 h 549"/>
                  <a:gd name="T70" fmla="*/ 2147483647 w 545"/>
                  <a:gd name="T71" fmla="*/ 2147483647 h 549"/>
                  <a:gd name="T72" fmla="*/ 2147483647 w 545"/>
                  <a:gd name="T73" fmla="*/ 2147483647 h 549"/>
                  <a:gd name="T74" fmla="*/ 2147483647 w 545"/>
                  <a:gd name="T75" fmla="*/ 2147483647 h 549"/>
                  <a:gd name="T76" fmla="*/ 2147483647 w 545"/>
                  <a:gd name="T77" fmla="*/ 2147483647 h 549"/>
                  <a:gd name="T78" fmla="*/ 2147483647 w 545"/>
                  <a:gd name="T79" fmla="*/ 2147483647 h 549"/>
                  <a:gd name="T80" fmla="*/ 2147483647 w 545"/>
                  <a:gd name="T81" fmla="*/ 2147483647 h 549"/>
                  <a:gd name="T82" fmla="*/ 2147483647 w 545"/>
                  <a:gd name="T83" fmla="*/ 2147483647 h 549"/>
                  <a:gd name="T84" fmla="*/ 2147483647 w 545"/>
                  <a:gd name="T85" fmla="*/ 2147483647 h 549"/>
                  <a:gd name="T86" fmla="*/ 2147483647 w 545"/>
                  <a:gd name="T87" fmla="*/ 2147483647 h 549"/>
                  <a:gd name="T88" fmla="*/ 2147483647 w 545"/>
                  <a:gd name="T89" fmla="*/ 2147483647 h 549"/>
                  <a:gd name="T90" fmla="*/ 417127276 w 545"/>
                  <a:gd name="T91" fmla="*/ 2147483647 h 549"/>
                  <a:gd name="T92" fmla="*/ 83425455 w 545"/>
                  <a:gd name="T93" fmla="*/ 2147483647 h 549"/>
                  <a:gd name="T94" fmla="*/ 667212268 w 545"/>
                  <a:gd name="T95" fmla="*/ 2147483647 h 549"/>
                  <a:gd name="T96" fmla="*/ 667212268 w 545"/>
                  <a:gd name="T97" fmla="*/ 2147483647 h 549"/>
                  <a:gd name="T98" fmla="*/ 0 w 545"/>
                  <a:gd name="T99" fmla="*/ 2147483647 h 54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6" name="Freeform 253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11066730" y="4516010"/>
                <a:ext cx="196850" cy="434975"/>
              </a:xfrm>
              <a:custGeom>
                <a:avLst/>
                <a:gdLst>
                  <a:gd name="T0" fmla="*/ 2147483647 w 452"/>
                  <a:gd name="T1" fmla="*/ 2147483647 h 832"/>
                  <a:gd name="T2" fmla="*/ 2147483647 w 452"/>
                  <a:gd name="T3" fmla="*/ 2147483647 h 832"/>
                  <a:gd name="T4" fmla="*/ 2147483647 w 452"/>
                  <a:gd name="T5" fmla="*/ 2147483647 h 832"/>
                  <a:gd name="T6" fmla="*/ 2147483647 w 452"/>
                  <a:gd name="T7" fmla="*/ 2147483647 h 832"/>
                  <a:gd name="T8" fmla="*/ 2147483647 w 452"/>
                  <a:gd name="T9" fmla="*/ 2147483647 h 832"/>
                  <a:gd name="T10" fmla="*/ 2147483647 w 452"/>
                  <a:gd name="T11" fmla="*/ 2147483647 h 832"/>
                  <a:gd name="T12" fmla="*/ 2147483647 w 452"/>
                  <a:gd name="T13" fmla="*/ 2147483647 h 832"/>
                  <a:gd name="T14" fmla="*/ 2147483647 w 452"/>
                  <a:gd name="T15" fmla="*/ 2147483647 h 832"/>
                  <a:gd name="T16" fmla="*/ 2147483647 w 452"/>
                  <a:gd name="T17" fmla="*/ 2147483647 h 832"/>
                  <a:gd name="T18" fmla="*/ 2147483647 w 452"/>
                  <a:gd name="T19" fmla="*/ 2147483647 h 832"/>
                  <a:gd name="T20" fmla="*/ 2147483647 w 452"/>
                  <a:gd name="T21" fmla="*/ 2147483647 h 832"/>
                  <a:gd name="T22" fmla="*/ 2147483647 w 452"/>
                  <a:gd name="T23" fmla="*/ 2147483647 h 832"/>
                  <a:gd name="T24" fmla="*/ 2147483647 w 452"/>
                  <a:gd name="T25" fmla="*/ 0 h 832"/>
                  <a:gd name="T26" fmla="*/ 2147483647 w 452"/>
                  <a:gd name="T27" fmla="*/ 2147483647 h 832"/>
                  <a:gd name="T28" fmla="*/ 2147483647 w 452"/>
                  <a:gd name="T29" fmla="*/ 2147483647 h 832"/>
                  <a:gd name="T30" fmla="*/ 2147483647 w 452"/>
                  <a:gd name="T31" fmla="*/ 2147483647 h 832"/>
                  <a:gd name="T32" fmla="*/ 2147483647 w 452"/>
                  <a:gd name="T33" fmla="*/ 2147483647 h 832"/>
                  <a:gd name="T34" fmla="*/ 2147483647 w 452"/>
                  <a:gd name="T35" fmla="*/ 2147483647 h 832"/>
                  <a:gd name="T36" fmla="*/ 2147483647 w 452"/>
                  <a:gd name="T37" fmla="*/ 2147483647 h 832"/>
                  <a:gd name="T38" fmla="*/ 2147483647 w 452"/>
                  <a:gd name="T39" fmla="*/ 2147483647 h 832"/>
                  <a:gd name="T40" fmla="*/ 2147483647 w 452"/>
                  <a:gd name="T41" fmla="*/ 2147483647 h 832"/>
                  <a:gd name="T42" fmla="*/ 2147483647 w 452"/>
                  <a:gd name="T43" fmla="*/ 2147483647 h 832"/>
                  <a:gd name="T44" fmla="*/ 2147483647 w 452"/>
                  <a:gd name="T45" fmla="*/ 2147483647 h 832"/>
                  <a:gd name="T46" fmla="*/ 2147483647 w 452"/>
                  <a:gd name="T47" fmla="*/ 2147483647 h 832"/>
                  <a:gd name="T48" fmla="*/ 2147483647 w 452"/>
                  <a:gd name="T49" fmla="*/ 2147483647 h 832"/>
                  <a:gd name="T50" fmla="*/ 2147483647 w 452"/>
                  <a:gd name="T51" fmla="*/ 2147483647 h 832"/>
                  <a:gd name="T52" fmla="*/ 2147483647 w 452"/>
                  <a:gd name="T53" fmla="*/ 2147483647 h 832"/>
                  <a:gd name="T54" fmla="*/ 2147483647 w 452"/>
                  <a:gd name="T55" fmla="*/ 2147483647 h 832"/>
                  <a:gd name="T56" fmla="*/ 2147483647 w 452"/>
                  <a:gd name="T57" fmla="*/ 2147483647 h 832"/>
                  <a:gd name="T58" fmla="*/ 2147483647 w 452"/>
                  <a:gd name="T59" fmla="*/ 2147483647 h 832"/>
                  <a:gd name="T60" fmla="*/ 2147483647 w 452"/>
                  <a:gd name="T61" fmla="*/ 2147483647 h 832"/>
                  <a:gd name="T62" fmla="*/ 2147483647 w 452"/>
                  <a:gd name="T63" fmla="*/ 2147483647 h 832"/>
                  <a:gd name="T64" fmla="*/ 2147483647 w 452"/>
                  <a:gd name="T65" fmla="*/ 2147483647 h 832"/>
                  <a:gd name="T66" fmla="*/ 2147483647 w 452"/>
                  <a:gd name="T67" fmla="*/ 2147483647 h 832"/>
                  <a:gd name="T68" fmla="*/ 2147483647 w 452"/>
                  <a:gd name="T69" fmla="*/ 2147483647 h 832"/>
                  <a:gd name="T70" fmla="*/ 2147483647 w 452"/>
                  <a:gd name="T71" fmla="*/ 2147483647 h 832"/>
                  <a:gd name="T72" fmla="*/ 2147483647 w 452"/>
                  <a:gd name="T73" fmla="*/ 2147483647 h 832"/>
                  <a:gd name="T74" fmla="*/ 2147483647 w 452"/>
                  <a:gd name="T75" fmla="*/ 2147483647 h 832"/>
                  <a:gd name="T76" fmla="*/ 2147483647 w 452"/>
                  <a:gd name="T77" fmla="*/ 2147483647 h 832"/>
                  <a:gd name="T78" fmla="*/ 2147483647 w 452"/>
                  <a:gd name="T79" fmla="*/ 2147483647 h 832"/>
                  <a:gd name="T80" fmla="*/ 2147483647 w 452"/>
                  <a:gd name="T81" fmla="*/ 2147483647 h 832"/>
                  <a:gd name="T82" fmla="*/ 2147483647 w 452"/>
                  <a:gd name="T83" fmla="*/ 2147483647 h 832"/>
                  <a:gd name="T84" fmla="*/ 2147483647 w 452"/>
                  <a:gd name="T85" fmla="*/ 2147483647 h 832"/>
                  <a:gd name="T86" fmla="*/ 2147483647 w 452"/>
                  <a:gd name="T87" fmla="*/ 2147483647 h 832"/>
                  <a:gd name="T88" fmla="*/ 991204641 w 452"/>
                  <a:gd name="T89" fmla="*/ 2147483647 h 832"/>
                  <a:gd name="T90" fmla="*/ 247895992 w 452"/>
                  <a:gd name="T91" fmla="*/ 2147483647 h 832"/>
                  <a:gd name="T92" fmla="*/ 0 w 452"/>
                  <a:gd name="T93" fmla="*/ 2147483647 h 832"/>
                  <a:gd name="T94" fmla="*/ 330401402 w 452"/>
                  <a:gd name="T95" fmla="*/ 2147483647 h 832"/>
                  <a:gd name="T96" fmla="*/ 1569502470 w 452"/>
                  <a:gd name="T97" fmla="*/ 2147483647 h 832"/>
                  <a:gd name="T98" fmla="*/ 908699231 w 452"/>
                  <a:gd name="T99" fmla="*/ 2147483647 h 832"/>
                  <a:gd name="T100" fmla="*/ 0 w 452"/>
                  <a:gd name="T101" fmla="*/ 2147483647 h 832"/>
                  <a:gd name="T102" fmla="*/ 413096693 w 452"/>
                  <a:gd name="T103" fmla="*/ 2147483647 h 832"/>
                  <a:gd name="T104" fmla="*/ 660803239 w 452"/>
                  <a:gd name="T105" fmla="*/ 2147483647 h 832"/>
                  <a:gd name="T106" fmla="*/ 413096693 w 452"/>
                  <a:gd name="T107" fmla="*/ 2147483647 h 832"/>
                  <a:gd name="T108" fmla="*/ 1486807179 w 452"/>
                  <a:gd name="T109" fmla="*/ 2147483647 h 832"/>
                  <a:gd name="T110" fmla="*/ 2147483647 w 452"/>
                  <a:gd name="T111" fmla="*/ 2147483647 h 832"/>
                  <a:gd name="T112" fmla="*/ 2147483647 w 452"/>
                  <a:gd name="T113" fmla="*/ 2147483647 h 832"/>
                  <a:gd name="T114" fmla="*/ 2147483647 w 452"/>
                  <a:gd name="T115" fmla="*/ 2147483647 h 832"/>
                  <a:gd name="T116" fmla="*/ 2147483647 w 452"/>
                  <a:gd name="T117" fmla="*/ 2147483647 h 832"/>
                  <a:gd name="T118" fmla="*/ 2147483647 w 452"/>
                  <a:gd name="T119" fmla="*/ 2147483647 h 832"/>
                  <a:gd name="T120" fmla="*/ 2147483647 w 452"/>
                  <a:gd name="T121" fmla="*/ 2147483647 h 832"/>
                  <a:gd name="T122" fmla="*/ 2147483647 w 452"/>
                  <a:gd name="T123" fmla="*/ 2147483647 h 832"/>
                  <a:gd name="T124" fmla="*/ 2147483647 w 452"/>
                  <a:gd name="T125" fmla="*/ 2147483647 h 8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7" name="Freeform 254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10742880" y="4214385"/>
                <a:ext cx="36513" cy="66675"/>
              </a:xfrm>
              <a:custGeom>
                <a:avLst/>
                <a:gdLst>
                  <a:gd name="T0" fmla="*/ 2147483647 w 80"/>
                  <a:gd name="T1" fmla="*/ 296258192 h 126"/>
                  <a:gd name="T2" fmla="*/ 2147483647 w 80"/>
                  <a:gd name="T3" fmla="*/ 2147483647 h 126"/>
                  <a:gd name="T4" fmla="*/ 2147483647 w 80"/>
                  <a:gd name="T5" fmla="*/ 2147483647 h 126"/>
                  <a:gd name="T6" fmla="*/ 2147483647 w 80"/>
                  <a:gd name="T7" fmla="*/ 2147483647 h 126"/>
                  <a:gd name="T8" fmla="*/ 2147483647 w 80"/>
                  <a:gd name="T9" fmla="*/ 2147483647 h 126"/>
                  <a:gd name="T10" fmla="*/ 2147483647 w 80"/>
                  <a:gd name="T11" fmla="*/ 2147483647 h 126"/>
                  <a:gd name="T12" fmla="*/ 2147483647 w 80"/>
                  <a:gd name="T13" fmla="*/ 2147483647 h 126"/>
                  <a:gd name="T14" fmla="*/ 2147483647 w 80"/>
                  <a:gd name="T15" fmla="*/ 2147483647 h 126"/>
                  <a:gd name="T16" fmla="*/ 2147483647 w 80"/>
                  <a:gd name="T17" fmla="*/ 2147483647 h 126"/>
                  <a:gd name="T18" fmla="*/ 2147483647 w 80"/>
                  <a:gd name="T19" fmla="*/ 2147483647 h 126"/>
                  <a:gd name="T20" fmla="*/ 1235917127 w 80"/>
                  <a:gd name="T21" fmla="*/ 2147483647 h 126"/>
                  <a:gd name="T22" fmla="*/ 0 w 80"/>
                  <a:gd name="T23" fmla="*/ 2147483647 h 126"/>
                  <a:gd name="T24" fmla="*/ 665558051 w 80"/>
                  <a:gd name="T25" fmla="*/ 2147483647 h 126"/>
                  <a:gd name="T26" fmla="*/ 2147483647 w 80"/>
                  <a:gd name="T27" fmla="*/ 2147483647 h 126"/>
                  <a:gd name="T28" fmla="*/ 2147483647 w 80"/>
                  <a:gd name="T29" fmla="*/ 1778110067 h 126"/>
                  <a:gd name="T30" fmla="*/ 2147483647 w 80"/>
                  <a:gd name="T31" fmla="*/ 740925938 h 126"/>
                  <a:gd name="T32" fmla="*/ 2147483647 w 80"/>
                  <a:gd name="T33" fmla="*/ 148129096 h 126"/>
                  <a:gd name="T34" fmla="*/ 2147483647 w 80"/>
                  <a:gd name="T35" fmla="*/ 0 h 126"/>
                  <a:gd name="T36" fmla="*/ 2147483647 w 80"/>
                  <a:gd name="T37" fmla="*/ 0 h 126"/>
                  <a:gd name="T38" fmla="*/ 2147483647 w 80"/>
                  <a:gd name="T39" fmla="*/ 148129096 h 126"/>
                  <a:gd name="T40" fmla="*/ 2147483647 w 80"/>
                  <a:gd name="T41" fmla="*/ 296258192 h 12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8" name="Freeform 255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10731768" y="4174697"/>
                <a:ext cx="55562" cy="60325"/>
              </a:xfrm>
              <a:custGeom>
                <a:avLst/>
                <a:gdLst>
                  <a:gd name="T0" fmla="*/ 2147483647 w 124"/>
                  <a:gd name="T1" fmla="*/ 0 h 117"/>
                  <a:gd name="T2" fmla="*/ 2147483647 w 124"/>
                  <a:gd name="T3" fmla="*/ 2056018821 h 117"/>
                  <a:gd name="T4" fmla="*/ 2147483647 w 124"/>
                  <a:gd name="T5" fmla="*/ 2147483647 h 117"/>
                  <a:gd name="T6" fmla="*/ 2147483647 w 124"/>
                  <a:gd name="T7" fmla="*/ 2147483647 h 117"/>
                  <a:gd name="T8" fmla="*/ 2147483647 w 124"/>
                  <a:gd name="T9" fmla="*/ 2147483647 h 117"/>
                  <a:gd name="T10" fmla="*/ 2147483647 w 124"/>
                  <a:gd name="T11" fmla="*/ 2147483647 h 117"/>
                  <a:gd name="T12" fmla="*/ 2147483647 w 124"/>
                  <a:gd name="T13" fmla="*/ 2147483647 h 117"/>
                  <a:gd name="T14" fmla="*/ 2147483647 w 124"/>
                  <a:gd name="T15" fmla="*/ 2147483647 h 117"/>
                  <a:gd name="T16" fmla="*/ 2147483647 w 124"/>
                  <a:gd name="T17" fmla="*/ 2147483647 h 117"/>
                  <a:gd name="T18" fmla="*/ 2147483647 w 124"/>
                  <a:gd name="T19" fmla="*/ 2147483647 h 117"/>
                  <a:gd name="T20" fmla="*/ 2147483647 w 124"/>
                  <a:gd name="T21" fmla="*/ 2147483647 h 117"/>
                  <a:gd name="T22" fmla="*/ 2147483647 w 124"/>
                  <a:gd name="T23" fmla="*/ 2147483647 h 117"/>
                  <a:gd name="T24" fmla="*/ 2147483647 w 124"/>
                  <a:gd name="T25" fmla="*/ 2147483647 h 117"/>
                  <a:gd name="T26" fmla="*/ 2147483647 w 124"/>
                  <a:gd name="T27" fmla="*/ 2147483647 h 117"/>
                  <a:gd name="T28" fmla="*/ 2147483647 w 124"/>
                  <a:gd name="T29" fmla="*/ 2147483647 h 117"/>
                  <a:gd name="T30" fmla="*/ 2147483647 w 124"/>
                  <a:gd name="T31" fmla="*/ 2147483647 h 117"/>
                  <a:gd name="T32" fmla="*/ 2147483647 w 124"/>
                  <a:gd name="T33" fmla="*/ 2147483647 h 117"/>
                  <a:gd name="T34" fmla="*/ 2069200125 w 124"/>
                  <a:gd name="T35" fmla="*/ 2147483647 h 117"/>
                  <a:gd name="T36" fmla="*/ 1169521850 w 124"/>
                  <a:gd name="T37" fmla="*/ 2147483647 h 117"/>
                  <a:gd name="T38" fmla="*/ 359791283 w 124"/>
                  <a:gd name="T39" fmla="*/ 2147483647 h 117"/>
                  <a:gd name="T40" fmla="*/ 0 w 124"/>
                  <a:gd name="T41" fmla="*/ 2147483647 h 117"/>
                  <a:gd name="T42" fmla="*/ 89947709 w 124"/>
                  <a:gd name="T43" fmla="*/ 2147483647 h 117"/>
                  <a:gd name="T44" fmla="*/ 179895417 w 124"/>
                  <a:gd name="T45" fmla="*/ 2147483647 h 117"/>
                  <a:gd name="T46" fmla="*/ 449738992 w 124"/>
                  <a:gd name="T47" fmla="*/ 2147483647 h 117"/>
                  <a:gd name="T48" fmla="*/ 809730567 w 124"/>
                  <a:gd name="T49" fmla="*/ 2147483647 h 117"/>
                  <a:gd name="T50" fmla="*/ 1529312684 w 124"/>
                  <a:gd name="T51" fmla="*/ 2147483647 h 117"/>
                  <a:gd name="T52" fmla="*/ 2147483647 w 124"/>
                  <a:gd name="T53" fmla="*/ 2147483647 h 117"/>
                  <a:gd name="T54" fmla="*/ 2147483647 w 124"/>
                  <a:gd name="T55" fmla="*/ 2147483647 h 117"/>
                  <a:gd name="T56" fmla="*/ 2147483647 w 124"/>
                  <a:gd name="T57" fmla="*/ 1644762156 h 117"/>
                  <a:gd name="T58" fmla="*/ 2147483647 w 124"/>
                  <a:gd name="T59" fmla="*/ 1644762156 h 117"/>
                  <a:gd name="T60" fmla="*/ 2147483647 w 124"/>
                  <a:gd name="T61" fmla="*/ 1644762156 h 117"/>
                  <a:gd name="T62" fmla="*/ 2147483647 w 124"/>
                  <a:gd name="T63" fmla="*/ 822513845 h 117"/>
                  <a:gd name="T64" fmla="*/ 2147483647 w 124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9" name="Freeform 256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11041330" y="2874535"/>
                <a:ext cx="503238" cy="473075"/>
              </a:xfrm>
              <a:custGeom>
                <a:avLst/>
                <a:gdLst>
                  <a:gd name="T0" fmla="*/ 2147483647 w 1156"/>
                  <a:gd name="T1" fmla="*/ 2147483647 h 900"/>
                  <a:gd name="T2" fmla="*/ 2147483647 w 1156"/>
                  <a:gd name="T3" fmla="*/ 2147483647 h 900"/>
                  <a:gd name="T4" fmla="*/ 2147483647 w 1156"/>
                  <a:gd name="T5" fmla="*/ 2147483647 h 900"/>
                  <a:gd name="T6" fmla="*/ 2147483647 w 1156"/>
                  <a:gd name="T7" fmla="*/ 2147483647 h 900"/>
                  <a:gd name="T8" fmla="*/ 2147483647 w 1156"/>
                  <a:gd name="T9" fmla="*/ 2147483647 h 900"/>
                  <a:gd name="T10" fmla="*/ 2147483647 w 1156"/>
                  <a:gd name="T11" fmla="*/ 2147483647 h 900"/>
                  <a:gd name="T12" fmla="*/ 2147483647 w 1156"/>
                  <a:gd name="T13" fmla="*/ 2147483647 h 900"/>
                  <a:gd name="T14" fmla="*/ 2147483647 w 1156"/>
                  <a:gd name="T15" fmla="*/ 2147483647 h 900"/>
                  <a:gd name="T16" fmla="*/ 2147483647 w 1156"/>
                  <a:gd name="T17" fmla="*/ 2147483647 h 900"/>
                  <a:gd name="T18" fmla="*/ 2147483647 w 1156"/>
                  <a:gd name="T19" fmla="*/ 2147483647 h 900"/>
                  <a:gd name="T20" fmla="*/ 2147483647 w 1156"/>
                  <a:gd name="T21" fmla="*/ 2147483647 h 900"/>
                  <a:gd name="T22" fmla="*/ 2147483647 w 1156"/>
                  <a:gd name="T23" fmla="*/ 2147483647 h 900"/>
                  <a:gd name="T24" fmla="*/ 2147483647 w 1156"/>
                  <a:gd name="T25" fmla="*/ 145331794 h 900"/>
                  <a:gd name="T26" fmla="*/ 2147483647 w 1156"/>
                  <a:gd name="T27" fmla="*/ 2147483647 h 900"/>
                  <a:gd name="T28" fmla="*/ 2147483647 w 1156"/>
                  <a:gd name="T29" fmla="*/ 2147483647 h 900"/>
                  <a:gd name="T30" fmla="*/ 2147483647 w 1156"/>
                  <a:gd name="T31" fmla="*/ 2147483647 h 900"/>
                  <a:gd name="T32" fmla="*/ 329936067 w 1156"/>
                  <a:gd name="T33" fmla="*/ 2147483647 h 900"/>
                  <a:gd name="T34" fmla="*/ 412562435 w 1156"/>
                  <a:gd name="T35" fmla="*/ 2147483647 h 900"/>
                  <a:gd name="T36" fmla="*/ 2147483647 w 1156"/>
                  <a:gd name="T37" fmla="*/ 2147483647 h 900"/>
                  <a:gd name="T38" fmla="*/ 2147483647 w 1156"/>
                  <a:gd name="T39" fmla="*/ 2147483647 h 900"/>
                  <a:gd name="T40" fmla="*/ 2147483647 w 1156"/>
                  <a:gd name="T41" fmla="*/ 2147483647 h 900"/>
                  <a:gd name="T42" fmla="*/ 2147483647 w 1156"/>
                  <a:gd name="T43" fmla="*/ 2147483647 h 900"/>
                  <a:gd name="T44" fmla="*/ 2147483647 w 1156"/>
                  <a:gd name="T45" fmla="*/ 2147483647 h 900"/>
                  <a:gd name="T46" fmla="*/ 2147483647 w 1156"/>
                  <a:gd name="T47" fmla="*/ 2147483647 h 900"/>
                  <a:gd name="T48" fmla="*/ 2147483647 w 1156"/>
                  <a:gd name="T49" fmla="*/ 2147483647 h 900"/>
                  <a:gd name="T50" fmla="*/ 2147483647 w 1156"/>
                  <a:gd name="T51" fmla="*/ 2147483647 h 900"/>
                  <a:gd name="T52" fmla="*/ 2147483647 w 1156"/>
                  <a:gd name="T53" fmla="*/ 2147483647 h 900"/>
                  <a:gd name="T54" fmla="*/ 2147483647 w 1156"/>
                  <a:gd name="T55" fmla="*/ 2147483647 h 900"/>
                  <a:gd name="T56" fmla="*/ 2147483647 w 1156"/>
                  <a:gd name="T57" fmla="*/ 2147483647 h 900"/>
                  <a:gd name="T58" fmla="*/ 2147483647 w 1156"/>
                  <a:gd name="T59" fmla="*/ 2147483647 h 900"/>
                  <a:gd name="T60" fmla="*/ 2147483647 w 1156"/>
                  <a:gd name="T61" fmla="*/ 2147483647 h 900"/>
                  <a:gd name="T62" fmla="*/ 2147483647 w 1156"/>
                  <a:gd name="T63" fmla="*/ 2147483647 h 900"/>
                  <a:gd name="T64" fmla="*/ 2147483647 w 1156"/>
                  <a:gd name="T65" fmla="*/ 2147483647 h 900"/>
                  <a:gd name="T66" fmla="*/ 2147483647 w 1156"/>
                  <a:gd name="T67" fmla="*/ 2147483647 h 900"/>
                  <a:gd name="T68" fmla="*/ 2147483647 w 1156"/>
                  <a:gd name="T69" fmla="*/ 2147483647 h 900"/>
                  <a:gd name="T70" fmla="*/ 2147483647 w 1156"/>
                  <a:gd name="T71" fmla="*/ 2147483647 h 900"/>
                  <a:gd name="T72" fmla="*/ 2147483647 w 1156"/>
                  <a:gd name="T73" fmla="*/ 2147483647 h 900"/>
                  <a:gd name="T74" fmla="*/ 2147483647 w 1156"/>
                  <a:gd name="T75" fmla="*/ 2147483647 h 900"/>
                  <a:gd name="T76" fmla="*/ 2147483647 w 1156"/>
                  <a:gd name="T77" fmla="*/ 2147483647 h 900"/>
                  <a:gd name="T78" fmla="*/ 2147483647 w 1156"/>
                  <a:gd name="T79" fmla="*/ 2147483647 h 900"/>
                  <a:gd name="T80" fmla="*/ 2147483647 w 1156"/>
                  <a:gd name="T81" fmla="*/ 2147483647 h 900"/>
                  <a:gd name="T82" fmla="*/ 2147483647 w 1156"/>
                  <a:gd name="T83" fmla="*/ 2147483647 h 900"/>
                  <a:gd name="T84" fmla="*/ 2147483647 w 1156"/>
                  <a:gd name="T85" fmla="*/ 2147483647 h 900"/>
                  <a:gd name="T86" fmla="*/ 2147483647 w 1156"/>
                  <a:gd name="T87" fmla="*/ 2147483647 h 900"/>
                  <a:gd name="T88" fmla="*/ 2147483647 w 1156"/>
                  <a:gd name="T89" fmla="*/ 2147483647 h 900"/>
                  <a:gd name="T90" fmla="*/ 2147483647 w 1156"/>
                  <a:gd name="T91" fmla="*/ 2147483647 h 900"/>
                  <a:gd name="T92" fmla="*/ 2147483647 w 1156"/>
                  <a:gd name="T93" fmla="*/ 2147483647 h 900"/>
                  <a:gd name="T94" fmla="*/ 2147483647 w 1156"/>
                  <a:gd name="T95" fmla="*/ 2147483647 h 900"/>
                  <a:gd name="T96" fmla="*/ 2147483647 w 1156"/>
                  <a:gd name="T97" fmla="*/ 2147483647 h 900"/>
                  <a:gd name="T98" fmla="*/ 2147483647 w 1156"/>
                  <a:gd name="T99" fmla="*/ 2147483647 h 900"/>
                  <a:gd name="T100" fmla="*/ 2147483647 w 1156"/>
                  <a:gd name="T101" fmla="*/ 2147483647 h 900"/>
                  <a:gd name="T102" fmla="*/ 2147483647 w 1156"/>
                  <a:gd name="T103" fmla="*/ 2147483647 h 900"/>
                  <a:gd name="T104" fmla="*/ 2147483647 w 1156"/>
                  <a:gd name="T105" fmla="*/ 2147483647 h 900"/>
                  <a:gd name="T106" fmla="*/ 2147483647 w 1156"/>
                  <a:gd name="T107" fmla="*/ 2147483647 h 900"/>
                  <a:gd name="T108" fmla="*/ 2147483647 w 1156"/>
                  <a:gd name="T109" fmla="*/ 2147483647 h 90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156" h="900">
                    <a:moveTo>
                      <a:pt x="963" y="271"/>
                    </a:moveTo>
                    <a:lnTo>
                      <a:pt x="954" y="252"/>
                    </a:lnTo>
                    <a:lnTo>
                      <a:pt x="948" y="234"/>
                    </a:lnTo>
                    <a:lnTo>
                      <a:pt x="941" y="213"/>
                    </a:lnTo>
                    <a:lnTo>
                      <a:pt x="937" y="191"/>
                    </a:lnTo>
                    <a:lnTo>
                      <a:pt x="928" y="191"/>
                    </a:lnTo>
                    <a:lnTo>
                      <a:pt x="920" y="190"/>
                    </a:lnTo>
                    <a:lnTo>
                      <a:pt x="913" y="189"/>
                    </a:lnTo>
                    <a:lnTo>
                      <a:pt x="906" y="187"/>
                    </a:lnTo>
                    <a:lnTo>
                      <a:pt x="893" y="183"/>
                    </a:lnTo>
                    <a:lnTo>
                      <a:pt x="881" y="177"/>
                    </a:lnTo>
                    <a:lnTo>
                      <a:pt x="859" y="162"/>
                    </a:lnTo>
                    <a:lnTo>
                      <a:pt x="839" y="145"/>
                    </a:lnTo>
                    <a:lnTo>
                      <a:pt x="828" y="137"/>
                    </a:lnTo>
                    <a:lnTo>
                      <a:pt x="816" y="129"/>
                    </a:lnTo>
                    <a:lnTo>
                      <a:pt x="803" y="122"/>
                    </a:lnTo>
                    <a:lnTo>
                      <a:pt x="789" y="116"/>
                    </a:lnTo>
                    <a:lnTo>
                      <a:pt x="773" y="111"/>
                    </a:lnTo>
                    <a:lnTo>
                      <a:pt x="755" y="106"/>
                    </a:lnTo>
                    <a:lnTo>
                      <a:pt x="745" y="105"/>
                    </a:lnTo>
                    <a:lnTo>
                      <a:pt x="734" y="104"/>
                    </a:lnTo>
                    <a:lnTo>
                      <a:pt x="723" y="104"/>
                    </a:lnTo>
                    <a:lnTo>
                      <a:pt x="711" y="104"/>
                    </a:lnTo>
                    <a:lnTo>
                      <a:pt x="617" y="104"/>
                    </a:lnTo>
                    <a:lnTo>
                      <a:pt x="609" y="113"/>
                    </a:lnTo>
                    <a:lnTo>
                      <a:pt x="587" y="129"/>
                    </a:lnTo>
                    <a:lnTo>
                      <a:pt x="576" y="138"/>
                    </a:lnTo>
                    <a:lnTo>
                      <a:pt x="565" y="146"/>
                    </a:lnTo>
                    <a:lnTo>
                      <a:pt x="556" y="152"/>
                    </a:lnTo>
                    <a:lnTo>
                      <a:pt x="551" y="154"/>
                    </a:lnTo>
                    <a:lnTo>
                      <a:pt x="542" y="155"/>
                    </a:lnTo>
                    <a:lnTo>
                      <a:pt x="532" y="157"/>
                    </a:lnTo>
                    <a:lnTo>
                      <a:pt x="522" y="159"/>
                    </a:lnTo>
                    <a:lnTo>
                      <a:pt x="512" y="160"/>
                    </a:lnTo>
                    <a:lnTo>
                      <a:pt x="518" y="173"/>
                    </a:lnTo>
                    <a:lnTo>
                      <a:pt x="504" y="179"/>
                    </a:lnTo>
                    <a:lnTo>
                      <a:pt x="490" y="184"/>
                    </a:lnTo>
                    <a:lnTo>
                      <a:pt x="478" y="188"/>
                    </a:lnTo>
                    <a:lnTo>
                      <a:pt x="465" y="192"/>
                    </a:lnTo>
                    <a:lnTo>
                      <a:pt x="453" y="194"/>
                    </a:lnTo>
                    <a:lnTo>
                      <a:pt x="439" y="196"/>
                    </a:lnTo>
                    <a:lnTo>
                      <a:pt x="426" y="197"/>
                    </a:lnTo>
                    <a:lnTo>
                      <a:pt x="412" y="197"/>
                    </a:lnTo>
                    <a:lnTo>
                      <a:pt x="405" y="198"/>
                    </a:lnTo>
                    <a:lnTo>
                      <a:pt x="398" y="199"/>
                    </a:lnTo>
                    <a:lnTo>
                      <a:pt x="393" y="200"/>
                    </a:lnTo>
                    <a:lnTo>
                      <a:pt x="389" y="200"/>
                    </a:lnTo>
                    <a:lnTo>
                      <a:pt x="383" y="199"/>
                    </a:lnTo>
                    <a:lnTo>
                      <a:pt x="379" y="197"/>
                    </a:lnTo>
                    <a:lnTo>
                      <a:pt x="371" y="194"/>
                    </a:lnTo>
                    <a:lnTo>
                      <a:pt x="367" y="190"/>
                    </a:lnTo>
                    <a:lnTo>
                      <a:pt x="363" y="184"/>
                    </a:lnTo>
                    <a:lnTo>
                      <a:pt x="358" y="179"/>
                    </a:lnTo>
                    <a:lnTo>
                      <a:pt x="355" y="173"/>
                    </a:lnTo>
                    <a:lnTo>
                      <a:pt x="351" y="168"/>
                    </a:lnTo>
                    <a:lnTo>
                      <a:pt x="345" y="163"/>
                    </a:lnTo>
                    <a:lnTo>
                      <a:pt x="338" y="160"/>
                    </a:lnTo>
                    <a:lnTo>
                      <a:pt x="316" y="153"/>
                    </a:lnTo>
                    <a:lnTo>
                      <a:pt x="280" y="142"/>
                    </a:lnTo>
                    <a:lnTo>
                      <a:pt x="260" y="136"/>
                    </a:lnTo>
                    <a:lnTo>
                      <a:pt x="244" y="128"/>
                    </a:lnTo>
                    <a:lnTo>
                      <a:pt x="237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5" y="111"/>
                    </a:lnTo>
                    <a:lnTo>
                      <a:pt x="228" y="86"/>
                    </a:lnTo>
                    <a:lnTo>
                      <a:pt x="228" y="65"/>
                    </a:lnTo>
                    <a:lnTo>
                      <a:pt x="228" y="56"/>
                    </a:lnTo>
                    <a:lnTo>
                      <a:pt x="226" y="46"/>
                    </a:lnTo>
                    <a:lnTo>
                      <a:pt x="224" y="37"/>
                    </a:lnTo>
                    <a:lnTo>
                      <a:pt x="222" y="30"/>
                    </a:lnTo>
                    <a:lnTo>
                      <a:pt x="220" y="23"/>
                    </a:lnTo>
                    <a:lnTo>
                      <a:pt x="217" y="17"/>
                    </a:lnTo>
                    <a:lnTo>
                      <a:pt x="212" y="12"/>
                    </a:lnTo>
                    <a:lnTo>
                      <a:pt x="207" y="8"/>
                    </a:lnTo>
                    <a:lnTo>
                      <a:pt x="201" y="5"/>
                    </a:lnTo>
                    <a:lnTo>
                      <a:pt x="195" y="2"/>
                    </a:lnTo>
                    <a:lnTo>
                      <a:pt x="188" y="1"/>
                    </a:lnTo>
                    <a:lnTo>
                      <a:pt x="179" y="0"/>
                    </a:lnTo>
                    <a:lnTo>
                      <a:pt x="174" y="1"/>
                    </a:lnTo>
                    <a:lnTo>
                      <a:pt x="168" y="3"/>
                    </a:lnTo>
                    <a:lnTo>
                      <a:pt x="164" y="7"/>
                    </a:lnTo>
                    <a:lnTo>
                      <a:pt x="161" y="11"/>
                    </a:lnTo>
                    <a:lnTo>
                      <a:pt x="155" y="21"/>
                    </a:lnTo>
                    <a:lnTo>
                      <a:pt x="151" y="34"/>
                    </a:lnTo>
                    <a:lnTo>
                      <a:pt x="147" y="46"/>
                    </a:lnTo>
                    <a:lnTo>
                      <a:pt x="144" y="57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6" y="67"/>
                    </a:lnTo>
                    <a:lnTo>
                      <a:pt x="133" y="68"/>
                    </a:lnTo>
                    <a:lnTo>
                      <a:pt x="125" y="68"/>
                    </a:lnTo>
                    <a:lnTo>
                      <a:pt x="118" y="66"/>
                    </a:lnTo>
                    <a:lnTo>
                      <a:pt x="109" y="64"/>
                    </a:lnTo>
                    <a:lnTo>
                      <a:pt x="100" y="62"/>
                    </a:lnTo>
                    <a:lnTo>
                      <a:pt x="79" y="54"/>
                    </a:lnTo>
                    <a:lnTo>
                      <a:pt x="58" y="46"/>
                    </a:lnTo>
                    <a:lnTo>
                      <a:pt x="39" y="38"/>
                    </a:lnTo>
                    <a:lnTo>
                      <a:pt x="21" y="29"/>
                    </a:lnTo>
                    <a:lnTo>
                      <a:pt x="15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25"/>
                    </a:lnTo>
                    <a:lnTo>
                      <a:pt x="0" y="37"/>
                    </a:lnTo>
                    <a:lnTo>
                      <a:pt x="0" y="49"/>
                    </a:lnTo>
                    <a:lnTo>
                      <a:pt x="1" y="62"/>
                    </a:lnTo>
                    <a:lnTo>
                      <a:pt x="5" y="72"/>
                    </a:lnTo>
                    <a:lnTo>
                      <a:pt x="7" y="81"/>
                    </a:lnTo>
                    <a:lnTo>
                      <a:pt x="15" y="96"/>
                    </a:lnTo>
                    <a:lnTo>
                      <a:pt x="24" y="111"/>
                    </a:lnTo>
                    <a:lnTo>
                      <a:pt x="33" y="124"/>
                    </a:lnTo>
                    <a:lnTo>
                      <a:pt x="42" y="138"/>
                    </a:lnTo>
                    <a:lnTo>
                      <a:pt x="45" y="146"/>
                    </a:lnTo>
                    <a:lnTo>
                      <a:pt x="49" y="156"/>
                    </a:lnTo>
                    <a:lnTo>
                      <a:pt x="52" y="167"/>
                    </a:lnTo>
                    <a:lnTo>
                      <a:pt x="53" y="179"/>
                    </a:lnTo>
                    <a:lnTo>
                      <a:pt x="60" y="179"/>
                    </a:lnTo>
                    <a:lnTo>
                      <a:pt x="64" y="190"/>
                    </a:lnTo>
                    <a:lnTo>
                      <a:pt x="73" y="205"/>
                    </a:lnTo>
                    <a:lnTo>
                      <a:pt x="83" y="223"/>
                    </a:lnTo>
                    <a:lnTo>
                      <a:pt x="96" y="241"/>
                    </a:lnTo>
                    <a:lnTo>
                      <a:pt x="109" y="258"/>
                    </a:lnTo>
                    <a:lnTo>
                      <a:pt x="122" y="273"/>
                    </a:lnTo>
                    <a:lnTo>
                      <a:pt x="129" y="280"/>
                    </a:lnTo>
                    <a:lnTo>
                      <a:pt x="135" y="284"/>
                    </a:lnTo>
                    <a:lnTo>
                      <a:pt x="141" y="288"/>
                    </a:lnTo>
                    <a:lnTo>
                      <a:pt x="146" y="290"/>
                    </a:lnTo>
                    <a:lnTo>
                      <a:pt x="139" y="296"/>
                    </a:lnTo>
                    <a:lnTo>
                      <a:pt x="130" y="304"/>
                    </a:lnTo>
                    <a:lnTo>
                      <a:pt x="127" y="310"/>
                    </a:lnTo>
                    <a:lnTo>
                      <a:pt x="122" y="316"/>
                    </a:lnTo>
                    <a:lnTo>
                      <a:pt x="120" y="324"/>
                    </a:lnTo>
                    <a:lnTo>
                      <a:pt x="120" y="332"/>
                    </a:lnTo>
                    <a:lnTo>
                      <a:pt x="120" y="341"/>
                    </a:lnTo>
                    <a:lnTo>
                      <a:pt x="123" y="350"/>
                    </a:lnTo>
                    <a:lnTo>
                      <a:pt x="128" y="360"/>
                    </a:lnTo>
                    <a:lnTo>
                      <a:pt x="133" y="370"/>
                    </a:lnTo>
                    <a:lnTo>
                      <a:pt x="140" y="380"/>
                    </a:lnTo>
                    <a:lnTo>
                      <a:pt x="147" y="391"/>
                    </a:lnTo>
                    <a:lnTo>
                      <a:pt x="157" y="401"/>
                    </a:lnTo>
                    <a:lnTo>
                      <a:pt x="167" y="410"/>
                    </a:lnTo>
                    <a:lnTo>
                      <a:pt x="177" y="420"/>
                    </a:lnTo>
                    <a:lnTo>
                      <a:pt x="188" y="428"/>
                    </a:lnTo>
                    <a:lnTo>
                      <a:pt x="200" y="436"/>
                    </a:lnTo>
                    <a:lnTo>
                      <a:pt x="212" y="442"/>
                    </a:lnTo>
                    <a:lnTo>
                      <a:pt x="224" y="449"/>
                    </a:lnTo>
                    <a:lnTo>
                      <a:pt x="236" y="453"/>
                    </a:lnTo>
                    <a:lnTo>
                      <a:pt x="247" y="455"/>
                    </a:lnTo>
                    <a:lnTo>
                      <a:pt x="259" y="456"/>
                    </a:lnTo>
                    <a:lnTo>
                      <a:pt x="260" y="469"/>
                    </a:lnTo>
                    <a:lnTo>
                      <a:pt x="264" y="483"/>
                    </a:lnTo>
                    <a:lnTo>
                      <a:pt x="265" y="490"/>
                    </a:lnTo>
                    <a:lnTo>
                      <a:pt x="265" y="500"/>
                    </a:lnTo>
                    <a:lnTo>
                      <a:pt x="263" y="511"/>
                    </a:lnTo>
                    <a:lnTo>
                      <a:pt x="259" y="524"/>
                    </a:lnTo>
                    <a:lnTo>
                      <a:pt x="305" y="573"/>
                    </a:lnTo>
                    <a:lnTo>
                      <a:pt x="312" y="574"/>
                    </a:lnTo>
                    <a:lnTo>
                      <a:pt x="319" y="576"/>
                    </a:lnTo>
                    <a:lnTo>
                      <a:pt x="324" y="578"/>
                    </a:lnTo>
                    <a:lnTo>
                      <a:pt x="330" y="580"/>
                    </a:lnTo>
                    <a:lnTo>
                      <a:pt x="335" y="581"/>
                    </a:lnTo>
                    <a:lnTo>
                      <a:pt x="342" y="581"/>
                    </a:lnTo>
                    <a:lnTo>
                      <a:pt x="349" y="578"/>
                    </a:lnTo>
                    <a:lnTo>
                      <a:pt x="358" y="573"/>
                    </a:lnTo>
                    <a:lnTo>
                      <a:pt x="372" y="593"/>
                    </a:lnTo>
                    <a:lnTo>
                      <a:pt x="404" y="639"/>
                    </a:lnTo>
                    <a:lnTo>
                      <a:pt x="423" y="664"/>
                    </a:lnTo>
                    <a:lnTo>
                      <a:pt x="439" y="687"/>
                    </a:lnTo>
                    <a:lnTo>
                      <a:pt x="447" y="697"/>
                    </a:lnTo>
                    <a:lnTo>
                      <a:pt x="455" y="705"/>
                    </a:lnTo>
                    <a:lnTo>
                      <a:pt x="460" y="711"/>
                    </a:lnTo>
                    <a:lnTo>
                      <a:pt x="465" y="714"/>
                    </a:lnTo>
                    <a:lnTo>
                      <a:pt x="471" y="720"/>
                    </a:lnTo>
                    <a:lnTo>
                      <a:pt x="479" y="727"/>
                    </a:lnTo>
                    <a:lnTo>
                      <a:pt x="483" y="729"/>
                    </a:lnTo>
                    <a:lnTo>
                      <a:pt x="488" y="731"/>
                    </a:lnTo>
                    <a:lnTo>
                      <a:pt x="493" y="733"/>
                    </a:lnTo>
                    <a:lnTo>
                      <a:pt x="498" y="733"/>
                    </a:lnTo>
                    <a:lnTo>
                      <a:pt x="504" y="733"/>
                    </a:lnTo>
                    <a:lnTo>
                      <a:pt x="512" y="733"/>
                    </a:lnTo>
                    <a:lnTo>
                      <a:pt x="522" y="733"/>
                    </a:lnTo>
                    <a:lnTo>
                      <a:pt x="532" y="733"/>
                    </a:lnTo>
                    <a:lnTo>
                      <a:pt x="533" y="741"/>
                    </a:lnTo>
                    <a:lnTo>
                      <a:pt x="537" y="748"/>
                    </a:lnTo>
                    <a:lnTo>
                      <a:pt x="542" y="755"/>
                    </a:lnTo>
                    <a:lnTo>
                      <a:pt x="547" y="761"/>
                    </a:lnTo>
                    <a:lnTo>
                      <a:pt x="554" y="766"/>
                    </a:lnTo>
                    <a:lnTo>
                      <a:pt x="561" y="771"/>
                    </a:lnTo>
                    <a:lnTo>
                      <a:pt x="570" y="776"/>
                    </a:lnTo>
                    <a:lnTo>
                      <a:pt x="579" y="781"/>
                    </a:lnTo>
                    <a:lnTo>
                      <a:pt x="598" y="787"/>
                    </a:lnTo>
                    <a:lnTo>
                      <a:pt x="616" y="791"/>
                    </a:lnTo>
                    <a:lnTo>
                      <a:pt x="635" y="794"/>
                    </a:lnTo>
                    <a:lnTo>
                      <a:pt x="651" y="795"/>
                    </a:lnTo>
                    <a:lnTo>
                      <a:pt x="663" y="795"/>
                    </a:lnTo>
                    <a:lnTo>
                      <a:pt x="671" y="795"/>
                    </a:lnTo>
                    <a:lnTo>
                      <a:pt x="685" y="795"/>
                    </a:lnTo>
                    <a:lnTo>
                      <a:pt x="700" y="793"/>
                    </a:lnTo>
                    <a:lnTo>
                      <a:pt x="706" y="792"/>
                    </a:lnTo>
                    <a:lnTo>
                      <a:pt x="713" y="790"/>
                    </a:lnTo>
                    <a:lnTo>
                      <a:pt x="718" y="787"/>
                    </a:lnTo>
                    <a:lnTo>
                      <a:pt x="724" y="783"/>
                    </a:lnTo>
                    <a:lnTo>
                      <a:pt x="732" y="780"/>
                    </a:lnTo>
                    <a:lnTo>
                      <a:pt x="742" y="773"/>
                    </a:lnTo>
                    <a:lnTo>
                      <a:pt x="749" y="769"/>
                    </a:lnTo>
                    <a:lnTo>
                      <a:pt x="756" y="766"/>
                    </a:lnTo>
                    <a:lnTo>
                      <a:pt x="763" y="764"/>
                    </a:lnTo>
                    <a:lnTo>
                      <a:pt x="771" y="764"/>
                    </a:lnTo>
                    <a:lnTo>
                      <a:pt x="779" y="764"/>
                    </a:lnTo>
                    <a:lnTo>
                      <a:pt x="785" y="767"/>
                    </a:lnTo>
                    <a:lnTo>
                      <a:pt x="790" y="771"/>
                    </a:lnTo>
                    <a:lnTo>
                      <a:pt x="794" y="775"/>
                    </a:lnTo>
                    <a:lnTo>
                      <a:pt x="796" y="782"/>
                    </a:lnTo>
                    <a:lnTo>
                      <a:pt x="798" y="789"/>
                    </a:lnTo>
                    <a:lnTo>
                      <a:pt x="801" y="796"/>
                    </a:lnTo>
                    <a:lnTo>
                      <a:pt x="802" y="804"/>
                    </a:lnTo>
                    <a:lnTo>
                      <a:pt x="803" y="820"/>
                    </a:lnTo>
                    <a:lnTo>
                      <a:pt x="805" y="837"/>
                    </a:lnTo>
                    <a:lnTo>
                      <a:pt x="807" y="845"/>
                    </a:lnTo>
                    <a:lnTo>
                      <a:pt x="809" y="851"/>
                    </a:lnTo>
                    <a:lnTo>
                      <a:pt x="813" y="857"/>
                    </a:lnTo>
                    <a:lnTo>
                      <a:pt x="817" y="862"/>
                    </a:lnTo>
                    <a:lnTo>
                      <a:pt x="822" y="865"/>
                    </a:lnTo>
                    <a:lnTo>
                      <a:pt x="828" y="867"/>
                    </a:lnTo>
                    <a:lnTo>
                      <a:pt x="838" y="869"/>
                    </a:lnTo>
                    <a:lnTo>
                      <a:pt x="849" y="871"/>
                    </a:lnTo>
                    <a:lnTo>
                      <a:pt x="874" y="874"/>
                    </a:lnTo>
                    <a:lnTo>
                      <a:pt x="897" y="875"/>
                    </a:lnTo>
                    <a:lnTo>
                      <a:pt x="925" y="876"/>
                    </a:lnTo>
                    <a:lnTo>
                      <a:pt x="948" y="878"/>
                    </a:lnTo>
                    <a:lnTo>
                      <a:pt x="970" y="882"/>
                    </a:lnTo>
                    <a:lnTo>
                      <a:pt x="991" y="887"/>
                    </a:lnTo>
                    <a:lnTo>
                      <a:pt x="1011" y="892"/>
                    </a:lnTo>
                    <a:lnTo>
                      <a:pt x="1035" y="896"/>
                    </a:lnTo>
                    <a:lnTo>
                      <a:pt x="1047" y="898"/>
                    </a:lnTo>
                    <a:lnTo>
                      <a:pt x="1060" y="899"/>
                    </a:lnTo>
                    <a:lnTo>
                      <a:pt x="1074" y="900"/>
                    </a:lnTo>
                    <a:lnTo>
                      <a:pt x="1089" y="900"/>
                    </a:lnTo>
                    <a:lnTo>
                      <a:pt x="1091" y="879"/>
                    </a:lnTo>
                    <a:lnTo>
                      <a:pt x="1093" y="865"/>
                    </a:lnTo>
                    <a:lnTo>
                      <a:pt x="1095" y="854"/>
                    </a:lnTo>
                    <a:lnTo>
                      <a:pt x="1096" y="844"/>
                    </a:lnTo>
                    <a:lnTo>
                      <a:pt x="1096" y="840"/>
                    </a:lnTo>
                    <a:lnTo>
                      <a:pt x="1097" y="836"/>
                    </a:lnTo>
                    <a:lnTo>
                      <a:pt x="1099" y="831"/>
                    </a:lnTo>
                    <a:lnTo>
                      <a:pt x="1102" y="827"/>
                    </a:lnTo>
                    <a:lnTo>
                      <a:pt x="1108" y="820"/>
                    </a:lnTo>
                    <a:lnTo>
                      <a:pt x="1116" y="814"/>
                    </a:lnTo>
                    <a:lnTo>
                      <a:pt x="1136" y="802"/>
                    </a:lnTo>
                    <a:lnTo>
                      <a:pt x="1156" y="789"/>
                    </a:lnTo>
                    <a:lnTo>
                      <a:pt x="1156" y="770"/>
                    </a:lnTo>
                    <a:lnTo>
                      <a:pt x="1151" y="769"/>
                    </a:lnTo>
                    <a:lnTo>
                      <a:pt x="1147" y="768"/>
                    </a:lnTo>
                    <a:lnTo>
                      <a:pt x="1143" y="766"/>
                    </a:lnTo>
                    <a:lnTo>
                      <a:pt x="1140" y="764"/>
                    </a:lnTo>
                    <a:lnTo>
                      <a:pt x="1136" y="758"/>
                    </a:lnTo>
                    <a:lnTo>
                      <a:pt x="1132" y="750"/>
                    </a:lnTo>
                    <a:lnTo>
                      <a:pt x="1130" y="734"/>
                    </a:lnTo>
                    <a:lnTo>
                      <a:pt x="1129" y="720"/>
                    </a:lnTo>
                    <a:lnTo>
                      <a:pt x="1121" y="719"/>
                    </a:lnTo>
                    <a:lnTo>
                      <a:pt x="1114" y="717"/>
                    </a:lnTo>
                    <a:lnTo>
                      <a:pt x="1105" y="713"/>
                    </a:lnTo>
                    <a:lnTo>
                      <a:pt x="1096" y="708"/>
                    </a:lnTo>
                    <a:lnTo>
                      <a:pt x="1087" y="701"/>
                    </a:lnTo>
                    <a:lnTo>
                      <a:pt x="1077" y="694"/>
                    </a:lnTo>
                    <a:lnTo>
                      <a:pt x="1069" y="686"/>
                    </a:lnTo>
                    <a:lnTo>
                      <a:pt x="1061" y="678"/>
                    </a:lnTo>
                    <a:lnTo>
                      <a:pt x="1044" y="660"/>
                    </a:lnTo>
                    <a:lnTo>
                      <a:pt x="1031" y="643"/>
                    </a:lnTo>
                    <a:lnTo>
                      <a:pt x="1026" y="635"/>
                    </a:lnTo>
                    <a:lnTo>
                      <a:pt x="1021" y="628"/>
                    </a:lnTo>
                    <a:lnTo>
                      <a:pt x="1018" y="622"/>
                    </a:lnTo>
                    <a:lnTo>
                      <a:pt x="1016" y="616"/>
                    </a:lnTo>
                    <a:lnTo>
                      <a:pt x="1017" y="609"/>
                    </a:lnTo>
                    <a:lnTo>
                      <a:pt x="1018" y="603"/>
                    </a:lnTo>
                    <a:lnTo>
                      <a:pt x="1019" y="598"/>
                    </a:lnTo>
                    <a:lnTo>
                      <a:pt x="1021" y="593"/>
                    </a:lnTo>
                    <a:lnTo>
                      <a:pt x="1027" y="584"/>
                    </a:lnTo>
                    <a:lnTo>
                      <a:pt x="1033" y="576"/>
                    </a:lnTo>
                    <a:lnTo>
                      <a:pt x="1039" y="568"/>
                    </a:lnTo>
                    <a:lnTo>
                      <a:pt x="1044" y="559"/>
                    </a:lnTo>
                    <a:lnTo>
                      <a:pt x="1047" y="553"/>
                    </a:lnTo>
                    <a:lnTo>
                      <a:pt x="1048" y="548"/>
                    </a:lnTo>
                    <a:lnTo>
                      <a:pt x="1049" y="542"/>
                    </a:lnTo>
                    <a:lnTo>
                      <a:pt x="1050" y="536"/>
                    </a:lnTo>
                    <a:lnTo>
                      <a:pt x="1049" y="531"/>
                    </a:lnTo>
                    <a:lnTo>
                      <a:pt x="1048" y="526"/>
                    </a:lnTo>
                    <a:lnTo>
                      <a:pt x="1047" y="522"/>
                    </a:lnTo>
                    <a:lnTo>
                      <a:pt x="1044" y="519"/>
                    </a:lnTo>
                    <a:lnTo>
                      <a:pt x="1041" y="517"/>
                    </a:lnTo>
                    <a:lnTo>
                      <a:pt x="1038" y="515"/>
                    </a:lnTo>
                    <a:lnTo>
                      <a:pt x="1035" y="513"/>
                    </a:lnTo>
                    <a:lnTo>
                      <a:pt x="1030" y="512"/>
                    </a:lnTo>
                    <a:lnTo>
                      <a:pt x="1013" y="511"/>
                    </a:lnTo>
                    <a:lnTo>
                      <a:pt x="996" y="512"/>
                    </a:lnTo>
                    <a:lnTo>
                      <a:pt x="993" y="511"/>
                    </a:lnTo>
                    <a:lnTo>
                      <a:pt x="990" y="510"/>
                    </a:lnTo>
                    <a:lnTo>
                      <a:pt x="986" y="509"/>
                    </a:lnTo>
                    <a:lnTo>
                      <a:pt x="983" y="507"/>
                    </a:lnTo>
                    <a:lnTo>
                      <a:pt x="976" y="501"/>
                    </a:lnTo>
                    <a:lnTo>
                      <a:pt x="971" y="493"/>
                    </a:lnTo>
                    <a:lnTo>
                      <a:pt x="966" y="485"/>
                    </a:lnTo>
                    <a:lnTo>
                      <a:pt x="962" y="475"/>
                    </a:lnTo>
                    <a:lnTo>
                      <a:pt x="958" y="464"/>
                    </a:lnTo>
                    <a:lnTo>
                      <a:pt x="954" y="453"/>
                    </a:lnTo>
                    <a:lnTo>
                      <a:pt x="950" y="429"/>
                    </a:lnTo>
                    <a:lnTo>
                      <a:pt x="946" y="407"/>
                    </a:lnTo>
                    <a:lnTo>
                      <a:pt x="943" y="389"/>
                    </a:lnTo>
                    <a:lnTo>
                      <a:pt x="943" y="375"/>
                    </a:lnTo>
                    <a:lnTo>
                      <a:pt x="940" y="375"/>
                    </a:lnTo>
                    <a:lnTo>
                      <a:pt x="937" y="373"/>
                    </a:lnTo>
                    <a:lnTo>
                      <a:pt x="934" y="371"/>
                    </a:lnTo>
                    <a:lnTo>
                      <a:pt x="931" y="369"/>
                    </a:lnTo>
                    <a:lnTo>
                      <a:pt x="928" y="366"/>
                    </a:lnTo>
                    <a:lnTo>
                      <a:pt x="926" y="363"/>
                    </a:lnTo>
                    <a:lnTo>
                      <a:pt x="924" y="360"/>
                    </a:lnTo>
                    <a:lnTo>
                      <a:pt x="924" y="357"/>
                    </a:lnTo>
                    <a:lnTo>
                      <a:pt x="924" y="354"/>
                    </a:lnTo>
                    <a:lnTo>
                      <a:pt x="925" y="351"/>
                    </a:lnTo>
                    <a:lnTo>
                      <a:pt x="926" y="348"/>
                    </a:lnTo>
                    <a:lnTo>
                      <a:pt x="928" y="345"/>
                    </a:lnTo>
                    <a:lnTo>
                      <a:pt x="934" y="339"/>
                    </a:lnTo>
                    <a:lnTo>
                      <a:pt x="940" y="334"/>
                    </a:lnTo>
                    <a:lnTo>
                      <a:pt x="946" y="328"/>
                    </a:lnTo>
                    <a:lnTo>
                      <a:pt x="951" y="323"/>
                    </a:lnTo>
                    <a:lnTo>
                      <a:pt x="955" y="318"/>
                    </a:lnTo>
                    <a:lnTo>
                      <a:pt x="957" y="314"/>
                    </a:lnTo>
                    <a:lnTo>
                      <a:pt x="958" y="301"/>
                    </a:lnTo>
                    <a:lnTo>
                      <a:pt x="960" y="293"/>
                    </a:lnTo>
                    <a:lnTo>
                      <a:pt x="962" y="285"/>
                    </a:lnTo>
                    <a:lnTo>
                      <a:pt x="963" y="27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0" name="Freeform 257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11065143" y="3531760"/>
                <a:ext cx="247650" cy="228600"/>
              </a:xfrm>
              <a:custGeom>
                <a:avLst/>
                <a:gdLst>
                  <a:gd name="T0" fmla="*/ 2121280121 w 571"/>
                  <a:gd name="T1" fmla="*/ 2147483647 h 443"/>
                  <a:gd name="T2" fmla="*/ 2147483647 w 571"/>
                  <a:gd name="T3" fmla="*/ 2147483647 h 443"/>
                  <a:gd name="T4" fmla="*/ 2147483647 w 571"/>
                  <a:gd name="T5" fmla="*/ 2147483647 h 443"/>
                  <a:gd name="T6" fmla="*/ 2147483647 w 571"/>
                  <a:gd name="T7" fmla="*/ 2147483647 h 443"/>
                  <a:gd name="T8" fmla="*/ 2147483647 w 571"/>
                  <a:gd name="T9" fmla="*/ 2147483647 h 443"/>
                  <a:gd name="T10" fmla="*/ 2147483647 w 571"/>
                  <a:gd name="T11" fmla="*/ 2147483647 h 443"/>
                  <a:gd name="T12" fmla="*/ 2147483647 w 571"/>
                  <a:gd name="T13" fmla="*/ 2147483647 h 443"/>
                  <a:gd name="T14" fmla="*/ 2147483647 w 571"/>
                  <a:gd name="T15" fmla="*/ 2147483647 h 443"/>
                  <a:gd name="T16" fmla="*/ 2147483647 w 571"/>
                  <a:gd name="T17" fmla="*/ 2147483647 h 443"/>
                  <a:gd name="T18" fmla="*/ 2147483647 w 571"/>
                  <a:gd name="T19" fmla="*/ 2147483647 h 443"/>
                  <a:gd name="T20" fmla="*/ 2147483647 w 571"/>
                  <a:gd name="T21" fmla="*/ 2147483647 h 443"/>
                  <a:gd name="T22" fmla="*/ 2147483647 w 571"/>
                  <a:gd name="T23" fmla="*/ 2147483647 h 443"/>
                  <a:gd name="T24" fmla="*/ 2147483647 w 571"/>
                  <a:gd name="T25" fmla="*/ 2147483647 h 443"/>
                  <a:gd name="T26" fmla="*/ 2147483647 w 571"/>
                  <a:gd name="T27" fmla="*/ 2147483647 h 443"/>
                  <a:gd name="T28" fmla="*/ 2147483647 w 571"/>
                  <a:gd name="T29" fmla="*/ 2147483647 h 443"/>
                  <a:gd name="T30" fmla="*/ 2147483647 w 571"/>
                  <a:gd name="T31" fmla="*/ 2147483647 h 443"/>
                  <a:gd name="T32" fmla="*/ 2147483647 w 571"/>
                  <a:gd name="T33" fmla="*/ 2147483647 h 443"/>
                  <a:gd name="T34" fmla="*/ 2147483647 w 571"/>
                  <a:gd name="T35" fmla="*/ 2147483647 h 443"/>
                  <a:gd name="T36" fmla="*/ 2147483647 w 571"/>
                  <a:gd name="T37" fmla="*/ 2147483647 h 443"/>
                  <a:gd name="T38" fmla="*/ 2147483647 w 571"/>
                  <a:gd name="T39" fmla="*/ 2147483647 h 443"/>
                  <a:gd name="T40" fmla="*/ 2147483647 w 571"/>
                  <a:gd name="T41" fmla="*/ 2147483647 h 443"/>
                  <a:gd name="T42" fmla="*/ 2147483647 w 571"/>
                  <a:gd name="T43" fmla="*/ 2147483647 h 443"/>
                  <a:gd name="T44" fmla="*/ 2147483647 w 571"/>
                  <a:gd name="T45" fmla="*/ 2147483647 h 443"/>
                  <a:gd name="T46" fmla="*/ 2147483647 w 571"/>
                  <a:gd name="T47" fmla="*/ 2147483647 h 443"/>
                  <a:gd name="T48" fmla="*/ 2147483647 w 571"/>
                  <a:gd name="T49" fmla="*/ 2147483647 h 443"/>
                  <a:gd name="T50" fmla="*/ 2147483647 w 571"/>
                  <a:gd name="T51" fmla="*/ 2147483647 h 443"/>
                  <a:gd name="T52" fmla="*/ 2147483647 w 571"/>
                  <a:gd name="T53" fmla="*/ 2147483647 h 443"/>
                  <a:gd name="T54" fmla="*/ 2147483647 w 571"/>
                  <a:gd name="T55" fmla="*/ 2147483647 h 443"/>
                  <a:gd name="T56" fmla="*/ 2147483647 w 571"/>
                  <a:gd name="T57" fmla="*/ 2147483647 h 443"/>
                  <a:gd name="T58" fmla="*/ 2147483647 w 571"/>
                  <a:gd name="T59" fmla="*/ 2147483647 h 443"/>
                  <a:gd name="T60" fmla="*/ 2147483647 w 571"/>
                  <a:gd name="T61" fmla="*/ 2147483647 h 443"/>
                  <a:gd name="T62" fmla="*/ 2147483647 w 571"/>
                  <a:gd name="T63" fmla="*/ 2147483647 h 443"/>
                  <a:gd name="T64" fmla="*/ 2147483647 w 571"/>
                  <a:gd name="T65" fmla="*/ 2147483647 h 443"/>
                  <a:gd name="T66" fmla="*/ 2147483647 w 571"/>
                  <a:gd name="T67" fmla="*/ 2147483647 h 443"/>
                  <a:gd name="T68" fmla="*/ 2147483647 w 571"/>
                  <a:gd name="T69" fmla="*/ 2147483647 h 443"/>
                  <a:gd name="T70" fmla="*/ 2147483647 w 571"/>
                  <a:gd name="T71" fmla="*/ 2147483647 h 443"/>
                  <a:gd name="T72" fmla="*/ 2147483647 w 571"/>
                  <a:gd name="T73" fmla="*/ 2147483647 h 443"/>
                  <a:gd name="T74" fmla="*/ 2147483647 w 571"/>
                  <a:gd name="T75" fmla="*/ 2147483647 h 443"/>
                  <a:gd name="T76" fmla="*/ 2147483647 w 571"/>
                  <a:gd name="T77" fmla="*/ 2147483647 h 443"/>
                  <a:gd name="T78" fmla="*/ 2147483647 w 571"/>
                  <a:gd name="T79" fmla="*/ 2147483647 h 443"/>
                  <a:gd name="T80" fmla="*/ 1305272938 w 571"/>
                  <a:gd name="T81" fmla="*/ 2147483647 h 443"/>
                  <a:gd name="T82" fmla="*/ 0 w 571"/>
                  <a:gd name="T83" fmla="*/ 2147483647 h 44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571" h="443">
                    <a:moveTo>
                      <a:pt x="0" y="196"/>
                    </a:moveTo>
                    <a:lnTo>
                      <a:pt x="26" y="190"/>
                    </a:lnTo>
                    <a:lnTo>
                      <a:pt x="33" y="184"/>
                    </a:lnTo>
                    <a:lnTo>
                      <a:pt x="37" y="177"/>
                    </a:lnTo>
                    <a:lnTo>
                      <a:pt x="39" y="171"/>
                    </a:lnTo>
                    <a:lnTo>
                      <a:pt x="41" y="164"/>
                    </a:lnTo>
                    <a:lnTo>
                      <a:pt x="41" y="149"/>
                    </a:lnTo>
                    <a:lnTo>
                      <a:pt x="39" y="129"/>
                    </a:lnTo>
                    <a:lnTo>
                      <a:pt x="41" y="124"/>
                    </a:lnTo>
                    <a:lnTo>
                      <a:pt x="44" y="120"/>
                    </a:lnTo>
                    <a:lnTo>
                      <a:pt x="49" y="116"/>
                    </a:lnTo>
                    <a:lnTo>
                      <a:pt x="55" y="112"/>
                    </a:lnTo>
                    <a:lnTo>
                      <a:pt x="61" y="109"/>
                    </a:lnTo>
                    <a:lnTo>
                      <a:pt x="68" y="107"/>
                    </a:lnTo>
                    <a:lnTo>
                      <a:pt x="75" y="105"/>
                    </a:lnTo>
                    <a:lnTo>
                      <a:pt x="80" y="104"/>
                    </a:lnTo>
                    <a:lnTo>
                      <a:pt x="92" y="105"/>
                    </a:lnTo>
                    <a:lnTo>
                      <a:pt x="103" y="106"/>
                    </a:lnTo>
                    <a:lnTo>
                      <a:pt x="114" y="107"/>
                    </a:lnTo>
                    <a:lnTo>
                      <a:pt x="124" y="109"/>
                    </a:lnTo>
                    <a:lnTo>
                      <a:pt x="142" y="113"/>
                    </a:lnTo>
                    <a:lnTo>
                      <a:pt x="158" y="120"/>
                    </a:lnTo>
                    <a:lnTo>
                      <a:pt x="172" y="127"/>
                    </a:lnTo>
                    <a:lnTo>
                      <a:pt x="184" y="135"/>
                    </a:lnTo>
                    <a:lnTo>
                      <a:pt x="195" y="145"/>
                    </a:lnTo>
                    <a:lnTo>
                      <a:pt x="206" y="154"/>
                    </a:lnTo>
                    <a:lnTo>
                      <a:pt x="227" y="127"/>
                    </a:lnTo>
                    <a:lnTo>
                      <a:pt x="254" y="92"/>
                    </a:lnTo>
                    <a:lnTo>
                      <a:pt x="276" y="62"/>
                    </a:lnTo>
                    <a:lnTo>
                      <a:pt x="285" y="49"/>
                    </a:lnTo>
                    <a:lnTo>
                      <a:pt x="538" y="0"/>
                    </a:lnTo>
                    <a:lnTo>
                      <a:pt x="538" y="43"/>
                    </a:lnTo>
                    <a:lnTo>
                      <a:pt x="548" y="60"/>
                    </a:lnTo>
                    <a:lnTo>
                      <a:pt x="557" y="78"/>
                    </a:lnTo>
                    <a:lnTo>
                      <a:pt x="560" y="87"/>
                    </a:lnTo>
                    <a:lnTo>
                      <a:pt x="562" y="98"/>
                    </a:lnTo>
                    <a:lnTo>
                      <a:pt x="564" y="110"/>
                    </a:lnTo>
                    <a:lnTo>
                      <a:pt x="564" y="123"/>
                    </a:lnTo>
                    <a:lnTo>
                      <a:pt x="565" y="136"/>
                    </a:lnTo>
                    <a:lnTo>
                      <a:pt x="568" y="151"/>
                    </a:lnTo>
                    <a:lnTo>
                      <a:pt x="570" y="164"/>
                    </a:lnTo>
                    <a:lnTo>
                      <a:pt x="571" y="178"/>
                    </a:lnTo>
                    <a:lnTo>
                      <a:pt x="568" y="180"/>
                    </a:lnTo>
                    <a:lnTo>
                      <a:pt x="564" y="180"/>
                    </a:lnTo>
                    <a:lnTo>
                      <a:pt x="563" y="179"/>
                    </a:lnTo>
                    <a:lnTo>
                      <a:pt x="562" y="179"/>
                    </a:lnTo>
                    <a:lnTo>
                      <a:pt x="561" y="179"/>
                    </a:lnTo>
                    <a:lnTo>
                      <a:pt x="558" y="184"/>
                    </a:lnTo>
                    <a:lnTo>
                      <a:pt x="553" y="196"/>
                    </a:lnTo>
                    <a:lnTo>
                      <a:pt x="548" y="207"/>
                    </a:lnTo>
                    <a:lnTo>
                      <a:pt x="541" y="217"/>
                    </a:lnTo>
                    <a:lnTo>
                      <a:pt x="534" y="225"/>
                    </a:lnTo>
                    <a:lnTo>
                      <a:pt x="525" y="232"/>
                    </a:lnTo>
                    <a:lnTo>
                      <a:pt x="515" y="239"/>
                    </a:lnTo>
                    <a:lnTo>
                      <a:pt x="505" y="244"/>
                    </a:lnTo>
                    <a:lnTo>
                      <a:pt x="494" y="249"/>
                    </a:lnTo>
                    <a:lnTo>
                      <a:pt x="449" y="267"/>
                    </a:lnTo>
                    <a:lnTo>
                      <a:pt x="405" y="283"/>
                    </a:lnTo>
                    <a:lnTo>
                      <a:pt x="374" y="296"/>
                    </a:lnTo>
                    <a:lnTo>
                      <a:pt x="347" y="307"/>
                    </a:lnTo>
                    <a:lnTo>
                      <a:pt x="321" y="318"/>
                    </a:lnTo>
                    <a:lnTo>
                      <a:pt x="295" y="328"/>
                    </a:lnTo>
                    <a:lnTo>
                      <a:pt x="270" y="337"/>
                    </a:lnTo>
                    <a:lnTo>
                      <a:pt x="245" y="345"/>
                    </a:lnTo>
                    <a:lnTo>
                      <a:pt x="216" y="354"/>
                    </a:lnTo>
                    <a:lnTo>
                      <a:pt x="186" y="363"/>
                    </a:lnTo>
                    <a:lnTo>
                      <a:pt x="177" y="366"/>
                    </a:lnTo>
                    <a:lnTo>
                      <a:pt x="167" y="371"/>
                    </a:lnTo>
                    <a:lnTo>
                      <a:pt x="158" y="376"/>
                    </a:lnTo>
                    <a:lnTo>
                      <a:pt x="149" y="381"/>
                    </a:lnTo>
                    <a:lnTo>
                      <a:pt x="134" y="392"/>
                    </a:lnTo>
                    <a:lnTo>
                      <a:pt x="119" y="403"/>
                    </a:lnTo>
                    <a:lnTo>
                      <a:pt x="105" y="414"/>
                    </a:lnTo>
                    <a:lnTo>
                      <a:pt x="92" y="426"/>
                    </a:lnTo>
                    <a:lnTo>
                      <a:pt x="79" y="435"/>
                    </a:lnTo>
                    <a:lnTo>
                      <a:pt x="67" y="443"/>
                    </a:lnTo>
                    <a:lnTo>
                      <a:pt x="58" y="410"/>
                    </a:lnTo>
                    <a:lnTo>
                      <a:pt x="50" y="378"/>
                    </a:lnTo>
                    <a:lnTo>
                      <a:pt x="42" y="345"/>
                    </a:lnTo>
                    <a:lnTo>
                      <a:pt x="33" y="313"/>
                    </a:lnTo>
                    <a:lnTo>
                      <a:pt x="24" y="282"/>
                    </a:lnTo>
                    <a:lnTo>
                      <a:pt x="16" y="251"/>
                    </a:lnTo>
                    <a:lnTo>
                      <a:pt x="8" y="223"/>
                    </a:lnTo>
                    <a:lnTo>
                      <a:pt x="0" y="19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1" name="Freeform 258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11260405" y="3306335"/>
                <a:ext cx="120650" cy="120650"/>
              </a:xfrm>
              <a:custGeom>
                <a:avLst/>
                <a:gdLst>
                  <a:gd name="T0" fmla="*/ 0 w 286"/>
                  <a:gd name="T1" fmla="*/ 2147483647 h 228"/>
                  <a:gd name="T2" fmla="*/ 300218542 w 286"/>
                  <a:gd name="T3" fmla="*/ 2147483647 h 228"/>
                  <a:gd name="T4" fmla="*/ 525515964 w 286"/>
                  <a:gd name="T5" fmla="*/ 2147483647 h 228"/>
                  <a:gd name="T6" fmla="*/ 750813387 w 286"/>
                  <a:gd name="T7" fmla="*/ 2147483647 h 228"/>
                  <a:gd name="T8" fmla="*/ 825734928 w 286"/>
                  <a:gd name="T9" fmla="*/ 2147483647 h 228"/>
                  <a:gd name="T10" fmla="*/ 900834069 w 286"/>
                  <a:gd name="T11" fmla="*/ 2147483647 h 228"/>
                  <a:gd name="T12" fmla="*/ 975933210 w 286"/>
                  <a:gd name="T13" fmla="*/ 2147483647 h 228"/>
                  <a:gd name="T14" fmla="*/ 1051032351 w 286"/>
                  <a:gd name="T15" fmla="*/ 2147483647 h 228"/>
                  <a:gd name="T16" fmla="*/ 1201230632 w 286"/>
                  <a:gd name="T17" fmla="*/ 2147483647 h 228"/>
                  <a:gd name="T18" fmla="*/ 1426350033 w 286"/>
                  <a:gd name="T19" fmla="*/ 2147483647 h 228"/>
                  <a:gd name="T20" fmla="*/ 1801667716 w 286"/>
                  <a:gd name="T21" fmla="*/ 2147483647 h 228"/>
                  <a:gd name="T22" fmla="*/ 2147483647 w 286"/>
                  <a:gd name="T23" fmla="*/ 2147483647 h 228"/>
                  <a:gd name="T24" fmla="*/ 2147483647 w 286"/>
                  <a:gd name="T25" fmla="*/ 2147483647 h 228"/>
                  <a:gd name="T26" fmla="*/ 2147483647 w 286"/>
                  <a:gd name="T27" fmla="*/ 2147483647 h 228"/>
                  <a:gd name="T28" fmla="*/ 2147483647 w 286"/>
                  <a:gd name="T29" fmla="*/ 2147483647 h 228"/>
                  <a:gd name="T30" fmla="*/ 2147483647 w 286"/>
                  <a:gd name="T31" fmla="*/ 2147483647 h 228"/>
                  <a:gd name="T32" fmla="*/ 2147483647 w 286"/>
                  <a:gd name="T33" fmla="*/ 2147483647 h 228"/>
                  <a:gd name="T34" fmla="*/ 2147483647 w 286"/>
                  <a:gd name="T35" fmla="*/ 2147483647 h 228"/>
                  <a:gd name="T36" fmla="*/ 2147483647 w 286"/>
                  <a:gd name="T37" fmla="*/ 2147483647 h 228"/>
                  <a:gd name="T38" fmla="*/ 2147483647 w 286"/>
                  <a:gd name="T39" fmla="*/ 2147483647 h 228"/>
                  <a:gd name="T40" fmla="*/ 2147483647 w 286"/>
                  <a:gd name="T41" fmla="*/ 2147483647 h 228"/>
                  <a:gd name="T42" fmla="*/ 2147483647 w 286"/>
                  <a:gd name="T43" fmla="*/ 2147483647 h 228"/>
                  <a:gd name="T44" fmla="*/ 2147483647 w 286"/>
                  <a:gd name="T45" fmla="*/ 2147483647 h 228"/>
                  <a:gd name="T46" fmla="*/ 2147483647 w 286"/>
                  <a:gd name="T47" fmla="*/ 2147483647 h 228"/>
                  <a:gd name="T48" fmla="*/ 2147483647 w 286"/>
                  <a:gd name="T49" fmla="*/ 2147483647 h 228"/>
                  <a:gd name="T50" fmla="*/ 2147483647 w 286"/>
                  <a:gd name="T51" fmla="*/ 2147483647 h 228"/>
                  <a:gd name="T52" fmla="*/ 2147483647 w 286"/>
                  <a:gd name="T53" fmla="*/ 2147483647 h 228"/>
                  <a:gd name="T54" fmla="*/ 2147483647 w 286"/>
                  <a:gd name="T55" fmla="*/ 2147483647 h 228"/>
                  <a:gd name="T56" fmla="*/ 2147483647 w 286"/>
                  <a:gd name="T57" fmla="*/ 0 h 228"/>
                  <a:gd name="T58" fmla="*/ 2147483647 w 286"/>
                  <a:gd name="T59" fmla="*/ 1037184129 h 228"/>
                  <a:gd name="T60" fmla="*/ 2147483647 w 286"/>
                  <a:gd name="T61" fmla="*/ 1926239692 h 228"/>
                  <a:gd name="T62" fmla="*/ 2147483647 w 286"/>
                  <a:gd name="T63" fmla="*/ 2147483647 h 228"/>
                  <a:gd name="T64" fmla="*/ 2147483647 w 286"/>
                  <a:gd name="T65" fmla="*/ 2147483647 h 228"/>
                  <a:gd name="T66" fmla="*/ 2147483647 w 286"/>
                  <a:gd name="T67" fmla="*/ 2147483647 h 228"/>
                  <a:gd name="T68" fmla="*/ 2147483647 w 286"/>
                  <a:gd name="T69" fmla="*/ 2147483647 h 228"/>
                  <a:gd name="T70" fmla="*/ 2147483647 w 286"/>
                  <a:gd name="T71" fmla="*/ 2147483647 h 228"/>
                  <a:gd name="T72" fmla="*/ 2147483647 w 286"/>
                  <a:gd name="T73" fmla="*/ 2147483647 h 228"/>
                  <a:gd name="T74" fmla="*/ 2147483647 w 286"/>
                  <a:gd name="T75" fmla="*/ 2147483647 h 228"/>
                  <a:gd name="T76" fmla="*/ 0 w 286"/>
                  <a:gd name="T77" fmla="*/ 2147483647 h 22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86" h="228">
                    <a:moveTo>
                      <a:pt x="0" y="111"/>
                    </a:moveTo>
                    <a:lnTo>
                      <a:pt x="4" y="109"/>
                    </a:lnTo>
                    <a:lnTo>
                      <a:pt x="7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2" y="117"/>
                    </a:lnTo>
                    <a:lnTo>
                      <a:pt x="13" y="123"/>
                    </a:lnTo>
                    <a:lnTo>
                      <a:pt x="14" y="128"/>
                    </a:lnTo>
                    <a:lnTo>
                      <a:pt x="16" y="131"/>
                    </a:lnTo>
                    <a:lnTo>
                      <a:pt x="19" y="134"/>
                    </a:lnTo>
                    <a:lnTo>
                      <a:pt x="24" y="136"/>
                    </a:lnTo>
                    <a:lnTo>
                      <a:pt x="29" y="137"/>
                    </a:lnTo>
                    <a:lnTo>
                      <a:pt x="37" y="138"/>
                    </a:lnTo>
                    <a:lnTo>
                      <a:pt x="48" y="138"/>
                    </a:lnTo>
                    <a:lnTo>
                      <a:pt x="60" y="136"/>
                    </a:lnTo>
                    <a:lnTo>
                      <a:pt x="98" y="130"/>
                    </a:lnTo>
                    <a:lnTo>
                      <a:pt x="129" y="122"/>
                    </a:lnTo>
                    <a:lnTo>
                      <a:pt x="143" y="118"/>
                    </a:lnTo>
                    <a:lnTo>
                      <a:pt x="156" y="114"/>
                    </a:lnTo>
                    <a:lnTo>
                      <a:pt x="167" y="109"/>
                    </a:lnTo>
                    <a:lnTo>
                      <a:pt x="178" y="103"/>
                    </a:lnTo>
                    <a:lnTo>
                      <a:pt x="188" y="96"/>
                    </a:lnTo>
                    <a:lnTo>
                      <a:pt x="198" y="87"/>
                    </a:lnTo>
                    <a:lnTo>
                      <a:pt x="208" y="78"/>
                    </a:lnTo>
                    <a:lnTo>
                      <a:pt x="219" y="65"/>
                    </a:lnTo>
                    <a:lnTo>
                      <a:pt x="229" y="52"/>
                    </a:lnTo>
                    <a:lnTo>
                      <a:pt x="241" y="37"/>
                    </a:lnTo>
                    <a:lnTo>
                      <a:pt x="253" y="20"/>
                    </a:lnTo>
                    <a:lnTo>
                      <a:pt x="266" y="0"/>
                    </a:lnTo>
                    <a:lnTo>
                      <a:pt x="270" y="7"/>
                    </a:lnTo>
                    <a:lnTo>
                      <a:pt x="274" y="13"/>
                    </a:lnTo>
                    <a:lnTo>
                      <a:pt x="276" y="20"/>
                    </a:lnTo>
                    <a:lnTo>
                      <a:pt x="279" y="27"/>
                    </a:lnTo>
                    <a:lnTo>
                      <a:pt x="282" y="42"/>
                    </a:lnTo>
                    <a:lnTo>
                      <a:pt x="286" y="62"/>
                    </a:lnTo>
                    <a:lnTo>
                      <a:pt x="246" y="198"/>
                    </a:lnTo>
                    <a:lnTo>
                      <a:pt x="226" y="228"/>
                    </a:lnTo>
                    <a:lnTo>
                      <a:pt x="53" y="210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2" name="Freeform 259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10947668" y="2958672"/>
                <a:ext cx="222250" cy="263525"/>
              </a:xfrm>
              <a:custGeom>
                <a:avLst/>
                <a:gdLst>
                  <a:gd name="T0" fmla="*/ 2147483647 w 524"/>
                  <a:gd name="T1" fmla="*/ 2147483647 h 505"/>
                  <a:gd name="T2" fmla="*/ 2147483647 w 524"/>
                  <a:gd name="T3" fmla="*/ 2147483647 h 505"/>
                  <a:gd name="T4" fmla="*/ 2147483647 w 524"/>
                  <a:gd name="T5" fmla="*/ 2147483647 h 505"/>
                  <a:gd name="T6" fmla="*/ 2147483647 w 524"/>
                  <a:gd name="T7" fmla="*/ 2147483647 h 505"/>
                  <a:gd name="T8" fmla="*/ 2147483647 w 524"/>
                  <a:gd name="T9" fmla="*/ 2147483647 h 505"/>
                  <a:gd name="T10" fmla="*/ 2147483647 w 524"/>
                  <a:gd name="T11" fmla="*/ 2147483647 h 505"/>
                  <a:gd name="T12" fmla="*/ 2147483647 w 524"/>
                  <a:gd name="T13" fmla="*/ 2147483647 h 505"/>
                  <a:gd name="T14" fmla="*/ 2147483647 w 524"/>
                  <a:gd name="T15" fmla="*/ 2147483647 h 505"/>
                  <a:gd name="T16" fmla="*/ 2147483647 w 524"/>
                  <a:gd name="T17" fmla="*/ 2147483647 h 505"/>
                  <a:gd name="T18" fmla="*/ 2147483647 w 524"/>
                  <a:gd name="T19" fmla="*/ 2147483647 h 505"/>
                  <a:gd name="T20" fmla="*/ 2147483647 w 524"/>
                  <a:gd name="T21" fmla="*/ 2147483647 h 505"/>
                  <a:gd name="T22" fmla="*/ 2147483647 w 524"/>
                  <a:gd name="T23" fmla="*/ 2147483647 h 505"/>
                  <a:gd name="T24" fmla="*/ 2147483647 w 524"/>
                  <a:gd name="T25" fmla="*/ 2147483647 h 505"/>
                  <a:gd name="T26" fmla="*/ 2147483647 w 524"/>
                  <a:gd name="T27" fmla="*/ 2147483647 h 505"/>
                  <a:gd name="T28" fmla="*/ 2147483647 w 524"/>
                  <a:gd name="T29" fmla="*/ 2147483647 h 505"/>
                  <a:gd name="T30" fmla="*/ 2147483647 w 524"/>
                  <a:gd name="T31" fmla="*/ 2147483647 h 505"/>
                  <a:gd name="T32" fmla="*/ 2147483647 w 524"/>
                  <a:gd name="T33" fmla="*/ 2147483647 h 505"/>
                  <a:gd name="T34" fmla="*/ 2147483647 w 524"/>
                  <a:gd name="T35" fmla="*/ 2147483647 h 505"/>
                  <a:gd name="T36" fmla="*/ 2147483647 w 524"/>
                  <a:gd name="T37" fmla="*/ 2147483647 h 505"/>
                  <a:gd name="T38" fmla="*/ 2147483647 w 524"/>
                  <a:gd name="T39" fmla="*/ 2147483647 h 505"/>
                  <a:gd name="T40" fmla="*/ 2147483647 w 524"/>
                  <a:gd name="T41" fmla="*/ 2147483647 h 505"/>
                  <a:gd name="T42" fmla="*/ 2147483647 w 524"/>
                  <a:gd name="T43" fmla="*/ 2147483647 h 505"/>
                  <a:gd name="T44" fmla="*/ 2147483647 w 524"/>
                  <a:gd name="T45" fmla="*/ 1563049746 h 505"/>
                  <a:gd name="T46" fmla="*/ 2147483647 w 524"/>
                  <a:gd name="T47" fmla="*/ 852597305 h 505"/>
                  <a:gd name="T48" fmla="*/ 2147483647 w 524"/>
                  <a:gd name="T49" fmla="*/ 426162715 h 505"/>
                  <a:gd name="T50" fmla="*/ 2147483647 w 524"/>
                  <a:gd name="T51" fmla="*/ 1136887031 h 505"/>
                  <a:gd name="T52" fmla="*/ 2147483647 w 524"/>
                  <a:gd name="T53" fmla="*/ 2147483647 h 505"/>
                  <a:gd name="T54" fmla="*/ 2147483647 w 524"/>
                  <a:gd name="T55" fmla="*/ 2147483647 h 505"/>
                  <a:gd name="T56" fmla="*/ 2147483647 w 524"/>
                  <a:gd name="T57" fmla="*/ 2147483647 h 505"/>
                  <a:gd name="T58" fmla="*/ 2147483647 w 524"/>
                  <a:gd name="T59" fmla="*/ 2147483647 h 505"/>
                  <a:gd name="T60" fmla="*/ 2147483647 w 524"/>
                  <a:gd name="T61" fmla="*/ 2147483647 h 505"/>
                  <a:gd name="T62" fmla="*/ 2147483647 w 524"/>
                  <a:gd name="T63" fmla="*/ 2147483647 h 505"/>
                  <a:gd name="T64" fmla="*/ 2147483647 w 524"/>
                  <a:gd name="T65" fmla="*/ 2147483647 h 505"/>
                  <a:gd name="T66" fmla="*/ 2147483647 w 524"/>
                  <a:gd name="T67" fmla="*/ 2147483647 h 505"/>
                  <a:gd name="T68" fmla="*/ 2147483647 w 524"/>
                  <a:gd name="T69" fmla="*/ 2147483647 h 505"/>
                  <a:gd name="T70" fmla="*/ 991945437 w 524"/>
                  <a:gd name="T71" fmla="*/ 2147483647 h 505"/>
                  <a:gd name="T72" fmla="*/ 152551721 w 524"/>
                  <a:gd name="T73" fmla="*/ 2147483647 h 505"/>
                  <a:gd name="T74" fmla="*/ 152551721 w 524"/>
                  <a:gd name="T75" fmla="*/ 2147483647 h 505"/>
                  <a:gd name="T76" fmla="*/ 0 w 524"/>
                  <a:gd name="T77" fmla="*/ 2147483647 h 505"/>
                  <a:gd name="T78" fmla="*/ 0 w 524"/>
                  <a:gd name="T79" fmla="*/ 2147483647 h 505"/>
                  <a:gd name="T80" fmla="*/ 534110437 w 524"/>
                  <a:gd name="T81" fmla="*/ 2147483647 h 505"/>
                  <a:gd name="T82" fmla="*/ 1983890449 w 524"/>
                  <a:gd name="T83" fmla="*/ 2147483647 h 505"/>
                  <a:gd name="T84" fmla="*/ 2147483647 w 524"/>
                  <a:gd name="T85" fmla="*/ 2147483647 h 505"/>
                  <a:gd name="T86" fmla="*/ 2147483647 w 524"/>
                  <a:gd name="T87" fmla="*/ 2147483647 h 505"/>
                  <a:gd name="T88" fmla="*/ 2147483647 w 524"/>
                  <a:gd name="T89" fmla="*/ 2147483647 h 505"/>
                  <a:gd name="T90" fmla="*/ 2147483647 w 524"/>
                  <a:gd name="T91" fmla="*/ 2147483647 h 505"/>
                  <a:gd name="T92" fmla="*/ 2147483647 w 524"/>
                  <a:gd name="T93" fmla="*/ 2147483647 h 505"/>
                  <a:gd name="T94" fmla="*/ 2147483647 w 524"/>
                  <a:gd name="T95" fmla="*/ 2147483647 h 505"/>
                  <a:gd name="T96" fmla="*/ 2147483647 w 524"/>
                  <a:gd name="T97" fmla="*/ 2147483647 h 505"/>
                  <a:gd name="T98" fmla="*/ 2147483647 w 524"/>
                  <a:gd name="T99" fmla="*/ 2147483647 h 505"/>
                  <a:gd name="T100" fmla="*/ 2147483647 w 524"/>
                  <a:gd name="T101" fmla="*/ 2147483647 h 505"/>
                  <a:gd name="T102" fmla="*/ 2147483647 w 524"/>
                  <a:gd name="T103" fmla="*/ 2147483647 h 505"/>
                  <a:gd name="T104" fmla="*/ 2147483647 w 524"/>
                  <a:gd name="T105" fmla="*/ 2147483647 h 505"/>
                  <a:gd name="T106" fmla="*/ 2147483647 w 524"/>
                  <a:gd name="T107" fmla="*/ 2147483647 h 505"/>
                  <a:gd name="T108" fmla="*/ 2147483647 w 524"/>
                  <a:gd name="T109" fmla="*/ 2147483647 h 505"/>
                  <a:gd name="T110" fmla="*/ 2147483647 w 524"/>
                  <a:gd name="T111" fmla="*/ 2147483647 h 505"/>
                  <a:gd name="T112" fmla="*/ 2147483647 w 524"/>
                  <a:gd name="T113" fmla="*/ 2147483647 h 505"/>
                  <a:gd name="T114" fmla="*/ 2147483647 w 524"/>
                  <a:gd name="T115" fmla="*/ 2147483647 h 505"/>
                  <a:gd name="T116" fmla="*/ 2147483647 w 524"/>
                  <a:gd name="T117" fmla="*/ 2147483647 h 505"/>
                  <a:gd name="T118" fmla="*/ 2147483647 w 524"/>
                  <a:gd name="T119" fmla="*/ 2147483647 h 505"/>
                  <a:gd name="T120" fmla="*/ 2147483647 w 524"/>
                  <a:gd name="T121" fmla="*/ 2147483647 h 505"/>
                  <a:gd name="T122" fmla="*/ 2147483647 w 524"/>
                  <a:gd name="T123" fmla="*/ 2147483647 h 5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24" h="505">
                    <a:moveTo>
                      <a:pt x="524" y="419"/>
                    </a:moveTo>
                    <a:lnTo>
                      <a:pt x="478" y="370"/>
                    </a:lnTo>
                    <a:lnTo>
                      <a:pt x="482" y="357"/>
                    </a:lnTo>
                    <a:lnTo>
                      <a:pt x="484" y="346"/>
                    </a:lnTo>
                    <a:lnTo>
                      <a:pt x="484" y="336"/>
                    </a:lnTo>
                    <a:lnTo>
                      <a:pt x="483" y="329"/>
                    </a:lnTo>
                    <a:lnTo>
                      <a:pt x="479" y="315"/>
                    </a:lnTo>
                    <a:lnTo>
                      <a:pt x="478" y="302"/>
                    </a:lnTo>
                    <a:lnTo>
                      <a:pt x="466" y="301"/>
                    </a:lnTo>
                    <a:lnTo>
                      <a:pt x="455" y="299"/>
                    </a:lnTo>
                    <a:lnTo>
                      <a:pt x="443" y="295"/>
                    </a:lnTo>
                    <a:lnTo>
                      <a:pt x="431" y="288"/>
                    </a:lnTo>
                    <a:lnTo>
                      <a:pt x="419" y="282"/>
                    </a:lnTo>
                    <a:lnTo>
                      <a:pt x="407" y="274"/>
                    </a:lnTo>
                    <a:lnTo>
                      <a:pt x="396" y="266"/>
                    </a:lnTo>
                    <a:lnTo>
                      <a:pt x="386" y="256"/>
                    </a:lnTo>
                    <a:lnTo>
                      <a:pt x="376" y="247"/>
                    </a:lnTo>
                    <a:lnTo>
                      <a:pt x="366" y="237"/>
                    </a:lnTo>
                    <a:lnTo>
                      <a:pt x="359" y="226"/>
                    </a:lnTo>
                    <a:lnTo>
                      <a:pt x="352" y="216"/>
                    </a:lnTo>
                    <a:lnTo>
                      <a:pt x="347" y="206"/>
                    </a:lnTo>
                    <a:lnTo>
                      <a:pt x="342" y="196"/>
                    </a:lnTo>
                    <a:lnTo>
                      <a:pt x="339" y="187"/>
                    </a:lnTo>
                    <a:lnTo>
                      <a:pt x="339" y="178"/>
                    </a:lnTo>
                    <a:lnTo>
                      <a:pt x="339" y="170"/>
                    </a:lnTo>
                    <a:lnTo>
                      <a:pt x="341" y="162"/>
                    </a:lnTo>
                    <a:lnTo>
                      <a:pt x="346" y="156"/>
                    </a:lnTo>
                    <a:lnTo>
                      <a:pt x="349" y="150"/>
                    </a:lnTo>
                    <a:lnTo>
                      <a:pt x="358" y="142"/>
                    </a:lnTo>
                    <a:lnTo>
                      <a:pt x="365" y="136"/>
                    </a:lnTo>
                    <a:lnTo>
                      <a:pt x="360" y="134"/>
                    </a:lnTo>
                    <a:lnTo>
                      <a:pt x="354" y="130"/>
                    </a:lnTo>
                    <a:lnTo>
                      <a:pt x="348" y="126"/>
                    </a:lnTo>
                    <a:lnTo>
                      <a:pt x="341" y="119"/>
                    </a:lnTo>
                    <a:lnTo>
                      <a:pt x="328" y="104"/>
                    </a:lnTo>
                    <a:lnTo>
                      <a:pt x="315" y="87"/>
                    </a:lnTo>
                    <a:lnTo>
                      <a:pt x="302" y="69"/>
                    </a:lnTo>
                    <a:lnTo>
                      <a:pt x="292" y="51"/>
                    </a:lnTo>
                    <a:lnTo>
                      <a:pt x="283" y="36"/>
                    </a:lnTo>
                    <a:lnTo>
                      <a:pt x="279" y="25"/>
                    </a:lnTo>
                    <a:lnTo>
                      <a:pt x="272" y="25"/>
                    </a:lnTo>
                    <a:lnTo>
                      <a:pt x="260" y="24"/>
                    </a:lnTo>
                    <a:lnTo>
                      <a:pt x="249" y="22"/>
                    </a:lnTo>
                    <a:lnTo>
                      <a:pt x="239" y="19"/>
                    </a:lnTo>
                    <a:lnTo>
                      <a:pt x="229" y="16"/>
                    </a:lnTo>
                    <a:lnTo>
                      <a:pt x="219" y="11"/>
                    </a:lnTo>
                    <a:lnTo>
                      <a:pt x="208" y="9"/>
                    </a:lnTo>
                    <a:lnTo>
                      <a:pt x="197" y="6"/>
                    </a:lnTo>
                    <a:lnTo>
                      <a:pt x="185" y="6"/>
                    </a:lnTo>
                    <a:lnTo>
                      <a:pt x="170" y="3"/>
                    </a:lnTo>
                    <a:lnTo>
                      <a:pt x="159" y="0"/>
                    </a:lnTo>
                    <a:lnTo>
                      <a:pt x="149" y="8"/>
                    </a:lnTo>
                    <a:lnTo>
                      <a:pt x="126" y="29"/>
                    </a:lnTo>
                    <a:lnTo>
                      <a:pt x="114" y="41"/>
                    </a:lnTo>
                    <a:lnTo>
                      <a:pt x="103" y="52"/>
                    </a:lnTo>
                    <a:lnTo>
                      <a:pt x="98" y="57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3" y="68"/>
                    </a:lnTo>
                    <a:lnTo>
                      <a:pt x="94" y="94"/>
                    </a:lnTo>
                    <a:lnTo>
                      <a:pt x="95" y="125"/>
                    </a:lnTo>
                    <a:lnTo>
                      <a:pt x="95" y="140"/>
                    </a:lnTo>
                    <a:lnTo>
                      <a:pt x="95" y="153"/>
                    </a:lnTo>
                    <a:lnTo>
                      <a:pt x="94" y="164"/>
                    </a:lnTo>
                    <a:lnTo>
                      <a:pt x="93" y="172"/>
                    </a:lnTo>
                    <a:lnTo>
                      <a:pt x="86" y="180"/>
                    </a:lnTo>
                    <a:lnTo>
                      <a:pt x="78" y="188"/>
                    </a:lnTo>
                    <a:lnTo>
                      <a:pt x="67" y="197"/>
                    </a:lnTo>
                    <a:lnTo>
                      <a:pt x="53" y="206"/>
                    </a:lnTo>
                    <a:lnTo>
                      <a:pt x="40" y="214"/>
                    </a:lnTo>
                    <a:lnTo>
                      <a:pt x="26" y="222"/>
                    </a:lnTo>
                    <a:lnTo>
                      <a:pt x="13" y="228"/>
                    </a:lnTo>
                    <a:lnTo>
                      <a:pt x="0" y="235"/>
                    </a:lnTo>
                    <a:lnTo>
                      <a:pt x="2" y="246"/>
                    </a:lnTo>
                    <a:lnTo>
                      <a:pt x="3" y="256"/>
                    </a:lnTo>
                    <a:lnTo>
                      <a:pt x="2" y="264"/>
                    </a:lnTo>
                    <a:lnTo>
                      <a:pt x="1" y="272"/>
                    </a:lnTo>
                    <a:lnTo>
                      <a:pt x="0" y="278"/>
                    </a:lnTo>
                    <a:lnTo>
                      <a:pt x="0" y="284"/>
                    </a:lnTo>
                    <a:lnTo>
                      <a:pt x="0" y="289"/>
                    </a:lnTo>
                    <a:lnTo>
                      <a:pt x="2" y="295"/>
                    </a:lnTo>
                    <a:lnTo>
                      <a:pt x="7" y="301"/>
                    </a:lnTo>
                    <a:lnTo>
                      <a:pt x="15" y="307"/>
                    </a:lnTo>
                    <a:lnTo>
                      <a:pt x="26" y="314"/>
                    </a:lnTo>
                    <a:lnTo>
                      <a:pt x="41" y="321"/>
                    </a:lnTo>
                    <a:lnTo>
                      <a:pt x="62" y="331"/>
                    </a:lnTo>
                    <a:lnTo>
                      <a:pt x="89" y="341"/>
                    </a:lnTo>
                    <a:lnTo>
                      <a:pt x="120" y="355"/>
                    </a:lnTo>
                    <a:lnTo>
                      <a:pt x="159" y="370"/>
                    </a:lnTo>
                    <a:lnTo>
                      <a:pt x="180" y="374"/>
                    </a:lnTo>
                    <a:lnTo>
                      <a:pt x="198" y="379"/>
                    </a:lnTo>
                    <a:lnTo>
                      <a:pt x="214" y="385"/>
                    </a:lnTo>
                    <a:lnTo>
                      <a:pt x="226" y="393"/>
                    </a:lnTo>
                    <a:lnTo>
                      <a:pt x="237" y="400"/>
                    </a:lnTo>
                    <a:lnTo>
                      <a:pt x="246" y="410"/>
                    </a:lnTo>
                    <a:lnTo>
                      <a:pt x="252" y="418"/>
                    </a:lnTo>
                    <a:lnTo>
                      <a:pt x="258" y="427"/>
                    </a:lnTo>
                    <a:lnTo>
                      <a:pt x="262" y="435"/>
                    </a:lnTo>
                    <a:lnTo>
                      <a:pt x="265" y="443"/>
                    </a:lnTo>
                    <a:lnTo>
                      <a:pt x="266" y="451"/>
                    </a:lnTo>
                    <a:lnTo>
                      <a:pt x="269" y="458"/>
                    </a:lnTo>
                    <a:lnTo>
                      <a:pt x="270" y="469"/>
                    </a:lnTo>
                    <a:lnTo>
                      <a:pt x="272" y="475"/>
                    </a:lnTo>
                    <a:lnTo>
                      <a:pt x="277" y="481"/>
                    </a:lnTo>
                    <a:lnTo>
                      <a:pt x="282" y="485"/>
                    </a:lnTo>
                    <a:lnTo>
                      <a:pt x="287" y="489"/>
                    </a:lnTo>
                    <a:lnTo>
                      <a:pt x="294" y="492"/>
                    </a:lnTo>
                    <a:lnTo>
                      <a:pt x="307" y="497"/>
                    </a:lnTo>
                    <a:lnTo>
                      <a:pt x="325" y="505"/>
                    </a:lnTo>
                    <a:lnTo>
                      <a:pt x="328" y="503"/>
                    </a:lnTo>
                    <a:lnTo>
                      <a:pt x="331" y="501"/>
                    </a:lnTo>
                    <a:lnTo>
                      <a:pt x="335" y="500"/>
                    </a:lnTo>
                    <a:lnTo>
                      <a:pt x="338" y="500"/>
                    </a:lnTo>
                    <a:lnTo>
                      <a:pt x="346" y="499"/>
                    </a:lnTo>
                    <a:lnTo>
                      <a:pt x="353" y="500"/>
                    </a:lnTo>
                    <a:lnTo>
                      <a:pt x="366" y="503"/>
                    </a:lnTo>
                    <a:lnTo>
                      <a:pt x="372" y="505"/>
                    </a:lnTo>
                    <a:lnTo>
                      <a:pt x="383" y="505"/>
                    </a:lnTo>
                    <a:lnTo>
                      <a:pt x="407" y="505"/>
                    </a:lnTo>
                    <a:lnTo>
                      <a:pt x="437" y="505"/>
                    </a:lnTo>
                    <a:lnTo>
                      <a:pt x="458" y="505"/>
                    </a:lnTo>
                    <a:lnTo>
                      <a:pt x="465" y="449"/>
                    </a:lnTo>
                    <a:lnTo>
                      <a:pt x="478" y="443"/>
                    </a:lnTo>
                    <a:lnTo>
                      <a:pt x="492" y="437"/>
                    </a:lnTo>
                    <a:lnTo>
                      <a:pt x="524" y="4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3" name="Freeform 260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11447730" y="2918985"/>
                <a:ext cx="331788" cy="290512"/>
              </a:xfrm>
              <a:custGeom>
                <a:avLst/>
                <a:gdLst>
                  <a:gd name="T0" fmla="*/ 2147483647 w 764"/>
                  <a:gd name="T1" fmla="*/ 2147483647 h 555"/>
                  <a:gd name="T2" fmla="*/ 2147483647 w 764"/>
                  <a:gd name="T3" fmla="*/ 2147483647 h 555"/>
                  <a:gd name="T4" fmla="*/ 2147483647 w 764"/>
                  <a:gd name="T5" fmla="*/ 2147483647 h 555"/>
                  <a:gd name="T6" fmla="*/ 2147483647 w 764"/>
                  <a:gd name="T7" fmla="*/ 2147483647 h 555"/>
                  <a:gd name="T8" fmla="*/ 2147483647 w 764"/>
                  <a:gd name="T9" fmla="*/ 2147483647 h 555"/>
                  <a:gd name="T10" fmla="*/ 2147483647 w 764"/>
                  <a:gd name="T11" fmla="*/ 2147483647 h 555"/>
                  <a:gd name="T12" fmla="*/ 2147483647 w 764"/>
                  <a:gd name="T13" fmla="*/ 2147483647 h 555"/>
                  <a:gd name="T14" fmla="*/ 2147483647 w 764"/>
                  <a:gd name="T15" fmla="*/ 2147483647 h 555"/>
                  <a:gd name="T16" fmla="*/ 2147483647 w 764"/>
                  <a:gd name="T17" fmla="*/ 2147483647 h 555"/>
                  <a:gd name="T18" fmla="*/ 2147483647 w 764"/>
                  <a:gd name="T19" fmla="*/ 2147483647 h 555"/>
                  <a:gd name="T20" fmla="*/ 2147483647 w 764"/>
                  <a:gd name="T21" fmla="*/ 2147483647 h 555"/>
                  <a:gd name="T22" fmla="*/ 2147483647 w 764"/>
                  <a:gd name="T23" fmla="*/ 2147483647 h 555"/>
                  <a:gd name="T24" fmla="*/ 2147483647 w 764"/>
                  <a:gd name="T25" fmla="*/ 2147483647 h 555"/>
                  <a:gd name="T26" fmla="*/ 2147483647 w 764"/>
                  <a:gd name="T27" fmla="*/ 2147483647 h 555"/>
                  <a:gd name="T28" fmla="*/ 2147483647 w 764"/>
                  <a:gd name="T29" fmla="*/ 2147483647 h 555"/>
                  <a:gd name="T30" fmla="*/ 2147483647 w 764"/>
                  <a:gd name="T31" fmla="*/ 573744973 h 555"/>
                  <a:gd name="T32" fmla="*/ 2147483647 w 764"/>
                  <a:gd name="T33" fmla="*/ 2147483647 h 555"/>
                  <a:gd name="T34" fmla="*/ 2147483647 w 764"/>
                  <a:gd name="T35" fmla="*/ 2147483647 h 555"/>
                  <a:gd name="T36" fmla="*/ 2147483647 w 764"/>
                  <a:gd name="T37" fmla="*/ 2147483647 h 555"/>
                  <a:gd name="T38" fmla="*/ 2147483647 w 764"/>
                  <a:gd name="T39" fmla="*/ 2147483647 h 555"/>
                  <a:gd name="T40" fmla="*/ 2147483647 w 764"/>
                  <a:gd name="T41" fmla="*/ 2147483647 h 555"/>
                  <a:gd name="T42" fmla="*/ 2147483647 w 764"/>
                  <a:gd name="T43" fmla="*/ 2147483647 h 555"/>
                  <a:gd name="T44" fmla="*/ 2147483647 w 764"/>
                  <a:gd name="T45" fmla="*/ 2147483647 h 555"/>
                  <a:gd name="T46" fmla="*/ 2147483647 w 764"/>
                  <a:gd name="T47" fmla="*/ 2147483647 h 555"/>
                  <a:gd name="T48" fmla="*/ 2147483647 w 764"/>
                  <a:gd name="T49" fmla="*/ 2147483647 h 555"/>
                  <a:gd name="T50" fmla="*/ 2147483647 w 764"/>
                  <a:gd name="T51" fmla="*/ 2147483647 h 555"/>
                  <a:gd name="T52" fmla="*/ 2147483647 w 764"/>
                  <a:gd name="T53" fmla="*/ 2147483647 h 555"/>
                  <a:gd name="T54" fmla="*/ 2147483647 w 764"/>
                  <a:gd name="T55" fmla="*/ 2147483647 h 555"/>
                  <a:gd name="T56" fmla="*/ 2147483647 w 764"/>
                  <a:gd name="T57" fmla="*/ 2147483647 h 555"/>
                  <a:gd name="T58" fmla="*/ 2147483647 w 764"/>
                  <a:gd name="T59" fmla="*/ 2147483647 h 555"/>
                  <a:gd name="T60" fmla="*/ 2147483647 w 764"/>
                  <a:gd name="T61" fmla="*/ 2147483647 h 555"/>
                  <a:gd name="T62" fmla="*/ 2147483647 w 764"/>
                  <a:gd name="T63" fmla="*/ 2147483647 h 555"/>
                  <a:gd name="T64" fmla="*/ 2147483647 w 764"/>
                  <a:gd name="T65" fmla="*/ 2147483647 h 555"/>
                  <a:gd name="T66" fmla="*/ 2147483647 w 764"/>
                  <a:gd name="T67" fmla="*/ 2147483647 h 555"/>
                  <a:gd name="T68" fmla="*/ 2147483647 w 764"/>
                  <a:gd name="T69" fmla="*/ 2147483647 h 555"/>
                  <a:gd name="T70" fmla="*/ 2147483647 w 764"/>
                  <a:gd name="T71" fmla="*/ 2147483647 h 555"/>
                  <a:gd name="T72" fmla="*/ 2147483647 w 764"/>
                  <a:gd name="T73" fmla="*/ 2147483647 h 555"/>
                  <a:gd name="T74" fmla="*/ 2147483647 w 764"/>
                  <a:gd name="T75" fmla="*/ 2147483647 h 555"/>
                  <a:gd name="T76" fmla="*/ 2147483647 w 764"/>
                  <a:gd name="T77" fmla="*/ 2147483647 h 555"/>
                  <a:gd name="T78" fmla="*/ 2147483647 w 764"/>
                  <a:gd name="T79" fmla="*/ 2147483647 h 555"/>
                  <a:gd name="T80" fmla="*/ 2147483647 w 764"/>
                  <a:gd name="T81" fmla="*/ 2147483647 h 555"/>
                  <a:gd name="T82" fmla="*/ 2147483647 w 764"/>
                  <a:gd name="T83" fmla="*/ 2147483647 h 555"/>
                  <a:gd name="T84" fmla="*/ 2147483647 w 764"/>
                  <a:gd name="T85" fmla="*/ 2147483647 h 555"/>
                  <a:gd name="T86" fmla="*/ 2147483647 w 764"/>
                  <a:gd name="T87" fmla="*/ 2147483647 h 555"/>
                  <a:gd name="T88" fmla="*/ 2147483647 w 764"/>
                  <a:gd name="T89" fmla="*/ 2147483647 h 555"/>
                  <a:gd name="T90" fmla="*/ 2147483647 w 764"/>
                  <a:gd name="T91" fmla="*/ 2147483647 h 555"/>
                  <a:gd name="T92" fmla="*/ 2147483647 w 764"/>
                  <a:gd name="T93" fmla="*/ 2147483647 h 555"/>
                  <a:gd name="T94" fmla="*/ 2147483647 w 764"/>
                  <a:gd name="T95" fmla="*/ 2147483647 h 555"/>
                  <a:gd name="T96" fmla="*/ 2147483647 w 764"/>
                  <a:gd name="T97" fmla="*/ 2147483647 h 555"/>
                  <a:gd name="T98" fmla="*/ 2147483647 w 764"/>
                  <a:gd name="T99" fmla="*/ 2147483647 h 555"/>
                  <a:gd name="T100" fmla="*/ 2147483647 w 764"/>
                  <a:gd name="T101" fmla="*/ 2147483647 h 555"/>
                  <a:gd name="T102" fmla="*/ 2147483647 w 764"/>
                  <a:gd name="T103" fmla="*/ 2147483647 h 555"/>
                  <a:gd name="T104" fmla="*/ 2147483647 w 764"/>
                  <a:gd name="T105" fmla="*/ 2147483647 h 555"/>
                  <a:gd name="T106" fmla="*/ 2147483647 w 764"/>
                  <a:gd name="T107" fmla="*/ 2147483647 h 555"/>
                  <a:gd name="T108" fmla="*/ 2147483647 w 764"/>
                  <a:gd name="T109" fmla="*/ 2147483647 h 555"/>
                  <a:gd name="T110" fmla="*/ 2147483647 w 764"/>
                  <a:gd name="T111" fmla="*/ 2147483647 h 555"/>
                  <a:gd name="T112" fmla="*/ 2147483647 w 764"/>
                  <a:gd name="T113" fmla="*/ 2147483647 h 555"/>
                  <a:gd name="T114" fmla="*/ 1556113514 w 764"/>
                  <a:gd name="T115" fmla="*/ 2147483647 h 555"/>
                  <a:gd name="T116" fmla="*/ 819076437 w 764"/>
                  <a:gd name="T117" fmla="*/ 2147483647 h 555"/>
                  <a:gd name="T118" fmla="*/ 0 w 764"/>
                  <a:gd name="T119" fmla="*/ 2147483647 h 555"/>
                  <a:gd name="T120" fmla="*/ 163890678 w 764"/>
                  <a:gd name="T121" fmla="*/ 2147483647 h 555"/>
                  <a:gd name="T122" fmla="*/ 1801855075 w 764"/>
                  <a:gd name="T123" fmla="*/ 2147483647 h 555"/>
                  <a:gd name="T124" fmla="*/ 2147483647 w 764"/>
                  <a:gd name="T125" fmla="*/ 2147483647 h 55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764" h="555">
                    <a:moveTo>
                      <a:pt x="39" y="191"/>
                    </a:moveTo>
                    <a:lnTo>
                      <a:pt x="48" y="194"/>
                    </a:lnTo>
                    <a:lnTo>
                      <a:pt x="56" y="196"/>
                    </a:lnTo>
                    <a:lnTo>
                      <a:pt x="62" y="196"/>
                    </a:lnTo>
                    <a:lnTo>
                      <a:pt x="68" y="195"/>
                    </a:lnTo>
                    <a:lnTo>
                      <a:pt x="77" y="192"/>
                    </a:lnTo>
                    <a:lnTo>
                      <a:pt x="85" y="191"/>
                    </a:lnTo>
                    <a:lnTo>
                      <a:pt x="93" y="190"/>
                    </a:lnTo>
                    <a:lnTo>
                      <a:pt x="101" y="190"/>
                    </a:lnTo>
                    <a:lnTo>
                      <a:pt x="107" y="188"/>
                    </a:lnTo>
                    <a:lnTo>
                      <a:pt x="114" y="186"/>
                    </a:lnTo>
                    <a:lnTo>
                      <a:pt x="128" y="182"/>
                    </a:lnTo>
                    <a:lnTo>
                      <a:pt x="140" y="175"/>
                    </a:lnTo>
                    <a:lnTo>
                      <a:pt x="152" y="168"/>
                    </a:lnTo>
                    <a:lnTo>
                      <a:pt x="164" y="160"/>
                    </a:lnTo>
                    <a:lnTo>
                      <a:pt x="175" y="151"/>
                    </a:lnTo>
                    <a:lnTo>
                      <a:pt x="185" y="142"/>
                    </a:lnTo>
                    <a:lnTo>
                      <a:pt x="189" y="136"/>
                    </a:lnTo>
                    <a:lnTo>
                      <a:pt x="192" y="131"/>
                    </a:lnTo>
                    <a:lnTo>
                      <a:pt x="194" y="126"/>
                    </a:lnTo>
                    <a:lnTo>
                      <a:pt x="195" y="120"/>
                    </a:lnTo>
                    <a:lnTo>
                      <a:pt x="197" y="109"/>
                    </a:lnTo>
                    <a:lnTo>
                      <a:pt x="198" y="98"/>
                    </a:lnTo>
                    <a:lnTo>
                      <a:pt x="199" y="88"/>
                    </a:lnTo>
                    <a:lnTo>
                      <a:pt x="202" y="78"/>
                    </a:lnTo>
                    <a:lnTo>
                      <a:pt x="204" y="74"/>
                    </a:lnTo>
                    <a:lnTo>
                      <a:pt x="206" y="71"/>
                    </a:lnTo>
                    <a:lnTo>
                      <a:pt x="208" y="69"/>
                    </a:lnTo>
                    <a:lnTo>
                      <a:pt x="212" y="68"/>
                    </a:lnTo>
                    <a:lnTo>
                      <a:pt x="221" y="64"/>
                    </a:lnTo>
                    <a:lnTo>
                      <a:pt x="231" y="62"/>
                    </a:lnTo>
                    <a:lnTo>
                      <a:pt x="240" y="60"/>
                    </a:lnTo>
                    <a:lnTo>
                      <a:pt x="249" y="60"/>
                    </a:lnTo>
                    <a:lnTo>
                      <a:pt x="266" y="61"/>
                    </a:lnTo>
                    <a:lnTo>
                      <a:pt x="285" y="61"/>
                    </a:lnTo>
                    <a:lnTo>
                      <a:pt x="294" y="62"/>
                    </a:lnTo>
                    <a:lnTo>
                      <a:pt x="303" y="63"/>
                    </a:lnTo>
                    <a:lnTo>
                      <a:pt x="310" y="64"/>
                    </a:lnTo>
                    <a:lnTo>
                      <a:pt x="317" y="66"/>
                    </a:lnTo>
                    <a:lnTo>
                      <a:pt x="329" y="71"/>
                    </a:lnTo>
                    <a:lnTo>
                      <a:pt x="339" y="77"/>
                    </a:lnTo>
                    <a:lnTo>
                      <a:pt x="348" y="82"/>
                    </a:lnTo>
                    <a:lnTo>
                      <a:pt x="357" y="88"/>
                    </a:lnTo>
                    <a:lnTo>
                      <a:pt x="362" y="90"/>
                    </a:lnTo>
                    <a:lnTo>
                      <a:pt x="366" y="91"/>
                    </a:lnTo>
                    <a:lnTo>
                      <a:pt x="372" y="92"/>
                    </a:lnTo>
                    <a:lnTo>
                      <a:pt x="378" y="93"/>
                    </a:lnTo>
                    <a:lnTo>
                      <a:pt x="386" y="93"/>
                    </a:lnTo>
                    <a:lnTo>
                      <a:pt x="394" y="92"/>
                    </a:lnTo>
                    <a:lnTo>
                      <a:pt x="402" y="90"/>
                    </a:lnTo>
                    <a:lnTo>
                      <a:pt x="407" y="89"/>
                    </a:lnTo>
                    <a:lnTo>
                      <a:pt x="419" y="84"/>
                    </a:lnTo>
                    <a:lnTo>
                      <a:pt x="429" y="78"/>
                    </a:lnTo>
                    <a:lnTo>
                      <a:pt x="439" y="72"/>
                    </a:lnTo>
                    <a:lnTo>
                      <a:pt x="449" y="66"/>
                    </a:lnTo>
                    <a:lnTo>
                      <a:pt x="460" y="61"/>
                    </a:lnTo>
                    <a:lnTo>
                      <a:pt x="471" y="55"/>
                    </a:lnTo>
                    <a:lnTo>
                      <a:pt x="472" y="48"/>
                    </a:lnTo>
                    <a:lnTo>
                      <a:pt x="475" y="41"/>
                    </a:lnTo>
                    <a:lnTo>
                      <a:pt x="479" y="33"/>
                    </a:lnTo>
                    <a:lnTo>
                      <a:pt x="485" y="25"/>
                    </a:lnTo>
                    <a:lnTo>
                      <a:pt x="496" y="11"/>
                    </a:lnTo>
                    <a:lnTo>
                      <a:pt x="505" y="0"/>
                    </a:lnTo>
                    <a:lnTo>
                      <a:pt x="508" y="4"/>
                    </a:lnTo>
                    <a:lnTo>
                      <a:pt x="512" y="8"/>
                    </a:lnTo>
                    <a:lnTo>
                      <a:pt x="518" y="12"/>
                    </a:lnTo>
                    <a:lnTo>
                      <a:pt x="525" y="15"/>
                    </a:lnTo>
                    <a:lnTo>
                      <a:pt x="530" y="19"/>
                    </a:lnTo>
                    <a:lnTo>
                      <a:pt x="537" y="22"/>
                    </a:lnTo>
                    <a:lnTo>
                      <a:pt x="541" y="26"/>
                    </a:lnTo>
                    <a:lnTo>
                      <a:pt x="544" y="31"/>
                    </a:lnTo>
                    <a:lnTo>
                      <a:pt x="550" y="45"/>
                    </a:lnTo>
                    <a:lnTo>
                      <a:pt x="554" y="58"/>
                    </a:lnTo>
                    <a:lnTo>
                      <a:pt x="556" y="70"/>
                    </a:lnTo>
                    <a:lnTo>
                      <a:pt x="559" y="81"/>
                    </a:lnTo>
                    <a:lnTo>
                      <a:pt x="561" y="87"/>
                    </a:lnTo>
                    <a:lnTo>
                      <a:pt x="562" y="91"/>
                    </a:lnTo>
                    <a:lnTo>
                      <a:pt x="564" y="95"/>
                    </a:lnTo>
                    <a:lnTo>
                      <a:pt x="566" y="99"/>
                    </a:lnTo>
                    <a:lnTo>
                      <a:pt x="570" y="101"/>
                    </a:lnTo>
                    <a:lnTo>
                      <a:pt x="574" y="103"/>
                    </a:lnTo>
                    <a:lnTo>
                      <a:pt x="578" y="104"/>
                    </a:lnTo>
                    <a:lnTo>
                      <a:pt x="584" y="105"/>
                    </a:lnTo>
                    <a:lnTo>
                      <a:pt x="589" y="104"/>
                    </a:lnTo>
                    <a:lnTo>
                      <a:pt x="596" y="100"/>
                    </a:lnTo>
                    <a:lnTo>
                      <a:pt x="602" y="95"/>
                    </a:lnTo>
                    <a:lnTo>
                      <a:pt x="610" y="88"/>
                    </a:lnTo>
                    <a:lnTo>
                      <a:pt x="622" y="73"/>
                    </a:lnTo>
                    <a:lnTo>
                      <a:pt x="631" y="61"/>
                    </a:lnTo>
                    <a:lnTo>
                      <a:pt x="723" y="61"/>
                    </a:lnTo>
                    <a:lnTo>
                      <a:pt x="736" y="61"/>
                    </a:lnTo>
                    <a:lnTo>
                      <a:pt x="743" y="66"/>
                    </a:lnTo>
                    <a:lnTo>
                      <a:pt x="748" y="70"/>
                    </a:lnTo>
                    <a:lnTo>
                      <a:pt x="752" y="75"/>
                    </a:lnTo>
                    <a:lnTo>
                      <a:pt x="755" y="79"/>
                    </a:lnTo>
                    <a:lnTo>
                      <a:pt x="759" y="87"/>
                    </a:lnTo>
                    <a:lnTo>
                      <a:pt x="764" y="93"/>
                    </a:lnTo>
                    <a:lnTo>
                      <a:pt x="740" y="95"/>
                    </a:lnTo>
                    <a:lnTo>
                      <a:pt x="711" y="97"/>
                    </a:lnTo>
                    <a:lnTo>
                      <a:pt x="679" y="100"/>
                    </a:lnTo>
                    <a:lnTo>
                      <a:pt x="647" y="103"/>
                    </a:lnTo>
                    <a:lnTo>
                      <a:pt x="632" y="106"/>
                    </a:lnTo>
                    <a:lnTo>
                      <a:pt x="618" y="109"/>
                    </a:lnTo>
                    <a:lnTo>
                      <a:pt x="605" y="112"/>
                    </a:lnTo>
                    <a:lnTo>
                      <a:pt x="594" y="117"/>
                    </a:lnTo>
                    <a:lnTo>
                      <a:pt x="584" y="122"/>
                    </a:lnTo>
                    <a:lnTo>
                      <a:pt x="577" y="127"/>
                    </a:lnTo>
                    <a:lnTo>
                      <a:pt x="574" y="130"/>
                    </a:lnTo>
                    <a:lnTo>
                      <a:pt x="572" y="134"/>
                    </a:lnTo>
                    <a:lnTo>
                      <a:pt x="571" y="137"/>
                    </a:lnTo>
                    <a:lnTo>
                      <a:pt x="571" y="142"/>
                    </a:lnTo>
                    <a:lnTo>
                      <a:pt x="571" y="147"/>
                    </a:lnTo>
                    <a:lnTo>
                      <a:pt x="572" y="152"/>
                    </a:lnTo>
                    <a:lnTo>
                      <a:pt x="574" y="156"/>
                    </a:lnTo>
                    <a:lnTo>
                      <a:pt x="576" y="159"/>
                    </a:lnTo>
                    <a:lnTo>
                      <a:pt x="582" y="164"/>
                    </a:lnTo>
                    <a:lnTo>
                      <a:pt x="587" y="169"/>
                    </a:lnTo>
                    <a:lnTo>
                      <a:pt x="594" y="173"/>
                    </a:lnTo>
                    <a:lnTo>
                      <a:pt x="599" y="177"/>
                    </a:lnTo>
                    <a:lnTo>
                      <a:pt x="601" y="180"/>
                    </a:lnTo>
                    <a:lnTo>
                      <a:pt x="602" y="183"/>
                    </a:lnTo>
                    <a:lnTo>
                      <a:pt x="604" y="186"/>
                    </a:lnTo>
                    <a:lnTo>
                      <a:pt x="604" y="191"/>
                    </a:lnTo>
                    <a:lnTo>
                      <a:pt x="604" y="195"/>
                    </a:lnTo>
                    <a:lnTo>
                      <a:pt x="602" y="200"/>
                    </a:lnTo>
                    <a:lnTo>
                      <a:pt x="601" y="204"/>
                    </a:lnTo>
                    <a:lnTo>
                      <a:pt x="599" y="207"/>
                    </a:lnTo>
                    <a:lnTo>
                      <a:pt x="594" y="213"/>
                    </a:lnTo>
                    <a:lnTo>
                      <a:pt x="587" y="220"/>
                    </a:lnTo>
                    <a:lnTo>
                      <a:pt x="582" y="226"/>
                    </a:lnTo>
                    <a:lnTo>
                      <a:pt x="576" y="233"/>
                    </a:lnTo>
                    <a:lnTo>
                      <a:pt x="574" y="237"/>
                    </a:lnTo>
                    <a:lnTo>
                      <a:pt x="572" y="242"/>
                    </a:lnTo>
                    <a:lnTo>
                      <a:pt x="571" y="247"/>
                    </a:lnTo>
                    <a:lnTo>
                      <a:pt x="571" y="252"/>
                    </a:lnTo>
                    <a:lnTo>
                      <a:pt x="565" y="255"/>
                    </a:lnTo>
                    <a:lnTo>
                      <a:pt x="560" y="256"/>
                    </a:lnTo>
                    <a:lnTo>
                      <a:pt x="555" y="259"/>
                    </a:lnTo>
                    <a:lnTo>
                      <a:pt x="551" y="262"/>
                    </a:lnTo>
                    <a:lnTo>
                      <a:pt x="542" y="269"/>
                    </a:lnTo>
                    <a:lnTo>
                      <a:pt x="535" y="277"/>
                    </a:lnTo>
                    <a:lnTo>
                      <a:pt x="529" y="287"/>
                    </a:lnTo>
                    <a:lnTo>
                      <a:pt x="523" y="298"/>
                    </a:lnTo>
                    <a:lnTo>
                      <a:pt x="519" y="310"/>
                    </a:lnTo>
                    <a:lnTo>
                      <a:pt x="515" y="323"/>
                    </a:lnTo>
                    <a:lnTo>
                      <a:pt x="512" y="336"/>
                    </a:lnTo>
                    <a:lnTo>
                      <a:pt x="509" y="349"/>
                    </a:lnTo>
                    <a:lnTo>
                      <a:pt x="508" y="363"/>
                    </a:lnTo>
                    <a:lnTo>
                      <a:pt x="506" y="377"/>
                    </a:lnTo>
                    <a:lnTo>
                      <a:pt x="505" y="402"/>
                    </a:lnTo>
                    <a:lnTo>
                      <a:pt x="505" y="425"/>
                    </a:lnTo>
                    <a:lnTo>
                      <a:pt x="497" y="425"/>
                    </a:lnTo>
                    <a:lnTo>
                      <a:pt x="492" y="423"/>
                    </a:lnTo>
                    <a:lnTo>
                      <a:pt x="486" y="420"/>
                    </a:lnTo>
                    <a:lnTo>
                      <a:pt x="482" y="415"/>
                    </a:lnTo>
                    <a:lnTo>
                      <a:pt x="477" y="412"/>
                    </a:lnTo>
                    <a:lnTo>
                      <a:pt x="473" y="409"/>
                    </a:lnTo>
                    <a:lnTo>
                      <a:pt x="470" y="407"/>
                    </a:lnTo>
                    <a:lnTo>
                      <a:pt x="464" y="406"/>
                    </a:lnTo>
                    <a:lnTo>
                      <a:pt x="460" y="407"/>
                    </a:lnTo>
                    <a:lnTo>
                      <a:pt x="455" y="408"/>
                    </a:lnTo>
                    <a:lnTo>
                      <a:pt x="451" y="410"/>
                    </a:lnTo>
                    <a:lnTo>
                      <a:pt x="447" y="412"/>
                    </a:lnTo>
                    <a:lnTo>
                      <a:pt x="439" y="418"/>
                    </a:lnTo>
                    <a:lnTo>
                      <a:pt x="431" y="425"/>
                    </a:lnTo>
                    <a:lnTo>
                      <a:pt x="423" y="432"/>
                    </a:lnTo>
                    <a:lnTo>
                      <a:pt x="416" y="438"/>
                    </a:lnTo>
                    <a:lnTo>
                      <a:pt x="411" y="440"/>
                    </a:lnTo>
                    <a:lnTo>
                      <a:pt x="407" y="442"/>
                    </a:lnTo>
                    <a:lnTo>
                      <a:pt x="403" y="443"/>
                    </a:lnTo>
                    <a:lnTo>
                      <a:pt x="398" y="444"/>
                    </a:lnTo>
                    <a:lnTo>
                      <a:pt x="393" y="444"/>
                    </a:lnTo>
                    <a:lnTo>
                      <a:pt x="388" y="446"/>
                    </a:lnTo>
                    <a:lnTo>
                      <a:pt x="385" y="449"/>
                    </a:lnTo>
                    <a:lnTo>
                      <a:pt x="382" y="453"/>
                    </a:lnTo>
                    <a:lnTo>
                      <a:pt x="375" y="463"/>
                    </a:lnTo>
                    <a:lnTo>
                      <a:pt x="372" y="476"/>
                    </a:lnTo>
                    <a:lnTo>
                      <a:pt x="369" y="489"/>
                    </a:lnTo>
                    <a:lnTo>
                      <a:pt x="366" y="501"/>
                    </a:lnTo>
                    <a:lnTo>
                      <a:pt x="365" y="511"/>
                    </a:lnTo>
                    <a:lnTo>
                      <a:pt x="365" y="517"/>
                    </a:lnTo>
                    <a:lnTo>
                      <a:pt x="362" y="520"/>
                    </a:lnTo>
                    <a:lnTo>
                      <a:pt x="358" y="522"/>
                    </a:lnTo>
                    <a:lnTo>
                      <a:pt x="350" y="525"/>
                    </a:lnTo>
                    <a:lnTo>
                      <a:pt x="342" y="528"/>
                    </a:lnTo>
                    <a:lnTo>
                      <a:pt x="320" y="535"/>
                    </a:lnTo>
                    <a:lnTo>
                      <a:pt x="296" y="541"/>
                    </a:lnTo>
                    <a:lnTo>
                      <a:pt x="270" y="546"/>
                    </a:lnTo>
                    <a:lnTo>
                      <a:pt x="246" y="551"/>
                    </a:lnTo>
                    <a:lnTo>
                      <a:pt x="226" y="554"/>
                    </a:lnTo>
                    <a:lnTo>
                      <a:pt x="212" y="555"/>
                    </a:lnTo>
                    <a:lnTo>
                      <a:pt x="194" y="554"/>
                    </a:lnTo>
                    <a:lnTo>
                      <a:pt x="176" y="553"/>
                    </a:lnTo>
                    <a:lnTo>
                      <a:pt x="159" y="550"/>
                    </a:lnTo>
                    <a:lnTo>
                      <a:pt x="142" y="548"/>
                    </a:lnTo>
                    <a:lnTo>
                      <a:pt x="113" y="542"/>
                    </a:lnTo>
                    <a:lnTo>
                      <a:pt x="92" y="536"/>
                    </a:lnTo>
                    <a:lnTo>
                      <a:pt x="93" y="529"/>
                    </a:lnTo>
                    <a:lnTo>
                      <a:pt x="94" y="523"/>
                    </a:lnTo>
                    <a:lnTo>
                      <a:pt x="95" y="518"/>
                    </a:lnTo>
                    <a:lnTo>
                      <a:pt x="97" y="513"/>
                    </a:lnTo>
                    <a:lnTo>
                      <a:pt x="103" y="504"/>
                    </a:lnTo>
                    <a:lnTo>
                      <a:pt x="109" y="496"/>
                    </a:lnTo>
                    <a:lnTo>
                      <a:pt x="115" y="488"/>
                    </a:lnTo>
                    <a:lnTo>
                      <a:pt x="120" y="479"/>
                    </a:lnTo>
                    <a:lnTo>
                      <a:pt x="123" y="473"/>
                    </a:lnTo>
                    <a:lnTo>
                      <a:pt x="124" y="468"/>
                    </a:lnTo>
                    <a:lnTo>
                      <a:pt x="125" y="462"/>
                    </a:lnTo>
                    <a:lnTo>
                      <a:pt x="126" y="456"/>
                    </a:lnTo>
                    <a:lnTo>
                      <a:pt x="125" y="451"/>
                    </a:lnTo>
                    <a:lnTo>
                      <a:pt x="124" y="446"/>
                    </a:lnTo>
                    <a:lnTo>
                      <a:pt x="123" y="442"/>
                    </a:lnTo>
                    <a:lnTo>
                      <a:pt x="120" y="439"/>
                    </a:lnTo>
                    <a:lnTo>
                      <a:pt x="117" y="437"/>
                    </a:lnTo>
                    <a:lnTo>
                      <a:pt x="114" y="435"/>
                    </a:lnTo>
                    <a:lnTo>
                      <a:pt x="111" y="433"/>
                    </a:lnTo>
                    <a:lnTo>
                      <a:pt x="106" y="432"/>
                    </a:lnTo>
                    <a:lnTo>
                      <a:pt x="89" y="431"/>
                    </a:lnTo>
                    <a:lnTo>
                      <a:pt x="72" y="432"/>
                    </a:lnTo>
                    <a:lnTo>
                      <a:pt x="69" y="431"/>
                    </a:lnTo>
                    <a:lnTo>
                      <a:pt x="66" y="430"/>
                    </a:lnTo>
                    <a:lnTo>
                      <a:pt x="62" y="429"/>
                    </a:lnTo>
                    <a:lnTo>
                      <a:pt x="59" y="427"/>
                    </a:lnTo>
                    <a:lnTo>
                      <a:pt x="52" y="421"/>
                    </a:lnTo>
                    <a:lnTo>
                      <a:pt x="47" y="413"/>
                    </a:lnTo>
                    <a:lnTo>
                      <a:pt x="42" y="405"/>
                    </a:lnTo>
                    <a:lnTo>
                      <a:pt x="38" y="395"/>
                    </a:lnTo>
                    <a:lnTo>
                      <a:pt x="34" y="384"/>
                    </a:lnTo>
                    <a:lnTo>
                      <a:pt x="30" y="373"/>
                    </a:lnTo>
                    <a:lnTo>
                      <a:pt x="26" y="349"/>
                    </a:lnTo>
                    <a:lnTo>
                      <a:pt x="22" y="327"/>
                    </a:lnTo>
                    <a:lnTo>
                      <a:pt x="19" y="309"/>
                    </a:lnTo>
                    <a:lnTo>
                      <a:pt x="19" y="295"/>
                    </a:lnTo>
                    <a:lnTo>
                      <a:pt x="16" y="295"/>
                    </a:lnTo>
                    <a:lnTo>
                      <a:pt x="13" y="293"/>
                    </a:lnTo>
                    <a:lnTo>
                      <a:pt x="10" y="291"/>
                    </a:lnTo>
                    <a:lnTo>
                      <a:pt x="7" y="289"/>
                    </a:lnTo>
                    <a:lnTo>
                      <a:pt x="4" y="286"/>
                    </a:lnTo>
                    <a:lnTo>
                      <a:pt x="2" y="283"/>
                    </a:lnTo>
                    <a:lnTo>
                      <a:pt x="0" y="280"/>
                    </a:lnTo>
                    <a:lnTo>
                      <a:pt x="0" y="277"/>
                    </a:lnTo>
                    <a:lnTo>
                      <a:pt x="0" y="274"/>
                    </a:lnTo>
                    <a:lnTo>
                      <a:pt x="1" y="271"/>
                    </a:lnTo>
                    <a:lnTo>
                      <a:pt x="2" y="268"/>
                    </a:lnTo>
                    <a:lnTo>
                      <a:pt x="4" y="265"/>
                    </a:lnTo>
                    <a:lnTo>
                      <a:pt x="10" y="259"/>
                    </a:lnTo>
                    <a:lnTo>
                      <a:pt x="16" y="254"/>
                    </a:lnTo>
                    <a:lnTo>
                      <a:pt x="22" y="248"/>
                    </a:lnTo>
                    <a:lnTo>
                      <a:pt x="27" y="243"/>
                    </a:lnTo>
                    <a:lnTo>
                      <a:pt x="31" y="238"/>
                    </a:lnTo>
                    <a:lnTo>
                      <a:pt x="33" y="234"/>
                    </a:lnTo>
                    <a:lnTo>
                      <a:pt x="34" y="221"/>
                    </a:lnTo>
                    <a:lnTo>
                      <a:pt x="36" y="213"/>
                    </a:lnTo>
                    <a:lnTo>
                      <a:pt x="38" y="205"/>
                    </a:lnTo>
                    <a:lnTo>
                      <a:pt x="39" y="1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4" name="Freeform 261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11479480" y="2968197"/>
                <a:ext cx="365125" cy="423863"/>
              </a:xfrm>
              <a:custGeom>
                <a:avLst/>
                <a:gdLst>
                  <a:gd name="T0" fmla="*/ 2147483647 w 831"/>
                  <a:gd name="T1" fmla="*/ 2147483647 h 812"/>
                  <a:gd name="T2" fmla="*/ 2147483647 w 831"/>
                  <a:gd name="T3" fmla="*/ 2147483647 h 812"/>
                  <a:gd name="T4" fmla="*/ 2147483647 w 831"/>
                  <a:gd name="T5" fmla="*/ 1422359992 h 812"/>
                  <a:gd name="T6" fmla="*/ 2147483647 w 831"/>
                  <a:gd name="T7" fmla="*/ 2147483647 h 812"/>
                  <a:gd name="T8" fmla="*/ 2147483647 w 831"/>
                  <a:gd name="T9" fmla="*/ 2147483647 h 812"/>
                  <a:gd name="T10" fmla="*/ 2147483647 w 831"/>
                  <a:gd name="T11" fmla="*/ 2147483647 h 812"/>
                  <a:gd name="T12" fmla="*/ 2147483647 w 831"/>
                  <a:gd name="T13" fmla="*/ 2147483647 h 812"/>
                  <a:gd name="T14" fmla="*/ 2147483647 w 831"/>
                  <a:gd name="T15" fmla="*/ 2147483647 h 812"/>
                  <a:gd name="T16" fmla="*/ 2147483647 w 831"/>
                  <a:gd name="T17" fmla="*/ 2147483647 h 812"/>
                  <a:gd name="T18" fmla="*/ 2147483647 w 831"/>
                  <a:gd name="T19" fmla="*/ 2147483647 h 812"/>
                  <a:gd name="T20" fmla="*/ 2147483647 w 831"/>
                  <a:gd name="T21" fmla="*/ 2147483647 h 812"/>
                  <a:gd name="T22" fmla="*/ 2147483647 w 831"/>
                  <a:gd name="T23" fmla="*/ 2147483647 h 812"/>
                  <a:gd name="T24" fmla="*/ 2147483647 w 831"/>
                  <a:gd name="T25" fmla="*/ 2147483647 h 812"/>
                  <a:gd name="T26" fmla="*/ 2147483647 w 831"/>
                  <a:gd name="T27" fmla="*/ 2147483647 h 812"/>
                  <a:gd name="T28" fmla="*/ 2147483647 w 831"/>
                  <a:gd name="T29" fmla="*/ 2147483647 h 812"/>
                  <a:gd name="T30" fmla="*/ 2147483647 w 831"/>
                  <a:gd name="T31" fmla="*/ 2147483647 h 812"/>
                  <a:gd name="T32" fmla="*/ 2147483647 w 831"/>
                  <a:gd name="T33" fmla="*/ 2147483647 h 812"/>
                  <a:gd name="T34" fmla="*/ 2147483647 w 831"/>
                  <a:gd name="T35" fmla="*/ 2147483647 h 812"/>
                  <a:gd name="T36" fmla="*/ 2147483647 w 831"/>
                  <a:gd name="T37" fmla="*/ 2147483647 h 812"/>
                  <a:gd name="T38" fmla="*/ 2147483647 w 831"/>
                  <a:gd name="T39" fmla="*/ 2147483647 h 812"/>
                  <a:gd name="T40" fmla="*/ 2147483647 w 831"/>
                  <a:gd name="T41" fmla="*/ 2147483647 h 812"/>
                  <a:gd name="T42" fmla="*/ 2147483647 w 831"/>
                  <a:gd name="T43" fmla="*/ 2147483647 h 812"/>
                  <a:gd name="T44" fmla="*/ 2147483647 w 831"/>
                  <a:gd name="T45" fmla="*/ 2147483647 h 812"/>
                  <a:gd name="T46" fmla="*/ 2147483647 w 831"/>
                  <a:gd name="T47" fmla="*/ 2147483647 h 812"/>
                  <a:gd name="T48" fmla="*/ 2147483647 w 831"/>
                  <a:gd name="T49" fmla="*/ 2147483647 h 812"/>
                  <a:gd name="T50" fmla="*/ 2147483647 w 831"/>
                  <a:gd name="T51" fmla="*/ 2147483647 h 812"/>
                  <a:gd name="T52" fmla="*/ 2147483647 w 831"/>
                  <a:gd name="T53" fmla="*/ 2147483647 h 812"/>
                  <a:gd name="T54" fmla="*/ 2147483647 w 831"/>
                  <a:gd name="T55" fmla="*/ 2147483647 h 812"/>
                  <a:gd name="T56" fmla="*/ 2147483647 w 831"/>
                  <a:gd name="T57" fmla="*/ 2147483647 h 812"/>
                  <a:gd name="T58" fmla="*/ 2147483647 w 831"/>
                  <a:gd name="T59" fmla="*/ 2147483647 h 812"/>
                  <a:gd name="T60" fmla="*/ 2147483647 w 831"/>
                  <a:gd name="T61" fmla="*/ 2147483647 h 812"/>
                  <a:gd name="T62" fmla="*/ 2147483647 w 831"/>
                  <a:gd name="T63" fmla="*/ 2147483647 h 812"/>
                  <a:gd name="T64" fmla="*/ 2147483647 w 831"/>
                  <a:gd name="T65" fmla="*/ 2147483647 h 812"/>
                  <a:gd name="T66" fmla="*/ 2147483647 w 831"/>
                  <a:gd name="T67" fmla="*/ 2147483647 h 812"/>
                  <a:gd name="T68" fmla="*/ 2147483647 w 831"/>
                  <a:gd name="T69" fmla="*/ 2147483647 h 812"/>
                  <a:gd name="T70" fmla="*/ 2147483647 w 831"/>
                  <a:gd name="T71" fmla="*/ 2147483647 h 812"/>
                  <a:gd name="T72" fmla="*/ 2147483647 w 831"/>
                  <a:gd name="T73" fmla="*/ 2147483647 h 812"/>
                  <a:gd name="T74" fmla="*/ 2147483647 w 831"/>
                  <a:gd name="T75" fmla="*/ 2147483647 h 812"/>
                  <a:gd name="T76" fmla="*/ 2147483647 w 831"/>
                  <a:gd name="T77" fmla="*/ 2147483647 h 812"/>
                  <a:gd name="T78" fmla="*/ 2147483647 w 831"/>
                  <a:gd name="T79" fmla="*/ 2147483647 h 812"/>
                  <a:gd name="T80" fmla="*/ 2147483647 w 831"/>
                  <a:gd name="T81" fmla="*/ 2147483647 h 812"/>
                  <a:gd name="T82" fmla="*/ 2147483647 w 831"/>
                  <a:gd name="T83" fmla="*/ 2147483647 h 812"/>
                  <a:gd name="T84" fmla="*/ 2147483647 w 831"/>
                  <a:gd name="T85" fmla="*/ 2147483647 h 812"/>
                  <a:gd name="T86" fmla="*/ 2147483647 w 831"/>
                  <a:gd name="T87" fmla="*/ 2147483647 h 812"/>
                  <a:gd name="T88" fmla="*/ 2147483647 w 831"/>
                  <a:gd name="T89" fmla="*/ 2147483647 h 812"/>
                  <a:gd name="T90" fmla="*/ 2147483647 w 831"/>
                  <a:gd name="T91" fmla="*/ 2147483647 h 812"/>
                  <a:gd name="T92" fmla="*/ 2147483647 w 831"/>
                  <a:gd name="T93" fmla="*/ 2147483647 h 812"/>
                  <a:gd name="T94" fmla="*/ 2147483647 w 831"/>
                  <a:gd name="T95" fmla="*/ 2147483647 h 812"/>
                  <a:gd name="T96" fmla="*/ 2147483647 w 831"/>
                  <a:gd name="T97" fmla="*/ 2147483647 h 812"/>
                  <a:gd name="T98" fmla="*/ 2147483647 w 831"/>
                  <a:gd name="T99" fmla="*/ 2147483647 h 812"/>
                  <a:gd name="T100" fmla="*/ 2147483647 w 831"/>
                  <a:gd name="T101" fmla="*/ 2147483647 h 812"/>
                  <a:gd name="T102" fmla="*/ 2147483647 w 831"/>
                  <a:gd name="T103" fmla="*/ 2147483647 h 812"/>
                  <a:gd name="T104" fmla="*/ 2147483647 w 831"/>
                  <a:gd name="T105" fmla="*/ 2147483647 h 812"/>
                  <a:gd name="T106" fmla="*/ 2147483647 w 831"/>
                  <a:gd name="T107" fmla="*/ 2147483647 h 81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831" h="812">
                    <a:moveTo>
                      <a:pt x="831" y="98"/>
                    </a:moveTo>
                    <a:lnTo>
                      <a:pt x="817" y="95"/>
                    </a:lnTo>
                    <a:lnTo>
                      <a:pt x="803" y="91"/>
                    </a:lnTo>
                    <a:lnTo>
                      <a:pt x="791" y="87"/>
                    </a:lnTo>
                    <a:lnTo>
                      <a:pt x="779" y="82"/>
                    </a:lnTo>
                    <a:lnTo>
                      <a:pt x="769" y="77"/>
                    </a:lnTo>
                    <a:lnTo>
                      <a:pt x="758" y="71"/>
                    </a:lnTo>
                    <a:lnTo>
                      <a:pt x="749" y="65"/>
                    </a:lnTo>
                    <a:lnTo>
                      <a:pt x="740" y="58"/>
                    </a:lnTo>
                    <a:lnTo>
                      <a:pt x="707" y="29"/>
                    </a:lnTo>
                    <a:lnTo>
                      <a:pt x="679" y="0"/>
                    </a:lnTo>
                    <a:lnTo>
                      <a:pt x="655" y="2"/>
                    </a:lnTo>
                    <a:lnTo>
                      <a:pt x="626" y="4"/>
                    </a:lnTo>
                    <a:lnTo>
                      <a:pt x="594" y="7"/>
                    </a:lnTo>
                    <a:lnTo>
                      <a:pt x="562" y="10"/>
                    </a:lnTo>
                    <a:lnTo>
                      <a:pt x="547" y="13"/>
                    </a:lnTo>
                    <a:lnTo>
                      <a:pt x="533" y="16"/>
                    </a:lnTo>
                    <a:lnTo>
                      <a:pt x="520" y="19"/>
                    </a:lnTo>
                    <a:lnTo>
                      <a:pt x="509" y="24"/>
                    </a:lnTo>
                    <a:lnTo>
                      <a:pt x="499" y="29"/>
                    </a:lnTo>
                    <a:lnTo>
                      <a:pt x="492" y="34"/>
                    </a:lnTo>
                    <a:lnTo>
                      <a:pt x="489" y="37"/>
                    </a:lnTo>
                    <a:lnTo>
                      <a:pt x="487" y="41"/>
                    </a:lnTo>
                    <a:lnTo>
                      <a:pt x="486" y="44"/>
                    </a:lnTo>
                    <a:lnTo>
                      <a:pt x="486" y="49"/>
                    </a:lnTo>
                    <a:lnTo>
                      <a:pt x="486" y="54"/>
                    </a:lnTo>
                    <a:lnTo>
                      <a:pt x="487" y="59"/>
                    </a:lnTo>
                    <a:lnTo>
                      <a:pt x="489" y="63"/>
                    </a:lnTo>
                    <a:lnTo>
                      <a:pt x="491" y="66"/>
                    </a:lnTo>
                    <a:lnTo>
                      <a:pt x="497" y="71"/>
                    </a:lnTo>
                    <a:lnTo>
                      <a:pt x="502" y="76"/>
                    </a:lnTo>
                    <a:lnTo>
                      <a:pt x="509" y="80"/>
                    </a:lnTo>
                    <a:lnTo>
                      <a:pt x="514" y="84"/>
                    </a:lnTo>
                    <a:lnTo>
                      <a:pt x="516" y="87"/>
                    </a:lnTo>
                    <a:lnTo>
                      <a:pt x="517" y="90"/>
                    </a:lnTo>
                    <a:lnTo>
                      <a:pt x="519" y="93"/>
                    </a:lnTo>
                    <a:lnTo>
                      <a:pt x="519" y="98"/>
                    </a:lnTo>
                    <a:lnTo>
                      <a:pt x="519" y="102"/>
                    </a:lnTo>
                    <a:lnTo>
                      <a:pt x="517" y="107"/>
                    </a:lnTo>
                    <a:lnTo>
                      <a:pt x="516" y="111"/>
                    </a:lnTo>
                    <a:lnTo>
                      <a:pt x="514" y="114"/>
                    </a:lnTo>
                    <a:lnTo>
                      <a:pt x="509" y="120"/>
                    </a:lnTo>
                    <a:lnTo>
                      <a:pt x="502" y="127"/>
                    </a:lnTo>
                    <a:lnTo>
                      <a:pt x="497" y="133"/>
                    </a:lnTo>
                    <a:lnTo>
                      <a:pt x="491" y="140"/>
                    </a:lnTo>
                    <a:lnTo>
                      <a:pt x="489" y="144"/>
                    </a:lnTo>
                    <a:lnTo>
                      <a:pt x="487" y="149"/>
                    </a:lnTo>
                    <a:lnTo>
                      <a:pt x="486" y="154"/>
                    </a:lnTo>
                    <a:lnTo>
                      <a:pt x="486" y="159"/>
                    </a:lnTo>
                    <a:lnTo>
                      <a:pt x="480" y="162"/>
                    </a:lnTo>
                    <a:lnTo>
                      <a:pt x="475" y="163"/>
                    </a:lnTo>
                    <a:lnTo>
                      <a:pt x="470" y="166"/>
                    </a:lnTo>
                    <a:lnTo>
                      <a:pt x="466" y="169"/>
                    </a:lnTo>
                    <a:lnTo>
                      <a:pt x="457" y="176"/>
                    </a:lnTo>
                    <a:lnTo>
                      <a:pt x="450" y="184"/>
                    </a:lnTo>
                    <a:lnTo>
                      <a:pt x="444" y="194"/>
                    </a:lnTo>
                    <a:lnTo>
                      <a:pt x="438" y="205"/>
                    </a:lnTo>
                    <a:lnTo>
                      <a:pt x="434" y="217"/>
                    </a:lnTo>
                    <a:lnTo>
                      <a:pt x="430" y="230"/>
                    </a:lnTo>
                    <a:lnTo>
                      <a:pt x="427" y="243"/>
                    </a:lnTo>
                    <a:lnTo>
                      <a:pt x="424" y="256"/>
                    </a:lnTo>
                    <a:lnTo>
                      <a:pt x="423" y="270"/>
                    </a:lnTo>
                    <a:lnTo>
                      <a:pt x="421" y="284"/>
                    </a:lnTo>
                    <a:lnTo>
                      <a:pt x="420" y="309"/>
                    </a:lnTo>
                    <a:lnTo>
                      <a:pt x="420" y="332"/>
                    </a:lnTo>
                    <a:lnTo>
                      <a:pt x="412" y="332"/>
                    </a:lnTo>
                    <a:lnTo>
                      <a:pt x="407" y="330"/>
                    </a:lnTo>
                    <a:lnTo>
                      <a:pt x="401" y="327"/>
                    </a:lnTo>
                    <a:lnTo>
                      <a:pt x="397" y="322"/>
                    </a:lnTo>
                    <a:lnTo>
                      <a:pt x="392" y="319"/>
                    </a:lnTo>
                    <a:lnTo>
                      <a:pt x="388" y="316"/>
                    </a:lnTo>
                    <a:lnTo>
                      <a:pt x="385" y="314"/>
                    </a:lnTo>
                    <a:lnTo>
                      <a:pt x="379" y="313"/>
                    </a:lnTo>
                    <a:lnTo>
                      <a:pt x="375" y="314"/>
                    </a:lnTo>
                    <a:lnTo>
                      <a:pt x="370" y="315"/>
                    </a:lnTo>
                    <a:lnTo>
                      <a:pt x="366" y="317"/>
                    </a:lnTo>
                    <a:lnTo>
                      <a:pt x="362" y="319"/>
                    </a:lnTo>
                    <a:lnTo>
                      <a:pt x="354" y="325"/>
                    </a:lnTo>
                    <a:lnTo>
                      <a:pt x="346" y="332"/>
                    </a:lnTo>
                    <a:lnTo>
                      <a:pt x="338" y="339"/>
                    </a:lnTo>
                    <a:lnTo>
                      <a:pt x="331" y="345"/>
                    </a:lnTo>
                    <a:lnTo>
                      <a:pt x="326" y="347"/>
                    </a:lnTo>
                    <a:lnTo>
                      <a:pt x="322" y="349"/>
                    </a:lnTo>
                    <a:lnTo>
                      <a:pt x="318" y="350"/>
                    </a:lnTo>
                    <a:lnTo>
                      <a:pt x="313" y="351"/>
                    </a:lnTo>
                    <a:lnTo>
                      <a:pt x="308" y="351"/>
                    </a:lnTo>
                    <a:lnTo>
                      <a:pt x="303" y="353"/>
                    </a:lnTo>
                    <a:lnTo>
                      <a:pt x="300" y="356"/>
                    </a:lnTo>
                    <a:lnTo>
                      <a:pt x="297" y="360"/>
                    </a:lnTo>
                    <a:lnTo>
                      <a:pt x="290" y="370"/>
                    </a:lnTo>
                    <a:lnTo>
                      <a:pt x="287" y="383"/>
                    </a:lnTo>
                    <a:lnTo>
                      <a:pt x="284" y="396"/>
                    </a:lnTo>
                    <a:lnTo>
                      <a:pt x="281" y="408"/>
                    </a:lnTo>
                    <a:lnTo>
                      <a:pt x="280" y="418"/>
                    </a:lnTo>
                    <a:lnTo>
                      <a:pt x="280" y="424"/>
                    </a:lnTo>
                    <a:lnTo>
                      <a:pt x="277" y="427"/>
                    </a:lnTo>
                    <a:lnTo>
                      <a:pt x="273" y="429"/>
                    </a:lnTo>
                    <a:lnTo>
                      <a:pt x="265" y="432"/>
                    </a:lnTo>
                    <a:lnTo>
                      <a:pt x="257" y="435"/>
                    </a:lnTo>
                    <a:lnTo>
                      <a:pt x="235" y="442"/>
                    </a:lnTo>
                    <a:lnTo>
                      <a:pt x="211" y="448"/>
                    </a:lnTo>
                    <a:lnTo>
                      <a:pt x="185" y="453"/>
                    </a:lnTo>
                    <a:lnTo>
                      <a:pt x="161" y="458"/>
                    </a:lnTo>
                    <a:lnTo>
                      <a:pt x="141" y="461"/>
                    </a:lnTo>
                    <a:lnTo>
                      <a:pt x="127" y="462"/>
                    </a:lnTo>
                    <a:lnTo>
                      <a:pt x="109" y="461"/>
                    </a:lnTo>
                    <a:lnTo>
                      <a:pt x="91" y="460"/>
                    </a:lnTo>
                    <a:lnTo>
                      <a:pt x="74" y="457"/>
                    </a:lnTo>
                    <a:lnTo>
                      <a:pt x="56" y="455"/>
                    </a:lnTo>
                    <a:lnTo>
                      <a:pt x="26" y="449"/>
                    </a:lnTo>
                    <a:lnTo>
                      <a:pt x="0" y="443"/>
                    </a:lnTo>
                    <a:lnTo>
                      <a:pt x="8" y="455"/>
                    </a:lnTo>
                    <a:lnTo>
                      <a:pt x="19" y="470"/>
                    </a:lnTo>
                    <a:lnTo>
                      <a:pt x="34" y="487"/>
                    </a:lnTo>
                    <a:lnTo>
                      <a:pt x="51" y="505"/>
                    </a:lnTo>
                    <a:lnTo>
                      <a:pt x="60" y="513"/>
                    </a:lnTo>
                    <a:lnTo>
                      <a:pt x="68" y="521"/>
                    </a:lnTo>
                    <a:lnTo>
                      <a:pt x="77" y="528"/>
                    </a:lnTo>
                    <a:lnTo>
                      <a:pt x="87" y="535"/>
                    </a:lnTo>
                    <a:lnTo>
                      <a:pt x="96" y="540"/>
                    </a:lnTo>
                    <a:lnTo>
                      <a:pt x="105" y="544"/>
                    </a:lnTo>
                    <a:lnTo>
                      <a:pt x="112" y="546"/>
                    </a:lnTo>
                    <a:lnTo>
                      <a:pt x="120" y="547"/>
                    </a:lnTo>
                    <a:lnTo>
                      <a:pt x="121" y="561"/>
                    </a:lnTo>
                    <a:lnTo>
                      <a:pt x="123" y="577"/>
                    </a:lnTo>
                    <a:lnTo>
                      <a:pt x="127" y="585"/>
                    </a:lnTo>
                    <a:lnTo>
                      <a:pt x="131" y="591"/>
                    </a:lnTo>
                    <a:lnTo>
                      <a:pt x="134" y="593"/>
                    </a:lnTo>
                    <a:lnTo>
                      <a:pt x="138" y="595"/>
                    </a:lnTo>
                    <a:lnTo>
                      <a:pt x="142" y="596"/>
                    </a:lnTo>
                    <a:lnTo>
                      <a:pt x="147" y="597"/>
                    </a:lnTo>
                    <a:lnTo>
                      <a:pt x="147" y="616"/>
                    </a:lnTo>
                    <a:lnTo>
                      <a:pt x="127" y="629"/>
                    </a:lnTo>
                    <a:lnTo>
                      <a:pt x="107" y="641"/>
                    </a:lnTo>
                    <a:lnTo>
                      <a:pt x="99" y="647"/>
                    </a:lnTo>
                    <a:lnTo>
                      <a:pt x="93" y="654"/>
                    </a:lnTo>
                    <a:lnTo>
                      <a:pt x="90" y="658"/>
                    </a:lnTo>
                    <a:lnTo>
                      <a:pt x="88" y="663"/>
                    </a:lnTo>
                    <a:lnTo>
                      <a:pt x="87" y="667"/>
                    </a:lnTo>
                    <a:lnTo>
                      <a:pt x="87" y="671"/>
                    </a:lnTo>
                    <a:lnTo>
                      <a:pt x="87" y="680"/>
                    </a:lnTo>
                    <a:lnTo>
                      <a:pt x="87" y="689"/>
                    </a:lnTo>
                    <a:lnTo>
                      <a:pt x="87" y="701"/>
                    </a:lnTo>
                    <a:lnTo>
                      <a:pt x="87" y="721"/>
                    </a:lnTo>
                    <a:lnTo>
                      <a:pt x="109" y="720"/>
                    </a:lnTo>
                    <a:lnTo>
                      <a:pt x="132" y="719"/>
                    </a:lnTo>
                    <a:lnTo>
                      <a:pt x="154" y="717"/>
                    </a:lnTo>
                    <a:lnTo>
                      <a:pt x="177" y="714"/>
                    </a:lnTo>
                    <a:lnTo>
                      <a:pt x="199" y="711"/>
                    </a:lnTo>
                    <a:lnTo>
                      <a:pt x="222" y="710"/>
                    </a:lnTo>
                    <a:lnTo>
                      <a:pt x="244" y="708"/>
                    </a:lnTo>
                    <a:lnTo>
                      <a:pt x="266" y="708"/>
                    </a:lnTo>
                    <a:lnTo>
                      <a:pt x="284" y="707"/>
                    </a:lnTo>
                    <a:lnTo>
                      <a:pt x="297" y="705"/>
                    </a:lnTo>
                    <a:lnTo>
                      <a:pt x="302" y="705"/>
                    </a:lnTo>
                    <a:lnTo>
                      <a:pt x="310" y="705"/>
                    </a:lnTo>
                    <a:lnTo>
                      <a:pt x="318" y="706"/>
                    </a:lnTo>
                    <a:lnTo>
                      <a:pt x="326" y="708"/>
                    </a:lnTo>
                    <a:lnTo>
                      <a:pt x="328" y="714"/>
                    </a:lnTo>
                    <a:lnTo>
                      <a:pt x="330" y="721"/>
                    </a:lnTo>
                    <a:lnTo>
                      <a:pt x="333" y="728"/>
                    </a:lnTo>
                    <a:lnTo>
                      <a:pt x="338" y="735"/>
                    </a:lnTo>
                    <a:lnTo>
                      <a:pt x="345" y="742"/>
                    </a:lnTo>
                    <a:lnTo>
                      <a:pt x="352" y="749"/>
                    </a:lnTo>
                    <a:lnTo>
                      <a:pt x="359" y="756"/>
                    </a:lnTo>
                    <a:lnTo>
                      <a:pt x="368" y="762"/>
                    </a:lnTo>
                    <a:lnTo>
                      <a:pt x="378" y="769"/>
                    </a:lnTo>
                    <a:lnTo>
                      <a:pt x="388" y="776"/>
                    </a:lnTo>
                    <a:lnTo>
                      <a:pt x="398" y="781"/>
                    </a:lnTo>
                    <a:lnTo>
                      <a:pt x="408" y="785"/>
                    </a:lnTo>
                    <a:lnTo>
                      <a:pt x="418" y="789"/>
                    </a:lnTo>
                    <a:lnTo>
                      <a:pt x="427" y="792"/>
                    </a:lnTo>
                    <a:lnTo>
                      <a:pt x="437" y="794"/>
                    </a:lnTo>
                    <a:lnTo>
                      <a:pt x="446" y="794"/>
                    </a:lnTo>
                    <a:lnTo>
                      <a:pt x="449" y="803"/>
                    </a:lnTo>
                    <a:lnTo>
                      <a:pt x="453" y="812"/>
                    </a:lnTo>
                    <a:lnTo>
                      <a:pt x="454" y="806"/>
                    </a:lnTo>
                    <a:lnTo>
                      <a:pt x="455" y="800"/>
                    </a:lnTo>
                    <a:lnTo>
                      <a:pt x="457" y="795"/>
                    </a:lnTo>
                    <a:lnTo>
                      <a:pt x="460" y="791"/>
                    </a:lnTo>
                    <a:lnTo>
                      <a:pt x="464" y="787"/>
                    </a:lnTo>
                    <a:lnTo>
                      <a:pt x="467" y="783"/>
                    </a:lnTo>
                    <a:lnTo>
                      <a:pt x="471" y="780"/>
                    </a:lnTo>
                    <a:lnTo>
                      <a:pt x="477" y="778"/>
                    </a:lnTo>
                    <a:lnTo>
                      <a:pt x="487" y="774"/>
                    </a:lnTo>
                    <a:lnTo>
                      <a:pt x="499" y="770"/>
                    </a:lnTo>
                    <a:lnTo>
                      <a:pt x="512" y="768"/>
                    </a:lnTo>
                    <a:lnTo>
                      <a:pt x="525" y="767"/>
                    </a:lnTo>
                    <a:lnTo>
                      <a:pt x="539" y="765"/>
                    </a:lnTo>
                    <a:lnTo>
                      <a:pt x="554" y="764"/>
                    </a:lnTo>
                    <a:lnTo>
                      <a:pt x="567" y="761"/>
                    </a:lnTo>
                    <a:lnTo>
                      <a:pt x="580" y="758"/>
                    </a:lnTo>
                    <a:lnTo>
                      <a:pt x="586" y="756"/>
                    </a:lnTo>
                    <a:lnTo>
                      <a:pt x="591" y="753"/>
                    </a:lnTo>
                    <a:lnTo>
                      <a:pt x="597" y="750"/>
                    </a:lnTo>
                    <a:lnTo>
                      <a:pt x="602" y="747"/>
                    </a:lnTo>
                    <a:lnTo>
                      <a:pt x="606" y="743"/>
                    </a:lnTo>
                    <a:lnTo>
                      <a:pt x="611" y="738"/>
                    </a:lnTo>
                    <a:lnTo>
                      <a:pt x="615" y="733"/>
                    </a:lnTo>
                    <a:lnTo>
                      <a:pt x="618" y="727"/>
                    </a:lnTo>
                    <a:lnTo>
                      <a:pt x="614" y="725"/>
                    </a:lnTo>
                    <a:lnTo>
                      <a:pt x="610" y="722"/>
                    </a:lnTo>
                    <a:lnTo>
                      <a:pt x="604" y="718"/>
                    </a:lnTo>
                    <a:lnTo>
                      <a:pt x="598" y="712"/>
                    </a:lnTo>
                    <a:lnTo>
                      <a:pt x="584" y="700"/>
                    </a:lnTo>
                    <a:lnTo>
                      <a:pt x="571" y="686"/>
                    </a:lnTo>
                    <a:lnTo>
                      <a:pt x="559" y="671"/>
                    </a:lnTo>
                    <a:lnTo>
                      <a:pt x="548" y="655"/>
                    </a:lnTo>
                    <a:lnTo>
                      <a:pt x="545" y="648"/>
                    </a:lnTo>
                    <a:lnTo>
                      <a:pt x="542" y="641"/>
                    </a:lnTo>
                    <a:lnTo>
                      <a:pt x="539" y="634"/>
                    </a:lnTo>
                    <a:lnTo>
                      <a:pt x="538" y="628"/>
                    </a:lnTo>
                    <a:lnTo>
                      <a:pt x="534" y="627"/>
                    </a:lnTo>
                    <a:lnTo>
                      <a:pt x="530" y="626"/>
                    </a:lnTo>
                    <a:lnTo>
                      <a:pt x="526" y="624"/>
                    </a:lnTo>
                    <a:lnTo>
                      <a:pt x="523" y="620"/>
                    </a:lnTo>
                    <a:lnTo>
                      <a:pt x="517" y="613"/>
                    </a:lnTo>
                    <a:lnTo>
                      <a:pt x="512" y="603"/>
                    </a:lnTo>
                    <a:lnTo>
                      <a:pt x="512" y="579"/>
                    </a:lnTo>
                    <a:lnTo>
                      <a:pt x="526" y="578"/>
                    </a:lnTo>
                    <a:lnTo>
                      <a:pt x="539" y="577"/>
                    </a:lnTo>
                    <a:lnTo>
                      <a:pt x="551" y="575"/>
                    </a:lnTo>
                    <a:lnTo>
                      <a:pt x="562" y="571"/>
                    </a:lnTo>
                    <a:lnTo>
                      <a:pt x="572" y="568"/>
                    </a:lnTo>
                    <a:lnTo>
                      <a:pt x="582" y="563"/>
                    </a:lnTo>
                    <a:lnTo>
                      <a:pt x="591" y="558"/>
                    </a:lnTo>
                    <a:lnTo>
                      <a:pt x="600" y="552"/>
                    </a:lnTo>
                    <a:lnTo>
                      <a:pt x="607" y="545"/>
                    </a:lnTo>
                    <a:lnTo>
                      <a:pt x="615" y="538"/>
                    </a:lnTo>
                    <a:lnTo>
                      <a:pt x="622" y="531"/>
                    </a:lnTo>
                    <a:lnTo>
                      <a:pt x="628" y="523"/>
                    </a:lnTo>
                    <a:lnTo>
                      <a:pt x="639" y="507"/>
                    </a:lnTo>
                    <a:lnTo>
                      <a:pt x="650" y="489"/>
                    </a:lnTo>
                    <a:lnTo>
                      <a:pt x="669" y="453"/>
                    </a:lnTo>
                    <a:lnTo>
                      <a:pt x="688" y="417"/>
                    </a:lnTo>
                    <a:lnTo>
                      <a:pt x="699" y="401"/>
                    </a:lnTo>
                    <a:lnTo>
                      <a:pt x="710" y="387"/>
                    </a:lnTo>
                    <a:lnTo>
                      <a:pt x="716" y="379"/>
                    </a:lnTo>
                    <a:lnTo>
                      <a:pt x="723" y="373"/>
                    </a:lnTo>
                    <a:lnTo>
                      <a:pt x="730" y="368"/>
                    </a:lnTo>
                    <a:lnTo>
                      <a:pt x="738" y="363"/>
                    </a:lnTo>
                    <a:lnTo>
                      <a:pt x="732" y="351"/>
                    </a:lnTo>
                    <a:lnTo>
                      <a:pt x="727" y="340"/>
                    </a:lnTo>
                    <a:lnTo>
                      <a:pt x="726" y="335"/>
                    </a:lnTo>
                    <a:lnTo>
                      <a:pt x="725" y="330"/>
                    </a:lnTo>
                    <a:lnTo>
                      <a:pt x="725" y="324"/>
                    </a:lnTo>
                    <a:lnTo>
                      <a:pt x="725" y="319"/>
                    </a:lnTo>
                    <a:lnTo>
                      <a:pt x="726" y="314"/>
                    </a:lnTo>
                    <a:lnTo>
                      <a:pt x="727" y="309"/>
                    </a:lnTo>
                    <a:lnTo>
                      <a:pt x="729" y="305"/>
                    </a:lnTo>
                    <a:lnTo>
                      <a:pt x="733" y="301"/>
                    </a:lnTo>
                    <a:lnTo>
                      <a:pt x="736" y="298"/>
                    </a:lnTo>
                    <a:lnTo>
                      <a:pt x="740" y="295"/>
                    </a:lnTo>
                    <a:lnTo>
                      <a:pt x="746" y="292"/>
                    </a:lnTo>
                    <a:lnTo>
                      <a:pt x="751" y="289"/>
                    </a:lnTo>
                    <a:lnTo>
                      <a:pt x="722" y="262"/>
                    </a:lnTo>
                    <a:lnTo>
                      <a:pt x="700" y="242"/>
                    </a:lnTo>
                    <a:lnTo>
                      <a:pt x="690" y="232"/>
                    </a:lnTo>
                    <a:lnTo>
                      <a:pt x="680" y="221"/>
                    </a:lnTo>
                    <a:lnTo>
                      <a:pt x="670" y="207"/>
                    </a:lnTo>
                    <a:lnTo>
                      <a:pt x="658" y="190"/>
                    </a:lnTo>
                    <a:lnTo>
                      <a:pt x="658" y="147"/>
                    </a:lnTo>
                    <a:lnTo>
                      <a:pt x="701" y="145"/>
                    </a:lnTo>
                    <a:lnTo>
                      <a:pt x="733" y="143"/>
                    </a:lnTo>
                    <a:lnTo>
                      <a:pt x="758" y="140"/>
                    </a:lnTo>
                    <a:lnTo>
                      <a:pt x="778" y="136"/>
                    </a:lnTo>
                    <a:lnTo>
                      <a:pt x="785" y="134"/>
                    </a:lnTo>
                    <a:lnTo>
                      <a:pt x="792" y="131"/>
                    </a:lnTo>
                    <a:lnTo>
                      <a:pt x="799" y="127"/>
                    </a:lnTo>
                    <a:lnTo>
                      <a:pt x="805" y="123"/>
                    </a:lnTo>
                    <a:lnTo>
                      <a:pt x="817" y="113"/>
                    </a:lnTo>
                    <a:lnTo>
                      <a:pt x="831" y="9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5" name="Freeform 262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12270055" y="3236485"/>
                <a:ext cx="220663" cy="585787"/>
              </a:xfrm>
              <a:custGeom>
                <a:avLst/>
                <a:gdLst>
                  <a:gd name="T0" fmla="*/ 2147483647 w 505"/>
                  <a:gd name="T1" fmla="*/ 2147483647 h 1121"/>
                  <a:gd name="T2" fmla="*/ 2147483647 w 505"/>
                  <a:gd name="T3" fmla="*/ 2147483647 h 1121"/>
                  <a:gd name="T4" fmla="*/ 2147483647 w 505"/>
                  <a:gd name="T5" fmla="*/ 2147483647 h 1121"/>
                  <a:gd name="T6" fmla="*/ 2147483647 w 505"/>
                  <a:gd name="T7" fmla="*/ 2147483647 h 1121"/>
                  <a:gd name="T8" fmla="*/ 2147483647 w 505"/>
                  <a:gd name="T9" fmla="*/ 2147483647 h 1121"/>
                  <a:gd name="T10" fmla="*/ 2147483647 w 505"/>
                  <a:gd name="T11" fmla="*/ 2147483647 h 1121"/>
                  <a:gd name="T12" fmla="*/ 2147483647 w 505"/>
                  <a:gd name="T13" fmla="*/ 2147483647 h 1121"/>
                  <a:gd name="T14" fmla="*/ 2147483647 w 505"/>
                  <a:gd name="T15" fmla="*/ 2147483647 h 1121"/>
                  <a:gd name="T16" fmla="*/ 2147483647 w 505"/>
                  <a:gd name="T17" fmla="*/ 2147483647 h 1121"/>
                  <a:gd name="T18" fmla="*/ 2147483647 w 505"/>
                  <a:gd name="T19" fmla="*/ 2147483647 h 1121"/>
                  <a:gd name="T20" fmla="*/ 2147483647 w 505"/>
                  <a:gd name="T21" fmla="*/ 2147483647 h 1121"/>
                  <a:gd name="T22" fmla="*/ 2147483647 w 505"/>
                  <a:gd name="T23" fmla="*/ 2147483647 h 1121"/>
                  <a:gd name="T24" fmla="*/ 2147483647 w 505"/>
                  <a:gd name="T25" fmla="*/ 2147483647 h 1121"/>
                  <a:gd name="T26" fmla="*/ 2147483647 w 505"/>
                  <a:gd name="T27" fmla="*/ 2147483647 h 1121"/>
                  <a:gd name="T28" fmla="*/ 2147483647 w 505"/>
                  <a:gd name="T29" fmla="*/ 2147483647 h 1121"/>
                  <a:gd name="T30" fmla="*/ 2147483647 w 505"/>
                  <a:gd name="T31" fmla="*/ 2147483647 h 1121"/>
                  <a:gd name="T32" fmla="*/ 667494651 w 505"/>
                  <a:gd name="T33" fmla="*/ 2147483647 h 1121"/>
                  <a:gd name="T34" fmla="*/ 1918855735 w 505"/>
                  <a:gd name="T35" fmla="*/ 2147483647 h 1121"/>
                  <a:gd name="T36" fmla="*/ 2147483647 w 505"/>
                  <a:gd name="T37" fmla="*/ 2147483647 h 1121"/>
                  <a:gd name="T38" fmla="*/ 2147483647 w 505"/>
                  <a:gd name="T39" fmla="*/ 2147483647 h 1121"/>
                  <a:gd name="T40" fmla="*/ 2147483647 w 505"/>
                  <a:gd name="T41" fmla="*/ 2147483647 h 1121"/>
                  <a:gd name="T42" fmla="*/ 2147483647 w 505"/>
                  <a:gd name="T43" fmla="*/ 2147483647 h 1121"/>
                  <a:gd name="T44" fmla="*/ 2147483647 w 505"/>
                  <a:gd name="T45" fmla="*/ 2147483647 h 1121"/>
                  <a:gd name="T46" fmla="*/ 2147483647 w 505"/>
                  <a:gd name="T47" fmla="*/ 2147483647 h 1121"/>
                  <a:gd name="T48" fmla="*/ 2147483647 w 505"/>
                  <a:gd name="T49" fmla="*/ 2147483647 h 1121"/>
                  <a:gd name="T50" fmla="*/ 2147483647 w 505"/>
                  <a:gd name="T51" fmla="*/ 2147483647 h 1121"/>
                  <a:gd name="T52" fmla="*/ 2147483647 w 505"/>
                  <a:gd name="T53" fmla="*/ 2147483647 h 1121"/>
                  <a:gd name="T54" fmla="*/ 2147483647 w 505"/>
                  <a:gd name="T55" fmla="*/ 2147483647 h 1121"/>
                  <a:gd name="T56" fmla="*/ 2147483647 w 505"/>
                  <a:gd name="T57" fmla="*/ 2147483647 h 1121"/>
                  <a:gd name="T58" fmla="*/ 2147483647 w 505"/>
                  <a:gd name="T59" fmla="*/ 2147483647 h 1121"/>
                  <a:gd name="T60" fmla="*/ 2147483647 w 505"/>
                  <a:gd name="T61" fmla="*/ 2147483647 h 1121"/>
                  <a:gd name="T62" fmla="*/ 2147483647 w 505"/>
                  <a:gd name="T63" fmla="*/ 2147483647 h 1121"/>
                  <a:gd name="T64" fmla="*/ 2147483647 w 505"/>
                  <a:gd name="T65" fmla="*/ 2147483647 h 1121"/>
                  <a:gd name="T66" fmla="*/ 2147483647 w 505"/>
                  <a:gd name="T67" fmla="*/ 2147483647 h 1121"/>
                  <a:gd name="T68" fmla="*/ 2147483647 w 505"/>
                  <a:gd name="T69" fmla="*/ 2147483647 h 1121"/>
                  <a:gd name="T70" fmla="*/ 2147483647 w 505"/>
                  <a:gd name="T71" fmla="*/ 2147483647 h 1121"/>
                  <a:gd name="T72" fmla="*/ 2147483647 w 505"/>
                  <a:gd name="T73" fmla="*/ 2147483647 h 1121"/>
                  <a:gd name="T74" fmla="*/ 2147483647 w 505"/>
                  <a:gd name="T75" fmla="*/ 2147483647 h 1121"/>
                  <a:gd name="T76" fmla="*/ 2147483647 w 505"/>
                  <a:gd name="T77" fmla="*/ 2147483647 h 1121"/>
                  <a:gd name="T78" fmla="*/ 2147483647 w 505"/>
                  <a:gd name="T79" fmla="*/ 2147483647 h 1121"/>
                  <a:gd name="T80" fmla="*/ 2147483647 w 505"/>
                  <a:gd name="T81" fmla="*/ 2147483647 h 1121"/>
                  <a:gd name="T82" fmla="*/ 2147483647 w 505"/>
                  <a:gd name="T83" fmla="*/ 2147483647 h 1121"/>
                  <a:gd name="T84" fmla="*/ 2147483647 w 505"/>
                  <a:gd name="T85" fmla="*/ 2147483647 h 1121"/>
                  <a:gd name="T86" fmla="*/ 2147483647 w 505"/>
                  <a:gd name="T87" fmla="*/ 2147483647 h 1121"/>
                  <a:gd name="T88" fmla="*/ 2147483647 w 505"/>
                  <a:gd name="T89" fmla="*/ 2147483647 h 1121"/>
                  <a:gd name="T90" fmla="*/ 2147483647 w 505"/>
                  <a:gd name="T91" fmla="*/ 2147483647 h 1121"/>
                  <a:gd name="T92" fmla="*/ 2147483647 w 505"/>
                  <a:gd name="T93" fmla="*/ 2147483647 h 1121"/>
                  <a:gd name="T94" fmla="*/ 2147483647 w 505"/>
                  <a:gd name="T95" fmla="*/ 2147483647 h 1121"/>
                  <a:gd name="T96" fmla="*/ 2147483647 w 505"/>
                  <a:gd name="T97" fmla="*/ 2147483647 h 1121"/>
                  <a:gd name="T98" fmla="*/ 2147483647 w 505"/>
                  <a:gd name="T99" fmla="*/ 2147483647 h 1121"/>
                  <a:gd name="T100" fmla="*/ 2147483647 w 505"/>
                  <a:gd name="T101" fmla="*/ 2147483647 h 1121"/>
                  <a:gd name="T102" fmla="*/ 2147483647 w 505"/>
                  <a:gd name="T103" fmla="*/ 2147483647 h 112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6" name="Freeform 263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9593530" y="3746072"/>
                <a:ext cx="80963" cy="58738"/>
              </a:xfrm>
              <a:custGeom>
                <a:avLst/>
                <a:gdLst>
                  <a:gd name="T0" fmla="*/ 2147483647 w 180"/>
                  <a:gd name="T1" fmla="*/ 1009686815 h 112"/>
                  <a:gd name="T2" fmla="*/ 2147483647 w 180"/>
                  <a:gd name="T3" fmla="*/ 2147483647 h 112"/>
                  <a:gd name="T4" fmla="*/ 2147483647 w 180"/>
                  <a:gd name="T5" fmla="*/ 2147483647 h 112"/>
                  <a:gd name="T6" fmla="*/ 2147483647 w 180"/>
                  <a:gd name="T7" fmla="*/ 2147483647 h 112"/>
                  <a:gd name="T8" fmla="*/ 2147483647 w 180"/>
                  <a:gd name="T9" fmla="*/ 2147483647 h 112"/>
                  <a:gd name="T10" fmla="*/ 2147483647 w 180"/>
                  <a:gd name="T11" fmla="*/ 2147483647 h 112"/>
                  <a:gd name="T12" fmla="*/ 2147483647 w 180"/>
                  <a:gd name="T13" fmla="*/ 2147483647 h 112"/>
                  <a:gd name="T14" fmla="*/ 2147483647 w 180"/>
                  <a:gd name="T15" fmla="*/ 2147483647 h 112"/>
                  <a:gd name="T16" fmla="*/ 2147483647 w 180"/>
                  <a:gd name="T17" fmla="*/ 2147483647 h 112"/>
                  <a:gd name="T18" fmla="*/ 2147483647 w 180"/>
                  <a:gd name="T19" fmla="*/ 2147483647 h 112"/>
                  <a:gd name="T20" fmla="*/ 2147483647 w 180"/>
                  <a:gd name="T21" fmla="*/ 2147483647 h 112"/>
                  <a:gd name="T22" fmla="*/ 2147483647 w 180"/>
                  <a:gd name="T23" fmla="*/ 2147483647 h 112"/>
                  <a:gd name="T24" fmla="*/ 2147483647 w 180"/>
                  <a:gd name="T25" fmla="*/ 2147483647 h 112"/>
                  <a:gd name="T26" fmla="*/ 2147483647 w 180"/>
                  <a:gd name="T27" fmla="*/ 2147483647 h 112"/>
                  <a:gd name="T28" fmla="*/ 2147483647 w 180"/>
                  <a:gd name="T29" fmla="*/ 2147483647 h 112"/>
                  <a:gd name="T30" fmla="*/ 2147483647 w 180"/>
                  <a:gd name="T31" fmla="*/ 2147483647 h 112"/>
                  <a:gd name="T32" fmla="*/ 2147483647 w 180"/>
                  <a:gd name="T33" fmla="*/ 2147483647 h 112"/>
                  <a:gd name="T34" fmla="*/ 2147483647 w 180"/>
                  <a:gd name="T35" fmla="*/ 2147483647 h 112"/>
                  <a:gd name="T36" fmla="*/ 2147483647 w 180"/>
                  <a:gd name="T37" fmla="*/ 2147483647 h 112"/>
                  <a:gd name="T38" fmla="*/ 2147483647 w 180"/>
                  <a:gd name="T39" fmla="*/ 2147483647 h 112"/>
                  <a:gd name="T40" fmla="*/ 2147483647 w 180"/>
                  <a:gd name="T41" fmla="*/ 2147483647 h 112"/>
                  <a:gd name="T42" fmla="*/ 1637942662 w 180"/>
                  <a:gd name="T43" fmla="*/ 2147483647 h 112"/>
                  <a:gd name="T44" fmla="*/ 0 w 180"/>
                  <a:gd name="T45" fmla="*/ 2147483647 h 112"/>
                  <a:gd name="T46" fmla="*/ 2147483647 w 180"/>
                  <a:gd name="T47" fmla="*/ 2019373631 h 112"/>
                  <a:gd name="T48" fmla="*/ 2147483647 w 180"/>
                  <a:gd name="T49" fmla="*/ 1298207871 h 112"/>
                  <a:gd name="T50" fmla="*/ 2147483647 w 180"/>
                  <a:gd name="T51" fmla="*/ 721165759 h 112"/>
                  <a:gd name="T52" fmla="*/ 2147483647 w 180"/>
                  <a:gd name="T53" fmla="*/ 432644179 h 112"/>
                  <a:gd name="T54" fmla="*/ 2147483647 w 180"/>
                  <a:gd name="T55" fmla="*/ 144123123 h 112"/>
                  <a:gd name="T56" fmla="*/ 2147483647 w 180"/>
                  <a:gd name="T57" fmla="*/ 0 h 112"/>
                  <a:gd name="T58" fmla="*/ 2147483647 w 180"/>
                  <a:gd name="T59" fmla="*/ 144123123 h 112"/>
                  <a:gd name="T60" fmla="*/ 2147483647 w 180"/>
                  <a:gd name="T61" fmla="*/ 432644179 h 112"/>
                  <a:gd name="T62" fmla="*/ 2147483647 w 180"/>
                  <a:gd name="T63" fmla="*/ 1009686815 h 11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7" name="Freeform 264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9677668" y="3828622"/>
                <a:ext cx="74612" cy="100013"/>
              </a:xfrm>
              <a:custGeom>
                <a:avLst/>
                <a:gdLst>
                  <a:gd name="T0" fmla="*/ 0 w 173"/>
                  <a:gd name="T1" fmla="*/ 2147483647 h 192"/>
                  <a:gd name="T2" fmla="*/ 2147483647 w 173"/>
                  <a:gd name="T3" fmla="*/ 2147483647 h 192"/>
                  <a:gd name="T4" fmla="*/ 2147483647 w 173"/>
                  <a:gd name="T5" fmla="*/ 2147483647 h 192"/>
                  <a:gd name="T6" fmla="*/ 2147483647 w 173"/>
                  <a:gd name="T7" fmla="*/ 2147483647 h 192"/>
                  <a:gd name="T8" fmla="*/ 2147483647 w 173"/>
                  <a:gd name="T9" fmla="*/ 1696132969 h 192"/>
                  <a:gd name="T10" fmla="*/ 2147483647 w 173"/>
                  <a:gd name="T11" fmla="*/ 1130665197 h 192"/>
                  <a:gd name="T12" fmla="*/ 2147483647 w 173"/>
                  <a:gd name="T13" fmla="*/ 847931050 h 192"/>
                  <a:gd name="T14" fmla="*/ 2147483647 w 173"/>
                  <a:gd name="T15" fmla="*/ 424100959 h 192"/>
                  <a:gd name="T16" fmla="*/ 2147483647 w 173"/>
                  <a:gd name="T17" fmla="*/ 282734146 h 192"/>
                  <a:gd name="T18" fmla="*/ 2147483647 w 173"/>
                  <a:gd name="T19" fmla="*/ 141366813 h 192"/>
                  <a:gd name="T20" fmla="*/ 2147483647 w 173"/>
                  <a:gd name="T21" fmla="*/ 0 h 192"/>
                  <a:gd name="T22" fmla="*/ 2147483647 w 173"/>
                  <a:gd name="T23" fmla="*/ 141366813 h 192"/>
                  <a:gd name="T24" fmla="*/ 2147483647 w 173"/>
                  <a:gd name="T25" fmla="*/ 282734146 h 192"/>
                  <a:gd name="T26" fmla="*/ 2147483647 w 173"/>
                  <a:gd name="T27" fmla="*/ 706835106 h 192"/>
                  <a:gd name="T28" fmla="*/ 2147483647 w 173"/>
                  <a:gd name="T29" fmla="*/ 1130665197 h 192"/>
                  <a:gd name="T30" fmla="*/ 2147483647 w 173"/>
                  <a:gd name="T31" fmla="*/ 1837500302 h 192"/>
                  <a:gd name="T32" fmla="*/ 2147483647 w 173"/>
                  <a:gd name="T33" fmla="*/ 2147483647 h 192"/>
                  <a:gd name="T34" fmla="*/ 2147483647 w 173"/>
                  <a:gd name="T35" fmla="*/ 2147483647 h 192"/>
                  <a:gd name="T36" fmla="*/ 2147483647 w 173"/>
                  <a:gd name="T37" fmla="*/ 2147483647 h 192"/>
                  <a:gd name="T38" fmla="*/ 2147483647 w 173"/>
                  <a:gd name="T39" fmla="*/ 2147483647 h 192"/>
                  <a:gd name="T40" fmla="*/ 2147483647 w 173"/>
                  <a:gd name="T41" fmla="*/ 2147483647 h 192"/>
                  <a:gd name="T42" fmla="*/ 2147483647 w 173"/>
                  <a:gd name="T43" fmla="*/ 2147483647 h 192"/>
                  <a:gd name="T44" fmla="*/ 2147483647 w 173"/>
                  <a:gd name="T45" fmla="*/ 2147483647 h 192"/>
                  <a:gd name="T46" fmla="*/ 2147483647 w 173"/>
                  <a:gd name="T47" fmla="*/ 2147483647 h 192"/>
                  <a:gd name="T48" fmla="*/ 2147483647 w 173"/>
                  <a:gd name="T49" fmla="*/ 2147483647 h 192"/>
                  <a:gd name="T50" fmla="*/ 2147483647 w 173"/>
                  <a:gd name="T51" fmla="*/ 2147483647 h 192"/>
                  <a:gd name="T52" fmla="*/ 2147483647 w 173"/>
                  <a:gd name="T53" fmla="*/ 2147483647 h 192"/>
                  <a:gd name="T54" fmla="*/ 2147483647 w 173"/>
                  <a:gd name="T55" fmla="*/ 2147483647 h 192"/>
                  <a:gd name="T56" fmla="*/ 2147483647 w 173"/>
                  <a:gd name="T57" fmla="*/ 2147483647 h 192"/>
                  <a:gd name="T58" fmla="*/ 2147483647 w 173"/>
                  <a:gd name="T59" fmla="*/ 2147483647 h 192"/>
                  <a:gd name="T60" fmla="*/ 2147483647 w 173"/>
                  <a:gd name="T61" fmla="*/ 2147483647 h 192"/>
                  <a:gd name="T62" fmla="*/ 2147483647 w 173"/>
                  <a:gd name="T63" fmla="*/ 2147483647 h 192"/>
                  <a:gd name="T64" fmla="*/ 2147483647 w 173"/>
                  <a:gd name="T65" fmla="*/ 2147483647 h 192"/>
                  <a:gd name="T66" fmla="*/ 2147483647 w 173"/>
                  <a:gd name="T67" fmla="*/ 2147483647 h 192"/>
                  <a:gd name="T68" fmla="*/ 2147483647 w 173"/>
                  <a:gd name="T69" fmla="*/ 2147483647 h 192"/>
                  <a:gd name="T70" fmla="*/ 2147483647 w 173"/>
                  <a:gd name="T71" fmla="*/ 2147483647 h 192"/>
                  <a:gd name="T72" fmla="*/ 2147483647 w 173"/>
                  <a:gd name="T73" fmla="*/ 2147483647 h 192"/>
                  <a:gd name="T74" fmla="*/ 2147483647 w 173"/>
                  <a:gd name="T75" fmla="*/ 2147483647 h 192"/>
                  <a:gd name="T76" fmla="*/ 2147483647 w 173"/>
                  <a:gd name="T77" fmla="*/ 2147483647 h 192"/>
                  <a:gd name="T78" fmla="*/ 1764817475 w 173"/>
                  <a:gd name="T79" fmla="*/ 2147483647 h 192"/>
                  <a:gd name="T80" fmla="*/ 1283622260 w 173"/>
                  <a:gd name="T81" fmla="*/ 2147483647 h 192"/>
                  <a:gd name="T82" fmla="*/ 722072509 w 173"/>
                  <a:gd name="T83" fmla="*/ 2147483647 h 192"/>
                  <a:gd name="T84" fmla="*/ 0 w 173"/>
                  <a:gd name="T85" fmla="*/ 2147483647 h 1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8" name="Freeform 265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9720530" y="3879422"/>
                <a:ext cx="104775" cy="131763"/>
              </a:xfrm>
              <a:custGeom>
                <a:avLst/>
                <a:gdLst>
                  <a:gd name="T0" fmla="*/ 2147483647 w 233"/>
                  <a:gd name="T1" fmla="*/ 0 h 252"/>
                  <a:gd name="T2" fmla="*/ 2147483647 w 233"/>
                  <a:gd name="T3" fmla="*/ 285968062 h 252"/>
                  <a:gd name="T4" fmla="*/ 2147483647 w 233"/>
                  <a:gd name="T5" fmla="*/ 428952355 h 252"/>
                  <a:gd name="T6" fmla="*/ 2147483647 w 233"/>
                  <a:gd name="T7" fmla="*/ 428952355 h 252"/>
                  <a:gd name="T8" fmla="*/ 2147483647 w 233"/>
                  <a:gd name="T9" fmla="*/ 285968062 h 252"/>
                  <a:gd name="T10" fmla="*/ 2147483647 w 233"/>
                  <a:gd name="T11" fmla="*/ 142984293 h 252"/>
                  <a:gd name="T12" fmla="*/ 2147483647 w 233"/>
                  <a:gd name="T13" fmla="*/ 0 h 252"/>
                  <a:gd name="T14" fmla="*/ 2147483647 w 233"/>
                  <a:gd name="T15" fmla="*/ 2147483647 h 252"/>
                  <a:gd name="T16" fmla="*/ 2147483647 w 233"/>
                  <a:gd name="T17" fmla="*/ 2147483647 h 252"/>
                  <a:gd name="T18" fmla="*/ 2147483647 w 233"/>
                  <a:gd name="T19" fmla="*/ 2147483647 h 252"/>
                  <a:gd name="T20" fmla="*/ 2147483647 w 233"/>
                  <a:gd name="T21" fmla="*/ 2147483647 h 252"/>
                  <a:gd name="T22" fmla="*/ 2147483647 w 233"/>
                  <a:gd name="T23" fmla="*/ 2147483647 h 252"/>
                  <a:gd name="T24" fmla="*/ 2147483647 w 233"/>
                  <a:gd name="T25" fmla="*/ 2147483647 h 252"/>
                  <a:gd name="T26" fmla="*/ 2147483647 w 233"/>
                  <a:gd name="T27" fmla="*/ 2147483647 h 252"/>
                  <a:gd name="T28" fmla="*/ 2147483647 w 233"/>
                  <a:gd name="T29" fmla="*/ 2147483647 h 252"/>
                  <a:gd name="T30" fmla="*/ 2147483647 w 233"/>
                  <a:gd name="T31" fmla="*/ 2147483647 h 252"/>
                  <a:gd name="T32" fmla="*/ 2147483647 w 233"/>
                  <a:gd name="T33" fmla="*/ 2147483647 h 252"/>
                  <a:gd name="T34" fmla="*/ 2147483647 w 233"/>
                  <a:gd name="T35" fmla="*/ 2147483647 h 252"/>
                  <a:gd name="T36" fmla="*/ 2147483647 w 233"/>
                  <a:gd name="T37" fmla="*/ 2147483647 h 252"/>
                  <a:gd name="T38" fmla="*/ 2147483647 w 233"/>
                  <a:gd name="T39" fmla="*/ 2147483647 h 252"/>
                  <a:gd name="T40" fmla="*/ 2147483647 w 233"/>
                  <a:gd name="T41" fmla="*/ 2147483647 h 252"/>
                  <a:gd name="T42" fmla="*/ 2147483647 w 233"/>
                  <a:gd name="T43" fmla="*/ 2147483647 h 252"/>
                  <a:gd name="T44" fmla="*/ 2147483647 w 233"/>
                  <a:gd name="T45" fmla="*/ 2147483647 h 252"/>
                  <a:gd name="T46" fmla="*/ 2147483647 w 233"/>
                  <a:gd name="T47" fmla="*/ 2147483647 h 252"/>
                  <a:gd name="T48" fmla="*/ 2147483647 w 233"/>
                  <a:gd name="T49" fmla="*/ 2147483647 h 252"/>
                  <a:gd name="T50" fmla="*/ 2147483647 w 233"/>
                  <a:gd name="T51" fmla="*/ 2147483647 h 252"/>
                  <a:gd name="T52" fmla="*/ 2147483647 w 233"/>
                  <a:gd name="T53" fmla="*/ 2147483647 h 252"/>
                  <a:gd name="T54" fmla="*/ 2147483647 w 233"/>
                  <a:gd name="T55" fmla="*/ 2147483647 h 252"/>
                  <a:gd name="T56" fmla="*/ 2147483647 w 233"/>
                  <a:gd name="T57" fmla="*/ 2147483647 h 252"/>
                  <a:gd name="T58" fmla="*/ 2147483647 w 233"/>
                  <a:gd name="T59" fmla="*/ 2147483647 h 252"/>
                  <a:gd name="T60" fmla="*/ 2147483647 w 233"/>
                  <a:gd name="T61" fmla="*/ 2147483647 h 252"/>
                  <a:gd name="T62" fmla="*/ 2147483647 w 233"/>
                  <a:gd name="T63" fmla="*/ 2147483647 h 252"/>
                  <a:gd name="T64" fmla="*/ 2147483647 w 233"/>
                  <a:gd name="T65" fmla="*/ 2147483647 h 252"/>
                  <a:gd name="T66" fmla="*/ 2147483647 w 233"/>
                  <a:gd name="T67" fmla="*/ 2147483647 h 252"/>
                  <a:gd name="T68" fmla="*/ 2147483647 w 233"/>
                  <a:gd name="T69" fmla="*/ 2147483647 h 252"/>
                  <a:gd name="T70" fmla="*/ 2147483647 w 233"/>
                  <a:gd name="T71" fmla="*/ 2147483647 h 252"/>
                  <a:gd name="T72" fmla="*/ 2147483647 w 233"/>
                  <a:gd name="T73" fmla="*/ 2147483647 h 252"/>
                  <a:gd name="T74" fmla="*/ 2147483647 w 233"/>
                  <a:gd name="T75" fmla="*/ 2147483647 h 252"/>
                  <a:gd name="T76" fmla="*/ 2147483647 w 233"/>
                  <a:gd name="T77" fmla="*/ 2147483647 h 252"/>
                  <a:gd name="T78" fmla="*/ 2147483647 w 233"/>
                  <a:gd name="T79" fmla="*/ 2147483647 h 252"/>
                  <a:gd name="T80" fmla="*/ 2147483647 w 233"/>
                  <a:gd name="T81" fmla="*/ 2147483647 h 252"/>
                  <a:gd name="T82" fmla="*/ 2147483647 w 233"/>
                  <a:gd name="T83" fmla="*/ 2147483647 h 252"/>
                  <a:gd name="T84" fmla="*/ 2147483647 w 233"/>
                  <a:gd name="T85" fmla="*/ 2147483647 h 252"/>
                  <a:gd name="T86" fmla="*/ 2147483647 w 233"/>
                  <a:gd name="T87" fmla="*/ 2147483647 h 252"/>
                  <a:gd name="T88" fmla="*/ 2147483647 w 233"/>
                  <a:gd name="T89" fmla="*/ 2147483647 h 252"/>
                  <a:gd name="T90" fmla="*/ 2147483647 w 233"/>
                  <a:gd name="T91" fmla="*/ 2147483647 h 252"/>
                  <a:gd name="T92" fmla="*/ 1545898466 w 233"/>
                  <a:gd name="T93" fmla="*/ 2147483647 h 252"/>
                  <a:gd name="T94" fmla="*/ 0 w 233"/>
                  <a:gd name="T95" fmla="*/ 2147483647 h 252"/>
                  <a:gd name="T96" fmla="*/ 2147483647 w 233"/>
                  <a:gd name="T97" fmla="*/ 2147483647 h 252"/>
                  <a:gd name="T98" fmla="*/ 2147483647 w 233"/>
                  <a:gd name="T99" fmla="*/ 2147483647 h 252"/>
                  <a:gd name="T100" fmla="*/ 2147483647 w 233"/>
                  <a:gd name="T101" fmla="*/ 2147483647 h 252"/>
                  <a:gd name="T102" fmla="*/ 2147483647 w 233"/>
                  <a:gd name="T103" fmla="*/ 2147483647 h 252"/>
                  <a:gd name="T104" fmla="*/ 2147483647 w 233"/>
                  <a:gd name="T105" fmla="*/ 2001229516 h 252"/>
                  <a:gd name="T106" fmla="*/ 2147483647 w 233"/>
                  <a:gd name="T107" fmla="*/ 0 h 2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9" name="Freeform 266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9934843" y="3798460"/>
                <a:ext cx="104775" cy="201612"/>
              </a:xfrm>
              <a:custGeom>
                <a:avLst/>
                <a:gdLst>
                  <a:gd name="T0" fmla="*/ 1004429797 w 246"/>
                  <a:gd name="T1" fmla="*/ 2147483647 h 380"/>
                  <a:gd name="T2" fmla="*/ 1081707748 w 246"/>
                  <a:gd name="T3" fmla="*/ 2147483647 h 380"/>
                  <a:gd name="T4" fmla="*/ 1158985699 w 246"/>
                  <a:gd name="T5" fmla="*/ 2147483647 h 380"/>
                  <a:gd name="T6" fmla="*/ 1390637687 w 246"/>
                  <a:gd name="T7" fmla="*/ 2147483647 h 380"/>
                  <a:gd name="T8" fmla="*/ 1545193164 w 246"/>
                  <a:gd name="T9" fmla="*/ 2147483647 h 380"/>
                  <a:gd name="T10" fmla="*/ 1931582068 w 246"/>
                  <a:gd name="T11" fmla="*/ 2147483647 h 380"/>
                  <a:gd name="T12" fmla="*/ 2008860019 w 246"/>
                  <a:gd name="T13" fmla="*/ 2147483647 h 380"/>
                  <a:gd name="T14" fmla="*/ 1931582068 w 246"/>
                  <a:gd name="T15" fmla="*/ 2147483647 h 380"/>
                  <a:gd name="T16" fmla="*/ 1777026591 w 246"/>
                  <a:gd name="T17" fmla="*/ 2147483647 h 380"/>
                  <a:gd name="T18" fmla="*/ 1467915213 w 246"/>
                  <a:gd name="T19" fmla="*/ 2147483647 h 380"/>
                  <a:gd name="T20" fmla="*/ 1004429797 w 246"/>
                  <a:gd name="T21" fmla="*/ 2147483647 h 380"/>
                  <a:gd name="T22" fmla="*/ 695318844 w 246"/>
                  <a:gd name="T23" fmla="*/ 2147483647 h 380"/>
                  <a:gd name="T24" fmla="*/ 309111379 w 246"/>
                  <a:gd name="T25" fmla="*/ 2147483647 h 380"/>
                  <a:gd name="T26" fmla="*/ 77277951 w 246"/>
                  <a:gd name="T27" fmla="*/ 2147483647 h 380"/>
                  <a:gd name="T28" fmla="*/ 0 w 246"/>
                  <a:gd name="T29" fmla="*/ 2147483647 h 380"/>
                  <a:gd name="T30" fmla="*/ 77277951 w 246"/>
                  <a:gd name="T31" fmla="*/ 2147483647 h 380"/>
                  <a:gd name="T32" fmla="*/ 154555477 w 246"/>
                  <a:gd name="T33" fmla="*/ 2147483647 h 380"/>
                  <a:gd name="T34" fmla="*/ 231833428 w 246"/>
                  <a:gd name="T35" fmla="*/ 2147483647 h 380"/>
                  <a:gd name="T36" fmla="*/ 463485416 w 246"/>
                  <a:gd name="T37" fmla="*/ 2147483647 h 380"/>
                  <a:gd name="T38" fmla="*/ 849874320 w 246"/>
                  <a:gd name="T39" fmla="*/ 2147483647 h 380"/>
                  <a:gd name="T40" fmla="*/ 1467915213 w 246"/>
                  <a:gd name="T41" fmla="*/ 2147483647 h 380"/>
                  <a:gd name="T42" fmla="*/ 2008860019 w 246"/>
                  <a:gd name="T43" fmla="*/ 2147483647 h 380"/>
                  <a:gd name="T44" fmla="*/ 2147483647 w 246"/>
                  <a:gd name="T45" fmla="*/ 2147483647 h 380"/>
                  <a:gd name="T46" fmla="*/ 2147483647 w 246"/>
                  <a:gd name="T47" fmla="*/ 2147483647 h 380"/>
                  <a:gd name="T48" fmla="*/ 2147483647 w 246"/>
                  <a:gd name="T49" fmla="*/ 2147483647 h 380"/>
                  <a:gd name="T50" fmla="*/ 2008860019 w 246"/>
                  <a:gd name="T51" fmla="*/ 2147483647 h 380"/>
                  <a:gd name="T52" fmla="*/ 2008860019 w 246"/>
                  <a:gd name="T53" fmla="*/ 2147483647 h 380"/>
                  <a:gd name="T54" fmla="*/ 1854304117 w 246"/>
                  <a:gd name="T55" fmla="*/ 2147483647 h 380"/>
                  <a:gd name="T56" fmla="*/ 1854304117 w 246"/>
                  <a:gd name="T57" fmla="*/ 2147483647 h 380"/>
                  <a:gd name="T58" fmla="*/ 1854304117 w 246"/>
                  <a:gd name="T59" fmla="*/ 2147483647 h 380"/>
                  <a:gd name="T60" fmla="*/ 1931582068 w 246"/>
                  <a:gd name="T61" fmla="*/ 1194650845 h 380"/>
                  <a:gd name="T62" fmla="*/ 2008860019 w 246"/>
                  <a:gd name="T63" fmla="*/ 0 h 380"/>
                  <a:gd name="T64" fmla="*/ 2147483647 w 246"/>
                  <a:gd name="T65" fmla="*/ 0 h 380"/>
                  <a:gd name="T66" fmla="*/ 2147483647 w 246"/>
                  <a:gd name="T67" fmla="*/ 2147483647 h 380"/>
                  <a:gd name="T68" fmla="*/ 2147483647 w 246"/>
                  <a:gd name="T69" fmla="*/ 2147483647 h 380"/>
                  <a:gd name="T70" fmla="*/ 2147483647 w 246"/>
                  <a:gd name="T71" fmla="*/ 2147483647 h 380"/>
                  <a:gd name="T72" fmla="*/ 2147483647 w 246"/>
                  <a:gd name="T73" fmla="*/ 2147483647 h 380"/>
                  <a:gd name="T74" fmla="*/ 2147483647 w 246"/>
                  <a:gd name="T75" fmla="*/ 2147483647 h 380"/>
                  <a:gd name="T76" fmla="*/ 2147483647 w 246"/>
                  <a:gd name="T77" fmla="*/ 2147483647 h 380"/>
                  <a:gd name="T78" fmla="*/ 2147483647 w 246"/>
                  <a:gd name="T79" fmla="*/ 2147483647 h 380"/>
                  <a:gd name="T80" fmla="*/ 2147483647 w 246"/>
                  <a:gd name="T81" fmla="*/ 2147483647 h 380"/>
                  <a:gd name="T82" fmla="*/ 2147483647 w 246"/>
                  <a:gd name="T83" fmla="*/ 2147483647 h 380"/>
                  <a:gd name="T84" fmla="*/ 2147483647 w 246"/>
                  <a:gd name="T85" fmla="*/ 2147483647 h 380"/>
                  <a:gd name="T86" fmla="*/ 2147483647 w 246"/>
                  <a:gd name="T87" fmla="*/ 2147483647 h 380"/>
                  <a:gd name="T88" fmla="*/ 2147483647 w 246"/>
                  <a:gd name="T89" fmla="*/ 2147483647 h 380"/>
                  <a:gd name="T90" fmla="*/ 2147483647 w 246"/>
                  <a:gd name="T91" fmla="*/ 2147483647 h 380"/>
                  <a:gd name="T92" fmla="*/ 2147483647 w 246"/>
                  <a:gd name="T93" fmla="*/ 2147483647 h 380"/>
                  <a:gd name="T94" fmla="*/ 2147483647 w 246"/>
                  <a:gd name="T95" fmla="*/ 2147483647 h 380"/>
                  <a:gd name="T96" fmla="*/ 2147483647 w 246"/>
                  <a:gd name="T97" fmla="*/ 2147483647 h 380"/>
                  <a:gd name="T98" fmla="*/ 2147483647 w 246"/>
                  <a:gd name="T99" fmla="*/ 2147483647 h 380"/>
                  <a:gd name="T100" fmla="*/ 2147483647 w 246"/>
                  <a:gd name="T101" fmla="*/ 2147483647 h 380"/>
                  <a:gd name="T102" fmla="*/ 2147483647 w 246"/>
                  <a:gd name="T103" fmla="*/ 2147483647 h 380"/>
                  <a:gd name="T104" fmla="*/ 2147483647 w 246"/>
                  <a:gd name="T105" fmla="*/ 2147483647 h 380"/>
                  <a:gd name="T106" fmla="*/ 2147483647 w 246"/>
                  <a:gd name="T107" fmla="*/ 2147483647 h 380"/>
                  <a:gd name="T108" fmla="*/ 2147483647 w 246"/>
                  <a:gd name="T109" fmla="*/ 2147483647 h 380"/>
                  <a:gd name="T110" fmla="*/ 2147483647 w 246"/>
                  <a:gd name="T111" fmla="*/ 2147483647 h 380"/>
                  <a:gd name="T112" fmla="*/ 2147483647 w 246"/>
                  <a:gd name="T113" fmla="*/ 2147483647 h 380"/>
                  <a:gd name="T114" fmla="*/ 2147483647 w 246"/>
                  <a:gd name="T115" fmla="*/ 2147483647 h 380"/>
                  <a:gd name="T116" fmla="*/ 1931582068 w 246"/>
                  <a:gd name="T117" fmla="*/ 2147483647 h 380"/>
                  <a:gd name="T118" fmla="*/ 1545193164 w 246"/>
                  <a:gd name="T119" fmla="*/ 2147483647 h 380"/>
                  <a:gd name="T120" fmla="*/ 1004429797 w 246"/>
                  <a:gd name="T121" fmla="*/ 2147483647 h 38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0" name="Freeform 267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9587180" y="3714322"/>
                <a:ext cx="87313" cy="58738"/>
              </a:xfrm>
              <a:custGeom>
                <a:avLst/>
                <a:gdLst>
                  <a:gd name="T0" fmla="*/ 648173710 w 193"/>
                  <a:gd name="T1" fmla="*/ 2147483647 h 38"/>
                  <a:gd name="T2" fmla="*/ 2147483647 w 193"/>
                  <a:gd name="T3" fmla="*/ 2147483647 h 38"/>
                  <a:gd name="T4" fmla="*/ 2147483647 w 193"/>
                  <a:gd name="T5" fmla="*/ 2147483647 h 38"/>
                  <a:gd name="T6" fmla="*/ 2147483647 w 193"/>
                  <a:gd name="T7" fmla="*/ 2147483647 h 38"/>
                  <a:gd name="T8" fmla="*/ 2147483647 w 193"/>
                  <a:gd name="T9" fmla="*/ 2147483647 h 38"/>
                  <a:gd name="T10" fmla="*/ 2147483647 w 193"/>
                  <a:gd name="T11" fmla="*/ 2147483647 h 38"/>
                  <a:gd name="T12" fmla="*/ 2147483647 w 193"/>
                  <a:gd name="T13" fmla="*/ 0 h 38"/>
                  <a:gd name="T14" fmla="*/ 2147483647 w 193"/>
                  <a:gd name="T15" fmla="*/ 2147483647 h 38"/>
                  <a:gd name="T16" fmla="*/ 2147483647 w 193"/>
                  <a:gd name="T17" fmla="*/ 2147483647 h 38"/>
                  <a:gd name="T18" fmla="*/ 2147483647 w 193"/>
                  <a:gd name="T19" fmla="*/ 2147483647 h 38"/>
                  <a:gd name="T20" fmla="*/ 2147483647 w 193"/>
                  <a:gd name="T21" fmla="*/ 2147483647 h 38"/>
                  <a:gd name="T22" fmla="*/ 2147483647 w 193"/>
                  <a:gd name="T23" fmla="*/ 2147483647 h 38"/>
                  <a:gd name="T24" fmla="*/ 2147483647 w 193"/>
                  <a:gd name="T25" fmla="*/ 2147483647 h 38"/>
                  <a:gd name="T26" fmla="*/ 2147483647 w 193"/>
                  <a:gd name="T27" fmla="*/ 2147483647 h 38"/>
                  <a:gd name="T28" fmla="*/ 2147483647 w 193"/>
                  <a:gd name="T29" fmla="*/ 2147483647 h 38"/>
                  <a:gd name="T30" fmla="*/ 2147483647 w 193"/>
                  <a:gd name="T31" fmla="*/ 2147483647 h 38"/>
                  <a:gd name="T32" fmla="*/ 2147483647 w 193"/>
                  <a:gd name="T33" fmla="*/ 2147483647 h 38"/>
                  <a:gd name="T34" fmla="*/ 2147483647 w 193"/>
                  <a:gd name="T35" fmla="*/ 2147483647 h 38"/>
                  <a:gd name="T36" fmla="*/ 2147483647 w 193"/>
                  <a:gd name="T37" fmla="*/ 2147483647 h 38"/>
                  <a:gd name="T38" fmla="*/ 2147483647 w 193"/>
                  <a:gd name="T39" fmla="*/ 2147483647 h 38"/>
                  <a:gd name="T40" fmla="*/ 2147483647 w 193"/>
                  <a:gd name="T41" fmla="*/ 2147483647 h 38"/>
                  <a:gd name="T42" fmla="*/ 2147483647 w 193"/>
                  <a:gd name="T43" fmla="*/ 2147483647 h 38"/>
                  <a:gd name="T44" fmla="*/ 2147483647 w 193"/>
                  <a:gd name="T45" fmla="*/ 2147483647 h 38"/>
                  <a:gd name="T46" fmla="*/ 2147483647 w 193"/>
                  <a:gd name="T47" fmla="*/ 2147483647 h 38"/>
                  <a:gd name="T48" fmla="*/ 2147483647 w 193"/>
                  <a:gd name="T49" fmla="*/ 2147483647 h 38"/>
                  <a:gd name="T50" fmla="*/ 2147483647 w 193"/>
                  <a:gd name="T51" fmla="*/ 2147483647 h 38"/>
                  <a:gd name="T52" fmla="*/ 2147483647 w 193"/>
                  <a:gd name="T53" fmla="*/ 2147483647 h 38"/>
                  <a:gd name="T54" fmla="*/ 2147483647 w 193"/>
                  <a:gd name="T55" fmla="*/ 2147483647 h 38"/>
                  <a:gd name="T56" fmla="*/ 2147483647 w 193"/>
                  <a:gd name="T57" fmla="*/ 2147483647 h 38"/>
                  <a:gd name="T58" fmla="*/ 1759298591 w 193"/>
                  <a:gd name="T59" fmla="*/ 2147483647 h 38"/>
                  <a:gd name="T60" fmla="*/ 0 w 193"/>
                  <a:gd name="T61" fmla="*/ 2147483647 h 38"/>
                  <a:gd name="T62" fmla="*/ 0 w 193"/>
                  <a:gd name="T63" fmla="*/ 2147483647 h 38"/>
                  <a:gd name="T64" fmla="*/ 92508350 w 193"/>
                  <a:gd name="T65" fmla="*/ 2147483647 h 38"/>
                  <a:gd name="T66" fmla="*/ 277729986 w 193"/>
                  <a:gd name="T67" fmla="*/ 2147483647 h 38"/>
                  <a:gd name="T68" fmla="*/ 648173710 w 193"/>
                  <a:gd name="T69" fmla="*/ 2147483647 h 3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1" name="Freeform 268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10012630" y="3792110"/>
                <a:ext cx="42863" cy="155575"/>
              </a:xfrm>
              <a:custGeom>
                <a:avLst/>
                <a:gdLst>
                  <a:gd name="T0" fmla="*/ 2147483647 w 99"/>
                  <a:gd name="T1" fmla="*/ 1656831884 h 301"/>
                  <a:gd name="T2" fmla="*/ 2147483647 w 99"/>
                  <a:gd name="T3" fmla="*/ 1656831884 h 301"/>
                  <a:gd name="T4" fmla="*/ 2147483647 w 99"/>
                  <a:gd name="T5" fmla="*/ 2147483647 h 301"/>
                  <a:gd name="T6" fmla="*/ 2147483647 w 99"/>
                  <a:gd name="T7" fmla="*/ 2147483647 h 301"/>
                  <a:gd name="T8" fmla="*/ 2147483647 w 99"/>
                  <a:gd name="T9" fmla="*/ 2147483647 h 301"/>
                  <a:gd name="T10" fmla="*/ 2147483647 w 99"/>
                  <a:gd name="T11" fmla="*/ 2147483647 h 301"/>
                  <a:gd name="T12" fmla="*/ 2147483647 w 99"/>
                  <a:gd name="T13" fmla="*/ 2147483647 h 301"/>
                  <a:gd name="T14" fmla="*/ 2147483647 w 99"/>
                  <a:gd name="T15" fmla="*/ 2147483647 h 301"/>
                  <a:gd name="T16" fmla="*/ 2147483647 w 99"/>
                  <a:gd name="T17" fmla="*/ 2147483647 h 301"/>
                  <a:gd name="T18" fmla="*/ 2147483647 w 99"/>
                  <a:gd name="T19" fmla="*/ 2147483647 h 301"/>
                  <a:gd name="T20" fmla="*/ 2147483647 w 99"/>
                  <a:gd name="T21" fmla="*/ 2147483647 h 301"/>
                  <a:gd name="T22" fmla="*/ 2147483647 w 99"/>
                  <a:gd name="T23" fmla="*/ 2147483647 h 301"/>
                  <a:gd name="T24" fmla="*/ 2147483647 w 99"/>
                  <a:gd name="T25" fmla="*/ 2147483647 h 301"/>
                  <a:gd name="T26" fmla="*/ 2147483647 w 99"/>
                  <a:gd name="T27" fmla="*/ 2147483647 h 301"/>
                  <a:gd name="T28" fmla="*/ 2147483647 w 99"/>
                  <a:gd name="T29" fmla="*/ 2147483647 h 301"/>
                  <a:gd name="T30" fmla="*/ 2147483647 w 99"/>
                  <a:gd name="T31" fmla="*/ 2147483647 h 301"/>
                  <a:gd name="T32" fmla="*/ 2147483647 w 99"/>
                  <a:gd name="T33" fmla="*/ 2147483647 h 301"/>
                  <a:gd name="T34" fmla="*/ 2147483647 w 99"/>
                  <a:gd name="T35" fmla="*/ 2147483647 h 301"/>
                  <a:gd name="T36" fmla="*/ 2147483647 w 99"/>
                  <a:gd name="T37" fmla="*/ 2147483647 h 301"/>
                  <a:gd name="T38" fmla="*/ 2147483647 w 99"/>
                  <a:gd name="T39" fmla="*/ 2147483647 h 301"/>
                  <a:gd name="T40" fmla="*/ 2147483647 w 99"/>
                  <a:gd name="T41" fmla="*/ 2147483647 h 301"/>
                  <a:gd name="T42" fmla="*/ 2147483647 w 99"/>
                  <a:gd name="T43" fmla="*/ 2147483647 h 301"/>
                  <a:gd name="T44" fmla="*/ 2147483647 w 99"/>
                  <a:gd name="T45" fmla="*/ 2147483647 h 301"/>
                  <a:gd name="T46" fmla="*/ 2147483647 w 99"/>
                  <a:gd name="T47" fmla="*/ 2147483647 h 301"/>
                  <a:gd name="T48" fmla="*/ 2147483647 w 99"/>
                  <a:gd name="T49" fmla="*/ 2147483647 h 301"/>
                  <a:gd name="T50" fmla="*/ 2147483647 w 99"/>
                  <a:gd name="T51" fmla="*/ 2147483647 h 301"/>
                  <a:gd name="T52" fmla="*/ 2147483647 w 99"/>
                  <a:gd name="T53" fmla="*/ 2147483647 h 301"/>
                  <a:gd name="T54" fmla="*/ 2147483647 w 99"/>
                  <a:gd name="T55" fmla="*/ 2147483647 h 301"/>
                  <a:gd name="T56" fmla="*/ 0 w 99"/>
                  <a:gd name="T57" fmla="*/ 828415684 h 301"/>
                  <a:gd name="T58" fmla="*/ 405838141 w 99"/>
                  <a:gd name="T59" fmla="*/ 276227806 h 301"/>
                  <a:gd name="T60" fmla="*/ 811675849 w 99"/>
                  <a:gd name="T61" fmla="*/ 0 h 301"/>
                  <a:gd name="T62" fmla="*/ 1136158717 w 99"/>
                  <a:gd name="T63" fmla="*/ 0 h 301"/>
                  <a:gd name="T64" fmla="*/ 1623164226 w 99"/>
                  <a:gd name="T65" fmla="*/ 0 h 301"/>
                  <a:gd name="T66" fmla="*/ 2110169736 w 99"/>
                  <a:gd name="T67" fmla="*/ 0 h 301"/>
                  <a:gd name="T68" fmla="*/ 2147483647 w 99"/>
                  <a:gd name="T69" fmla="*/ 276227806 h 301"/>
                  <a:gd name="T70" fmla="*/ 2147483647 w 99"/>
                  <a:gd name="T71" fmla="*/ 552188395 h 301"/>
                  <a:gd name="T72" fmla="*/ 2147483647 w 99"/>
                  <a:gd name="T73" fmla="*/ 828415684 h 301"/>
                  <a:gd name="T74" fmla="*/ 2147483647 w 99"/>
                  <a:gd name="T75" fmla="*/ 1380871295 h 301"/>
                  <a:gd name="T76" fmla="*/ 2147483647 w 99"/>
                  <a:gd name="T77" fmla="*/ 1656831884 h 30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2" name="Freeform 269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10038030" y="3754010"/>
                <a:ext cx="76200" cy="188912"/>
              </a:xfrm>
              <a:custGeom>
                <a:avLst/>
                <a:gdLst>
                  <a:gd name="T0" fmla="*/ 0 w 173"/>
                  <a:gd name="T1" fmla="*/ 2147483647 h 357"/>
                  <a:gd name="T2" fmla="*/ 769044316 w 173"/>
                  <a:gd name="T3" fmla="*/ 2147483647 h 357"/>
                  <a:gd name="T4" fmla="*/ 1452725691 w 173"/>
                  <a:gd name="T5" fmla="*/ 2147483647 h 357"/>
                  <a:gd name="T6" fmla="*/ 2136406627 w 173"/>
                  <a:gd name="T7" fmla="*/ 2147483647 h 357"/>
                  <a:gd name="T8" fmla="*/ 2147483647 w 173"/>
                  <a:gd name="T9" fmla="*/ 2147483647 h 357"/>
                  <a:gd name="T10" fmla="*/ 2147483647 w 173"/>
                  <a:gd name="T11" fmla="*/ 2147483647 h 357"/>
                  <a:gd name="T12" fmla="*/ 2147483647 w 173"/>
                  <a:gd name="T13" fmla="*/ 2147483647 h 357"/>
                  <a:gd name="T14" fmla="*/ 2147483647 w 173"/>
                  <a:gd name="T15" fmla="*/ 0 h 357"/>
                  <a:gd name="T16" fmla="*/ 2147483647 w 173"/>
                  <a:gd name="T17" fmla="*/ 444385053 h 357"/>
                  <a:gd name="T18" fmla="*/ 2147483647 w 173"/>
                  <a:gd name="T19" fmla="*/ 1037178738 h 357"/>
                  <a:gd name="T20" fmla="*/ 2147483647 w 173"/>
                  <a:gd name="T21" fmla="*/ 1778100598 h 357"/>
                  <a:gd name="T22" fmla="*/ 2147483647 w 173"/>
                  <a:gd name="T23" fmla="*/ 2147483647 h 357"/>
                  <a:gd name="T24" fmla="*/ 2147483647 w 173"/>
                  <a:gd name="T25" fmla="*/ 2147483647 h 357"/>
                  <a:gd name="T26" fmla="*/ 2147483647 w 173"/>
                  <a:gd name="T27" fmla="*/ 2147483647 h 357"/>
                  <a:gd name="T28" fmla="*/ 2147483647 w 173"/>
                  <a:gd name="T29" fmla="*/ 2147483647 h 357"/>
                  <a:gd name="T30" fmla="*/ 2147483647 w 173"/>
                  <a:gd name="T31" fmla="*/ 2147483647 h 357"/>
                  <a:gd name="T32" fmla="*/ 2147483647 w 173"/>
                  <a:gd name="T33" fmla="*/ 2147483647 h 357"/>
                  <a:gd name="T34" fmla="*/ 2147483647 w 173"/>
                  <a:gd name="T35" fmla="*/ 2147483647 h 357"/>
                  <a:gd name="T36" fmla="*/ 2147483647 w 173"/>
                  <a:gd name="T37" fmla="*/ 2147483647 h 357"/>
                  <a:gd name="T38" fmla="*/ 2147483647 w 173"/>
                  <a:gd name="T39" fmla="*/ 2147483647 h 357"/>
                  <a:gd name="T40" fmla="*/ 2147483647 w 173"/>
                  <a:gd name="T41" fmla="*/ 2147483647 h 357"/>
                  <a:gd name="T42" fmla="*/ 2147483647 w 173"/>
                  <a:gd name="T43" fmla="*/ 2147483647 h 357"/>
                  <a:gd name="T44" fmla="*/ 2147483647 w 173"/>
                  <a:gd name="T45" fmla="*/ 2147483647 h 357"/>
                  <a:gd name="T46" fmla="*/ 2147483647 w 173"/>
                  <a:gd name="T47" fmla="*/ 2147483647 h 357"/>
                  <a:gd name="T48" fmla="*/ 2147483647 w 173"/>
                  <a:gd name="T49" fmla="*/ 2147483647 h 357"/>
                  <a:gd name="T50" fmla="*/ 2147483647 w 173"/>
                  <a:gd name="T51" fmla="*/ 2147483647 h 357"/>
                  <a:gd name="T52" fmla="*/ 2147483647 w 173"/>
                  <a:gd name="T53" fmla="*/ 2147483647 h 357"/>
                  <a:gd name="T54" fmla="*/ 2147483647 w 173"/>
                  <a:gd name="T55" fmla="*/ 2147483647 h 357"/>
                  <a:gd name="T56" fmla="*/ 2147483647 w 173"/>
                  <a:gd name="T57" fmla="*/ 2147483647 h 357"/>
                  <a:gd name="T58" fmla="*/ 2147483647 w 173"/>
                  <a:gd name="T59" fmla="*/ 2147483647 h 357"/>
                  <a:gd name="T60" fmla="*/ 2147483647 w 173"/>
                  <a:gd name="T61" fmla="*/ 2147483647 h 357"/>
                  <a:gd name="T62" fmla="*/ 2147483647 w 173"/>
                  <a:gd name="T63" fmla="*/ 2147483647 h 357"/>
                  <a:gd name="T64" fmla="*/ 2147483647 w 173"/>
                  <a:gd name="T65" fmla="*/ 2147483647 h 357"/>
                  <a:gd name="T66" fmla="*/ 2147483647 w 173"/>
                  <a:gd name="T67" fmla="*/ 2147483647 h 357"/>
                  <a:gd name="T68" fmla="*/ 2147483647 w 173"/>
                  <a:gd name="T69" fmla="*/ 2147483647 h 357"/>
                  <a:gd name="T70" fmla="*/ 2147483647 w 173"/>
                  <a:gd name="T71" fmla="*/ 2147483647 h 357"/>
                  <a:gd name="T72" fmla="*/ 2147483647 w 173"/>
                  <a:gd name="T73" fmla="*/ 2147483647 h 357"/>
                  <a:gd name="T74" fmla="*/ 2147483647 w 173"/>
                  <a:gd name="T75" fmla="*/ 2147483647 h 357"/>
                  <a:gd name="T76" fmla="*/ 2147483647 w 173"/>
                  <a:gd name="T77" fmla="*/ 2147483647 h 357"/>
                  <a:gd name="T78" fmla="*/ 2147483647 w 173"/>
                  <a:gd name="T79" fmla="*/ 2147483647 h 357"/>
                  <a:gd name="T80" fmla="*/ 2147483647 w 173"/>
                  <a:gd name="T81" fmla="*/ 2147483647 h 357"/>
                  <a:gd name="T82" fmla="*/ 2147483647 w 173"/>
                  <a:gd name="T83" fmla="*/ 2147483647 h 357"/>
                  <a:gd name="T84" fmla="*/ 2147483647 w 173"/>
                  <a:gd name="T85" fmla="*/ 2147483647 h 357"/>
                  <a:gd name="T86" fmla="*/ 2147483647 w 173"/>
                  <a:gd name="T87" fmla="*/ 2147483647 h 357"/>
                  <a:gd name="T88" fmla="*/ 2147483647 w 173"/>
                  <a:gd name="T89" fmla="*/ 2147483647 h 357"/>
                  <a:gd name="T90" fmla="*/ 2147483647 w 173"/>
                  <a:gd name="T91" fmla="*/ 2147483647 h 357"/>
                  <a:gd name="T92" fmla="*/ 2147483647 w 173"/>
                  <a:gd name="T93" fmla="*/ 2147483647 h 357"/>
                  <a:gd name="T94" fmla="*/ 2147483647 w 173"/>
                  <a:gd name="T95" fmla="*/ 2147483647 h 357"/>
                  <a:gd name="T96" fmla="*/ 2147483647 w 173"/>
                  <a:gd name="T97" fmla="*/ 2147483647 h 357"/>
                  <a:gd name="T98" fmla="*/ 2147483647 w 173"/>
                  <a:gd name="T99" fmla="*/ 2147483647 h 357"/>
                  <a:gd name="T100" fmla="*/ 2147483647 w 173"/>
                  <a:gd name="T101" fmla="*/ 2147483647 h 357"/>
                  <a:gd name="T102" fmla="*/ 2147483647 w 173"/>
                  <a:gd name="T103" fmla="*/ 2147483647 h 357"/>
                  <a:gd name="T104" fmla="*/ 2147483647 w 173"/>
                  <a:gd name="T105" fmla="*/ 2147483647 h 357"/>
                  <a:gd name="T106" fmla="*/ 2147483647 w 173"/>
                  <a:gd name="T107" fmla="*/ 2147483647 h 357"/>
                  <a:gd name="T108" fmla="*/ 1709009195 w 173"/>
                  <a:gd name="T109" fmla="*/ 2147483647 h 357"/>
                  <a:gd name="T110" fmla="*/ 1110885003 w 173"/>
                  <a:gd name="T111" fmla="*/ 2147483647 h 357"/>
                  <a:gd name="T112" fmla="*/ 598124192 w 173"/>
                  <a:gd name="T113" fmla="*/ 2147483647 h 357"/>
                  <a:gd name="T114" fmla="*/ 341840688 w 173"/>
                  <a:gd name="T115" fmla="*/ 2147483647 h 357"/>
                  <a:gd name="T116" fmla="*/ 256283504 w 173"/>
                  <a:gd name="T117" fmla="*/ 2147483647 h 357"/>
                  <a:gd name="T118" fmla="*/ 0 w 173"/>
                  <a:gd name="T119" fmla="*/ 2147483647 h 357"/>
                  <a:gd name="T120" fmla="*/ 0 w 173"/>
                  <a:gd name="T121" fmla="*/ 2147483647 h 35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3" name="Freeform 270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10766693" y="4958922"/>
                <a:ext cx="25400" cy="60325"/>
              </a:xfrm>
              <a:custGeom>
                <a:avLst/>
                <a:gdLst>
                  <a:gd name="T0" fmla="*/ 1310965120 w 50"/>
                  <a:gd name="T1" fmla="*/ 0 h 74"/>
                  <a:gd name="T2" fmla="*/ 786579072 w 50"/>
                  <a:gd name="T3" fmla="*/ 2147483647 h 74"/>
                  <a:gd name="T4" fmla="*/ 262193024 w 50"/>
                  <a:gd name="T5" fmla="*/ 2147483647 h 74"/>
                  <a:gd name="T6" fmla="*/ 0 w 50"/>
                  <a:gd name="T7" fmla="*/ 2147483647 h 74"/>
                  <a:gd name="T8" fmla="*/ 0 w 50"/>
                  <a:gd name="T9" fmla="*/ 2147483647 h 74"/>
                  <a:gd name="T10" fmla="*/ 0 w 50"/>
                  <a:gd name="T11" fmla="*/ 2147483647 h 74"/>
                  <a:gd name="T12" fmla="*/ 262193024 w 50"/>
                  <a:gd name="T13" fmla="*/ 2147483647 h 74"/>
                  <a:gd name="T14" fmla="*/ 786579072 w 50"/>
                  <a:gd name="T15" fmla="*/ 2147483647 h 74"/>
                  <a:gd name="T16" fmla="*/ 1310965120 w 50"/>
                  <a:gd name="T17" fmla="*/ 2147483647 h 74"/>
                  <a:gd name="T18" fmla="*/ 2147483647 w 50"/>
                  <a:gd name="T19" fmla="*/ 2147483647 h 74"/>
                  <a:gd name="T20" fmla="*/ 2147483647 w 50"/>
                  <a:gd name="T21" fmla="*/ 2147483647 h 74"/>
                  <a:gd name="T22" fmla="*/ 2147483647 w 50"/>
                  <a:gd name="T23" fmla="*/ 2147483647 h 74"/>
                  <a:gd name="T24" fmla="*/ 2147483647 w 50"/>
                  <a:gd name="T25" fmla="*/ 2147483647 h 74"/>
                  <a:gd name="T26" fmla="*/ 2147483647 w 50"/>
                  <a:gd name="T27" fmla="*/ 0 h 74"/>
                  <a:gd name="T28" fmla="*/ 2147483647 w 50"/>
                  <a:gd name="T29" fmla="*/ 0 h 74"/>
                  <a:gd name="T30" fmla="*/ 2147483647 w 50"/>
                  <a:gd name="T31" fmla="*/ 0 h 74"/>
                  <a:gd name="T32" fmla="*/ 1835351168 w 50"/>
                  <a:gd name="T33" fmla="*/ 0 h 74"/>
                  <a:gd name="T34" fmla="*/ 1310965120 w 50"/>
                  <a:gd name="T35" fmla="*/ 0 h 7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4" name="Freeform 271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10661918" y="5055760"/>
                <a:ext cx="61912" cy="57150"/>
              </a:xfrm>
              <a:custGeom>
                <a:avLst/>
                <a:gdLst>
                  <a:gd name="T0" fmla="*/ 289401453 w 135"/>
                  <a:gd name="T1" fmla="*/ 2147483647 h 98"/>
                  <a:gd name="T2" fmla="*/ 1061068035 w 135"/>
                  <a:gd name="T3" fmla="*/ 2147483647 h 98"/>
                  <a:gd name="T4" fmla="*/ 1736197757 w 135"/>
                  <a:gd name="T5" fmla="*/ 2147483647 h 98"/>
                  <a:gd name="T6" fmla="*/ 2147483647 w 135"/>
                  <a:gd name="T7" fmla="*/ 2147483647 h 98"/>
                  <a:gd name="T8" fmla="*/ 2147483647 w 135"/>
                  <a:gd name="T9" fmla="*/ 2147483647 h 98"/>
                  <a:gd name="T10" fmla="*/ 2147483647 w 135"/>
                  <a:gd name="T11" fmla="*/ 2147483647 h 98"/>
                  <a:gd name="T12" fmla="*/ 2147483647 w 135"/>
                  <a:gd name="T13" fmla="*/ 2147483647 h 98"/>
                  <a:gd name="T14" fmla="*/ 2147483647 w 135"/>
                  <a:gd name="T15" fmla="*/ 2147483647 h 98"/>
                  <a:gd name="T16" fmla="*/ 2147483647 w 135"/>
                  <a:gd name="T17" fmla="*/ 1586470587 h 98"/>
                  <a:gd name="T18" fmla="*/ 2147483647 w 135"/>
                  <a:gd name="T19" fmla="*/ 991671465 h 98"/>
                  <a:gd name="T20" fmla="*/ 2147483647 w 135"/>
                  <a:gd name="T21" fmla="*/ 396532359 h 98"/>
                  <a:gd name="T22" fmla="*/ 2147483647 w 135"/>
                  <a:gd name="T23" fmla="*/ 0 h 98"/>
                  <a:gd name="T24" fmla="*/ 2147483647 w 135"/>
                  <a:gd name="T25" fmla="*/ 0 h 98"/>
                  <a:gd name="T26" fmla="*/ 2147483647 w 135"/>
                  <a:gd name="T27" fmla="*/ 0 h 98"/>
                  <a:gd name="T28" fmla="*/ 2147483647 w 135"/>
                  <a:gd name="T29" fmla="*/ 594799122 h 98"/>
                  <a:gd name="T30" fmla="*/ 2147483647 w 135"/>
                  <a:gd name="T31" fmla="*/ 1189937645 h 98"/>
                  <a:gd name="T32" fmla="*/ 2147483647 w 135"/>
                  <a:gd name="T33" fmla="*/ 2147483647 h 98"/>
                  <a:gd name="T34" fmla="*/ 2147483647 w 135"/>
                  <a:gd name="T35" fmla="*/ 2147483647 h 98"/>
                  <a:gd name="T36" fmla="*/ 2147483647 w 135"/>
                  <a:gd name="T37" fmla="*/ 2147483647 h 98"/>
                  <a:gd name="T38" fmla="*/ 2147483647 w 135"/>
                  <a:gd name="T39" fmla="*/ 2147483647 h 98"/>
                  <a:gd name="T40" fmla="*/ 2147483647 w 135"/>
                  <a:gd name="T41" fmla="*/ 2147483647 h 98"/>
                  <a:gd name="T42" fmla="*/ 2147483647 w 135"/>
                  <a:gd name="T43" fmla="*/ 2147483647 h 98"/>
                  <a:gd name="T44" fmla="*/ 2147483647 w 135"/>
                  <a:gd name="T45" fmla="*/ 2147483647 h 98"/>
                  <a:gd name="T46" fmla="*/ 2147483647 w 135"/>
                  <a:gd name="T47" fmla="*/ 2147483647 h 98"/>
                  <a:gd name="T48" fmla="*/ 2147483647 w 135"/>
                  <a:gd name="T49" fmla="*/ 2147483647 h 98"/>
                  <a:gd name="T50" fmla="*/ 2147483647 w 135"/>
                  <a:gd name="T51" fmla="*/ 2147483647 h 98"/>
                  <a:gd name="T52" fmla="*/ 2147483647 w 135"/>
                  <a:gd name="T53" fmla="*/ 2147483647 h 98"/>
                  <a:gd name="T54" fmla="*/ 2147483647 w 135"/>
                  <a:gd name="T55" fmla="*/ 2147483647 h 98"/>
                  <a:gd name="T56" fmla="*/ 2147483647 w 135"/>
                  <a:gd name="T57" fmla="*/ 2147483647 h 98"/>
                  <a:gd name="T58" fmla="*/ 2147483647 w 135"/>
                  <a:gd name="T59" fmla="*/ 2147483647 h 98"/>
                  <a:gd name="T60" fmla="*/ 2147483647 w 135"/>
                  <a:gd name="T61" fmla="*/ 2147483647 h 98"/>
                  <a:gd name="T62" fmla="*/ 2147483647 w 135"/>
                  <a:gd name="T63" fmla="*/ 2147483647 h 98"/>
                  <a:gd name="T64" fmla="*/ 2147483647 w 135"/>
                  <a:gd name="T65" fmla="*/ 2147483647 h 98"/>
                  <a:gd name="T66" fmla="*/ 2147483647 w 135"/>
                  <a:gd name="T67" fmla="*/ 2147483647 h 98"/>
                  <a:gd name="T68" fmla="*/ 2025599210 w 135"/>
                  <a:gd name="T69" fmla="*/ 2147483647 h 98"/>
                  <a:gd name="T70" fmla="*/ 1061068035 w 135"/>
                  <a:gd name="T71" fmla="*/ 2147483647 h 98"/>
                  <a:gd name="T72" fmla="*/ 482265588 w 135"/>
                  <a:gd name="T73" fmla="*/ 2147483647 h 98"/>
                  <a:gd name="T74" fmla="*/ 96537318 w 135"/>
                  <a:gd name="T75" fmla="*/ 2147483647 h 98"/>
                  <a:gd name="T76" fmla="*/ 0 w 135"/>
                  <a:gd name="T77" fmla="*/ 2147483647 h 98"/>
                  <a:gd name="T78" fmla="*/ 0 w 135"/>
                  <a:gd name="T79" fmla="*/ 2147483647 h 98"/>
                  <a:gd name="T80" fmla="*/ 289401453 w 135"/>
                  <a:gd name="T81" fmla="*/ 2147483647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5" name="Freeform 272"/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12879655" y="2769760"/>
                <a:ext cx="120650" cy="171450"/>
              </a:xfrm>
              <a:custGeom>
                <a:avLst/>
                <a:gdLst>
                  <a:gd name="T0" fmla="*/ 2147483647 w 266"/>
                  <a:gd name="T1" fmla="*/ 1309110682 h 326"/>
                  <a:gd name="T2" fmla="*/ 2147483647 w 266"/>
                  <a:gd name="T3" fmla="*/ 2147483647 h 326"/>
                  <a:gd name="T4" fmla="*/ 2147483647 w 266"/>
                  <a:gd name="T5" fmla="*/ 2147483647 h 326"/>
                  <a:gd name="T6" fmla="*/ 2147483647 w 266"/>
                  <a:gd name="T7" fmla="*/ 2147483647 h 326"/>
                  <a:gd name="T8" fmla="*/ 2147483647 w 266"/>
                  <a:gd name="T9" fmla="*/ 2147483647 h 326"/>
                  <a:gd name="T10" fmla="*/ 2147483647 w 266"/>
                  <a:gd name="T11" fmla="*/ 2147483647 h 326"/>
                  <a:gd name="T12" fmla="*/ 2147483647 w 266"/>
                  <a:gd name="T13" fmla="*/ 2147483647 h 326"/>
                  <a:gd name="T14" fmla="*/ 2147483647 w 266"/>
                  <a:gd name="T15" fmla="*/ 2147483647 h 326"/>
                  <a:gd name="T16" fmla="*/ 2147483647 w 266"/>
                  <a:gd name="T17" fmla="*/ 2147483647 h 326"/>
                  <a:gd name="T18" fmla="*/ 2147483647 w 266"/>
                  <a:gd name="T19" fmla="*/ 2147483647 h 326"/>
                  <a:gd name="T20" fmla="*/ 2147483647 w 266"/>
                  <a:gd name="T21" fmla="*/ 2147483647 h 326"/>
                  <a:gd name="T22" fmla="*/ 2147483647 w 266"/>
                  <a:gd name="T23" fmla="*/ 2147483647 h 326"/>
                  <a:gd name="T24" fmla="*/ 2147483647 w 266"/>
                  <a:gd name="T25" fmla="*/ 2147483647 h 326"/>
                  <a:gd name="T26" fmla="*/ 2147483647 w 266"/>
                  <a:gd name="T27" fmla="*/ 2147483647 h 326"/>
                  <a:gd name="T28" fmla="*/ 2147483647 w 266"/>
                  <a:gd name="T29" fmla="*/ 2147483647 h 326"/>
                  <a:gd name="T30" fmla="*/ 2147483647 w 266"/>
                  <a:gd name="T31" fmla="*/ 2147483647 h 326"/>
                  <a:gd name="T32" fmla="*/ 2147483647 w 266"/>
                  <a:gd name="T33" fmla="*/ 2147483647 h 326"/>
                  <a:gd name="T34" fmla="*/ 2147483647 w 266"/>
                  <a:gd name="T35" fmla="*/ 2147483647 h 326"/>
                  <a:gd name="T36" fmla="*/ 2147483647 w 266"/>
                  <a:gd name="T37" fmla="*/ 2147483647 h 326"/>
                  <a:gd name="T38" fmla="*/ 2147483647 w 266"/>
                  <a:gd name="T39" fmla="*/ 2147483647 h 326"/>
                  <a:gd name="T40" fmla="*/ 2147483647 w 266"/>
                  <a:gd name="T41" fmla="*/ 2147483647 h 326"/>
                  <a:gd name="T42" fmla="*/ 2147483647 w 266"/>
                  <a:gd name="T43" fmla="*/ 2147483647 h 326"/>
                  <a:gd name="T44" fmla="*/ 2147483647 w 266"/>
                  <a:gd name="T45" fmla="*/ 2147483647 h 326"/>
                  <a:gd name="T46" fmla="*/ 2147483647 w 266"/>
                  <a:gd name="T47" fmla="*/ 2147483647 h 326"/>
                  <a:gd name="T48" fmla="*/ 2147483647 w 266"/>
                  <a:gd name="T49" fmla="*/ 2147483647 h 326"/>
                  <a:gd name="T50" fmla="*/ 2147483647 w 266"/>
                  <a:gd name="T51" fmla="*/ 2147483647 h 326"/>
                  <a:gd name="T52" fmla="*/ 2147483647 w 266"/>
                  <a:gd name="T53" fmla="*/ 2147483647 h 326"/>
                  <a:gd name="T54" fmla="*/ 2147483647 w 266"/>
                  <a:gd name="T55" fmla="*/ 2147483647 h 326"/>
                  <a:gd name="T56" fmla="*/ 2147483647 w 266"/>
                  <a:gd name="T57" fmla="*/ 2147483647 h 326"/>
                  <a:gd name="T58" fmla="*/ 2147483647 w 266"/>
                  <a:gd name="T59" fmla="*/ 2147483647 h 326"/>
                  <a:gd name="T60" fmla="*/ 2147483647 w 266"/>
                  <a:gd name="T61" fmla="*/ 2147483647 h 326"/>
                  <a:gd name="T62" fmla="*/ 2147483647 w 266"/>
                  <a:gd name="T63" fmla="*/ 2147483647 h 326"/>
                  <a:gd name="T64" fmla="*/ 2147483647 w 266"/>
                  <a:gd name="T65" fmla="*/ 2147483647 h 326"/>
                  <a:gd name="T66" fmla="*/ 2147483647 w 266"/>
                  <a:gd name="T67" fmla="*/ 2147483647 h 326"/>
                  <a:gd name="T68" fmla="*/ 2147483647 w 266"/>
                  <a:gd name="T69" fmla="*/ 2147483647 h 326"/>
                  <a:gd name="T70" fmla="*/ 2147483647 w 266"/>
                  <a:gd name="T71" fmla="*/ 2147483647 h 326"/>
                  <a:gd name="T72" fmla="*/ 2147483647 w 266"/>
                  <a:gd name="T73" fmla="*/ 2147483647 h 326"/>
                  <a:gd name="T74" fmla="*/ 2147483647 w 266"/>
                  <a:gd name="T75" fmla="*/ 2147483647 h 326"/>
                  <a:gd name="T76" fmla="*/ 2147483647 w 266"/>
                  <a:gd name="T77" fmla="*/ 2147483647 h 326"/>
                  <a:gd name="T78" fmla="*/ 1212966568 w 266"/>
                  <a:gd name="T79" fmla="*/ 2147483647 h 326"/>
                  <a:gd name="T80" fmla="*/ 373189046 w 266"/>
                  <a:gd name="T81" fmla="*/ 2147483647 h 326"/>
                  <a:gd name="T82" fmla="*/ 1772955832 w 266"/>
                  <a:gd name="T83" fmla="*/ 2147483647 h 326"/>
                  <a:gd name="T84" fmla="*/ 2147483647 w 266"/>
                  <a:gd name="T85" fmla="*/ 2147483647 h 326"/>
                  <a:gd name="T86" fmla="*/ 2147483647 w 266"/>
                  <a:gd name="T87" fmla="*/ 2147483647 h 326"/>
                  <a:gd name="T88" fmla="*/ 2147483647 w 266"/>
                  <a:gd name="T89" fmla="*/ 2147483647 h 326"/>
                  <a:gd name="T90" fmla="*/ 2147483647 w 266"/>
                  <a:gd name="T91" fmla="*/ 2147483647 h 326"/>
                  <a:gd name="T92" fmla="*/ 2147483647 w 266"/>
                  <a:gd name="T93" fmla="*/ 2147483647 h 326"/>
                  <a:gd name="T94" fmla="*/ 2147483647 w 266"/>
                  <a:gd name="T95" fmla="*/ 2147483647 h 326"/>
                  <a:gd name="T96" fmla="*/ 2147483647 w 266"/>
                  <a:gd name="T97" fmla="*/ 2147483647 h 326"/>
                  <a:gd name="T98" fmla="*/ 2147483647 w 266"/>
                  <a:gd name="T99" fmla="*/ 581949685 h 326"/>
                  <a:gd name="T100" fmla="*/ 2147483647 w 266"/>
                  <a:gd name="T101" fmla="*/ 0 h 32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6" name="Freeform 273"/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11950968" y="3184097"/>
                <a:ext cx="206375" cy="123825"/>
              </a:xfrm>
              <a:custGeom>
                <a:avLst/>
                <a:gdLst>
                  <a:gd name="T0" fmla="*/ 2147483647 w 471"/>
                  <a:gd name="T1" fmla="*/ 0 h 237"/>
                  <a:gd name="T2" fmla="*/ 2147483647 w 471"/>
                  <a:gd name="T3" fmla="*/ 998263043 h 237"/>
                  <a:gd name="T4" fmla="*/ 2147483647 w 471"/>
                  <a:gd name="T5" fmla="*/ 1854033815 h 237"/>
                  <a:gd name="T6" fmla="*/ 2147483647 w 471"/>
                  <a:gd name="T7" fmla="*/ 2147483647 h 237"/>
                  <a:gd name="T8" fmla="*/ 2147483647 w 471"/>
                  <a:gd name="T9" fmla="*/ 2147483647 h 237"/>
                  <a:gd name="T10" fmla="*/ 2147483647 w 471"/>
                  <a:gd name="T11" fmla="*/ 2147483647 h 237"/>
                  <a:gd name="T12" fmla="*/ 2147483647 w 471"/>
                  <a:gd name="T13" fmla="*/ 2147483647 h 237"/>
                  <a:gd name="T14" fmla="*/ 2147483647 w 471"/>
                  <a:gd name="T15" fmla="*/ 2147483647 h 237"/>
                  <a:gd name="T16" fmla="*/ 2147483647 w 471"/>
                  <a:gd name="T17" fmla="*/ 2147483647 h 237"/>
                  <a:gd name="T18" fmla="*/ 2147483647 w 471"/>
                  <a:gd name="T19" fmla="*/ 2147483647 h 237"/>
                  <a:gd name="T20" fmla="*/ 2147483647 w 471"/>
                  <a:gd name="T21" fmla="*/ 2147483647 h 237"/>
                  <a:gd name="T22" fmla="*/ 2147483647 w 471"/>
                  <a:gd name="T23" fmla="*/ 2147483647 h 237"/>
                  <a:gd name="T24" fmla="*/ 2147483647 w 471"/>
                  <a:gd name="T25" fmla="*/ 2147483647 h 237"/>
                  <a:gd name="T26" fmla="*/ 2147483647 w 471"/>
                  <a:gd name="T27" fmla="*/ 2147483647 h 237"/>
                  <a:gd name="T28" fmla="*/ 2147483647 w 471"/>
                  <a:gd name="T29" fmla="*/ 2147483647 h 237"/>
                  <a:gd name="T30" fmla="*/ 2147483647 w 471"/>
                  <a:gd name="T31" fmla="*/ 2147483647 h 237"/>
                  <a:gd name="T32" fmla="*/ 2147483647 w 471"/>
                  <a:gd name="T33" fmla="*/ 2147483647 h 237"/>
                  <a:gd name="T34" fmla="*/ 2147483647 w 471"/>
                  <a:gd name="T35" fmla="*/ 2147483647 h 237"/>
                  <a:gd name="T36" fmla="*/ 2147483647 w 471"/>
                  <a:gd name="T37" fmla="*/ 2147483647 h 237"/>
                  <a:gd name="T38" fmla="*/ 2147483647 w 471"/>
                  <a:gd name="T39" fmla="*/ 2147483647 h 237"/>
                  <a:gd name="T40" fmla="*/ 2147483647 w 471"/>
                  <a:gd name="T41" fmla="*/ 2147483647 h 237"/>
                  <a:gd name="T42" fmla="*/ 2147483647 w 471"/>
                  <a:gd name="T43" fmla="*/ 2147483647 h 237"/>
                  <a:gd name="T44" fmla="*/ 2147483647 w 471"/>
                  <a:gd name="T45" fmla="*/ 2147483647 h 237"/>
                  <a:gd name="T46" fmla="*/ 2147483647 w 471"/>
                  <a:gd name="T47" fmla="*/ 2147483647 h 237"/>
                  <a:gd name="T48" fmla="*/ 2147483647 w 471"/>
                  <a:gd name="T49" fmla="*/ 2147483647 h 237"/>
                  <a:gd name="T50" fmla="*/ 2147483647 w 471"/>
                  <a:gd name="T51" fmla="*/ 2147483647 h 237"/>
                  <a:gd name="T52" fmla="*/ 2147483647 w 471"/>
                  <a:gd name="T53" fmla="*/ 2147483647 h 237"/>
                  <a:gd name="T54" fmla="*/ 2147483647 w 471"/>
                  <a:gd name="T55" fmla="*/ 2147483647 h 237"/>
                  <a:gd name="T56" fmla="*/ 2147483647 w 471"/>
                  <a:gd name="T57" fmla="*/ 2147483647 h 237"/>
                  <a:gd name="T58" fmla="*/ 2147483647 w 471"/>
                  <a:gd name="T59" fmla="*/ 2147483647 h 237"/>
                  <a:gd name="T60" fmla="*/ 2147483647 w 471"/>
                  <a:gd name="T61" fmla="*/ 2147483647 h 237"/>
                  <a:gd name="T62" fmla="*/ 2147483647 w 471"/>
                  <a:gd name="T63" fmla="*/ 2147483647 h 237"/>
                  <a:gd name="T64" fmla="*/ 2147483647 w 471"/>
                  <a:gd name="T65" fmla="*/ 2147483647 h 237"/>
                  <a:gd name="T66" fmla="*/ 2147483647 w 471"/>
                  <a:gd name="T67" fmla="*/ 2147483647 h 237"/>
                  <a:gd name="T68" fmla="*/ 2147483647 w 471"/>
                  <a:gd name="T69" fmla="*/ 2147483647 h 237"/>
                  <a:gd name="T70" fmla="*/ 2147483647 w 471"/>
                  <a:gd name="T71" fmla="*/ 2147483647 h 237"/>
                  <a:gd name="T72" fmla="*/ 1009469072 w 471"/>
                  <a:gd name="T73" fmla="*/ 2147483647 h 237"/>
                  <a:gd name="T74" fmla="*/ 588824681 w 471"/>
                  <a:gd name="T75" fmla="*/ 0 h 23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71" h="237">
                    <a:moveTo>
                      <a:pt x="7" y="0"/>
                    </a:moveTo>
                    <a:lnTo>
                      <a:pt x="86" y="0"/>
                    </a:lnTo>
                    <a:lnTo>
                      <a:pt x="89" y="4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25" y="23"/>
                    </a:lnTo>
                    <a:lnTo>
                      <a:pt x="147" y="32"/>
                    </a:lnTo>
                    <a:lnTo>
                      <a:pt x="159" y="37"/>
                    </a:lnTo>
                    <a:lnTo>
                      <a:pt x="192" y="58"/>
                    </a:lnTo>
                    <a:lnTo>
                      <a:pt x="223" y="77"/>
                    </a:lnTo>
                    <a:lnTo>
                      <a:pt x="237" y="88"/>
                    </a:lnTo>
                    <a:lnTo>
                      <a:pt x="253" y="97"/>
                    </a:lnTo>
                    <a:lnTo>
                      <a:pt x="267" y="105"/>
                    </a:lnTo>
                    <a:lnTo>
                      <a:pt x="283" y="113"/>
                    </a:lnTo>
                    <a:lnTo>
                      <a:pt x="299" y="121"/>
                    </a:lnTo>
                    <a:lnTo>
                      <a:pt x="316" y="127"/>
                    </a:lnTo>
                    <a:lnTo>
                      <a:pt x="335" y="133"/>
                    </a:lnTo>
                    <a:lnTo>
                      <a:pt x="355" y="139"/>
                    </a:lnTo>
                    <a:lnTo>
                      <a:pt x="376" y="143"/>
                    </a:lnTo>
                    <a:lnTo>
                      <a:pt x="399" y="146"/>
                    </a:lnTo>
                    <a:lnTo>
                      <a:pt x="424" y="148"/>
                    </a:lnTo>
                    <a:lnTo>
                      <a:pt x="451" y="148"/>
                    </a:lnTo>
                    <a:lnTo>
                      <a:pt x="451" y="179"/>
                    </a:lnTo>
                    <a:lnTo>
                      <a:pt x="452" y="187"/>
                    </a:lnTo>
                    <a:lnTo>
                      <a:pt x="457" y="202"/>
                    </a:lnTo>
                    <a:lnTo>
                      <a:pt x="459" y="211"/>
                    </a:lnTo>
                    <a:lnTo>
                      <a:pt x="462" y="219"/>
                    </a:lnTo>
                    <a:lnTo>
                      <a:pt x="467" y="227"/>
                    </a:lnTo>
                    <a:lnTo>
                      <a:pt x="471" y="234"/>
                    </a:lnTo>
                    <a:lnTo>
                      <a:pt x="467" y="236"/>
                    </a:lnTo>
                    <a:lnTo>
                      <a:pt x="459" y="237"/>
                    </a:lnTo>
                    <a:lnTo>
                      <a:pt x="451" y="236"/>
                    </a:lnTo>
                    <a:lnTo>
                      <a:pt x="440" y="235"/>
                    </a:lnTo>
                    <a:lnTo>
                      <a:pt x="416" y="231"/>
                    </a:lnTo>
                    <a:lnTo>
                      <a:pt x="390" y="226"/>
                    </a:lnTo>
                    <a:lnTo>
                      <a:pt x="362" y="219"/>
                    </a:lnTo>
                    <a:lnTo>
                      <a:pt x="337" y="213"/>
                    </a:lnTo>
                    <a:lnTo>
                      <a:pt x="315" y="207"/>
                    </a:lnTo>
                    <a:lnTo>
                      <a:pt x="299" y="204"/>
                    </a:lnTo>
                    <a:lnTo>
                      <a:pt x="294" y="203"/>
                    </a:lnTo>
                    <a:lnTo>
                      <a:pt x="290" y="201"/>
                    </a:lnTo>
                    <a:lnTo>
                      <a:pt x="287" y="199"/>
                    </a:lnTo>
                    <a:lnTo>
                      <a:pt x="283" y="196"/>
                    </a:lnTo>
                    <a:lnTo>
                      <a:pt x="277" y="190"/>
                    </a:lnTo>
                    <a:lnTo>
                      <a:pt x="272" y="184"/>
                    </a:lnTo>
                    <a:lnTo>
                      <a:pt x="267" y="178"/>
                    </a:lnTo>
                    <a:lnTo>
                      <a:pt x="261" y="171"/>
                    </a:lnTo>
                    <a:lnTo>
                      <a:pt x="255" y="166"/>
                    </a:lnTo>
                    <a:lnTo>
                      <a:pt x="246" y="160"/>
                    </a:lnTo>
                    <a:lnTo>
                      <a:pt x="240" y="159"/>
                    </a:lnTo>
                    <a:lnTo>
                      <a:pt x="234" y="158"/>
                    </a:lnTo>
                    <a:lnTo>
                      <a:pt x="227" y="159"/>
                    </a:lnTo>
                    <a:lnTo>
                      <a:pt x="221" y="159"/>
                    </a:lnTo>
                    <a:lnTo>
                      <a:pt x="205" y="163"/>
                    </a:lnTo>
                    <a:lnTo>
                      <a:pt x="191" y="166"/>
                    </a:lnTo>
                    <a:lnTo>
                      <a:pt x="183" y="167"/>
                    </a:lnTo>
                    <a:lnTo>
                      <a:pt x="176" y="168"/>
                    </a:lnTo>
                    <a:lnTo>
                      <a:pt x="169" y="168"/>
                    </a:lnTo>
                    <a:lnTo>
                      <a:pt x="164" y="166"/>
                    </a:lnTo>
                    <a:lnTo>
                      <a:pt x="158" y="164"/>
                    </a:lnTo>
                    <a:lnTo>
                      <a:pt x="153" y="161"/>
                    </a:lnTo>
                    <a:lnTo>
                      <a:pt x="148" y="155"/>
                    </a:lnTo>
                    <a:lnTo>
                      <a:pt x="146" y="148"/>
                    </a:lnTo>
                    <a:lnTo>
                      <a:pt x="139" y="148"/>
                    </a:lnTo>
                    <a:lnTo>
                      <a:pt x="131" y="147"/>
                    </a:lnTo>
                    <a:lnTo>
                      <a:pt x="122" y="145"/>
                    </a:lnTo>
                    <a:lnTo>
                      <a:pt x="113" y="142"/>
                    </a:lnTo>
                    <a:lnTo>
                      <a:pt x="92" y="135"/>
                    </a:lnTo>
                    <a:lnTo>
                      <a:pt x="70" y="126"/>
                    </a:lnTo>
                    <a:lnTo>
                      <a:pt x="48" y="117"/>
                    </a:lnTo>
                    <a:lnTo>
                      <a:pt x="29" y="107"/>
                    </a:lnTo>
                    <a:lnTo>
                      <a:pt x="12" y="96"/>
                    </a:lnTo>
                    <a:lnTo>
                      <a:pt x="0" y="87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7" name="Freeform 274"/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12166868" y="3239660"/>
                <a:ext cx="73025" cy="65087"/>
              </a:xfrm>
              <a:custGeom>
                <a:avLst/>
                <a:gdLst>
                  <a:gd name="T0" fmla="*/ 2147483647 w 167"/>
                  <a:gd name="T1" fmla="*/ 2147483647 h 123"/>
                  <a:gd name="T2" fmla="*/ 2147483647 w 167"/>
                  <a:gd name="T3" fmla="*/ 2147483647 h 123"/>
                  <a:gd name="T4" fmla="*/ 2147483647 w 167"/>
                  <a:gd name="T5" fmla="*/ 2147483647 h 123"/>
                  <a:gd name="T6" fmla="*/ 2147483647 w 167"/>
                  <a:gd name="T7" fmla="*/ 2147483647 h 123"/>
                  <a:gd name="T8" fmla="*/ 2147483647 w 167"/>
                  <a:gd name="T9" fmla="*/ 2147483647 h 123"/>
                  <a:gd name="T10" fmla="*/ 2147483647 w 167"/>
                  <a:gd name="T11" fmla="*/ 2147483647 h 123"/>
                  <a:gd name="T12" fmla="*/ 2147483647 w 167"/>
                  <a:gd name="T13" fmla="*/ 2147483647 h 123"/>
                  <a:gd name="T14" fmla="*/ 2147483647 w 167"/>
                  <a:gd name="T15" fmla="*/ 2147483647 h 123"/>
                  <a:gd name="T16" fmla="*/ 2147483647 w 167"/>
                  <a:gd name="T17" fmla="*/ 2147483647 h 123"/>
                  <a:gd name="T18" fmla="*/ 2147483647 w 167"/>
                  <a:gd name="T19" fmla="*/ 2147483647 h 123"/>
                  <a:gd name="T20" fmla="*/ 2147483647 w 167"/>
                  <a:gd name="T21" fmla="*/ 2147483647 h 123"/>
                  <a:gd name="T22" fmla="*/ 2147483647 w 167"/>
                  <a:gd name="T23" fmla="*/ 2147483647 h 123"/>
                  <a:gd name="T24" fmla="*/ 2147483647 w 167"/>
                  <a:gd name="T25" fmla="*/ 2147483647 h 123"/>
                  <a:gd name="T26" fmla="*/ 2147483647 w 167"/>
                  <a:gd name="T27" fmla="*/ 2147483647 h 123"/>
                  <a:gd name="T28" fmla="*/ 2147483647 w 167"/>
                  <a:gd name="T29" fmla="*/ 2147483647 h 123"/>
                  <a:gd name="T30" fmla="*/ 2147483647 w 167"/>
                  <a:gd name="T31" fmla="*/ 2147483647 h 123"/>
                  <a:gd name="T32" fmla="*/ 2147483647 w 167"/>
                  <a:gd name="T33" fmla="*/ 2147483647 h 123"/>
                  <a:gd name="T34" fmla="*/ 2147483647 w 167"/>
                  <a:gd name="T35" fmla="*/ 2147483647 h 123"/>
                  <a:gd name="T36" fmla="*/ 2147483647 w 167"/>
                  <a:gd name="T37" fmla="*/ 2147483647 h 123"/>
                  <a:gd name="T38" fmla="*/ 2147483647 w 167"/>
                  <a:gd name="T39" fmla="*/ 2147483647 h 123"/>
                  <a:gd name="T40" fmla="*/ 2147483647 w 167"/>
                  <a:gd name="T41" fmla="*/ 2147483647 h 123"/>
                  <a:gd name="T42" fmla="*/ 2147483647 w 167"/>
                  <a:gd name="T43" fmla="*/ 2147483647 h 123"/>
                  <a:gd name="T44" fmla="*/ 2147483647 w 167"/>
                  <a:gd name="T45" fmla="*/ 2147483647 h 123"/>
                  <a:gd name="T46" fmla="*/ 1755879566 w 167"/>
                  <a:gd name="T47" fmla="*/ 2147483647 h 123"/>
                  <a:gd name="T48" fmla="*/ 0 w 167"/>
                  <a:gd name="T49" fmla="*/ 2147483647 h 123"/>
                  <a:gd name="T50" fmla="*/ 167308583 w 167"/>
                  <a:gd name="T51" fmla="*/ 2147483647 h 123"/>
                  <a:gd name="T52" fmla="*/ 417984605 w 167"/>
                  <a:gd name="T53" fmla="*/ 2147483647 h 123"/>
                  <a:gd name="T54" fmla="*/ 752410682 w 167"/>
                  <a:gd name="T55" fmla="*/ 2147483647 h 123"/>
                  <a:gd name="T56" fmla="*/ 1254145343 w 167"/>
                  <a:gd name="T57" fmla="*/ 2147483647 h 123"/>
                  <a:gd name="T58" fmla="*/ 1672321038 w 167"/>
                  <a:gd name="T59" fmla="*/ 2147483647 h 123"/>
                  <a:gd name="T60" fmla="*/ 2147483647 w 167"/>
                  <a:gd name="T61" fmla="*/ 2147483647 h 123"/>
                  <a:gd name="T62" fmla="*/ 2147483647 w 167"/>
                  <a:gd name="T63" fmla="*/ 2147483647 h 123"/>
                  <a:gd name="T64" fmla="*/ 2147483647 w 167"/>
                  <a:gd name="T65" fmla="*/ 2147483647 h 123"/>
                  <a:gd name="T66" fmla="*/ 2147483647 w 167"/>
                  <a:gd name="T67" fmla="*/ 2147483647 h 123"/>
                  <a:gd name="T68" fmla="*/ 2147483647 w 167"/>
                  <a:gd name="T69" fmla="*/ 2147483647 h 123"/>
                  <a:gd name="T70" fmla="*/ 2147483647 w 167"/>
                  <a:gd name="T71" fmla="*/ 1778083178 h 123"/>
                  <a:gd name="T72" fmla="*/ 2147483647 w 167"/>
                  <a:gd name="T73" fmla="*/ 0 h 123"/>
                  <a:gd name="T74" fmla="*/ 2147483647 w 167"/>
                  <a:gd name="T75" fmla="*/ 592787525 h 123"/>
                  <a:gd name="T76" fmla="*/ 2147483647 w 167"/>
                  <a:gd name="T77" fmla="*/ 1037168224 h 123"/>
                  <a:gd name="T78" fmla="*/ 2147483647 w 167"/>
                  <a:gd name="T79" fmla="*/ 1629956279 h 123"/>
                  <a:gd name="T80" fmla="*/ 2147483647 w 167"/>
                  <a:gd name="T81" fmla="*/ 2074336977 h 123"/>
                  <a:gd name="T82" fmla="*/ 2147483647 w 167"/>
                  <a:gd name="T83" fmla="*/ 2147483647 h 123"/>
                  <a:gd name="T84" fmla="*/ 2147483647 w 167"/>
                  <a:gd name="T85" fmla="*/ 2147483647 h 123"/>
                  <a:gd name="T86" fmla="*/ 2147483647 w 167"/>
                  <a:gd name="T87" fmla="*/ 2147483647 h 123"/>
                  <a:gd name="T88" fmla="*/ 2147483647 w 167"/>
                  <a:gd name="T89" fmla="*/ 2147483647 h 123"/>
                  <a:gd name="T90" fmla="*/ 2147483647 w 167"/>
                  <a:gd name="T91" fmla="*/ 2147483647 h 123"/>
                  <a:gd name="T92" fmla="*/ 2147483647 w 167"/>
                  <a:gd name="T93" fmla="*/ 2147483647 h 12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67" h="123">
                    <a:moveTo>
                      <a:pt x="167" y="43"/>
                    </a:moveTo>
                    <a:lnTo>
                      <a:pt x="164" y="54"/>
                    </a:lnTo>
                    <a:lnTo>
                      <a:pt x="161" y="66"/>
                    </a:lnTo>
                    <a:lnTo>
                      <a:pt x="155" y="79"/>
                    </a:lnTo>
                    <a:lnTo>
                      <a:pt x="150" y="93"/>
                    </a:lnTo>
                    <a:lnTo>
                      <a:pt x="146" y="99"/>
                    </a:lnTo>
                    <a:lnTo>
                      <a:pt x="142" y="105"/>
                    </a:lnTo>
                    <a:lnTo>
                      <a:pt x="138" y="110"/>
                    </a:lnTo>
                    <a:lnTo>
                      <a:pt x="132" y="114"/>
                    </a:lnTo>
                    <a:lnTo>
                      <a:pt x="127" y="118"/>
                    </a:lnTo>
                    <a:lnTo>
                      <a:pt x="121" y="121"/>
                    </a:lnTo>
                    <a:lnTo>
                      <a:pt x="115" y="122"/>
                    </a:lnTo>
                    <a:lnTo>
                      <a:pt x="107" y="123"/>
                    </a:lnTo>
                    <a:lnTo>
                      <a:pt x="100" y="122"/>
                    </a:lnTo>
                    <a:lnTo>
                      <a:pt x="92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2" y="109"/>
                    </a:lnTo>
                    <a:lnTo>
                      <a:pt x="81" y="105"/>
                    </a:lnTo>
                    <a:lnTo>
                      <a:pt x="71" y="104"/>
                    </a:lnTo>
                    <a:lnTo>
                      <a:pt x="61" y="103"/>
                    </a:lnTo>
                    <a:lnTo>
                      <a:pt x="51" y="101"/>
                    </a:lnTo>
                    <a:lnTo>
                      <a:pt x="41" y="98"/>
                    </a:lnTo>
                    <a:lnTo>
                      <a:pt x="21" y="92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9" y="56"/>
                    </a:lnTo>
                    <a:lnTo>
                      <a:pt x="15" y="43"/>
                    </a:lnTo>
                    <a:lnTo>
                      <a:pt x="20" y="43"/>
                    </a:lnTo>
                    <a:lnTo>
                      <a:pt x="26" y="42"/>
                    </a:lnTo>
                    <a:lnTo>
                      <a:pt x="30" y="41"/>
                    </a:lnTo>
                    <a:lnTo>
                      <a:pt x="33" y="38"/>
                    </a:lnTo>
                    <a:lnTo>
                      <a:pt x="40" y="33"/>
                    </a:lnTo>
                    <a:lnTo>
                      <a:pt x="45" y="26"/>
                    </a:lnTo>
                    <a:lnTo>
                      <a:pt x="52" y="12"/>
                    </a:lnTo>
                    <a:lnTo>
                      <a:pt x="61" y="0"/>
                    </a:lnTo>
                    <a:lnTo>
                      <a:pt x="64" y="4"/>
                    </a:lnTo>
                    <a:lnTo>
                      <a:pt x="67" y="7"/>
                    </a:lnTo>
                    <a:lnTo>
                      <a:pt x="73" y="11"/>
                    </a:lnTo>
                    <a:lnTo>
                      <a:pt x="78" y="14"/>
                    </a:lnTo>
                    <a:lnTo>
                      <a:pt x="92" y="21"/>
                    </a:lnTo>
                    <a:lnTo>
                      <a:pt x="107" y="28"/>
                    </a:lnTo>
                    <a:lnTo>
                      <a:pt x="122" y="35"/>
                    </a:lnTo>
                    <a:lnTo>
                      <a:pt x="139" y="39"/>
                    </a:lnTo>
                    <a:lnTo>
                      <a:pt x="153" y="42"/>
                    </a:lnTo>
                    <a:lnTo>
                      <a:pt x="167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8" name="Freeform 275"/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12157343" y="3311097"/>
                <a:ext cx="133350" cy="166688"/>
              </a:xfrm>
              <a:custGeom>
                <a:avLst/>
                <a:gdLst>
                  <a:gd name="T0" fmla="*/ 2147483647 w 306"/>
                  <a:gd name="T1" fmla="*/ 2147483647 h 321"/>
                  <a:gd name="T2" fmla="*/ 2147483647 w 306"/>
                  <a:gd name="T3" fmla="*/ 2147483647 h 321"/>
                  <a:gd name="T4" fmla="*/ 2147483647 w 306"/>
                  <a:gd name="T5" fmla="*/ 2147483647 h 321"/>
                  <a:gd name="T6" fmla="*/ 2147483647 w 306"/>
                  <a:gd name="T7" fmla="*/ 2147483647 h 321"/>
                  <a:gd name="T8" fmla="*/ 2147483647 w 306"/>
                  <a:gd name="T9" fmla="*/ 2147483647 h 321"/>
                  <a:gd name="T10" fmla="*/ 2147483647 w 306"/>
                  <a:gd name="T11" fmla="*/ 2147483647 h 321"/>
                  <a:gd name="T12" fmla="*/ 2147483647 w 306"/>
                  <a:gd name="T13" fmla="*/ 2147483647 h 321"/>
                  <a:gd name="T14" fmla="*/ 2147483647 w 306"/>
                  <a:gd name="T15" fmla="*/ 2147483647 h 321"/>
                  <a:gd name="T16" fmla="*/ 2147483647 w 306"/>
                  <a:gd name="T17" fmla="*/ 2147483647 h 321"/>
                  <a:gd name="T18" fmla="*/ 2147483647 w 306"/>
                  <a:gd name="T19" fmla="*/ 2147483647 h 321"/>
                  <a:gd name="T20" fmla="*/ 2147483647 w 306"/>
                  <a:gd name="T21" fmla="*/ 2147483647 h 321"/>
                  <a:gd name="T22" fmla="*/ 2147483647 w 306"/>
                  <a:gd name="T23" fmla="*/ 2147483647 h 321"/>
                  <a:gd name="T24" fmla="*/ 2147483647 w 306"/>
                  <a:gd name="T25" fmla="*/ 2147483647 h 321"/>
                  <a:gd name="T26" fmla="*/ 2147483647 w 306"/>
                  <a:gd name="T27" fmla="*/ 2147483647 h 321"/>
                  <a:gd name="T28" fmla="*/ 2147483647 w 306"/>
                  <a:gd name="T29" fmla="*/ 2147483647 h 321"/>
                  <a:gd name="T30" fmla="*/ 2147483647 w 306"/>
                  <a:gd name="T31" fmla="*/ 2147483647 h 321"/>
                  <a:gd name="T32" fmla="*/ 2147483647 w 306"/>
                  <a:gd name="T33" fmla="*/ 2147483647 h 321"/>
                  <a:gd name="T34" fmla="*/ 2147483647 w 306"/>
                  <a:gd name="T35" fmla="*/ 2147483647 h 321"/>
                  <a:gd name="T36" fmla="*/ 2147483647 w 306"/>
                  <a:gd name="T37" fmla="*/ 2147483647 h 321"/>
                  <a:gd name="T38" fmla="*/ 2147483647 w 306"/>
                  <a:gd name="T39" fmla="*/ 2147483647 h 321"/>
                  <a:gd name="T40" fmla="*/ 2147483647 w 306"/>
                  <a:gd name="T41" fmla="*/ 1680182326 h 321"/>
                  <a:gd name="T42" fmla="*/ 2147483647 w 306"/>
                  <a:gd name="T43" fmla="*/ 560060775 h 321"/>
                  <a:gd name="T44" fmla="*/ 2147483647 w 306"/>
                  <a:gd name="T45" fmla="*/ 0 h 321"/>
                  <a:gd name="T46" fmla="*/ 2147483647 w 306"/>
                  <a:gd name="T47" fmla="*/ 0 h 321"/>
                  <a:gd name="T48" fmla="*/ 2147483647 w 306"/>
                  <a:gd name="T49" fmla="*/ 139947818 h 321"/>
                  <a:gd name="T50" fmla="*/ 1820647596 w 306"/>
                  <a:gd name="T51" fmla="*/ 700008593 h 321"/>
                  <a:gd name="T52" fmla="*/ 827618908 w 306"/>
                  <a:gd name="T53" fmla="*/ 1960347466 h 321"/>
                  <a:gd name="T54" fmla="*/ 82799891 w 306"/>
                  <a:gd name="T55" fmla="*/ 2147483647 h 321"/>
                  <a:gd name="T56" fmla="*/ 165599782 w 306"/>
                  <a:gd name="T57" fmla="*/ 2147483647 h 321"/>
                  <a:gd name="T58" fmla="*/ 1241428362 w 306"/>
                  <a:gd name="T59" fmla="*/ 2147483647 h 321"/>
                  <a:gd name="T60" fmla="*/ 2147483647 w 306"/>
                  <a:gd name="T61" fmla="*/ 2147483647 h 321"/>
                  <a:gd name="T62" fmla="*/ 2147483647 w 306"/>
                  <a:gd name="T63" fmla="*/ 2147483647 h 321"/>
                  <a:gd name="T64" fmla="*/ 2147483647 w 306"/>
                  <a:gd name="T65" fmla="*/ 2147483647 h 321"/>
                  <a:gd name="T66" fmla="*/ 2069047270 w 306"/>
                  <a:gd name="T67" fmla="*/ 2147483647 h 321"/>
                  <a:gd name="T68" fmla="*/ 1406838142 w 306"/>
                  <a:gd name="T69" fmla="*/ 2147483647 h 321"/>
                  <a:gd name="T70" fmla="*/ 1158628471 w 306"/>
                  <a:gd name="T71" fmla="*/ 2147483647 h 321"/>
                  <a:gd name="T72" fmla="*/ 1158628471 w 306"/>
                  <a:gd name="T73" fmla="*/ 2147483647 h 321"/>
                  <a:gd name="T74" fmla="*/ 1489638033 w 306"/>
                  <a:gd name="T75" fmla="*/ 2147483647 h 321"/>
                  <a:gd name="T76" fmla="*/ 2147483647 w 306"/>
                  <a:gd name="T77" fmla="*/ 2147483647 h 321"/>
                  <a:gd name="T78" fmla="*/ 2147483647 w 306"/>
                  <a:gd name="T79" fmla="*/ 2147483647 h 321"/>
                  <a:gd name="T80" fmla="*/ 2147483647 w 306"/>
                  <a:gd name="T81" fmla="*/ 2147483647 h 321"/>
                  <a:gd name="T82" fmla="*/ 2147483647 w 306"/>
                  <a:gd name="T83" fmla="*/ 2147483647 h 321"/>
                  <a:gd name="T84" fmla="*/ 2147483647 w 306"/>
                  <a:gd name="T85" fmla="*/ 2147483647 h 321"/>
                  <a:gd name="T86" fmla="*/ 2147483647 w 306"/>
                  <a:gd name="T87" fmla="*/ 2147483647 h 321"/>
                  <a:gd name="T88" fmla="*/ 2147483647 w 306"/>
                  <a:gd name="T89" fmla="*/ 2147483647 h 321"/>
                  <a:gd name="T90" fmla="*/ 2147483647 w 306"/>
                  <a:gd name="T91" fmla="*/ 2147483647 h 321"/>
                  <a:gd name="T92" fmla="*/ 2147483647 w 306"/>
                  <a:gd name="T93" fmla="*/ 2147483647 h 321"/>
                  <a:gd name="T94" fmla="*/ 2147483647 w 306"/>
                  <a:gd name="T95" fmla="*/ 2147483647 h 321"/>
                  <a:gd name="T96" fmla="*/ 2147483647 w 306"/>
                  <a:gd name="T97" fmla="*/ 2147483647 h 321"/>
                  <a:gd name="T98" fmla="*/ 2147483647 w 306"/>
                  <a:gd name="T99" fmla="*/ 2147483647 h 321"/>
                  <a:gd name="T100" fmla="*/ 2147483647 w 306"/>
                  <a:gd name="T101" fmla="*/ 2147483647 h 321"/>
                  <a:gd name="T102" fmla="*/ 2147483647 w 306"/>
                  <a:gd name="T103" fmla="*/ 2147483647 h 321"/>
                  <a:gd name="T104" fmla="*/ 2147483647 w 306"/>
                  <a:gd name="T105" fmla="*/ 2147483647 h 321"/>
                  <a:gd name="T106" fmla="*/ 2147483647 w 306"/>
                  <a:gd name="T107" fmla="*/ 2147483647 h 321"/>
                  <a:gd name="T108" fmla="*/ 2147483647 w 306"/>
                  <a:gd name="T109" fmla="*/ 2147483647 h 321"/>
                  <a:gd name="T110" fmla="*/ 2147483647 w 306"/>
                  <a:gd name="T111" fmla="*/ 2147483647 h 321"/>
                  <a:gd name="T112" fmla="*/ 2147483647 w 306"/>
                  <a:gd name="T113" fmla="*/ 2147483647 h 321"/>
                  <a:gd name="T114" fmla="*/ 2147483647 w 306"/>
                  <a:gd name="T115" fmla="*/ 2147483647 h 32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9" name="Freeform 276"/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12474843" y="3426985"/>
                <a:ext cx="201612" cy="269875"/>
              </a:xfrm>
              <a:custGeom>
                <a:avLst/>
                <a:gdLst>
                  <a:gd name="T0" fmla="*/ 2147483647 w 471"/>
                  <a:gd name="T1" fmla="*/ 1697011512 h 518"/>
                  <a:gd name="T2" fmla="*/ 2147483647 w 471"/>
                  <a:gd name="T3" fmla="*/ 2147483647 h 518"/>
                  <a:gd name="T4" fmla="*/ 2147483647 w 471"/>
                  <a:gd name="T5" fmla="*/ 2147483647 h 518"/>
                  <a:gd name="T6" fmla="*/ 2117561656 w 471"/>
                  <a:gd name="T7" fmla="*/ 2147483647 h 518"/>
                  <a:gd name="T8" fmla="*/ 627371171 w 471"/>
                  <a:gd name="T9" fmla="*/ 2147483647 h 518"/>
                  <a:gd name="T10" fmla="*/ 548950095 w 471"/>
                  <a:gd name="T11" fmla="*/ 2147483647 h 518"/>
                  <a:gd name="T12" fmla="*/ 2147483647 w 471"/>
                  <a:gd name="T13" fmla="*/ 2147483647 h 518"/>
                  <a:gd name="T14" fmla="*/ 2147483647 w 471"/>
                  <a:gd name="T15" fmla="*/ 2147483647 h 518"/>
                  <a:gd name="T16" fmla="*/ 2147483647 w 471"/>
                  <a:gd name="T17" fmla="*/ 2147483647 h 518"/>
                  <a:gd name="T18" fmla="*/ 2147483647 w 471"/>
                  <a:gd name="T19" fmla="*/ 2147483647 h 518"/>
                  <a:gd name="T20" fmla="*/ 2147483647 w 471"/>
                  <a:gd name="T21" fmla="*/ 2147483647 h 518"/>
                  <a:gd name="T22" fmla="*/ 2147483647 w 471"/>
                  <a:gd name="T23" fmla="*/ 2147483647 h 518"/>
                  <a:gd name="T24" fmla="*/ 2147483647 w 471"/>
                  <a:gd name="T25" fmla="*/ 2147483647 h 518"/>
                  <a:gd name="T26" fmla="*/ 2147483647 w 471"/>
                  <a:gd name="T27" fmla="*/ 2147483647 h 518"/>
                  <a:gd name="T28" fmla="*/ 2147483647 w 471"/>
                  <a:gd name="T29" fmla="*/ 2147483647 h 518"/>
                  <a:gd name="T30" fmla="*/ 2147483647 w 471"/>
                  <a:gd name="T31" fmla="*/ 2147483647 h 518"/>
                  <a:gd name="T32" fmla="*/ 2147483647 w 471"/>
                  <a:gd name="T33" fmla="*/ 2147483647 h 518"/>
                  <a:gd name="T34" fmla="*/ 2147483647 w 471"/>
                  <a:gd name="T35" fmla="*/ 2147483647 h 518"/>
                  <a:gd name="T36" fmla="*/ 2147483647 w 471"/>
                  <a:gd name="T37" fmla="*/ 2147483647 h 518"/>
                  <a:gd name="T38" fmla="*/ 2147483647 w 471"/>
                  <a:gd name="T39" fmla="*/ 2147483647 h 518"/>
                  <a:gd name="T40" fmla="*/ 2147483647 w 471"/>
                  <a:gd name="T41" fmla="*/ 2147483647 h 518"/>
                  <a:gd name="T42" fmla="*/ 2147483647 w 471"/>
                  <a:gd name="T43" fmla="*/ 2147483647 h 518"/>
                  <a:gd name="T44" fmla="*/ 2147483647 w 471"/>
                  <a:gd name="T45" fmla="*/ 2147483647 h 518"/>
                  <a:gd name="T46" fmla="*/ 2147483647 w 471"/>
                  <a:gd name="T47" fmla="*/ 2147483647 h 518"/>
                  <a:gd name="T48" fmla="*/ 2147483647 w 471"/>
                  <a:gd name="T49" fmla="*/ 2147483647 h 518"/>
                  <a:gd name="T50" fmla="*/ 2147483647 w 471"/>
                  <a:gd name="T51" fmla="*/ 2147483647 h 518"/>
                  <a:gd name="T52" fmla="*/ 2147483647 w 471"/>
                  <a:gd name="T53" fmla="*/ 2147483647 h 518"/>
                  <a:gd name="T54" fmla="*/ 2147483647 w 471"/>
                  <a:gd name="T55" fmla="*/ 2147483647 h 518"/>
                  <a:gd name="T56" fmla="*/ 2147483647 w 471"/>
                  <a:gd name="T57" fmla="*/ 2147483647 h 518"/>
                  <a:gd name="T58" fmla="*/ 2147483647 w 471"/>
                  <a:gd name="T59" fmla="*/ 2147483647 h 518"/>
                  <a:gd name="T60" fmla="*/ 2147483647 w 471"/>
                  <a:gd name="T61" fmla="*/ 2147483647 h 518"/>
                  <a:gd name="T62" fmla="*/ 2147483647 w 471"/>
                  <a:gd name="T63" fmla="*/ 2147483647 h 518"/>
                  <a:gd name="T64" fmla="*/ 2147483647 w 471"/>
                  <a:gd name="T65" fmla="*/ 2147483647 h 518"/>
                  <a:gd name="T66" fmla="*/ 2147483647 w 471"/>
                  <a:gd name="T67" fmla="*/ 2147483647 h 518"/>
                  <a:gd name="T68" fmla="*/ 2147483647 w 471"/>
                  <a:gd name="T69" fmla="*/ 2147483647 h 518"/>
                  <a:gd name="T70" fmla="*/ 2147483647 w 471"/>
                  <a:gd name="T71" fmla="*/ 2147483647 h 518"/>
                  <a:gd name="T72" fmla="*/ 2147483647 w 471"/>
                  <a:gd name="T73" fmla="*/ 2147483647 h 518"/>
                  <a:gd name="T74" fmla="*/ 2147483647 w 471"/>
                  <a:gd name="T75" fmla="*/ 2147483647 h 518"/>
                  <a:gd name="T76" fmla="*/ 2147483647 w 471"/>
                  <a:gd name="T77" fmla="*/ 2147483647 h 518"/>
                  <a:gd name="T78" fmla="*/ 2147483647 w 471"/>
                  <a:gd name="T79" fmla="*/ 2147483647 h 518"/>
                  <a:gd name="T80" fmla="*/ 2147483647 w 471"/>
                  <a:gd name="T81" fmla="*/ 2147483647 h 518"/>
                  <a:gd name="T82" fmla="*/ 2147483647 w 471"/>
                  <a:gd name="T83" fmla="*/ 2147483647 h 518"/>
                  <a:gd name="T84" fmla="*/ 2147483647 w 471"/>
                  <a:gd name="T85" fmla="*/ 2147483647 h 518"/>
                  <a:gd name="T86" fmla="*/ 2147483647 w 471"/>
                  <a:gd name="T87" fmla="*/ 1979846764 h 51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0" name="Freeform 277"/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12557393" y="3677810"/>
                <a:ext cx="133350" cy="130175"/>
              </a:xfrm>
              <a:custGeom>
                <a:avLst/>
                <a:gdLst>
                  <a:gd name="T0" fmla="*/ 2147483647 w 293"/>
                  <a:gd name="T1" fmla="*/ 2147483647 h 246"/>
                  <a:gd name="T2" fmla="*/ 2147483647 w 293"/>
                  <a:gd name="T3" fmla="*/ 2147483647 h 246"/>
                  <a:gd name="T4" fmla="*/ 2147483647 w 293"/>
                  <a:gd name="T5" fmla="*/ 2147483647 h 246"/>
                  <a:gd name="T6" fmla="*/ 2147483647 w 293"/>
                  <a:gd name="T7" fmla="*/ 2147483647 h 246"/>
                  <a:gd name="T8" fmla="*/ 2147483647 w 293"/>
                  <a:gd name="T9" fmla="*/ 1481851875 h 246"/>
                  <a:gd name="T10" fmla="*/ 2147483647 w 293"/>
                  <a:gd name="T11" fmla="*/ 889055033 h 246"/>
                  <a:gd name="T12" fmla="*/ 2147483647 w 293"/>
                  <a:gd name="T13" fmla="*/ 296258192 h 246"/>
                  <a:gd name="T14" fmla="*/ 2147483647 w 293"/>
                  <a:gd name="T15" fmla="*/ 2147483647 h 246"/>
                  <a:gd name="T16" fmla="*/ 2147483647 w 293"/>
                  <a:gd name="T17" fmla="*/ 2147483647 h 246"/>
                  <a:gd name="T18" fmla="*/ 2147483647 w 293"/>
                  <a:gd name="T19" fmla="*/ 2147483647 h 246"/>
                  <a:gd name="T20" fmla="*/ 2147483647 w 293"/>
                  <a:gd name="T21" fmla="*/ 2147483647 h 246"/>
                  <a:gd name="T22" fmla="*/ 2147483647 w 293"/>
                  <a:gd name="T23" fmla="*/ 2147483647 h 246"/>
                  <a:gd name="T24" fmla="*/ 2147483647 w 293"/>
                  <a:gd name="T25" fmla="*/ 2147483647 h 246"/>
                  <a:gd name="T26" fmla="*/ 2147483647 w 293"/>
                  <a:gd name="T27" fmla="*/ 2147483647 h 246"/>
                  <a:gd name="T28" fmla="*/ 2147483647 w 293"/>
                  <a:gd name="T29" fmla="*/ 2147483647 h 246"/>
                  <a:gd name="T30" fmla="*/ 2147483647 w 293"/>
                  <a:gd name="T31" fmla="*/ 2147483647 h 246"/>
                  <a:gd name="T32" fmla="*/ 2147483647 w 293"/>
                  <a:gd name="T33" fmla="*/ 2147483647 h 246"/>
                  <a:gd name="T34" fmla="*/ 2147483647 w 293"/>
                  <a:gd name="T35" fmla="*/ 2147483647 h 246"/>
                  <a:gd name="T36" fmla="*/ 2147483647 w 293"/>
                  <a:gd name="T37" fmla="*/ 2147483647 h 246"/>
                  <a:gd name="T38" fmla="*/ 2147483647 w 293"/>
                  <a:gd name="T39" fmla="*/ 2147483647 h 246"/>
                  <a:gd name="T40" fmla="*/ 2147483647 w 293"/>
                  <a:gd name="T41" fmla="*/ 2147483647 h 246"/>
                  <a:gd name="T42" fmla="*/ 2147483647 w 293"/>
                  <a:gd name="T43" fmla="*/ 2147483647 h 246"/>
                  <a:gd name="T44" fmla="*/ 2147483647 w 293"/>
                  <a:gd name="T45" fmla="*/ 2147483647 h 246"/>
                  <a:gd name="T46" fmla="*/ 2147483647 w 293"/>
                  <a:gd name="T47" fmla="*/ 2147483647 h 246"/>
                  <a:gd name="T48" fmla="*/ 2147483647 w 293"/>
                  <a:gd name="T49" fmla="*/ 2147483647 h 246"/>
                  <a:gd name="T50" fmla="*/ 2147483647 w 293"/>
                  <a:gd name="T51" fmla="*/ 2147483647 h 246"/>
                  <a:gd name="T52" fmla="*/ 2147483647 w 293"/>
                  <a:gd name="T53" fmla="*/ 2147483647 h 246"/>
                  <a:gd name="T54" fmla="*/ 2147483647 w 293"/>
                  <a:gd name="T55" fmla="*/ 2147483647 h 246"/>
                  <a:gd name="T56" fmla="*/ 2147483647 w 293"/>
                  <a:gd name="T57" fmla="*/ 2147483647 h 246"/>
                  <a:gd name="T58" fmla="*/ 754173896 w 293"/>
                  <a:gd name="T59" fmla="*/ 2147483647 h 246"/>
                  <a:gd name="T60" fmla="*/ 188491818 w 293"/>
                  <a:gd name="T61" fmla="*/ 2147483647 h 246"/>
                  <a:gd name="T62" fmla="*/ 0 w 293"/>
                  <a:gd name="T63" fmla="*/ 2147483647 h 246"/>
                  <a:gd name="T64" fmla="*/ 188491818 w 293"/>
                  <a:gd name="T65" fmla="*/ 2147483647 h 246"/>
                  <a:gd name="T66" fmla="*/ 754173896 w 293"/>
                  <a:gd name="T67" fmla="*/ 2147483647 h 246"/>
                  <a:gd name="T68" fmla="*/ 1602593473 w 293"/>
                  <a:gd name="T69" fmla="*/ 2147483647 h 246"/>
                  <a:gd name="T70" fmla="*/ 2147483647 w 293"/>
                  <a:gd name="T71" fmla="*/ 2147483647 h 246"/>
                  <a:gd name="T72" fmla="*/ 2147483647 w 293"/>
                  <a:gd name="T73" fmla="*/ 2074368787 h 246"/>
                  <a:gd name="T74" fmla="*/ 2147483647 w 293"/>
                  <a:gd name="T75" fmla="*/ 1778110067 h 246"/>
                  <a:gd name="T76" fmla="*/ 2147483647 w 293"/>
                  <a:gd name="T77" fmla="*/ 1778110067 h 246"/>
                  <a:gd name="T78" fmla="*/ 2147483647 w 293"/>
                  <a:gd name="T79" fmla="*/ 1778110067 h 24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293" h="246">
                    <a:moveTo>
                      <a:pt x="133" y="12"/>
                    </a:moveTo>
                    <a:lnTo>
                      <a:pt x="152" y="19"/>
                    </a:lnTo>
                    <a:lnTo>
                      <a:pt x="166" y="24"/>
                    </a:lnTo>
                    <a:lnTo>
                      <a:pt x="179" y="30"/>
                    </a:lnTo>
                    <a:lnTo>
                      <a:pt x="193" y="37"/>
                    </a:lnTo>
                    <a:lnTo>
                      <a:pt x="196" y="30"/>
                    </a:lnTo>
                    <a:lnTo>
                      <a:pt x="199" y="23"/>
                    </a:lnTo>
                    <a:lnTo>
                      <a:pt x="202" y="18"/>
                    </a:lnTo>
                    <a:lnTo>
                      <a:pt x="205" y="14"/>
                    </a:lnTo>
                    <a:lnTo>
                      <a:pt x="210" y="10"/>
                    </a:lnTo>
                    <a:lnTo>
                      <a:pt x="214" y="8"/>
                    </a:lnTo>
                    <a:lnTo>
                      <a:pt x="219" y="6"/>
                    </a:lnTo>
                    <a:lnTo>
                      <a:pt x="223" y="4"/>
                    </a:lnTo>
                    <a:lnTo>
                      <a:pt x="245" y="2"/>
                    </a:lnTo>
                    <a:lnTo>
                      <a:pt x="272" y="0"/>
                    </a:lnTo>
                    <a:lnTo>
                      <a:pt x="293" y="80"/>
                    </a:lnTo>
                    <a:lnTo>
                      <a:pt x="279" y="93"/>
                    </a:lnTo>
                    <a:lnTo>
                      <a:pt x="266" y="107"/>
                    </a:lnTo>
                    <a:lnTo>
                      <a:pt x="250" y="123"/>
                    </a:lnTo>
                    <a:lnTo>
                      <a:pt x="237" y="141"/>
                    </a:lnTo>
                    <a:lnTo>
                      <a:pt x="231" y="150"/>
                    </a:lnTo>
                    <a:lnTo>
                      <a:pt x="225" y="159"/>
                    </a:lnTo>
                    <a:lnTo>
                      <a:pt x="220" y="169"/>
                    </a:lnTo>
                    <a:lnTo>
                      <a:pt x="215" y="178"/>
                    </a:lnTo>
                    <a:lnTo>
                      <a:pt x="212" y="187"/>
                    </a:lnTo>
                    <a:lnTo>
                      <a:pt x="209" y="197"/>
                    </a:lnTo>
                    <a:lnTo>
                      <a:pt x="206" y="207"/>
                    </a:lnTo>
                    <a:lnTo>
                      <a:pt x="206" y="216"/>
                    </a:lnTo>
                    <a:lnTo>
                      <a:pt x="201" y="216"/>
                    </a:lnTo>
                    <a:lnTo>
                      <a:pt x="196" y="217"/>
                    </a:lnTo>
                    <a:lnTo>
                      <a:pt x="190" y="218"/>
                    </a:lnTo>
                    <a:lnTo>
                      <a:pt x="186" y="220"/>
                    </a:lnTo>
                    <a:lnTo>
                      <a:pt x="178" y="224"/>
                    </a:lnTo>
                    <a:lnTo>
                      <a:pt x="170" y="229"/>
                    </a:lnTo>
                    <a:lnTo>
                      <a:pt x="163" y="234"/>
                    </a:lnTo>
                    <a:lnTo>
                      <a:pt x="154" y="239"/>
                    </a:lnTo>
                    <a:lnTo>
                      <a:pt x="145" y="243"/>
                    </a:lnTo>
                    <a:lnTo>
                      <a:pt x="133" y="246"/>
                    </a:lnTo>
                    <a:lnTo>
                      <a:pt x="118" y="243"/>
                    </a:lnTo>
                    <a:lnTo>
                      <a:pt x="102" y="240"/>
                    </a:lnTo>
                    <a:lnTo>
                      <a:pt x="87" y="236"/>
                    </a:lnTo>
                    <a:lnTo>
                      <a:pt x="71" y="232"/>
                    </a:lnTo>
                    <a:lnTo>
                      <a:pt x="65" y="229"/>
                    </a:lnTo>
                    <a:lnTo>
                      <a:pt x="59" y="226"/>
                    </a:lnTo>
                    <a:lnTo>
                      <a:pt x="54" y="223"/>
                    </a:lnTo>
                    <a:lnTo>
                      <a:pt x="49" y="220"/>
                    </a:lnTo>
                    <a:lnTo>
                      <a:pt x="45" y="216"/>
                    </a:lnTo>
                    <a:lnTo>
                      <a:pt x="43" y="212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44" y="193"/>
                    </a:lnTo>
                    <a:lnTo>
                      <a:pt x="47" y="178"/>
                    </a:lnTo>
                    <a:lnTo>
                      <a:pt x="46" y="170"/>
                    </a:lnTo>
                    <a:lnTo>
                      <a:pt x="45" y="162"/>
                    </a:lnTo>
                    <a:lnTo>
                      <a:pt x="43" y="154"/>
                    </a:lnTo>
                    <a:lnTo>
                      <a:pt x="40" y="147"/>
                    </a:lnTo>
                    <a:lnTo>
                      <a:pt x="32" y="132"/>
                    </a:lnTo>
                    <a:lnTo>
                      <a:pt x="24" y="119"/>
                    </a:lnTo>
                    <a:lnTo>
                      <a:pt x="15" y="106"/>
                    </a:lnTo>
                    <a:lnTo>
                      <a:pt x="8" y="91"/>
                    </a:lnTo>
                    <a:lnTo>
                      <a:pt x="4" y="83"/>
                    </a:lnTo>
                    <a:lnTo>
                      <a:pt x="2" y="74"/>
                    </a:lnTo>
                    <a:lnTo>
                      <a:pt x="1" y="65"/>
                    </a:lnTo>
                    <a:lnTo>
                      <a:pt x="0" y="55"/>
                    </a:lnTo>
                    <a:lnTo>
                      <a:pt x="1" y="50"/>
                    </a:lnTo>
                    <a:lnTo>
                      <a:pt x="2" y="45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6" y="22"/>
                    </a:lnTo>
                    <a:lnTo>
                      <a:pt x="37" y="17"/>
                    </a:lnTo>
                    <a:lnTo>
                      <a:pt x="48" y="14"/>
                    </a:lnTo>
                    <a:lnTo>
                      <a:pt x="58" y="13"/>
                    </a:lnTo>
                    <a:lnTo>
                      <a:pt x="67" y="12"/>
                    </a:lnTo>
                    <a:lnTo>
                      <a:pt x="79" y="12"/>
                    </a:lnTo>
                    <a:lnTo>
                      <a:pt x="96" y="12"/>
                    </a:lnTo>
                    <a:lnTo>
                      <a:pt x="113" y="12"/>
                    </a:lnTo>
                    <a:lnTo>
                      <a:pt x="13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1" name="Freeform 278"/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12959030" y="2914222"/>
                <a:ext cx="85725" cy="130175"/>
              </a:xfrm>
              <a:custGeom>
                <a:avLst/>
                <a:gdLst>
                  <a:gd name="T0" fmla="*/ 1417395152 w 200"/>
                  <a:gd name="T1" fmla="*/ 2147483647 h 246"/>
                  <a:gd name="T2" fmla="*/ 2147483647 w 200"/>
                  <a:gd name="T3" fmla="*/ 2147483647 h 246"/>
                  <a:gd name="T4" fmla="*/ 2147483647 w 200"/>
                  <a:gd name="T5" fmla="*/ 2147483647 h 246"/>
                  <a:gd name="T6" fmla="*/ 2147483647 w 200"/>
                  <a:gd name="T7" fmla="*/ 1333722779 h 246"/>
                  <a:gd name="T8" fmla="*/ 2147483647 w 200"/>
                  <a:gd name="T9" fmla="*/ 148129096 h 246"/>
                  <a:gd name="T10" fmla="*/ 2147483647 w 200"/>
                  <a:gd name="T11" fmla="*/ 1778110067 h 246"/>
                  <a:gd name="T12" fmla="*/ 2147483647 w 200"/>
                  <a:gd name="T13" fmla="*/ 2147483647 h 246"/>
                  <a:gd name="T14" fmla="*/ 2147483647 w 200"/>
                  <a:gd name="T15" fmla="*/ 2147483647 h 246"/>
                  <a:gd name="T16" fmla="*/ 2147483647 w 200"/>
                  <a:gd name="T17" fmla="*/ 2147483647 h 246"/>
                  <a:gd name="T18" fmla="*/ 2147483647 w 200"/>
                  <a:gd name="T19" fmla="*/ 2147483647 h 246"/>
                  <a:gd name="T20" fmla="*/ 2147483647 w 200"/>
                  <a:gd name="T21" fmla="*/ 2147483647 h 246"/>
                  <a:gd name="T22" fmla="*/ 2147483647 w 200"/>
                  <a:gd name="T23" fmla="*/ 2147483647 h 246"/>
                  <a:gd name="T24" fmla="*/ 2147483647 w 200"/>
                  <a:gd name="T25" fmla="*/ 2147483647 h 246"/>
                  <a:gd name="T26" fmla="*/ 2147483647 w 200"/>
                  <a:gd name="T27" fmla="*/ 2147483647 h 246"/>
                  <a:gd name="T28" fmla="*/ 2147483647 w 200"/>
                  <a:gd name="T29" fmla="*/ 2147483647 h 246"/>
                  <a:gd name="T30" fmla="*/ 2147483647 w 200"/>
                  <a:gd name="T31" fmla="*/ 2147483647 h 246"/>
                  <a:gd name="T32" fmla="*/ 2147483647 w 200"/>
                  <a:gd name="T33" fmla="*/ 2147483647 h 246"/>
                  <a:gd name="T34" fmla="*/ 2147483647 w 200"/>
                  <a:gd name="T35" fmla="*/ 2147483647 h 246"/>
                  <a:gd name="T36" fmla="*/ 2147483647 w 200"/>
                  <a:gd name="T37" fmla="*/ 2147483647 h 246"/>
                  <a:gd name="T38" fmla="*/ 2147483647 w 200"/>
                  <a:gd name="T39" fmla="*/ 2147483647 h 246"/>
                  <a:gd name="T40" fmla="*/ 2147483647 w 200"/>
                  <a:gd name="T41" fmla="*/ 2147483647 h 246"/>
                  <a:gd name="T42" fmla="*/ 2147483647 w 200"/>
                  <a:gd name="T43" fmla="*/ 2147483647 h 246"/>
                  <a:gd name="T44" fmla="*/ 2147483647 w 200"/>
                  <a:gd name="T45" fmla="*/ 2147483647 h 246"/>
                  <a:gd name="T46" fmla="*/ 2147483647 w 200"/>
                  <a:gd name="T47" fmla="*/ 2147483647 h 246"/>
                  <a:gd name="T48" fmla="*/ 2147483647 w 200"/>
                  <a:gd name="T49" fmla="*/ 2147483647 h 246"/>
                  <a:gd name="T50" fmla="*/ 2147483647 w 200"/>
                  <a:gd name="T51" fmla="*/ 2147483647 h 246"/>
                  <a:gd name="T52" fmla="*/ 2147483647 w 200"/>
                  <a:gd name="T53" fmla="*/ 2147483647 h 246"/>
                  <a:gd name="T54" fmla="*/ 2147483647 w 200"/>
                  <a:gd name="T55" fmla="*/ 2147483647 h 246"/>
                  <a:gd name="T56" fmla="*/ 2147483647 w 200"/>
                  <a:gd name="T57" fmla="*/ 2147483647 h 246"/>
                  <a:gd name="T58" fmla="*/ 2147483647 w 200"/>
                  <a:gd name="T59" fmla="*/ 2147483647 h 246"/>
                  <a:gd name="T60" fmla="*/ 2147483647 w 200"/>
                  <a:gd name="T61" fmla="*/ 2147483647 h 246"/>
                  <a:gd name="T62" fmla="*/ 2147483647 w 200"/>
                  <a:gd name="T63" fmla="*/ 2147483647 h 246"/>
                  <a:gd name="T64" fmla="*/ 2147483647 w 200"/>
                  <a:gd name="T65" fmla="*/ 2147483647 h 246"/>
                  <a:gd name="T66" fmla="*/ 2147483647 w 200"/>
                  <a:gd name="T67" fmla="*/ 2147483647 h 246"/>
                  <a:gd name="T68" fmla="*/ 1417395152 w 200"/>
                  <a:gd name="T69" fmla="*/ 2147483647 h 246"/>
                  <a:gd name="T70" fmla="*/ 472526487 w 200"/>
                  <a:gd name="T71" fmla="*/ 2147483647 h 246"/>
                  <a:gd name="T72" fmla="*/ 78815565 w 200"/>
                  <a:gd name="T73" fmla="*/ 2147483647 h 246"/>
                  <a:gd name="T74" fmla="*/ 78815565 w 200"/>
                  <a:gd name="T75" fmla="*/ 2147483647 h 246"/>
                  <a:gd name="T76" fmla="*/ 393710493 w 200"/>
                  <a:gd name="T77" fmla="*/ 2147483647 h 246"/>
                  <a:gd name="T78" fmla="*/ 787421415 w 200"/>
                  <a:gd name="T79" fmla="*/ 2147483647 h 246"/>
                  <a:gd name="T80" fmla="*/ 1023684659 w 200"/>
                  <a:gd name="T81" fmla="*/ 2147483647 h 24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2" name="Freeform 279"/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13527355" y="4211210"/>
                <a:ext cx="231775" cy="254000"/>
              </a:xfrm>
              <a:custGeom>
                <a:avLst/>
                <a:gdLst>
                  <a:gd name="T0" fmla="*/ 2147483647 w 538"/>
                  <a:gd name="T1" fmla="*/ 2147483647 h 487"/>
                  <a:gd name="T2" fmla="*/ 2147483647 w 538"/>
                  <a:gd name="T3" fmla="*/ 2147483647 h 487"/>
                  <a:gd name="T4" fmla="*/ 2147483647 w 538"/>
                  <a:gd name="T5" fmla="*/ 2147483647 h 487"/>
                  <a:gd name="T6" fmla="*/ 2147483647 w 538"/>
                  <a:gd name="T7" fmla="*/ 2147483647 h 487"/>
                  <a:gd name="T8" fmla="*/ 2147483647 w 538"/>
                  <a:gd name="T9" fmla="*/ 2147483647 h 487"/>
                  <a:gd name="T10" fmla="*/ 2147483647 w 538"/>
                  <a:gd name="T11" fmla="*/ 2147483647 h 487"/>
                  <a:gd name="T12" fmla="*/ 2147483647 w 538"/>
                  <a:gd name="T13" fmla="*/ 2147483647 h 487"/>
                  <a:gd name="T14" fmla="*/ 2147483647 w 538"/>
                  <a:gd name="T15" fmla="*/ 2147483647 h 487"/>
                  <a:gd name="T16" fmla="*/ 2147483647 w 538"/>
                  <a:gd name="T17" fmla="*/ 2147483647 h 487"/>
                  <a:gd name="T18" fmla="*/ 2147483647 w 538"/>
                  <a:gd name="T19" fmla="*/ 2147483647 h 487"/>
                  <a:gd name="T20" fmla="*/ 2147483647 w 538"/>
                  <a:gd name="T21" fmla="*/ 2147483647 h 487"/>
                  <a:gd name="T22" fmla="*/ 2147483647 w 538"/>
                  <a:gd name="T23" fmla="*/ 2147483647 h 487"/>
                  <a:gd name="T24" fmla="*/ 2147483647 w 538"/>
                  <a:gd name="T25" fmla="*/ 2147483647 h 487"/>
                  <a:gd name="T26" fmla="*/ 2147483647 w 538"/>
                  <a:gd name="T27" fmla="*/ 2147483647 h 487"/>
                  <a:gd name="T28" fmla="*/ 2147483647 w 538"/>
                  <a:gd name="T29" fmla="*/ 2147483647 h 487"/>
                  <a:gd name="T30" fmla="*/ 2147483647 w 538"/>
                  <a:gd name="T31" fmla="*/ 2147483647 h 487"/>
                  <a:gd name="T32" fmla="*/ 2147483647 w 538"/>
                  <a:gd name="T33" fmla="*/ 2147483647 h 487"/>
                  <a:gd name="T34" fmla="*/ 2147483647 w 538"/>
                  <a:gd name="T35" fmla="*/ 2147483647 h 487"/>
                  <a:gd name="T36" fmla="*/ 2147483647 w 538"/>
                  <a:gd name="T37" fmla="*/ 2147483647 h 487"/>
                  <a:gd name="T38" fmla="*/ 2147483647 w 538"/>
                  <a:gd name="T39" fmla="*/ 2147483647 h 487"/>
                  <a:gd name="T40" fmla="*/ 2147483647 w 538"/>
                  <a:gd name="T41" fmla="*/ 2147483647 h 487"/>
                  <a:gd name="T42" fmla="*/ 2147483647 w 538"/>
                  <a:gd name="T43" fmla="*/ 2147483647 h 487"/>
                  <a:gd name="T44" fmla="*/ 2147483647 w 538"/>
                  <a:gd name="T45" fmla="*/ 2147483647 h 487"/>
                  <a:gd name="T46" fmla="*/ 2147483647 w 538"/>
                  <a:gd name="T47" fmla="*/ 2147483647 h 487"/>
                  <a:gd name="T48" fmla="*/ 2147483647 w 538"/>
                  <a:gd name="T49" fmla="*/ 2147483647 h 487"/>
                  <a:gd name="T50" fmla="*/ 2147483647 w 538"/>
                  <a:gd name="T51" fmla="*/ 2147483647 h 487"/>
                  <a:gd name="T52" fmla="*/ 2147483647 w 538"/>
                  <a:gd name="T53" fmla="*/ 2147483647 h 487"/>
                  <a:gd name="T54" fmla="*/ 2147483647 w 538"/>
                  <a:gd name="T55" fmla="*/ 2147483647 h 487"/>
                  <a:gd name="T56" fmla="*/ 2147483647 w 538"/>
                  <a:gd name="T57" fmla="*/ 2147483647 h 487"/>
                  <a:gd name="T58" fmla="*/ 2147483647 w 538"/>
                  <a:gd name="T59" fmla="*/ 2147483647 h 487"/>
                  <a:gd name="T60" fmla="*/ 2147483647 w 538"/>
                  <a:gd name="T61" fmla="*/ 2147483647 h 487"/>
                  <a:gd name="T62" fmla="*/ 2147483647 w 538"/>
                  <a:gd name="T63" fmla="*/ 2147483647 h 487"/>
                  <a:gd name="T64" fmla="*/ 2147483647 w 538"/>
                  <a:gd name="T65" fmla="*/ 2147483647 h 487"/>
                  <a:gd name="T66" fmla="*/ 2147483647 w 538"/>
                  <a:gd name="T67" fmla="*/ 2147483647 h 487"/>
                  <a:gd name="T68" fmla="*/ 2147483647 w 538"/>
                  <a:gd name="T69" fmla="*/ 2147483647 h 487"/>
                  <a:gd name="T70" fmla="*/ 2147483647 w 538"/>
                  <a:gd name="T71" fmla="*/ 2147483647 h 487"/>
                  <a:gd name="T72" fmla="*/ 2147483647 w 538"/>
                  <a:gd name="T73" fmla="*/ 2147483647 h 487"/>
                  <a:gd name="T74" fmla="*/ 2147483647 w 538"/>
                  <a:gd name="T75" fmla="*/ 2147483647 h 487"/>
                  <a:gd name="T76" fmla="*/ 2147483647 w 538"/>
                  <a:gd name="T77" fmla="*/ 2147483647 h 487"/>
                  <a:gd name="T78" fmla="*/ 2147483647 w 538"/>
                  <a:gd name="T79" fmla="*/ 2147483647 h 487"/>
                  <a:gd name="T80" fmla="*/ 2147483647 w 538"/>
                  <a:gd name="T81" fmla="*/ 2147483647 h 487"/>
                  <a:gd name="T82" fmla="*/ 2147483647 w 538"/>
                  <a:gd name="T83" fmla="*/ 2147483647 h 487"/>
                  <a:gd name="T84" fmla="*/ 1599094994 w 538"/>
                  <a:gd name="T85" fmla="*/ 2147483647 h 487"/>
                  <a:gd name="T86" fmla="*/ 1599094994 w 538"/>
                  <a:gd name="T87" fmla="*/ 0 h 48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538" h="487">
                    <a:moveTo>
                      <a:pt x="20" y="0"/>
                    </a:moveTo>
                    <a:lnTo>
                      <a:pt x="58" y="10"/>
                    </a:lnTo>
                    <a:lnTo>
                      <a:pt x="91" y="21"/>
                    </a:lnTo>
                    <a:lnTo>
                      <a:pt x="119" y="30"/>
                    </a:lnTo>
                    <a:lnTo>
                      <a:pt x="142" y="38"/>
                    </a:lnTo>
                    <a:lnTo>
                      <a:pt x="160" y="47"/>
                    </a:lnTo>
                    <a:lnTo>
                      <a:pt x="177" y="55"/>
                    </a:lnTo>
                    <a:lnTo>
                      <a:pt x="190" y="62"/>
                    </a:lnTo>
                    <a:lnTo>
                      <a:pt x="202" y="70"/>
                    </a:lnTo>
                    <a:lnTo>
                      <a:pt x="222" y="86"/>
                    </a:lnTo>
                    <a:lnTo>
                      <a:pt x="242" y="102"/>
                    </a:lnTo>
                    <a:lnTo>
                      <a:pt x="253" y="110"/>
                    </a:lnTo>
                    <a:lnTo>
                      <a:pt x="266" y="118"/>
                    </a:lnTo>
                    <a:lnTo>
                      <a:pt x="281" y="127"/>
                    </a:lnTo>
                    <a:lnTo>
                      <a:pt x="300" y="136"/>
                    </a:lnTo>
                    <a:lnTo>
                      <a:pt x="297" y="152"/>
                    </a:lnTo>
                    <a:lnTo>
                      <a:pt x="297" y="158"/>
                    </a:lnTo>
                    <a:lnTo>
                      <a:pt x="299" y="161"/>
                    </a:lnTo>
                    <a:lnTo>
                      <a:pt x="300" y="167"/>
                    </a:lnTo>
                    <a:lnTo>
                      <a:pt x="314" y="178"/>
                    </a:lnTo>
                    <a:lnTo>
                      <a:pt x="347" y="205"/>
                    </a:lnTo>
                    <a:lnTo>
                      <a:pt x="381" y="231"/>
                    </a:lnTo>
                    <a:lnTo>
                      <a:pt x="399" y="247"/>
                    </a:lnTo>
                    <a:lnTo>
                      <a:pt x="393" y="248"/>
                    </a:lnTo>
                    <a:lnTo>
                      <a:pt x="386" y="250"/>
                    </a:lnTo>
                    <a:lnTo>
                      <a:pt x="382" y="250"/>
                    </a:lnTo>
                    <a:lnTo>
                      <a:pt x="379" y="250"/>
                    </a:lnTo>
                    <a:lnTo>
                      <a:pt x="376" y="249"/>
                    </a:lnTo>
                    <a:lnTo>
                      <a:pt x="372" y="247"/>
                    </a:lnTo>
                    <a:lnTo>
                      <a:pt x="372" y="256"/>
                    </a:lnTo>
                    <a:lnTo>
                      <a:pt x="372" y="265"/>
                    </a:lnTo>
                    <a:lnTo>
                      <a:pt x="372" y="272"/>
                    </a:lnTo>
                    <a:lnTo>
                      <a:pt x="372" y="278"/>
                    </a:lnTo>
                    <a:lnTo>
                      <a:pt x="373" y="285"/>
                    </a:lnTo>
                    <a:lnTo>
                      <a:pt x="375" y="292"/>
                    </a:lnTo>
                    <a:lnTo>
                      <a:pt x="377" y="301"/>
                    </a:lnTo>
                    <a:lnTo>
                      <a:pt x="380" y="309"/>
                    </a:lnTo>
                    <a:lnTo>
                      <a:pt x="384" y="317"/>
                    </a:lnTo>
                    <a:lnTo>
                      <a:pt x="389" y="325"/>
                    </a:lnTo>
                    <a:lnTo>
                      <a:pt x="394" y="333"/>
                    </a:lnTo>
                    <a:lnTo>
                      <a:pt x="401" y="341"/>
                    </a:lnTo>
                    <a:lnTo>
                      <a:pt x="407" y="348"/>
                    </a:lnTo>
                    <a:lnTo>
                      <a:pt x="414" y="355"/>
                    </a:lnTo>
                    <a:lnTo>
                      <a:pt x="421" y="361"/>
                    </a:lnTo>
                    <a:lnTo>
                      <a:pt x="428" y="366"/>
                    </a:lnTo>
                    <a:lnTo>
                      <a:pt x="436" y="371"/>
                    </a:lnTo>
                    <a:lnTo>
                      <a:pt x="444" y="374"/>
                    </a:lnTo>
                    <a:lnTo>
                      <a:pt x="451" y="376"/>
                    </a:lnTo>
                    <a:lnTo>
                      <a:pt x="459" y="376"/>
                    </a:lnTo>
                    <a:lnTo>
                      <a:pt x="459" y="384"/>
                    </a:lnTo>
                    <a:lnTo>
                      <a:pt x="461" y="390"/>
                    </a:lnTo>
                    <a:lnTo>
                      <a:pt x="465" y="396"/>
                    </a:lnTo>
                    <a:lnTo>
                      <a:pt x="468" y="401"/>
                    </a:lnTo>
                    <a:lnTo>
                      <a:pt x="472" y="406"/>
                    </a:lnTo>
                    <a:lnTo>
                      <a:pt x="478" y="411"/>
                    </a:lnTo>
                    <a:lnTo>
                      <a:pt x="483" y="414"/>
                    </a:lnTo>
                    <a:lnTo>
                      <a:pt x="489" y="417"/>
                    </a:lnTo>
                    <a:lnTo>
                      <a:pt x="500" y="423"/>
                    </a:lnTo>
                    <a:lnTo>
                      <a:pt x="510" y="429"/>
                    </a:lnTo>
                    <a:lnTo>
                      <a:pt x="513" y="432"/>
                    </a:lnTo>
                    <a:lnTo>
                      <a:pt x="516" y="436"/>
                    </a:lnTo>
                    <a:lnTo>
                      <a:pt x="518" y="440"/>
                    </a:lnTo>
                    <a:lnTo>
                      <a:pt x="518" y="444"/>
                    </a:lnTo>
                    <a:lnTo>
                      <a:pt x="519" y="446"/>
                    </a:lnTo>
                    <a:lnTo>
                      <a:pt x="522" y="448"/>
                    </a:lnTo>
                    <a:lnTo>
                      <a:pt x="525" y="450"/>
                    </a:lnTo>
                    <a:lnTo>
                      <a:pt x="528" y="452"/>
                    </a:lnTo>
                    <a:lnTo>
                      <a:pt x="536" y="455"/>
                    </a:lnTo>
                    <a:lnTo>
                      <a:pt x="538" y="456"/>
                    </a:lnTo>
                    <a:lnTo>
                      <a:pt x="538" y="461"/>
                    </a:lnTo>
                    <a:lnTo>
                      <a:pt x="536" y="467"/>
                    </a:lnTo>
                    <a:lnTo>
                      <a:pt x="534" y="472"/>
                    </a:lnTo>
                    <a:lnTo>
                      <a:pt x="529" y="477"/>
                    </a:lnTo>
                    <a:lnTo>
                      <a:pt x="525" y="481"/>
                    </a:lnTo>
                    <a:lnTo>
                      <a:pt x="519" y="484"/>
                    </a:lnTo>
                    <a:lnTo>
                      <a:pt x="513" y="487"/>
                    </a:lnTo>
                    <a:lnTo>
                      <a:pt x="505" y="487"/>
                    </a:lnTo>
                    <a:lnTo>
                      <a:pt x="490" y="487"/>
                    </a:lnTo>
                    <a:lnTo>
                      <a:pt x="474" y="485"/>
                    </a:lnTo>
                    <a:lnTo>
                      <a:pt x="461" y="483"/>
                    </a:lnTo>
                    <a:lnTo>
                      <a:pt x="448" y="480"/>
                    </a:lnTo>
                    <a:lnTo>
                      <a:pt x="436" y="476"/>
                    </a:lnTo>
                    <a:lnTo>
                      <a:pt x="425" y="471"/>
                    </a:lnTo>
                    <a:lnTo>
                      <a:pt x="414" y="466"/>
                    </a:lnTo>
                    <a:lnTo>
                      <a:pt x="404" y="459"/>
                    </a:lnTo>
                    <a:lnTo>
                      <a:pt x="395" y="453"/>
                    </a:lnTo>
                    <a:lnTo>
                      <a:pt x="386" y="446"/>
                    </a:lnTo>
                    <a:lnTo>
                      <a:pt x="378" y="438"/>
                    </a:lnTo>
                    <a:lnTo>
                      <a:pt x="369" y="431"/>
                    </a:lnTo>
                    <a:lnTo>
                      <a:pt x="355" y="415"/>
                    </a:lnTo>
                    <a:lnTo>
                      <a:pt x="341" y="398"/>
                    </a:lnTo>
                    <a:lnTo>
                      <a:pt x="326" y="381"/>
                    </a:lnTo>
                    <a:lnTo>
                      <a:pt x="312" y="365"/>
                    </a:lnTo>
                    <a:lnTo>
                      <a:pt x="298" y="350"/>
                    </a:lnTo>
                    <a:lnTo>
                      <a:pt x="282" y="336"/>
                    </a:lnTo>
                    <a:lnTo>
                      <a:pt x="274" y="330"/>
                    </a:lnTo>
                    <a:lnTo>
                      <a:pt x="265" y="325"/>
                    </a:lnTo>
                    <a:lnTo>
                      <a:pt x="256" y="320"/>
                    </a:lnTo>
                    <a:lnTo>
                      <a:pt x="246" y="316"/>
                    </a:lnTo>
                    <a:lnTo>
                      <a:pt x="235" y="313"/>
                    </a:lnTo>
                    <a:lnTo>
                      <a:pt x="224" y="311"/>
                    </a:lnTo>
                    <a:lnTo>
                      <a:pt x="212" y="309"/>
                    </a:lnTo>
                    <a:lnTo>
                      <a:pt x="200" y="309"/>
                    </a:lnTo>
                    <a:lnTo>
                      <a:pt x="189" y="309"/>
                    </a:lnTo>
                    <a:lnTo>
                      <a:pt x="180" y="310"/>
                    </a:lnTo>
                    <a:lnTo>
                      <a:pt x="171" y="311"/>
                    </a:lnTo>
                    <a:lnTo>
                      <a:pt x="165" y="313"/>
                    </a:lnTo>
                    <a:lnTo>
                      <a:pt x="153" y="317"/>
                    </a:lnTo>
                    <a:lnTo>
                      <a:pt x="144" y="322"/>
                    </a:lnTo>
                    <a:lnTo>
                      <a:pt x="130" y="334"/>
                    </a:lnTo>
                    <a:lnTo>
                      <a:pt x="113" y="345"/>
                    </a:lnTo>
                    <a:lnTo>
                      <a:pt x="126" y="352"/>
                    </a:lnTo>
                    <a:lnTo>
                      <a:pt x="134" y="358"/>
                    </a:lnTo>
                    <a:lnTo>
                      <a:pt x="136" y="361"/>
                    </a:lnTo>
                    <a:lnTo>
                      <a:pt x="138" y="363"/>
                    </a:lnTo>
                    <a:lnTo>
                      <a:pt x="140" y="366"/>
                    </a:lnTo>
                    <a:lnTo>
                      <a:pt x="140" y="370"/>
                    </a:lnTo>
                    <a:lnTo>
                      <a:pt x="136" y="380"/>
                    </a:lnTo>
                    <a:lnTo>
                      <a:pt x="130" y="394"/>
                    </a:lnTo>
                    <a:lnTo>
                      <a:pt x="124" y="401"/>
                    </a:lnTo>
                    <a:lnTo>
                      <a:pt x="120" y="407"/>
                    </a:lnTo>
                    <a:lnTo>
                      <a:pt x="117" y="412"/>
                    </a:lnTo>
                    <a:lnTo>
                      <a:pt x="113" y="414"/>
                    </a:lnTo>
                    <a:lnTo>
                      <a:pt x="93" y="395"/>
                    </a:lnTo>
                    <a:lnTo>
                      <a:pt x="70" y="399"/>
                    </a:lnTo>
                    <a:lnTo>
                      <a:pt x="47" y="403"/>
                    </a:lnTo>
                    <a:lnTo>
                      <a:pt x="28" y="406"/>
                    </a:lnTo>
                    <a:lnTo>
                      <a:pt x="20" y="407"/>
                    </a:lnTo>
                    <a:lnTo>
                      <a:pt x="20" y="259"/>
                    </a:lnTo>
                    <a:lnTo>
                      <a:pt x="0" y="234"/>
                    </a:lnTo>
                    <a:lnTo>
                      <a:pt x="20" y="222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3" name="Freeform 280"/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13719443" y="4195335"/>
                <a:ext cx="106362" cy="128587"/>
              </a:xfrm>
              <a:custGeom>
                <a:avLst/>
                <a:gdLst>
                  <a:gd name="T0" fmla="*/ 2147483647 w 253"/>
                  <a:gd name="T1" fmla="*/ 142897792 h 246"/>
                  <a:gd name="T2" fmla="*/ 2147483647 w 253"/>
                  <a:gd name="T3" fmla="*/ 1142636104 h 246"/>
                  <a:gd name="T4" fmla="*/ 2147483647 w 253"/>
                  <a:gd name="T5" fmla="*/ 2147483647 h 246"/>
                  <a:gd name="T6" fmla="*/ 2147483647 w 253"/>
                  <a:gd name="T7" fmla="*/ 2147483647 h 246"/>
                  <a:gd name="T8" fmla="*/ 2147483647 w 253"/>
                  <a:gd name="T9" fmla="*/ 2147483647 h 246"/>
                  <a:gd name="T10" fmla="*/ 2147483647 w 253"/>
                  <a:gd name="T11" fmla="*/ 2147483647 h 246"/>
                  <a:gd name="T12" fmla="*/ 2147483647 w 253"/>
                  <a:gd name="T13" fmla="*/ 2147483647 h 246"/>
                  <a:gd name="T14" fmla="*/ 2147483647 w 253"/>
                  <a:gd name="T15" fmla="*/ 2147483647 h 246"/>
                  <a:gd name="T16" fmla="*/ 2147483647 w 253"/>
                  <a:gd name="T17" fmla="*/ 2147483647 h 246"/>
                  <a:gd name="T18" fmla="*/ 2147483647 w 253"/>
                  <a:gd name="T19" fmla="*/ 2147483647 h 246"/>
                  <a:gd name="T20" fmla="*/ 2147483647 w 253"/>
                  <a:gd name="T21" fmla="*/ 2147483647 h 246"/>
                  <a:gd name="T22" fmla="*/ 2147483647 w 253"/>
                  <a:gd name="T23" fmla="*/ 2147483647 h 246"/>
                  <a:gd name="T24" fmla="*/ 2147483647 w 253"/>
                  <a:gd name="T25" fmla="*/ 2147483647 h 246"/>
                  <a:gd name="T26" fmla="*/ 2147483647 w 253"/>
                  <a:gd name="T27" fmla="*/ 2147483647 h 246"/>
                  <a:gd name="T28" fmla="*/ 2147483647 w 253"/>
                  <a:gd name="T29" fmla="*/ 2147483647 h 246"/>
                  <a:gd name="T30" fmla="*/ 2147483647 w 253"/>
                  <a:gd name="T31" fmla="*/ 2147483647 h 246"/>
                  <a:gd name="T32" fmla="*/ 2147483647 w 253"/>
                  <a:gd name="T33" fmla="*/ 2147483647 h 246"/>
                  <a:gd name="T34" fmla="*/ 2147483647 w 253"/>
                  <a:gd name="T35" fmla="*/ 2147483647 h 246"/>
                  <a:gd name="T36" fmla="*/ 2147483647 w 253"/>
                  <a:gd name="T37" fmla="*/ 2147483647 h 246"/>
                  <a:gd name="T38" fmla="*/ 817240204 w 253"/>
                  <a:gd name="T39" fmla="*/ 2147483647 h 246"/>
                  <a:gd name="T40" fmla="*/ 222867487 w 253"/>
                  <a:gd name="T41" fmla="*/ 2147483647 h 246"/>
                  <a:gd name="T42" fmla="*/ 743010039 w 253"/>
                  <a:gd name="T43" fmla="*/ 2147483647 h 246"/>
                  <a:gd name="T44" fmla="*/ 1634657399 w 253"/>
                  <a:gd name="T45" fmla="*/ 2147483647 h 246"/>
                  <a:gd name="T46" fmla="*/ 2147483647 w 253"/>
                  <a:gd name="T47" fmla="*/ 2147483647 h 246"/>
                  <a:gd name="T48" fmla="*/ 2147483647 w 253"/>
                  <a:gd name="T49" fmla="*/ 2147483647 h 246"/>
                  <a:gd name="T50" fmla="*/ 2147483647 w 253"/>
                  <a:gd name="T51" fmla="*/ 2147483647 h 246"/>
                  <a:gd name="T52" fmla="*/ 2147483647 w 253"/>
                  <a:gd name="T53" fmla="*/ 2147483647 h 246"/>
                  <a:gd name="T54" fmla="*/ 2147483647 w 253"/>
                  <a:gd name="T55" fmla="*/ 2147483647 h 246"/>
                  <a:gd name="T56" fmla="*/ 2147483647 w 253"/>
                  <a:gd name="T57" fmla="*/ 2147483647 h 246"/>
                  <a:gd name="T58" fmla="*/ 2147483647 w 253"/>
                  <a:gd name="T59" fmla="*/ 2147483647 h 246"/>
                  <a:gd name="T60" fmla="*/ 2147483647 w 253"/>
                  <a:gd name="T61" fmla="*/ 2147483647 h 246"/>
                  <a:gd name="T62" fmla="*/ 2147483647 w 253"/>
                  <a:gd name="T63" fmla="*/ 2147483647 h 246"/>
                  <a:gd name="T64" fmla="*/ 2147483647 w 253"/>
                  <a:gd name="T65" fmla="*/ 2147483647 h 246"/>
                  <a:gd name="T66" fmla="*/ 2147483647 w 253"/>
                  <a:gd name="T67" fmla="*/ 2147483647 h 246"/>
                  <a:gd name="T68" fmla="*/ 2147483647 w 253"/>
                  <a:gd name="T69" fmla="*/ 2147483647 h 246"/>
                  <a:gd name="T70" fmla="*/ 2147483647 w 253"/>
                  <a:gd name="T71" fmla="*/ 2147483647 h 246"/>
                  <a:gd name="T72" fmla="*/ 2147483647 w 253"/>
                  <a:gd name="T73" fmla="*/ 2147483647 h 246"/>
                  <a:gd name="T74" fmla="*/ 2147483647 w 253"/>
                  <a:gd name="T75" fmla="*/ 2147483647 h 246"/>
                  <a:gd name="T76" fmla="*/ 2147483647 w 253"/>
                  <a:gd name="T77" fmla="*/ 2147483647 h 246"/>
                  <a:gd name="T78" fmla="*/ 2147483647 w 253"/>
                  <a:gd name="T79" fmla="*/ 2147483647 h 246"/>
                  <a:gd name="T80" fmla="*/ 2147483647 w 253"/>
                  <a:gd name="T81" fmla="*/ 2147483647 h 246"/>
                  <a:gd name="T82" fmla="*/ 2147483647 w 253"/>
                  <a:gd name="T83" fmla="*/ 2147483647 h 246"/>
                  <a:gd name="T84" fmla="*/ 2147483647 w 253"/>
                  <a:gd name="T85" fmla="*/ 2147483647 h 246"/>
                  <a:gd name="T86" fmla="*/ 2147483647 w 253"/>
                  <a:gd name="T87" fmla="*/ 2147483647 h 246"/>
                  <a:gd name="T88" fmla="*/ 2147483647 w 253"/>
                  <a:gd name="T89" fmla="*/ 2147483647 h 246"/>
                  <a:gd name="T90" fmla="*/ 2147483647 w 253"/>
                  <a:gd name="T91" fmla="*/ 2147483647 h 246"/>
                  <a:gd name="T92" fmla="*/ 2147483647 w 253"/>
                  <a:gd name="T93" fmla="*/ 2147483647 h 246"/>
                  <a:gd name="T94" fmla="*/ 2147483647 w 253"/>
                  <a:gd name="T95" fmla="*/ 2147483647 h 246"/>
                  <a:gd name="T96" fmla="*/ 2147483647 w 253"/>
                  <a:gd name="T97" fmla="*/ 2147483647 h 246"/>
                  <a:gd name="T98" fmla="*/ 2147483647 w 253"/>
                  <a:gd name="T99" fmla="*/ 2147483647 h 246"/>
                  <a:gd name="T100" fmla="*/ 2147483647 w 253"/>
                  <a:gd name="T101" fmla="*/ 1571056103 h 246"/>
                  <a:gd name="T102" fmla="*/ 2147483647 w 253"/>
                  <a:gd name="T103" fmla="*/ 1713954418 h 246"/>
                  <a:gd name="T104" fmla="*/ 2147483647 w 253"/>
                  <a:gd name="T105" fmla="*/ 2147483647 h 246"/>
                  <a:gd name="T106" fmla="*/ 2147483647 w 253"/>
                  <a:gd name="T107" fmla="*/ 714216106 h 246"/>
                  <a:gd name="T108" fmla="*/ 2147483647 w 253"/>
                  <a:gd name="T109" fmla="*/ 142897792 h 246"/>
                  <a:gd name="T110" fmla="*/ 2147483647 w 253"/>
                  <a:gd name="T111" fmla="*/ 0 h 24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53" h="246">
                    <a:moveTo>
                      <a:pt x="127" y="0"/>
                    </a:moveTo>
                    <a:lnTo>
                      <a:pt x="136" y="1"/>
                    </a:lnTo>
                    <a:lnTo>
                      <a:pt x="146" y="4"/>
                    </a:lnTo>
                    <a:lnTo>
                      <a:pt x="157" y="8"/>
                    </a:lnTo>
                    <a:lnTo>
                      <a:pt x="168" y="14"/>
                    </a:lnTo>
                    <a:lnTo>
                      <a:pt x="179" y="21"/>
                    </a:lnTo>
                    <a:lnTo>
                      <a:pt x="189" y="28"/>
                    </a:lnTo>
                    <a:lnTo>
                      <a:pt x="199" y="37"/>
                    </a:lnTo>
                    <a:lnTo>
                      <a:pt x="209" y="47"/>
                    </a:lnTo>
                    <a:lnTo>
                      <a:pt x="218" y="57"/>
                    </a:lnTo>
                    <a:lnTo>
                      <a:pt x="227" y="66"/>
                    </a:lnTo>
                    <a:lnTo>
                      <a:pt x="234" y="76"/>
                    </a:lnTo>
                    <a:lnTo>
                      <a:pt x="240" y="85"/>
                    </a:lnTo>
                    <a:lnTo>
                      <a:pt x="245" y="94"/>
                    </a:lnTo>
                    <a:lnTo>
                      <a:pt x="250" y="103"/>
                    </a:lnTo>
                    <a:lnTo>
                      <a:pt x="252" y="111"/>
                    </a:lnTo>
                    <a:lnTo>
                      <a:pt x="253" y="117"/>
                    </a:lnTo>
                    <a:lnTo>
                      <a:pt x="252" y="128"/>
                    </a:lnTo>
                    <a:lnTo>
                      <a:pt x="248" y="140"/>
                    </a:lnTo>
                    <a:lnTo>
                      <a:pt x="243" y="151"/>
                    </a:lnTo>
                    <a:lnTo>
                      <a:pt x="236" y="163"/>
                    </a:lnTo>
                    <a:lnTo>
                      <a:pt x="229" y="174"/>
                    </a:lnTo>
                    <a:lnTo>
                      <a:pt x="219" y="185"/>
                    </a:lnTo>
                    <a:lnTo>
                      <a:pt x="209" y="195"/>
                    </a:lnTo>
                    <a:lnTo>
                      <a:pt x="197" y="204"/>
                    </a:lnTo>
                    <a:lnTo>
                      <a:pt x="184" y="214"/>
                    </a:lnTo>
                    <a:lnTo>
                      <a:pt x="171" y="222"/>
                    </a:lnTo>
                    <a:lnTo>
                      <a:pt x="157" y="229"/>
                    </a:lnTo>
                    <a:lnTo>
                      <a:pt x="143" y="235"/>
                    </a:lnTo>
                    <a:lnTo>
                      <a:pt x="129" y="240"/>
                    </a:lnTo>
                    <a:lnTo>
                      <a:pt x="115" y="243"/>
                    </a:lnTo>
                    <a:lnTo>
                      <a:pt x="100" y="245"/>
                    </a:lnTo>
                    <a:lnTo>
                      <a:pt x="86" y="246"/>
                    </a:lnTo>
                    <a:lnTo>
                      <a:pt x="74" y="245"/>
                    </a:lnTo>
                    <a:lnTo>
                      <a:pt x="64" y="243"/>
                    </a:lnTo>
                    <a:lnTo>
                      <a:pt x="53" y="240"/>
                    </a:lnTo>
                    <a:lnTo>
                      <a:pt x="43" y="237"/>
                    </a:lnTo>
                    <a:lnTo>
                      <a:pt x="33" y="234"/>
                    </a:lnTo>
                    <a:lnTo>
                      <a:pt x="22" y="231"/>
                    </a:lnTo>
                    <a:lnTo>
                      <a:pt x="11" y="229"/>
                    </a:lnTo>
                    <a:lnTo>
                      <a:pt x="0" y="228"/>
                    </a:lnTo>
                    <a:lnTo>
                      <a:pt x="3" y="219"/>
                    </a:lnTo>
                    <a:lnTo>
                      <a:pt x="6" y="212"/>
                    </a:lnTo>
                    <a:lnTo>
                      <a:pt x="10" y="205"/>
                    </a:lnTo>
                    <a:lnTo>
                      <a:pt x="16" y="200"/>
                    </a:lnTo>
                    <a:lnTo>
                      <a:pt x="22" y="196"/>
                    </a:lnTo>
                    <a:lnTo>
                      <a:pt x="29" y="193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0" y="197"/>
                    </a:lnTo>
                    <a:lnTo>
                      <a:pt x="53" y="209"/>
                    </a:lnTo>
                    <a:lnTo>
                      <a:pt x="60" y="207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72" y="198"/>
                    </a:lnTo>
                    <a:lnTo>
                      <a:pt x="75" y="190"/>
                    </a:lnTo>
                    <a:lnTo>
                      <a:pt x="79" y="179"/>
                    </a:lnTo>
                    <a:lnTo>
                      <a:pt x="84" y="180"/>
                    </a:lnTo>
                    <a:lnTo>
                      <a:pt x="88" y="181"/>
                    </a:lnTo>
                    <a:lnTo>
                      <a:pt x="91" y="181"/>
                    </a:lnTo>
                    <a:lnTo>
                      <a:pt x="95" y="181"/>
                    </a:lnTo>
                    <a:lnTo>
                      <a:pt x="98" y="179"/>
                    </a:lnTo>
                    <a:lnTo>
                      <a:pt x="99" y="179"/>
                    </a:lnTo>
                    <a:lnTo>
                      <a:pt x="106" y="178"/>
                    </a:lnTo>
                    <a:lnTo>
                      <a:pt x="112" y="177"/>
                    </a:lnTo>
                    <a:lnTo>
                      <a:pt x="120" y="174"/>
                    </a:lnTo>
                    <a:lnTo>
                      <a:pt x="130" y="171"/>
                    </a:lnTo>
                    <a:lnTo>
                      <a:pt x="149" y="164"/>
                    </a:lnTo>
                    <a:lnTo>
                      <a:pt x="169" y="153"/>
                    </a:lnTo>
                    <a:lnTo>
                      <a:pt x="179" y="147"/>
                    </a:lnTo>
                    <a:lnTo>
                      <a:pt x="188" y="141"/>
                    </a:lnTo>
                    <a:lnTo>
                      <a:pt x="197" y="135"/>
                    </a:lnTo>
                    <a:lnTo>
                      <a:pt x="205" y="129"/>
                    </a:lnTo>
                    <a:lnTo>
                      <a:pt x="210" y="123"/>
                    </a:lnTo>
                    <a:lnTo>
                      <a:pt x="216" y="117"/>
                    </a:lnTo>
                    <a:lnTo>
                      <a:pt x="218" y="111"/>
                    </a:lnTo>
                    <a:lnTo>
                      <a:pt x="219" y="105"/>
                    </a:lnTo>
                    <a:lnTo>
                      <a:pt x="219" y="98"/>
                    </a:lnTo>
                    <a:lnTo>
                      <a:pt x="217" y="92"/>
                    </a:lnTo>
                    <a:lnTo>
                      <a:pt x="214" y="88"/>
                    </a:lnTo>
                    <a:lnTo>
                      <a:pt x="212" y="84"/>
                    </a:lnTo>
                    <a:lnTo>
                      <a:pt x="210" y="80"/>
                    </a:lnTo>
                    <a:lnTo>
                      <a:pt x="208" y="76"/>
                    </a:lnTo>
                    <a:lnTo>
                      <a:pt x="207" y="72"/>
                    </a:lnTo>
                    <a:lnTo>
                      <a:pt x="206" y="68"/>
                    </a:lnTo>
                    <a:lnTo>
                      <a:pt x="201" y="67"/>
                    </a:lnTo>
                    <a:lnTo>
                      <a:pt x="196" y="67"/>
                    </a:lnTo>
                    <a:lnTo>
                      <a:pt x="191" y="65"/>
                    </a:lnTo>
                    <a:lnTo>
                      <a:pt x="188" y="63"/>
                    </a:lnTo>
                    <a:lnTo>
                      <a:pt x="184" y="61"/>
                    </a:lnTo>
                    <a:lnTo>
                      <a:pt x="182" y="57"/>
                    </a:lnTo>
                    <a:lnTo>
                      <a:pt x="180" y="54"/>
                    </a:lnTo>
                    <a:lnTo>
                      <a:pt x="179" y="49"/>
                    </a:lnTo>
                    <a:lnTo>
                      <a:pt x="140" y="49"/>
                    </a:lnTo>
                    <a:lnTo>
                      <a:pt x="138" y="47"/>
                    </a:lnTo>
                    <a:lnTo>
                      <a:pt x="136" y="44"/>
                    </a:lnTo>
                    <a:lnTo>
                      <a:pt x="136" y="39"/>
                    </a:lnTo>
                    <a:lnTo>
                      <a:pt x="136" y="36"/>
                    </a:lnTo>
                    <a:lnTo>
                      <a:pt x="139" y="27"/>
                    </a:lnTo>
                    <a:lnTo>
                      <a:pt x="140" y="18"/>
                    </a:lnTo>
                    <a:lnTo>
                      <a:pt x="124" y="14"/>
                    </a:lnTo>
                    <a:lnTo>
                      <a:pt x="110" y="11"/>
                    </a:lnTo>
                    <a:lnTo>
                      <a:pt x="104" y="11"/>
                    </a:lnTo>
                    <a:lnTo>
                      <a:pt x="97" y="12"/>
                    </a:lnTo>
                    <a:lnTo>
                      <a:pt x="91" y="15"/>
                    </a:lnTo>
                    <a:lnTo>
                      <a:pt x="86" y="18"/>
                    </a:lnTo>
                    <a:lnTo>
                      <a:pt x="96" y="10"/>
                    </a:lnTo>
                    <a:lnTo>
                      <a:pt x="104" y="5"/>
                    </a:lnTo>
                    <a:lnTo>
                      <a:pt x="108" y="3"/>
                    </a:lnTo>
                    <a:lnTo>
                      <a:pt x="113" y="1"/>
                    </a:lnTo>
                    <a:lnTo>
                      <a:pt x="119" y="0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4" name="Freeform 281"/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11995418" y="3828622"/>
                <a:ext cx="63500" cy="119063"/>
              </a:xfrm>
              <a:custGeom>
                <a:avLst/>
                <a:gdLst>
                  <a:gd name="T0" fmla="*/ 2147483647 w 141"/>
                  <a:gd name="T1" fmla="*/ 2147483647 h 228"/>
                  <a:gd name="T2" fmla="*/ 2147483647 w 141"/>
                  <a:gd name="T3" fmla="*/ 2147483647 h 228"/>
                  <a:gd name="T4" fmla="*/ 2147483647 w 141"/>
                  <a:gd name="T5" fmla="*/ 2147483647 h 228"/>
                  <a:gd name="T6" fmla="*/ 2009533160 w 141"/>
                  <a:gd name="T7" fmla="*/ 2147483647 h 228"/>
                  <a:gd name="T8" fmla="*/ 1461515550 w 141"/>
                  <a:gd name="T9" fmla="*/ 2147483647 h 228"/>
                  <a:gd name="T10" fmla="*/ 913497940 w 141"/>
                  <a:gd name="T11" fmla="*/ 2147483647 h 228"/>
                  <a:gd name="T12" fmla="*/ 456749195 w 141"/>
                  <a:gd name="T13" fmla="*/ 2147483647 h 228"/>
                  <a:gd name="T14" fmla="*/ 182740390 w 141"/>
                  <a:gd name="T15" fmla="*/ 2147483647 h 228"/>
                  <a:gd name="T16" fmla="*/ 0 w 141"/>
                  <a:gd name="T17" fmla="*/ 2147483647 h 228"/>
                  <a:gd name="T18" fmla="*/ 182740390 w 141"/>
                  <a:gd name="T19" fmla="*/ 2147483647 h 228"/>
                  <a:gd name="T20" fmla="*/ 365277670 w 141"/>
                  <a:gd name="T21" fmla="*/ 2147483647 h 228"/>
                  <a:gd name="T22" fmla="*/ 548017610 w 141"/>
                  <a:gd name="T23" fmla="*/ 2147483647 h 228"/>
                  <a:gd name="T24" fmla="*/ 822026415 w 141"/>
                  <a:gd name="T25" fmla="*/ 2147483647 h 228"/>
                  <a:gd name="T26" fmla="*/ 1644052830 w 141"/>
                  <a:gd name="T27" fmla="*/ 2147483647 h 228"/>
                  <a:gd name="T28" fmla="*/ 2147483647 w 141"/>
                  <a:gd name="T29" fmla="*/ 0 h 228"/>
                  <a:gd name="T30" fmla="*/ 2147483647 w 141"/>
                  <a:gd name="T31" fmla="*/ 2147483647 h 228"/>
                  <a:gd name="T32" fmla="*/ 2147483647 w 141"/>
                  <a:gd name="T33" fmla="*/ 2147483647 h 228"/>
                  <a:gd name="T34" fmla="*/ 2147483647 w 141"/>
                  <a:gd name="T35" fmla="*/ 2147483647 h 228"/>
                  <a:gd name="T36" fmla="*/ 2147483647 w 141"/>
                  <a:gd name="T37" fmla="*/ 2147483647 h 228"/>
                  <a:gd name="T38" fmla="*/ 2147483647 w 141"/>
                  <a:gd name="T39" fmla="*/ 2147483647 h 228"/>
                  <a:gd name="T40" fmla="*/ 2147483647 w 141"/>
                  <a:gd name="T41" fmla="*/ 2147483647 h 228"/>
                  <a:gd name="T42" fmla="*/ 2147483647 w 141"/>
                  <a:gd name="T43" fmla="*/ 2147483647 h 228"/>
                  <a:gd name="T44" fmla="*/ 2147483647 w 141"/>
                  <a:gd name="T45" fmla="*/ 2147483647 h 228"/>
                  <a:gd name="T46" fmla="*/ 2147483647 w 141"/>
                  <a:gd name="T47" fmla="*/ 2147483647 h 228"/>
                  <a:gd name="T48" fmla="*/ 2147483647 w 141"/>
                  <a:gd name="T49" fmla="*/ 2147483647 h 228"/>
                  <a:gd name="T50" fmla="*/ 2147483647 w 141"/>
                  <a:gd name="T51" fmla="*/ 2147483647 h 228"/>
                  <a:gd name="T52" fmla="*/ 2147483647 w 141"/>
                  <a:gd name="T53" fmla="*/ 2147483647 h 228"/>
                  <a:gd name="T54" fmla="*/ 2147483647 w 141"/>
                  <a:gd name="T55" fmla="*/ 2147483647 h 228"/>
                  <a:gd name="T56" fmla="*/ 2147483647 w 141"/>
                  <a:gd name="T57" fmla="*/ 2147483647 h 228"/>
                  <a:gd name="T58" fmla="*/ 2147483647 w 141"/>
                  <a:gd name="T59" fmla="*/ 2147483647 h 228"/>
                  <a:gd name="T60" fmla="*/ 2147483647 w 141"/>
                  <a:gd name="T61" fmla="*/ 2147483647 h 228"/>
                  <a:gd name="T62" fmla="*/ 2147483647 w 141"/>
                  <a:gd name="T63" fmla="*/ 2147483647 h 228"/>
                  <a:gd name="T64" fmla="*/ 2147483647 w 141"/>
                  <a:gd name="T65" fmla="*/ 2147483647 h 228"/>
                  <a:gd name="T66" fmla="*/ 2147483647 w 141"/>
                  <a:gd name="T67" fmla="*/ 2147483647 h 228"/>
                  <a:gd name="T68" fmla="*/ 2147483647 w 141"/>
                  <a:gd name="T69" fmla="*/ 2147483647 h 228"/>
                  <a:gd name="T70" fmla="*/ 2147483647 w 141"/>
                  <a:gd name="T71" fmla="*/ 2147483647 h 228"/>
                  <a:gd name="T72" fmla="*/ 2147483647 w 141"/>
                  <a:gd name="T73" fmla="*/ 2147483647 h 228"/>
                  <a:gd name="T74" fmla="*/ 2147483647 w 141"/>
                  <a:gd name="T75" fmla="*/ 2147483647 h 228"/>
                  <a:gd name="T76" fmla="*/ 2147483647 w 141"/>
                  <a:gd name="T77" fmla="*/ 2147483647 h 228"/>
                  <a:gd name="T78" fmla="*/ 2147483647 w 141"/>
                  <a:gd name="T79" fmla="*/ 2147483647 h 228"/>
                  <a:gd name="T80" fmla="*/ 2147483647 w 141"/>
                  <a:gd name="T81" fmla="*/ 2147483647 h 22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145" name="Group 282"/>
              <p:cNvGrpSpPr>
                <a:grpSpLocks/>
              </p:cNvGrpSpPr>
              <p:nvPr>
                <p:custDataLst>
                  <p:tags r:id="rId141"/>
                </p:custDataLst>
              </p:nvPr>
            </p:nvGrpSpPr>
            <p:grpSpPr bwMode="auto">
              <a:xfrm>
                <a:off x="12935218" y="3539697"/>
                <a:ext cx="233362" cy="439738"/>
                <a:chOff x="5062" y="2295"/>
                <a:chExt cx="177" cy="279"/>
              </a:xfrm>
            </p:grpSpPr>
            <p:sp>
              <p:nvSpPr>
                <p:cNvPr id="332" name="Freeform 283"/>
                <p:cNvSpPr>
                  <a:spLocks/>
                </p:cNvSpPr>
                <p:nvPr/>
              </p:nvSpPr>
              <p:spPr bwMode="auto">
                <a:xfrm>
                  <a:off x="5154" y="2449"/>
                  <a:ext cx="19" cy="37"/>
                </a:xfrm>
                <a:custGeom>
                  <a:avLst/>
                  <a:gdLst>
                    <a:gd name="T0" fmla="*/ 1 w 60"/>
                    <a:gd name="T1" fmla="*/ 4 h 110"/>
                    <a:gd name="T2" fmla="*/ 1 w 60"/>
                    <a:gd name="T3" fmla="*/ 4 h 110"/>
                    <a:gd name="T4" fmla="*/ 2 w 60"/>
                    <a:gd name="T5" fmla="*/ 4 h 110"/>
                    <a:gd name="T6" fmla="*/ 2 w 60"/>
                    <a:gd name="T7" fmla="*/ 4 h 110"/>
                    <a:gd name="T8" fmla="*/ 2 w 60"/>
                    <a:gd name="T9" fmla="*/ 4 h 110"/>
                    <a:gd name="T10" fmla="*/ 2 w 60"/>
                    <a:gd name="T11" fmla="*/ 3 h 110"/>
                    <a:gd name="T12" fmla="*/ 2 w 60"/>
                    <a:gd name="T13" fmla="*/ 3 h 110"/>
                    <a:gd name="T14" fmla="*/ 2 w 60"/>
                    <a:gd name="T15" fmla="*/ 3 h 110"/>
                    <a:gd name="T16" fmla="*/ 2 w 60"/>
                    <a:gd name="T17" fmla="*/ 3 h 110"/>
                    <a:gd name="T18" fmla="*/ 2 w 60"/>
                    <a:gd name="T19" fmla="*/ 2 h 110"/>
                    <a:gd name="T20" fmla="*/ 2 w 60"/>
                    <a:gd name="T21" fmla="*/ 2 h 110"/>
                    <a:gd name="T22" fmla="*/ 2 w 60"/>
                    <a:gd name="T23" fmla="*/ 1 h 110"/>
                    <a:gd name="T24" fmla="*/ 2 w 60"/>
                    <a:gd name="T25" fmla="*/ 1 h 110"/>
                    <a:gd name="T26" fmla="*/ 2 w 60"/>
                    <a:gd name="T27" fmla="*/ 1 h 110"/>
                    <a:gd name="T28" fmla="*/ 2 w 60"/>
                    <a:gd name="T29" fmla="*/ 0 h 110"/>
                    <a:gd name="T30" fmla="*/ 1 w 60"/>
                    <a:gd name="T31" fmla="*/ 0 h 110"/>
                    <a:gd name="T32" fmla="*/ 1 w 60"/>
                    <a:gd name="T33" fmla="*/ 0 h 110"/>
                    <a:gd name="T34" fmla="*/ 1 w 60"/>
                    <a:gd name="T35" fmla="*/ 0 h 110"/>
                    <a:gd name="T36" fmla="*/ 1 w 60"/>
                    <a:gd name="T37" fmla="*/ 0 h 110"/>
                    <a:gd name="T38" fmla="*/ 1 w 60"/>
                    <a:gd name="T39" fmla="*/ 0 h 110"/>
                    <a:gd name="T40" fmla="*/ 1 w 60"/>
                    <a:gd name="T41" fmla="*/ 1 h 110"/>
                    <a:gd name="T42" fmla="*/ 1 w 60"/>
                    <a:gd name="T43" fmla="*/ 1 h 110"/>
                    <a:gd name="T44" fmla="*/ 1 w 60"/>
                    <a:gd name="T45" fmla="*/ 1 h 110"/>
                    <a:gd name="T46" fmla="*/ 0 w 60"/>
                    <a:gd name="T47" fmla="*/ 2 h 110"/>
                    <a:gd name="T48" fmla="*/ 0 w 60"/>
                    <a:gd name="T49" fmla="*/ 2 h 110"/>
                    <a:gd name="T50" fmla="*/ 0 w 60"/>
                    <a:gd name="T51" fmla="*/ 2 h 110"/>
                    <a:gd name="T52" fmla="*/ 0 w 60"/>
                    <a:gd name="T53" fmla="*/ 3 h 110"/>
                    <a:gd name="T54" fmla="*/ 0 w 60"/>
                    <a:gd name="T55" fmla="*/ 3 h 110"/>
                    <a:gd name="T56" fmla="*/ 0 w 60"/>
                    <a:gd name="T57" fmla="*/ 3 h 110"/>
                    <a:gd name="T58" fmla="*/ 0 w 60"/>
                    <a:gd name="T59" fmla="*/ 3 h 110"/>
                    <a:gd name="T60" fmla="*/ 0 w 60"/>
                    <a:gd name="T61" fmla="*/ 3 h 110"/>
                    <a:gd name="T62" fmla="*/ 0 w 60"/>
                    <a:gd name="T63" fmla="*/ 3 h 110"/>
                    <a:gd name="T64" fmla="*/ 0 w 60"/>
                    <a:gd name="T65" fmla="*/ 4 h 110"/>
                    <a:gd name="T66" fmla="*/ 1 w 60"/>
                    <a:gd name="T67" fmla="*/ 4 h 110"/>
                    <a:gd name="T68" fmla="*/ 1 w 60"/>
                    <a:gd name="T69" fmla="*/ 4 h 110"/>
                    <a:gd name="T70" fmla="*/ 1 w 60"/>
                    <a:gd name="T71" fmla="*/ 4 h 110"/>
                    <a:gd name="T72" fmla="*/ 1 w 60"/>
                    <a:gd name="T73" fmla="*/ 4 h 11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60" h="110">
                      <a:moveTo>
                        <a:pt x="39" y="110"/>
                      </a:moveTo>
                      <a:lnTo>
                        <a:pt x="42" y="109"/>
                      </a:lnTo>
                      <a:lnTo>
                        <a:pt x="46" y="106"/>
                      </a:lnTo>
                      <a:lnTo>
                        <a:pt x="49" y="101"/>
                      </a:lnTo>
                      <a:lnTo>
                        <a:pt x="52" y="96"/>
                      </a:lnTo>
                      <a:lnTo>
                        <a:pt x="54" y="90"/>
                      </a:lnTo>
                      <a:lnTo>
                        <a:pt x="57" y="84"/>
                      </a:lnTo>
                      <a:lnTo>
                        <a:pt x="59" y="78"/>
                      </a:lnTo>
                      <a:lnTo>
                        <a:pt x="60" y="73"/>
                      </a:lnTo>
                      <a:lnTo>
                        <a:pt x="59" y="60"/>
                      </a:lnTo>
                      <a:lnTo>
                        <a:pt x="58" y="48"/>
                      </a:lnTo>
                      <a:lnTo>
                        <a:pt x="57" y="38"/>
                      </a:lnTo>
                      <a:lnTo>
                        <a:pt x="54" y="29"/>
                      </a:lnTo>
                      <a:lnTo>
                        <a:pt x="51" y="21"/>
                      </a:lnTo>
                      <a:lnTo>
                        <a:pt x="48" y="13"/>
                      </a:lnTo>
                      <a:lnTo>
                        <a:pt x="45" y="6"/>
                      </a:lnTo>
                      <a:lnTo>
                        <a:pt x="39" y="0"/>
                      </a:lnTo>
                      <a:lnTo>
                        <a:pt x="35" y="3"/>
                      </a:lnTo>
                      <a:lnTo>
                        <a:pt x="30" y="8"/>
                      </a:lnTo>
                      <a:lnTo>
                        <a:pt x="27" y="13"/>
                      </a:lnTo>
                      <a:lnTo>
                        <a:pt x="24" y="18"/>
                      </a:lnTo>
                      <a:lnTo>
                        <a:pt x="18" y="29"/>
                      </a:lnTo>
                      <a:lnTo>
                        <a:pt x="15" y="40"/>
                      </a:lnTo>
                      <a:lnTo>
                        <a:pt x="10" y="51"/>
                      </a:lnTo>
                      <a:lnTo>
                        <a:pt x="7" y="62"/>
                      </a:lnTo>
                      <a:lnTo>
                        <a:pt x="6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8"/>
                      </a:lnTo>
                      <a:lnTo>
                        <a:pt x="3" y="84"/>
                      </a:lnTo>
                      <a:lnTo>
                        <a:pt x="7" y="90"/>
                      </a:lnTo>
                      <a:lnTo>
                        <a:pt x="12" y="96"/>
                      </a:lnTo>
                      <a:lnTo>
                        <a:pt x="18" y="101"/>
                      </a:lnTo>
                      <a:lnTo>
                        <a:pt x="25" y="106"/>
                      </a:lnTo>
                      <a:lnTo>
                        <a:pt x="32" y="109"/>
                      </a:lnTo>
                      <a:lnTo>
                        <a:pt x="39" y="11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3" name="Freeform 284"/>
                <p:cNvSpPr>
                  <a:spLocks/>
                </p:cNvSpPr>
                <p:nvPr/>
              </p:nvSpPr>
              <p:spPr bwMode="auto">
                <a:xfrm>
                  <a:off x="5189" y="2422"/>
                  <a:ext cx="24" cy="25"/>
                </a:xfrm>
                <a:custGeom>
                  <a:avLst/>
                  <a:gdLst>
                    <a:gd name="T0" fmla="*/ 0 w 72"/>
                    <a:gd name="T1" fmla="*/ 0 h 75"/>
                    <a:gd name="T2" fmla="*/ 0 w 72"/>
                    <a:gd name="T3" fmla="*/ 1 h 75"/>
                    <a:gd name="T4" fmla="*/ 1 w 72"/>
                    <a:gd name="T5" fmla="*/ 1 h 75"/>
                    <a:gd name="T6" fmla="*/ 1 w 72"/>
                    <a:gd name="T7" fmla="*/ 1 h 75"/>
                    <a:gd name="T8" fmla="*/ 1 w 72"/>
                    <a:gd name="T9" fmla="*/ 1 h 75"/>
                    <a:gd name="T10" fmla="*/ 1 w 72"/>
                    <a:gd name="T11" fmla="*/ 2 h 75"/>
                    <a:gd name="T12" fmla="*/ 2 w 72"/>
                    <a:gd name="T13" fmla="*/ 2 h 75"/>
                    <a:gd name="T14" fmla="*/ 2 w 72"/>
                    <a:gd name="T15" fmla="*/ 2 h 75"/>
                    <a:gd name="T16" fmla="*/ 2 w 72"/>
                    <a:gd name="T17" fmla="*/ 3 h 75"/>
                    <a:gd name="T18" fmla="*/ 3 w 72"/>
                    <a:gd name="T19" fmla="*/ 3 h 75"/>
                    <a:gd name="T20" fmla="*/ 2 w 72"/>
                    <a:gd name="T21" fmla="*/ 2 h 75"/>
                    <a:gd name="T22" fmla="*/ 2 w 72"/>
                    <a:gd name="T23" fmla="*/ 1 h 75"/>
                    <a:gd name="T24" fmla="*/ 2 w 72"/>
                    <a:gd name="T25" fmla="*/ 1 h 75"/>
                    <a:gd name="T26" fmla="*/ 2 w 72"/>
                    <a:gd name="T27" fmla="*/ 1 h 75"/>
                    <a:gd name="T28" fmla="*/ 2 w 72"/>
                    <a:gd name="T29" fmla="*/ 0 h 75"/>
                    <a:gd name="T30" fmla="*/ 3 w 72"/>
                    <a:gd name="T31" fmla="*/ 0 h 75"/>
                    <a:gd name="T32" fmla="*/ 2 w 72"/>
                    <a:gd name="T33" fmla="*/ 0 h 75"/>
                    <a:gd name="T34" fmla="*/ 1 w 72"/>
                    <a:gd name="T35" fmla="*/ 0 h 75"/>
                    <a:gd name="T36" fmla="*/ 1 w 72"/>
                    <a:gd name="T37" fmla="*/ 0 h 75"/>
                    <a:gd name="T38" fmla="*/ 0 w 72"/>
                    <a:gd name="T39" fmla="*/ 0 h 75"/>
                    <a:gd name="T40" fmla="*/ 0 w 72"/>
                    <a:gd name="T41" fmla="*/ 0 h 75"/>
                    <a:gd name="T42" fmla="*/ 0 w 72"/>
                    <a:gd name="T43" fmla="*/ 0 h 75"/>
                    <a:gd name="T44" fmla="*/ 0 w 72"/>
                    <a:gd name="T45" fmla="*/ 0 h 75"/>
                    <a:gd name="T46" fmla="*/ 0 w 72"/>
                    <a:gd name="T47" fmla="*/ 0 h 7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72" h="75">
                      <a:moveTo>
                        <a:pt x="0" y="13"/>
                      </a:moveTo>
                      <a:lnTo>
                        <a:pt x="8" y="18"/>
                      </a:lnTo>
                      <a:lnTo>
                        <a:pt x="15" y="25"/>
                      </a:lnTo>
                      <a:lnTo>
                        <a:pt x="23" y="32"/>
                      </a:lnTo>
                      <a:lnTo>
                        <a:pt x="31" y="40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5" y="65"/>
                      </a:lnTo>
                      <a:lnTo>
                        <a:pt x="46" y="75"/>
                      </a:lnTo>
                      <a:lnTo>
                        <a:pt x="72" y="75"/>
                      </a:lnTo>
                      <a:lnTo>
                        <a:pt x="65" y="50"/>
                      </a:lnTo>
                      <a:lnTo>
                        <a:pt x="60" y="34"/>
                      </a:lnTo>
                      <a:lnTo>
                        <a:pt x="60" y="27"/>
                      </a:lnTo>
                      <a:lnTo>
                        <a:pt x="63" y="19"/>
                      </a:lnTo>
                      <a:lnTo>
                        <a:pt x="67" y="11"/>
                      </a:lnTo>
                      <a:lnTo>
                        <a:pt x="72" y="1"/>
                      </a:lnTo>
                      <a:lnTo>
                        <a:pt x="52" y="0"/>
                      </a:lnTo>
                      <a:lnTo>
                        <a:pt x="32" y="0"/>
                      </a:lnTo>
                      <a:lnTo>
                        <a:pt x="22" y="1"/>
                      </a:lnTo>
                      <a:lnTo>
                        <a:pt x="13" y="3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2" y="10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4" name="Freeform 285"/>
                <p:cNvSpPr>
                  <a:spLocks/>
                </p:cNvSpPr>
                <p:nvPr/>
              </p:nvSpPr>
              <p:spPr bwMode="auto">
                <a:xfrm>
                  <a:off x="5160" y="2389"/>
                  <a:ext cx="5" cy="16"/>
                </a:xfrm>
                <a:custGeom>
                  <a:avLst/>
                  <a:gdLst>
                    <a:gd name="T0" fmla="*/ 1 w 15"/>
                    <a:gd name="T1" fmla="*/ 2 h 49"/>
                    <a:gd name="T2" fmla="*/ 1 w 15"/>
                    <a:gd name="T3" fmla="*/ 1 h 49"/>
                    <a:gd name="T4" fmla="*/ 1 w 15"/>
                    <a:gd name="T5" fmla="*/ 1 h 49"/>
                    <a:gd name="T6" fmla="*/ 1 w 15"/>
                    <a:gd name="T7" fmla="*/ 0 h 49"/>
                    <a:gd name="T8" fmla="*/ 0 w 15"/>
                    <a:gd name="T9" fmla="*/ 0 h 49"/>
                    <a:gd name="T10" fmla="*/ 0 w 15"/>
                    <a:gd name="T11" fmla="*/ 0 h 49"/>
                    <a:gd name="T12" fmla="*/ 0 w 15"/>
                    <a:gd name="T13" fmla="*/ 0 h 49"/>
                    <a:gd name="T14" fmla="*/ 0 w 15"/>
                    <a:gd name="T15" fmla="*/ 0 h 49"/>
                    <a:gd name="T16" fmla="*/ 0 w 15"/>
                    <a:gd name="T17" fmla="*/ 1 h 49"/>
                    <a:gd name="T18" fmla="*/ 0 w 15"/>
                    <a:gd name="T19" fmla="*/ 1 h 49"/>
                    <a:gd name="T20" fmla="*/ 0 w 15"/>
                    <a:gd name="T21" fmla="*/ 1 h 49"/>
                    <a:gd name="T22" fmla="*/ 0 w 15"/>
                    <a:gd name="T23" fmla="*/ 1 h 49"/>
                    <a:gd name="T24" fmla="*/ 0 w 15"/>
                    <a:gd name="T25" fmla="*/ 2 h 49"/>
                    <a:gd name="T26" fmla="*/ 0 w 15"/>
                    <a:gd name="T27" fmla="*/ 2 h 49"/>
                    <a:gd name="T28" fmla="*/ 0 w 15"/>
                    <a:gd name="T29" fmla="*/ 2 h 49"/>
                    <a:gd name="T30" fmla="*/ 0 w 15"/>
                    <a:gd name="T31" fmla="*/ 2 h 49"/>
                    <a:gd name="T32" fmla="*/ 1 w 15"/>
                    <a:gd name="T33" fmla="*/ 2 h 4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5" h="49">
                      <a:moveTo>
                        <a:pt x="15" y="49"/>
                      </a:moveTo>
                      <a:lnTo>
                        <a:pt x="15" y="33"/>
                      </a:lnTo>
                      <a:lnTo>
                        <a:pt x="15" y="19"/>
                      </a:lnTo>
                      <a:lnTo>
                        <a:pt x="14" y="13"/>
                      </a:lnTo>
                      <a:lnTo>
                        <a:pt x="13" y="7"/>
                      </a:lnTo>
                      <a:lnTo>
                        <a:pt x="11" y="3"/>
                      </a:lnTo>
                      <a:lnTo>
                        <a:pt x="9" y="0"/>
                      </a:lnTo>
                      <a:lnTo>
                        <a:pt x="4" y="7"/>
                      </a:lnTo>
                      <a:lnTo>
                        <a:pt x="2" y="15"/>
                      </a:lnTo>
                      <a:lnTo>
                        <a:pt x="0" y="23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4" y="42"/>
                      </a:lnTo>
                      <a:lnTo>
                        <a:pt x="7" y="44"/>
                      </a:lnTo>
                      <a:lnTo>
                        <a:pt x="9" y="46"/>
                      </a:lnTo>
                      <a:lnTo>
                        <a:pt x="12" y="48"/>
                      </a:lnTo>
                      <a:lnTo>
                        <a:pt x="15" y="4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5" name="Freeform 286"/>
                <p:cNvSpPr>
                  <a:spLocks/>
                </p:cNvSpPr>
                <p:nvPr/>
              </p:nvSpPr>
              <p:spPr bwMode="auto">
                <a:xfrm>
                  <a:off x="5139" y="2387"/>
                  <a:ext cx="15" cy="13"/>
                </a:xfrm>
                <a:custGeom>
                  <a:avLst/>
                  <a:gdLst>
                    <a:gd name="T0" fmla="*/ 1 w 47"/>
                    <a:gd name="T1" fmla="*/ 0 h 40"/>
                    <a:gd name="T2" fmla="*/ 0 w 47"/>
                    <a:gd name="T3" fmla="*/ 1 h 40"/>
                    <a:gd name="T4" fmla="*/ 0 w 47"/>
                    <a:gd name="T5" fmla="*/ 1 h 40"/>
                    <a:gd name="T6" fmla="*/ 0 w 47"/>
                    <a:gd name="T7" fmla="*/ 1 h 40"/>
                    <a:gd name="T8" fmla="*/ 1 w 47"/>
                    <a:gd name="T9" fmla="*/ 1 h 40"/>
                    <a:gd name="T10" fmla="*/ 1 w 47"/>
                    <a:gd name="T11" fmla="*/ 1 h 40"/>
                    <a:gd name="T12" fmla="*/ 1 w 47"/>
                    <a:gd name="T13" fmla="*/ 1 h 40"/>
                    <a:gd name="T14" fmla="*/ 1 w 47"/>
                    <a:gd name="T15" fmla="*/ 1 h 40"/>
                    <a:gd name="T16" fmla="*/ 1 w 47"/>
                    <a:gd name="T17" fmla="*/ 1 h 40"/>
                    <a:gd name="T18" fmla="*/ 2 w 47"/>
                    <a:gd name="T19" fmla="*/ 1 h 40"/>
                    <a:gd name="T20" fmla="*/ 2 w 47"/>
                    <a:gd name="T21" fmla="*/ 0 h 40"/>
                    <a:gd name="T22" fmla="*/ 1 w 47"/>
                    <a:gd name="T23" fmla="*/ 0 h 40"/>
                    <a:gd name="T24" fmla="*/ 1 w 47"/>
                    <a:gd name="T25" fmla="*/ 0 h 40"/>
                    <a:gd name="T26" fmla="*/ 1 w 47"/>
                    <a:gd name="T27" fmla="*/ 0 h 40"/>
                    <a:gd name="T28" fmla="*/ 1 w 47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47" h="40">
                      <a:moveTo>
                        <a:pt x="20" y="6"/>
                      </a:moveTo>
                      <a:lnTo>
                        <a:pt x="0" y="37"/>
                      </a:lnTo>
                      <a:lnTo>
                        <a:pt x="6" y="39"/>
                      </a:lnTo>
                      <a:lnTo>
                        <a:pt x="12" y="40"/>
                      </a:lnTo>
                      <a:lnTo>
                        <a:pt x="19" y="39"/>
                      </a:lnTo>
                      <a:lnTo>
                        <a:pt x="26" y="38"/>
                      </a:lnTo>
                      <a:lnTo>
                        <a:pt x="32" y="36"/>
                      </a:lnTo>
                      <a:lnTo>
                        <a:pt x="39" y="33"/>
                      </a:lnTo>
                      <a:lnTo>
                        <a:pt x="43" y="30"/>
                      </a:lnTo>
                      <a:lnTo>
                        <a:pt x="47" y="25"/>
                      </a:lnTo>
                      <a:lnTo>
                        <a:pt x="47" y="0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6" y="3"/>
                      </a:lnTo>
                      <a:lnTo>
                        <a:pt x="2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6" name="Freeform 287"/>
                <p:cNvSpPr>
                  <a:spLocks/>
                </p:cNvSpPr>
                <p:nvPr/>
              </p:nvSpPr>
              <p:spPr bwMode="auto">
                <a:xfrm>
                  <a:off x="5184" y="2465"/>
                  <a:ext cx="13" cy="10"/>
                </a:xfrm>
                <a:custGeom>
                  <a:avLst/>
                  <a:gdLst>
                    <a:gd name="T0" fmla="*/ 0 w 39"/>
                    <a:gd name="T1" fmla="*/ 0 h 31"/>
                    <a:gd name="T2" fmla="*/ 0 w 39"/>
                    <a:gd name="T3" fmla="*/ 0 h 31"/>
                    <a:gd name="T4" fmla="*/ 0 w 39"/>
                    <a:gd name="T5" fmla="*/ 0 h 31"/>
                    <a:gd name="T6" fmla="*/ 0 w 39"/>
                    <a:gd name="T7" fmla="*/ 1 h 31"/>
                    <a:gd name="T8" fmla="*/ 1 w 39"/>
                    <a:gd name="T9" fmla="*/ 1 h 31"/>
                    <a:gd name="T10" fmla="*/ 1 w 39"/>
                    <a:gd name="T11" fmla="*/ 1 h 31"/>
                    <a:gd name="T12" fmla="*/ 1 w 39"/>
                    <a:gd name="T13" fmla="*/ 1 h 31"/>
                    <a:gd name="T14" fmla="*/ 1 w 39"/>
                    <a:gd name="T15" fmla="*/ 1 h 31"/>
                    <a:gd name="T16" fmla="*/ 1 w 39"/>
                    <a:gd name="T17" fmla="*/ 1 h 31"/>
                    <a:gd name="T18" fmla="*/ 1 w 39"/>
                    <a:gd name="T19" fmla="*/ 1 h 31"/>
                    <a:gd name="T20" fmla="*/ 1 w 39"/>
                    <a:gd name="T21" fmla="*/ 1 h 31"/>
                    <a:gd name="T22" fmla="*/ 1 w 39"/>
                    <a:gd name="T23" fmla="*/ 0 h 31"/>
                    <a:gd name="T24" fmla="*/ 0 w 39"/>
                    <a:gd name="T25" fmla="*/ 0 h 3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0" y="0"/>
                      </a:move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2" y="19"/>
                      </a:lnTo>
                      <a:lnTo>
                        <a:pt x="17" y="23"/>
                      </a:lnTo>
                      <a:lnTo>
                        <a:pt x="23" y="26"/>
                      </a:lnTo>
                      <a:lnTo>
                        <a:pt x="28" y="29"/>
                      </a:lnTo>
                      <a:lnTo>
                        <a:pt x="34" y="31"/>
                      </a:lnTo>
                      <a:lnTo>
                        <a:pt x="39" y="31"/>
                      </a:lnTo>
                      <a:lnTo>
                        <a:pt x="33" y="22"/>
                      </a:lnTo>
                      <a:lnTo>
                        <a:pt x="25" y="14"/>
                      </a:lnTo>
                      <a:lnTo>
                        <a:pt x="16" y="7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7" name="Freeform 288"/>
                <p:cNvSpPr>
                  <a:spLocks/>
                </p:cNvSpPr>
                <p:nvPr/>
              </p:nvSpPr>
              <p:spPr bwMode="auto">
                <a:xfrm>
                  <a:off x="5172" y="2410"/>
                  <a:ext cx="10" cy="6"/>
                </a:xfrm>
                <a:custGeom>
                  <a:avLst/>
                  <a:gdLst>
                    <a:gd name="T0" fmla="*/ 0 w 34"/>
                    <a:gd name="T1" fmla="*/ 0 h 19"/>
                    <a:gd name="T2" fmla="*/ 1 w 34"/>
                    <a:gd name="T3" fmla="*/ 1 h 19"/>
                    <a:gd name="T4" fmla="*/ 1 w 34"/>
                    <a:gd name="T5" fmla="*/ 0 h 19"/>
                    <a:gd name="T6" fmla="*/ 1 w 34"/>
                    <a:gd name="T7" fmla="*/ 0 h 19"/>
                    <a:gd name="T8" fmla="*/ 0 w 34"/>
                    <a:gd name="T9" fmla="*/ 0 h 19"/>
                    <a:gd name="T10" fmla="*/ 0 w 34"/>
                    <a:gd name="T11" fmla="*/ 0 h 19"/>
                    <a:gd name="T12" fmla="*/ 0 w 34"/>
                    <a:gd name="T13" fmla="*/ 0 h 1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34" h="19">
                      <a:moveTo>
                        <a:pt x="0" y="0"/>
                      </a:moveTo>
                      <a:lnTo>
                        <a:pt x="34" y="19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8" name="Freeform 289"/>
                <p:cNvSpPr>
                  <a:spLocks/>
                </p:cNvSpPr>
                <p:nvPr/>
              </p:nvSpPr>
              <p:spPr bwMode="auto">
                <a:xfrm>
                  <a:off x="5180" y="2471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13" y="6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9" name="Freeform 290"/>
                <p:cNvSpPr>
                  <a:spLocks/>
                </p:cNvSpPr>
                <p:nvPr/>
              </p:nvSpPr>
              <p:spPr bwMode="auto">
                <a:xfrm>
                  <a:off x="5062" y="2447"/>
                  <a:ext cx="42" cy="55"/>
                </a:xfrm>
                <a:custGeom>
                  <a:avLst/>
                  <a:gdLst>
                    <a:gd name="T0" fmla="*/ 4 w 126"/>
                    <a:gd name="T1" fmla="*/ 0 h 166"/>
                    <a:gd name="T2" fmla="*/ 4 w 126"/>
                    <a:gd name="T3" fmla="*/ 0 h 166"/>
                    <a:gd name="T4" fmla="*/ 4 w 126"/>
                    <a:gd name="T5" fmla="*/ 0 h 166"/>
                    <a:gd name="T6" fmla="*/ 5 w 126"/>
                    <a:gd name="T7" fmla="*/ 0 h 166"/>
                    <a:gd name="T8" fmla="*/ 5 w 126"/>
                    <a:gd name="T9" fmla="*/ 1 h 166"/>
                    <a:gd name="T10" fmla="*/ 5 w 126"/>
                    <a:gd name="T11" fmla="*/ 1 h 166"/>
                    <a:gd name="T12" fmla="*/ 5 w 126"/>
                    <a:gd name="T13" fmla="*/ 1 h 166"/>
                    <a:gd name="T14" fmla="*/ 5 w 126"/>
                    <a:gd name="T15" fmla="*/ 1 h 166"/>
                    <a:gd name="T16" fmla="*/ 4 w 126"/>
                    <a:gd name="T17" fmla="*/ 2 h 166"/>
                    <a:gd name="T18" fmla="*/ 4 w 126"/>
                    <a:gd name="T19" fmla="*/ 2 h 166"/>
                    <a:gd name="T20" fmla="*/ 4 w 126"/>
                    <a:gd name="T21" fmla="*/ 2 h 166"/>
                    <a:gd name="T22" fmla="*/ 3 w 126"/>
                    <a:gd name="T23" fmla="*/ 3 h 166"/>
                    <a:gd name="T24" fmla="*/ 3 w 126"/>
                    <a:gd name="T25" fmla="*/ 4 h 166"/>
                    <a:gd name="T26" fmla="*/ 2 w 126"/>
                    <a:gd name="T27" fmla="*/ 5 h 166"/>
                    <a:gd name="T28" fmla="*/ 1 w 126"/>
                    <a:gd name="T29" fmla="*/ 5 h 166"/>
                    <a:gd name="T30" fmla="*/ 1 w 126"/>
                    <a:gd name="T31" fmla="*/ 6 h 166"/>
                    <a:gd name="T32" fmla="*/ 1 w 126"/>
                    <a:gd name="T33" fmla="*/ 6 h 166"/>
                    <a:gd name="T34" fmla="*/ 0 w 126"/>
                    <a:gd name="T35" fmla="*/ 6 h 166"/>
                    <a:gd name="T36" fmla="*/ 0 w 126"/>
                    <a:gd name="T37" fmla="*/ 6 h 166"/>
                    <a:gd name="T38" fmla="*/ 0 w 126"/>
                    <a:gd name="T39" fmla="*/ 6 h 166"/>
                    <a:gd name="T40" fmla="*/ 0 w 126"/>
                    <a:gd name="T41" fmla="*/ 6 h 166"/>
                    <a:gd name="T42" fmla="*/ 0 w 126"/>
                    <a:gd name="T43" fmla="*/ 5 h 166"/>
                    <a:gd name="T44" fmla="*/ 0 w 126"/>
                    <a:gd name="T45" fmla="*/ 5 h 166"/>
                    <a:gd name="T46" fmla="*/ 0 w 126"/>
                    <a:gd name="T47" fmla="*/ 5 h 166"/>
                    <a:gd name="T48" fmla="*/ 0 w 126"/>
                    <a:gd name="T49" fmla="*/ 5 h 166"/>
                    <a:gd name="T50" fmla="*/ 0 w 126"/>
                    <a:gd name="T51" fmla="*/ 5 h 166"/>
                    <a:gd name="T52" fmla="*/ 1 w 126"/>
                    <a:gd name="T53" fmla="*/ 4 h 166"/>
                    <a:gd name="T54" fmla="*/ 1 w 126"/>
                    <a:gd name="T55" fmla="*/ 4 h 166"/>
                    <a:gd name="T56" fmla="*/ 1 w 126"/>
                    <a:gd name="T57" fmla="*/ 4 h 166"/>
                    <a:gd name="T58" fmla="*/ 1 w 126"/>
                    <a:gd name="T59" fmla="*/ 4 h 166"/>
                    <a:gd name="T60" fmla="*/ 2 w 126"/>
                    <a:gd name="T61" fmla="*/ 4 h 166"/>
                    <a:gd name="T62" fmla="*/ 2 w 126"/>
                    <a:gd name="T63" fmla="*/ 3 h 166"/>
                    <a:gd name="T64" fmla="*/ 2 w 126"/>
                    <a:gd name="T65" fmla="*/ 3 h 166"/>
                    <a:gd name="T66" fmla="*/ 2 w 126"/>
                    <a:gd name="T67" fmla="*/ 2 h 166"/>
                    <a:gd name="T68" fmla="*/ 3 w 126"/>
                    <a:gd name="T69" fmla="*/ 2 h 166"/>
                    <a:gd name="T70" fmla="*/ 3 w 126"/>
                    <a:gd name="T71" fmla="*/ 1 h 166"/>
                    <a:gd name="T72" fmla="*/ 3 w 126"/>
                    <a:gd name="T73" fmla="*/ 1 h 166"/>
                    <a:gd name="T74" fmla="*/ 3 w 126"/>
                    <a:gd name="T75" fmla="*/ 1 h 166"/>
                    <a:gd name="T76" fmla="*/ 4 w 126"/>
                    <a:gd name="T77" fmla="*/ 0 h 166"/>
                    <a:gd name="T78" fmla="*/ 4 w 126"/>
                    <a:gd name="T79" fmla="*/ 0 h 166"/>
                    <a:gd name="T80" fmla="*/ 4 w 126"/>
                    <a:gd name="T81" fmla="*/ 0 h 16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126" h="166">
                      <a:moveTo>
                        <a:pt x="113" y="0"/>
                      </a:moveTo>
                      <a:lnTo>
                        <a:pt x="117" y="5"/>
                      </a:lnTo>
                      <a:lnTo>
                        <a:pt x="121" y="10"/>
                      </a:lnTo>
                      <a:lnTo>
                        <a:pt x="124" y="13"/>
                      </a:lnTo>
                      <a:lnTo>
                        <a:pt x="125" y="17"/>
                      </a:lnTo>
                      <a:lnTo>
                        <a:pt x="126" y="20"/>
                      </a:lnTo>
                      <a:lnTo>
                        <a:pt x="126" y="25"/>
                      </a:lnTo>
                      <a:lnTo>
                        <a:pt x="123" y="32"/>
                      </a:lnTo>
                      <a:lnTo>
                        <a:pt x="118" y="41"/>
                      </a:lnTo>
                      <a:lnTo>
                        <a:pt x="113" y="50"/>
                      </a:lnTo>
                      <a:lnTo>
                        <a:pt x="106" y="61"/>
                      </a:lnTo>
                      <a:lnTo>
                        <a:pt x="91" y="83"/>
                      </a:lnTo>
                      <a:lnTo>
                        <a:pt x="72" y="104"/>
                      </a:lnTo>
                      <a:lnTo>
                        <a:pt x="53" y="126"/>
                      </a:lnTo>
                      <a:lnTo>
                        <a:pt x="34" y="144"/>
                      </a:lnTo>
                      <a:lnTo>
                        <a:pt x="25" y="152"/>
                      </a:lnTo>
                      <a:lnTo>
                        <a:pt x="16" y="158"/>
                      </a:lnTo>
                      <a:lnTo>
                        <a:pt x="7" y="163"/>
                      </a:lnTo>
                      <a:lnTo>
                        <a:pt x="0" y="166"/>
                      </a:lnTo>
                      <a:lnTo>
                        <a:pt x="0" y="160"/>
                      </a:lnTo>
                      <a:lnTo>
                        <a:pt x="0" y="153"/>
                      </a:lnTo>
                      <a:lnTo>
                        <a:pt x="0" y="145"/>
                      </a:lnTo>
                      <a:lnTo>
                        <a:pt x="0" y="136"/>
                      </a:lnTo>
                      <a:lnTo>
                        <a:pt x="3" y="131"/>
                      </a:lnTo>
                      <a:lnTo>
                        <a:pt x="6" y="128"/>
                      </a:lnTo>
                      <a:lnTo>
                        <a:pt x="12" y="124"/>
                      </a:lnTo>
                      <a:lnTo>
                        <a:pt x="16" y="121"/>
                      </a:lnTo>
                      <a:lnTo>
                        <a:pt x="26" y="116"/>
                      </a:lnTo>
                      <a:lnTo>
                        <a:pt x="33" y="110"/>
                      </a:lnTo>
                      <a:lnTo>
                        <a:pt x="40" y="104"/>
                      </a:lnTo>
                      <a:lnTo>
                        <a:pt x="48" y="96"/>
                      </a:lnTo>
                      <a:lnTo>
                        <a:pt x="53" y="89"/>
                      </a:lnTo>
                      <a:lnTo>
                        <a:pt x="58" y="82"/>
                      </a:lnTo>
                      <a:lnTo>
                        <a:pt x="67" y="66"/>
                      </a:lnTo>
                      <a:lnTo>
                        <a:pt x="72" y="50"/>
                      </a:lnTo>
                      <a:lnTo>
                        <a:pt x="79" y="36"/>
                      </a:lnTo>
                      <a:lnTo>
                        <a:pt x="87" y="23"/>
                      </a:lnTo>
                      <a:lnTo>
                        <a:pt x="92" y="16"/>
                      </a:lnTo>
                      <a:lnTo>
                        <a:pt x="97" y="11"/>
                      </a:lnTo>
                      <a:lnTo>
                        <a:pt x="104" y="5"/>
                      </a:lnTo>
                      <a:lnTo>
                        <a:pt x="1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0" name="Freeform 291"/>
                <p:cNvSpPr>
                  <a:spLocks/>
                </p:cNvSpPr>
                <p:nvPr/>
              </p:nvSpPr>
              <p:spPr bwMode="auto">
                <a:xfrm>
                  <a:off x="5154" y="2465"/>
                  <a:ext cx="85" cy="86"/>
                </a:xfrm>
                <a:custGeom>
                  <a:avLst/>
                  <a:gdLst>
                    <a:gd name="T0" fmla="*/ 0 w 259"/>
                    <a:gd name="T1" fmla="*/ 7 h 259"/>
                    <a:gd name="T2" fmla="*/ 0 w 259"/>
                    <a:gd name="T3" fmla="*/ 6 h 259"/>
                    <a:gd name="T4" fmla="*/ 0 w 259"/>
                    <a:gd name="T5" fmla="*/ 5 h 259"/>
                    <a:gd name="T6" fmla="*/ 0 w 259"/>
                    <a:gd name="T7" fmla="*/ 5 h 259"/>
                    <a:gd name="T8" fmla="*/ 1 w 259"/>
                    <a:gd name="T9" fmla="*/ 5 h 259"/>
                    <a:gd name="T10" fmla="*/ 1 w 259"/>
                    <a:gd name="T11" fmla="*/ 4 h 259"/>
                    <a:gd name="T12" fmla="*/ 2 w 259"/>
                    <a:gd name="T13" fmla="*/ 4 h 259"/>
                    <a:gd name="T14" fmla="*/ 2 w 259"/>
                    <a:gd name="T15" fmla="*/ 3 h 259"/>
                    <a:gd name="T16" fmla="*/ 2 w 259"/>
                    <a:gd name="T17" fmla="*/ 3 h 259"/>
                    <a:gd name="T18" fmla="*/ 3 w 259"/>
                    <a:gd name="T19" fmla="*/ 3 h 259"/>
                    <a:gd name="T20" fmla="*/ 3 w 259"/>
                    <a:gd name="T21" fmla="*/ 3 h 259"/>
                    <a:gd name="T22" fmla="*/ 4 w 259"/>
                    <a:gd name="T23" fmla="*/ 4 h 259"/>
                    <a:gd name="T24" fmla="*/ 4 w 259"/>
                    <a:gd name="T25" fmla="*/ 4 h 259"/>
                    <a:gd name="T26" fmla="*/ 4 w 259"/>
                    <a:gd name="T27" fmla="*/ 4 h 259"/>
                    <a:gd name="T28" fmla="*/ 5 w 259"/>
                    <a:gd name="T29" fmla="*/ 4 h 259"/>
                    <a:gd name="T30" fmla="*/ 5 w 259"/>
                    <a:gd name="T31" fmla="*/ 3 h 259"/>
                    <a:gd name="T32" fmla="*/ 6 w 259"/>
                    <a:gd name="T33" fmla="*/ 3 h 259"/>
                    <a:gd name="T34" fmla="*/ 6 w 259"/>
                    <a:gd name="T35" fmla="*/ 2 h 259"/>
                    <a:gd name="T36" fmla="*/ 7 w 259"/>
                    <a:gd name="T37" fmla="*/ 1 h 259"/>
                    <a:gd name="T38" fmla="*/ 7 w 259"/>
                    <a:gd name="T39" fmla="*/ 0 h 259"/>
                    <a:gd name="T40" fmla="*/ 7 w 259"/>
                    <a:gd name="T41" fmla="*/ 0 h 259"/>
                    <a:gd name="T42" fmla="*/ 8 w 259"/>
                    <a:gd name="T43" fmla="*/ 1 h 259"/>
                    <a:gd name="T44" fmla="*/ 8 w 259"/>
                    <a:gd name="T45" fmla="*/ 1 h 259"/>
                    <a:gd name="T46" fmla="*/ 8 w 259"/>
                    <a:gd name="T47" fmla="*/ 2 h 259"/>
                    <a:gd name="T48" fmla="*/ 8 w 259"/>
                    <a:gd name="T49" fmla="*/ 2 h 259"/>
                    <a:gd name="T50" fmla="*/ 8 w 259"/>
                    <a:gd name="T51" fmla="*/ 3 h 259"/>
                    <a:gd name="T52" fmla="*/ 8 w 259"/>
                    <a:gd name="T53" fmla="*/ 3 h 259"/>
                    <a:gd name="T54" fmla="*/ 8 w 259"/>
                    <a:gd name="T55" fmla="*/ 4 h 259"/>
                    <a:gd name="T56" fmla="*/ 9 w 259"/>
                    <a:gd name="T57" fmla="*/ 4 h 259"/>
                    <a:gd name="T58" fmla="*/ 9 w 259"/>
                    <a:gd name="T59" fmla="*/ 4 h 259"/>
                    <a:gd name="T60" fmla="*/ 9 w 259"/>
                    <a:gd name="T61" fmla="*/ 5 h 259"/>
                    <a:gd name="T62" fmla="*/ 9 w 259"/>
                    <a:gd name="T63" fmla="*/ 6 h 259"/>
                    <a:gd name="T64" fmla="*/ 9 w 259"/>
                    <a:gd name="T65" fmla="*/ 9 h 259"/>
                    <a:gd name="T66" fmla="*/ 9 w 259"/>
                    <a:gd name="T67" fmla="*/ 8 h 259"/>
                    <a:gd name="T68" fmla="*/ 9 w 259"/>
                    <a:gd name="T69" fmla="*/ 8 h 259"/>
                    <a:gd name="T70" fmla="*/ 9 w 259"/>
                    <a:gd name="T71" fmla="*/ 7 h 259"/>
                    <a:gd name="T72" fmla="*/ 8 w 259"/>
                    <a:gd name="T73" fmla="*/ 7 h 259"/>
                    <a:gd name="T74" fmla="*/ 7 w 259"/>
                    <a:gd name="T75" fmla="*/ 7 h 259"/>
                    <a:gd name="T76" fmla="*/ 7 w 259"/>
                    <a:gd name="T77" fmla="*/ 7 h 259"/>
                    <a:gd name="T78" fmla="*/ 7 w 259"/>
                    <a:gd name="T79" fmla="*/ 8 h 259"/>
                    <a:gd name="T80" fmla="*/ 7 w 259"/>
                    <a:gd name="T81" fmla="*/ 10 h 259"/>
                    <a:gd name="T82" fmla="*/ 4 w 259"/>
                    <a:gd name="T83" fmla="*/ 9 h 259"/>
                    <a:gd name="T84" fmla="*/ 4 w 259"/>
                    <a:gd name="T85" fmla="*/ 8 h 259"/>
                    <a:gd name="T86" fmla="*/ 4 w 259"/>
                    <a:gd name="T87" fmla="*/ 8 h 259"/>
                    <a:gd name="T88" fmla="*/ 4 w 259"/>
                    <a:gd name="T89" fmla="*/ 7 h 259"/>
                    <a:gd name="T90" fmla="*/ 4 w 259"/>
                    <a:gd name="T91" fmla="*/ 7 h 259"/>
                    <a:gd name="T92" fmla="*/ 4 w 259"/>
                    <a:gd name="T93" fmla="*/ 7 h 259"/>
                    <a:gd name="T94" fmla="*/ 4 w 259"/>
                    <a:gd name="T95" fmla="*/ 6 h 259"/>
                    <a:gd name="T96" fmla="*/ 3 w 259"/>
                    <a:gd name="T97" fmla="*/ 6 h 259"/>
                    <a:gd name="T98" fmla="*/ 1 w 259"/>
                    <a:gd name="T99" fmla="*/ 6 h 259"/>
                    <a:gd name="T100" fmla="*/ 1 w 259"/>
                    <a:gd name="T101" fmla="*/ 6 h 259"/>
                    <a:gd name="T102" fmla="*/ 1 w 259"/>
                    <a:gd name="T103" fmla="*/ 6 h 259"/>
                    <a:gd name="T104" fmla="*/ 0 w 259"/>
                    <a:gd name="T105" fmla="*/ 7 h 25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259" h="259">
                      <a:moveTo>
                        <a:pt x="13" y="192"/>
                      </a:moveTo>
                      <a:lnTo>
                        <a:pt x="8" y="182"/>
                      </a:lnTo>
                      <a:lnTo>
                        <a:pt x="4" y="173"/>
                      </a:lnTo>
                      <a:lnTo>
                        <a:pt x="1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6" y="130"/>
                      </a:lnTo>
                      <a:lnTo>
                        <a:pt x="13" y="128"/>
                      </a:lnTo>
                      <a:lnTo>
                        <a:pt x="19" y="126"/>
                      </a:lnTo>
                      <a:lnTo>
                        <a:pt x="24" y="123"/>
                      </a:lnTo>
                      <a:lnTo>
                        <a:pt x="34" y="117"/>
                      </a:lnTo>
                      <a:lnTo>
                        <a:pt x="41" y="108"/>
                      </a:lnTo>
                      <a:lnTo>
                        <a:pt x="48" y="100"/>
                      </a:lnTo>
                      <a:lnTo>
                        <a:pt x="56" y="93"/>
                      </a:lnTo>
                      <a:lnTo>
                        <a:pt x="60" y="91"/>
                      </a:lnTo>
                      <a:lnTo>
                        <a:pt x="63" y="89"/>
                      </a:lnTo>
                      <a:lnTo>
                        <a:pt x="68" y="87"/>
                      </a:lnTo>
                      <a:lnTo>
                        <a:pt x="73" y="87"/>
                      </a:lnTo>
                      <a:lnTo>
                        <a:pt x="83" y="87"/>
                      </a:lnTo>
                      <a:lnTo>
                        <a:pt x="93" y="87"/>
                      </a:lnTo>
                      <a:lnTo>
                        <a:pt x="94" y="93"/>
                      </a:lnTo>
                      <a:lnTo>
                        <a:pt x="97" y="101"/>
                      </a:lnTo>
                      <a:lnTo>
                        <a:pt x="101" y="105"/>
                      </a:lnTo>
                      <a:lnTo>
                        <a:pt x="104" y="108"/>
                      </a:lnTo>
                      <a:lnTo>
                        <a:pt x="108" y="110"/>
                      </a:lnTo>
                      <a:lnTo>
                        <a:pt x="113" y="111"/>
                      </a:lnTo>
                      <a:lnTo>
                        <a:pt x="120" y="110"/>
                      </a:lnTo>
                      <a:lnTo>
                        <a:pt x="127" y="108"/>
                      </a:lnTo>
                      <a:lnTo>
                        <a:pt x="135" y="104"/>
                      </a:lnTo>
                      <a:lnTo>
                        <a:pt x="141" y="99"/>
                      </a:lnTo>
                      <a:lnTo>
                        <a:pt x="148" y="93"/>
                      </a:lnTo>
                      <a:lnTo>
                        <a:pt x="153" y="86"/>
                      </a:lnTo>
                      <a:lnTo>
                        <a:pt x="160" y="78"/>
                      </a:lnTo>
                      <a:lnTo>
                        <a:pt x="165" y="70"/>
                      </a:lnTo>
                      <a:lnTo>
                        <a:pt x="174" y="51"/>
                      </a:lnTo>
                      <a:lnTo>
                        <a:pt x="183" y="33"/>
                      </a:lnTo>
                      <a:lnTo>
                        <a:pt x="188" y="16"/>
                      </a:lnTo>
                      <a:lnTo>
                        <a:pt x="193" y="0"/>
                      </a:lnTo>
                      <a:lnTo>
                        <a:pt x="195" y="4"/>
                      </a:lnTo>
                      <a:lnTo>
                        <a:pt x="198" y="9"/>
                      </a:lnTo>
                      <a:lnTo>
                        <a:pt x="202" y="12"/>
                      </a:lnTo>
                      <a:lnTo>
                        <a:pt x="206" y="15"/>
                      </a:lnTo>
                      <a:lnTo>
                        <a:pt x="213" y="18"/>
                      </a:lnTo>
                      <a:lnTo>
                        <a:pt x="219" y="19"/>
                      </a:lnTo>
                      <a:lnTo>
                        <a:pt x="219" y="32"/>
                      </a:lnTo>
                      <a:lnTo>
                        <a:pt x="219" y="44"/>
                      </a:lnTo>
                      <a:lnTo>
                        <a:pt x="219" y="52"/>
                      </a:lnTo>
                      <a:lnTo>
                        <a:pt x="219" y="55"/>
                      </a:lnTo>
                      <a:lnTo>
                        <a:pt x="227" y="61"/>
                      </a:lnTo>
                      <a:lnTo>
                        <a:pt x="231" y="66"/>
                      </a:lnTo>
                      <a:lnTo>
                        <a:pt x="234" y="70"/>
                      </a:lnTo>
                      <a:lnTo>
                        <a:pt x="239" y="75"/>
                      </a:lnTo>
                      <a:lnTo>
                        <a:pt x="234" y="88"/>
                      </a:lnTo>
                      <a:lnTo>
                        <a:pt x="233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7" y="110"/>
                      </a:lnTo>
                      <a:lnTo>
                        <a:pt x="239" y="111"/>
                      </a:lnTo>
                      <a:lnTo>
                        <a:pt x="243" y="121"/>
                      </a:lnTo>
                      <a:lnTo>
                        <a:pt x="247" y="129"/>
                      </a:lnTo>
                      <a:lnTo>
                        <a:pt x="249" y="137"/>
                      </a:lnTo>
                      <a:lnTo>
                        <a:pt x="251" y="145"/>
                      </a:lnTo>
                      <a:lnTo>
                        <a:pt x="254" y="161"/>
                      </a:lnTo>
                      <a:lnTo>
                        <a:pt x="259" y="179"/>
                      </a:lnTo>
                      <a:lnTo>
                        <a:pt x="245" y="235"/>
                      </a:lnTo>
                      <a:lnTo>
                        <a:pt x="241" y="230"/>
                      </a:lnTo>
                      <a:lnTo>
                        <a:pt x="239" y="222"/>
                      </a:lnTo>
                      <a:lnTo>
                        <a:pt x="238" y="215"/>
                      </a:lnTo>
                      <a:lnTo>
                        <a:pt x="237" y="208"/>
                      </a:lnTo>
                      <a:lnTo>
                        <a:pt x="238" y="196"/>
                      </a:lnTo>
                      <a:lnTo>
                        <a:pt x="239" y="192"/>
                      </a:lnTo>
                      <a:lnTo>
                        <a:pt x="231" y="191"/>
                      </a:lnTo>
                      <a:lnTo>
                        <a:pt x="222" y="188"/>
                      </a:lnTo>
                      <a:lnTo>
                        <a:pt x="213" y="184"/>
                      </a:lnTo>
                      <a:lnTo>
                        <a:pt x="206" y="179"/>
                      </a:lnTo>
                      <a:lnTo>
                        <a:pt x="199" y="189"/>
                      </a:lnTo>
                      <a:lnTo>
                        <a:pt x="194" y="199"/>
                      </a:lnTo>
                      <a:lnTo>
                        <a:pt x="191" y="209"/>
                      </a:lnTo>
                      <a:lnTo>
                        <a:pt x="188" y="219"/>
                      </a:lnTo>
                      <a:lnTo>
                        <a:pt x="186" y="240"/>
                      </a:lnTo>
                      <a:lnTo>
                        <a:pt x="185" y="259"/>
                      </a:lnTo>
                      <a:lnTo>
                        <a:pt x="132" y="259"/>
                      </a:lnTo>
                      <a:lnTo>
                        <a:pt x="124" y="242"/>
                      </a:lnTo>
                      <a:lnTo>
                        <a:pt x="115" y="226"/>
                      </a:lnTo>
                      <a:lnTo>
                        <a:pt x="110" y="220"/>
                      </a:lnTo>
                      <a:lnTo>
                        <a:pt x="105" y="214"/>
                      </a:lnTo>
                      <a:lnTo>
                        <a:pt x="99" y="209"/>
                      </a:lnTo>
                      <a:lnTo>
                        <a:pt x="93" y="204"/>
                      </a:lnTo>
                      <a:lnTo>
                        <a:pt x="97" y="196"/>
                      </a:lnTo>
                      <a:lnTo>
                        <a:pt x="102" y="190"/>
                      </a:lnTo>
                      <a:lnTo>
                        <a:pt x="105" y="186"/>
                      </a:lnTo>
                      <a:lnTo>
                        <a:pt x="108" y="183"/>
                      </a:lnTo>
                      <a:lnTo>
                        <a:pt x="112" y="180"/>
                      </a:lnTo>
                      <a:lnTo>
                        <a:pt x="114" y="177"/>
                      </a:lnTo>
                      <a:lnTo>
                        <a:pt x="117" y="173"/>
                      </a:lnTo>
                      <a:lnTo>
                        <a:pt x="119" y="166"/>
                      </a:lnTo>
                      <a:lnTo>
                        <a:pt x="93" y="154"/>
                      </a:lnTo>
                      <a:lnTo>
                        <a:pt x="32" y="154"/>
                      </a:lnTo>
                      <a:lnTo>
                        <a:pt x="28" y="155"/>
                      </a:lnTo>
                      <a:lnTo>
                        <a:pt x="24" y="158"/>
                      </a:lnTo>
                      <a:lnTo>
                        <a:pt x="20" y="163"/>
                      </a:lnTo>
                      <a:lnTo>
                        <a:pt x="18" y="168"/>
                      </a:lnTo>
                      <a:lnTo>
                        <a:pt x="16" y="175"/>
                      </a:lnTo>
                      <a:lnTo>
                        <a:pt x="14" y="181"/>
                      </a:lnTo>
                      <a:lnTo>
                        <a:pt x="13" y="187"/>
                      </a:lnTo>
                      <a:lnTo>
                        <a:pt x="13" y="19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1" name="Freeform 292"/>
                <p:cNvSpPr>
                  <a:spLocks/>
                </p:cNvSpPr>
                <p:nvPr/>
              </p:nvSpPr>
              <p:spPr bwMode="auto">
                <a:xfrm>
                  <a:off x="5104" y="2395"/>
                  <a:ext cx="23" cy="31"/>
                </a:xfrm>
                <a:custGeom>
                  <a:avLst/>
                  <a:gdLst>
                    <a:gd name="T0" fmla="*/ 2 w 72"/>
                    <a:gd name="T1" fmla="*/ 2 h 92"/>
                    <a:gd name="T2" fmla="*/ 2 w 72"/>
                    <a:gd name="T3" fmla="*/ 3 h 92"/>
                    <a:gd name="T4" fmla="*/ 2 w 72"/>
                    <a:gd name="T5" fmla="*/ 3 h 92"/>
                    <a:gd name="T6" fmla="*/ 2 w 72"/>
                    <a:gd name="T7" fmla="*/ 3 h 92"/>
                    <a:gd name="T8" fmla="*/ 2 w 72"/>
                    <a:gd name="T9" fmla="*/ 3 h 92"/>
                    <a:gd name="T10" fmla="*/ 2 w 72"/>
                    <a:gd name="T11" fmla="*/ 3 h 92"/>
                    <a:gd name="T12" fmla="*/ 1 w 72"/>
                    <a:gd name="T13" fmla="*/ 2 h 92"/>
                    <a:gd name="T14" fmla="*/ 1 w 72"/>
                    <a:gd name="T15" fmla="*/ 2 h 92"/>
                    <a:gd name="T16" fmla="*/ 1 w 72"/>
                    <a:gd name="T17" fmla="*/ 1 h 92"/>
                    <a:gd name="T18" fmla="*/ 1 w 72"/>
                    <a:gd name="T19" fmla="*/ 1 h 92"/>
                    <a:gd name="T20" fmla="*/ 0 w 72"/>
                    <a:gd name="T21" fmla="*/ 0 h 92"/>
                    <a:gd name="T22" fmla="*/ 0 w 72"/>
                    <a:gd name="T23" fmla="*/ 0 h 92"/>
                    <a:gd name="T24" fmla="*/ 1 w 72"/>
                    <a:gd name="T25" fmla="*/ 0 h 92"/>
                    <a:gd name="T26" fmla="*/ 1 w 72"/>
                    <a:gd name="T27" fmla="*/ 1 h 92"/>
                    <a:gd name="T28" fmla="*/ 2 w 72"/>
                    <a:gd name="T29" fmla="*/ 1 h 92"/>
                    <a:gd name="T30" fmla="*/ 2 w 72"/>
                    <a:gd name="T31" fmla="*/ 1 h 92"/>
                    <a:gd name="T32" fmla="*/ 2 w 72"/>
                    <a:gd name="T33" fmla="*/ 1 h 92"/>
                    <a:gd name="T34" fmla="*/ 2 w 72"/>
                    <a:gd name="T35" fmla="*/ 2 h 9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72" h="92">
                      <a:moveTo>
                        <a:pt x="72" y="43"/>
                      </a:moveTo>
                      <a:lnTo>
                        <a:pt x="72" y="92"/>
                      </a:lnTo>
                      <a:lnTo>
                        <a:pt x="65" y="86"/>
                      </a:lnTo>
                      <a:lnTo>
                        <a:pt x="58" y="81"/>
                      </a:lnTo>
                      <a:lnTo>
                        <a:pt x="51" y="75"/>
                      </a:lnTo>
                      <a:lnTo>
                        <a:pt x="46" y="69"/>
                      </a:lnTo>
                      <a:lnTo>
                        <a:pt x="38" y="58"/>
                      </a:lnTo>
                      <a:lnTo>
                        <a:pt x="32" y="46"/>
                      </a:lnTo>
                      <a:lnTo>
                        <a:pt x="25" y="34"/>
                      </a:lnTo>
                      <a:lnTo>
                        <a:pt x="19" y="23"/>
                      </a:lnTo>
                      <a:lnTo>
                        <a:pt x="11" y="12"/>
                      </a:lnTo>
                      <a:lnTo>
                        <a:pt x="0" y="0"/>
                      </a:lnTo>
                      <a:lnTo>
                        <a:pt x="25" y="12"/>
                      </a:lnTo>
                      <a:lnTo>
                        <a:pt x="44" y="21"/>
                      </a:lnTo>
                      <a:lnTo>
                        <a:pt x="51" y="26"/>
                      </a:lnTo>
                      <a:lnTo>
                        <a:pt x="58" y="31"/>
                      </a:lnTo>
                      <a:lnTo>
                        <a:pt x="66" y="36"/>
                      </a:lnTo>
                      <a:lnTo>
                        <a:pt x="72" y="4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2" name="Freeform 293"/>
                <p:cNvSpPr>
                  <a:spLocks/>
                </p:cNvSpPr>
                <p:nvPr/>
              </p:nvSpPr>
              <p:spPr bwMode="auto">
                <a:xfrm>
                  <a:off x="5143" y="2436"/>
                  <a:ext cx="16" cy="21"/>
                </a:xfrm>
                <a:custGeom>
                  <a:avLst/>
                  <a:gdLst>
                    <a:gd name="T0" fmla="*/ 0 w 46"/>
                    <a:gd name="T1" fmla="*/ 0 h 62"/>
                    <a:gd name="T2" fmla="*/ 1 w 46"/>
                    <a:gd name="T3" fmla="*/ 0 h 62"/>
                    <a:gd name="T4" fmla="*/ 1 w 46"/>
                    <a:gd name="T5" fmla="*/ 0 h 62"/>
                    <a:gd name="T6" fmla="*/ 2 w 46"/>
                    <a:gd name="T7" fmla="*/ 0 h 62"/>
                    <a:gd name="T8" fmla="*/ 2 w 46"/>
                    <a:gd name="T9" fmla="*/ 0 h 62"/>
                    <a:gd name="T10" fmla="*/ 2 w 46"/>
                    <a:gd name="T11" fmla="*/ 0 h 62"/>
                    <a:gd name="T12" fmla="*/ 2 w 46"/>
                    <a:gd name="T13" fmla="*/ 1 h 62"/>
                    <a:gd name="T14" fmla="*/ 2 w 46"/>
                    <a:gd name="T15" fmla="*/ 1 h 62"/>
                    <a:gd name="T16" fmla="*/ 2 w 46"/>
                    <a:gd name="T17" fmla="*/ 1 h 62"/>
                    <a:gd name="T18" fmla="*/ 2 w 46"/>
                    <a:gd name="T19" fmla="*/ 2 h 62"/>
                    <a:gd name="T20" fmla="*/ 2 w 46"/>
                    <a:gd name="T21" fmla="*/ 2 h 62"/>
                    <a:gd name="T22" fmla="*/ 2 w 46"/>
                    <a:gd name="T23" fmla="*/ 2 h 62"/>
                    <a:gd name="T24" fmla="*/ 2 w 46"/>
                    <a:gd name="T25" fmla="*/ 2 h 62"/>
                    <a:gd name="T26" fmla="*/ 1 w 46"/>
                    <a:gd name="T27" fmla="*/ 2 h 62"/>
                    <a:gd name="T28" fmla="*/ 1 w 46"/>
                    <a:gd name="T29" fmla="*/ 2 h 62"/>
                    <a:gd name="T30" fmla="*/ 1 w 46"/>
                    <a:gd name="T31" fmla="*/ 2 h 62"/>
                    <a:gd name="T32" fmla="*/ 1 w 46"/>
                    <a:gd name="T33" fmla="*/ 2 h 62"/>
                    <a:gd name="T34" fmla="*/ 1 w 46"/>
                    <a:gd name="T35" fmla="*/ 2 h 62"/>
                    <a:gd name="T36" fmla="*/ 1 w 46"/>
                    <a:gd name="T37" fmla="*/ 2 h 62"/>
                    <a:gd name="T38" fmla="*/ 0 w 46"/>
                    <a:gd name="T39" fmla="*/ 2 h 62"/>
                    <a:gd name="T40" fmla="*/ 0 w 46"/>
                    <a:gd name="T41" fmla="*/ 2 h 62"/>
                    <a:gd name="T42" fmla="*/ 0 w 46"/>
                    <a:gd name="T43" fmla="*/ 2 h 62"/>
                    <a:gd name="T44" fmla="*/ 0 w 46"/>
                    <a:gd name="T45" fmla="*/ 2 h 62"/>
                    <a:gd name="T46" fmla="*/ 0 w 46"/>
                    <a:gd name="T47" fmla="*/ 1 h 62"/>
                    <a:gd name="T48" fmla="*/ 0 w 46"/>
                    <a:gd name="T49" fmla="*/ 1 h 62"/>
                    <a:gd name="T50" fmla="*/ 0 w 46"/>
                    <a:gd name="T51" fmla="*/ 1 h 62"/>
                    <a:gd name="T52" fmla="*/ 0 w 46"/>
                    <a:gd name="T53" fmla="*/ 0 h 62"/>
                    <a:gd name="T54" fmla="*/ 0 w 46"/>
                    <a:gd name="T55" fmla="*/ 0 h 6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46" h="62">
                      <a:moveTo>
                        <a:pt x="6" y="6"/>
                      </a:moveTo>
                      <a:lnTo>
                        <a:pt x="19" y="5"/>
                      </a:lnTo>
                      <a:lnTo>
                        <a:pt x="31" y="3"/>
                      </a:lnTo>
                      <a:lnTo>
                        <a:pt x="39" y="1"/>
                      </a:lnTo>
                      <a:lnTo>
                        <a:pt x="46" y="0"/>
                      </a:lnTo>
                      <a:lnTo>
                        <a:pt x="46" y="9"/>
                      </a:lnTo>
                      <a:lnTo>
                        <a:pt x="46" y="18"/>
                      </a:lnTo>
                      <a:lnTo>
                        <a:pt x="46" y="27"/>
                      </a:lnTo>
                      <a:lnTo>
                        <a:pt x="46" y="38"/>
                      </a:lnTo>
                      <a:lnTo>
                        <a:pt x="45" y="46"/>
                      </a:lnTo>
                      <a:lnTo>
                        <a:pt x="41" y="54"/>
                      </a:lnTo>
                      <a:lnTo>
                        <a:pt x="39" y="57"/>
                      </a:lnTo>
                      <a:lnTo>
                        <a:pt x="37" y="60"/>
                      </a:lnTo>
                      <a:lnTo>
                        <a:pt x="35" y="61"/>
                      </a:lnTo>
                      <a:lnTo>
                        <a:pt x="33" y="62"/>
                      </a:lnTo>
                      <a:lnTo>
                        <a:pt x="27" y="61"/>
                      </a:lnTo>
                      <a:lnTo>
                        <a:pt x="22" y="60"/>
                      </a:lnTo>
                      <a:lnTo>
                        <a:pt x="17" y="59"/>
                      </a:lnTo>
                      <a:lnTo>
                        <a:pt x="14" y="57"/>
                      </a:lnTo>
                      <a:lnTo>
                        <a:pt x="11" y="54"/>
                      </a:lnTo>
                      <a:lnTo>
                        <a:pt x="7" y="51"/>
                      </a:lnTo>
                      <a:lnTo>
                        <a:pt x="5" y="47"/>
                      </a:lnTo>
                      <a:lnTo>
                        <a:pt x="4" y="44"/>
                      </a:lnTo>
                      <a:lnTo>
                        <a:pt x="1" y="34"/>
                      </a:lnTo>
                      <a:lnTo>
                        <a:pt x="0" y="25"/>
                      </a:lnTo>
                      <a:lnTo>
                        <a:pt x="0" y="16"/>
                      </a:lnTo>
                      <a:lnTo>
                        <a:pt x="0" y="6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3" name="Freeform 294"/>
                <p:cNvSpPr>
                  <a:spLocks/>
                </p:cNvSpPr>
                <p:nvPr/>
              </p:nvSpPr>
              <p:spPr bwMode="auto">
                <a:xfrm>
                  <a:off x="5089" y="2295"/>
                  <a:ext cx="50" cy="98"/>
                </a:xfrm>
                <a:custGeom>
                  <a:avLst/>
                  <a:gdLst>
                    <a:gd name="T0" fmla="*/ 2 w 152"/>
                    <a:gd name="T1" fmla="*/ 0 h 296"/>
                    <a:gd name="T2" fmla="*/ 2 w 152"/>
                    <a:gd name="T3" fmla="*/ 0 h 296"/>
                    <a:gd name="T4" fmla="*/ 3 w 152"/>
                    <a:gd name="T5" fmla="*/ 1 h 296"/>
                    <a:gd name="T6" fmla="*/ 3 w 152"/>
                    <a:gd name="T7" fmla="*/ 1 h 296"/>
                    <a:gd name="T8" fmla="*/ 4 w 152"/>
                    <a:gd name="T9" fmla="*/ 1 h 296"/>
                    <a:gd name="T10" fmla="*/ 4 w 152"/>
                    <a:gd name="T11" fmla="*/ 1 h 296"/>
                    <a:gd name="T12" fmla="*/ 4 w 152"/>
                    <a:gd name="T13" fmla="*/ 0 h 296"/>
                    <a:gd name="T14" fmla="*/ 4 w 152"/>
                    <a:gd name="T15" fmla="*/ 1 h 296"/>
                    <a:gd name="T16" fmla="*/ 5 w 152"/>
                    <a:gd name="T17" fmla="*/ 2 h 296"/>
                    <a:gd name="T18" fmla="*/ 5 w 152"/>
                    <a:gd name="T19" fmla="*/ 3 h 296"/>
                    <a:gd name="T20" fmla="*/ 5 w 152"/>
                    <a:gd name="T21" fmla="*/ 3 h 296"/>
                    <a:gd name="T22" fmla="*/ 5 w 152"/>
                    <a:gd name="T23" fmla="*/ 4 h 296"/>
                    <a:gd name="T24" fmla="*/ 5 w 152"/>
                    <a:gd name="T25" fmla="*/ 4 h 296"/>
                    <a:gd name="T26" fmla="*/ 5 w 152"/>
                    <a:gd name="T27" fmla="*/ 5 h 296"/>
                    <a:gd name="T28" fmla="*/ 4 w 152"/>
                    <a:gd name="T29" fmla="*/ 6 h 296"/>
                    <a:gd name="T30" fmla="*/ 4 w 152"/>
                    <a:gd name="T31" fmla="*/ 6 h 296"/>
                    <a:gd name="T32" fmla="*/ 4 w 152"/>
                    <a:gd name="T33" fmla="*/ 7 h 296"/>
                    <a:gd name="T34" fmla="*/ 4 w 152"/>
                    <a:gd name="T35" fmla="*/ 8 h 296"/>
                    <a:gd name="T36" fmla="*/ 4 w 152"/>
                    <a:gd name="T37" fmla="*/ 8 h 296"/>
                    <a:gd name="T38" fmla="*/ 4 w 152"/>
                    <a:gd name="T39" fmla="*/ 8 h 296"/>
                    <a:gd name="T40" fmla="*/ 5 w 152"/>
                    <a:gd name="T41" fmla="*/ 8 h 296"/>
                    <a:gd name="T42" fmla="*/ 5 w 152"/>
                    <a:gd name="T43" fmla="*/ 9 h 296"/>
                    <a:gd name="T44" fmla="*/ 5 w 152"/>
                    <a:gd name="T45" fmla="*/ 10 h 296"/>
                    <a:gd name="T46" fmla="*/ 5 w 152"/>
                    <a:gd name="T47" fmla="*/ 10 h 296"/>
                    <a:gd name="T48" fmla="*/ 4 w 152"/>
                    <a:gd name="T49" fmla="*/ 11 h 296"/>
                    <a:gd name="T50" fmla="*/ 4 w 152"/>
                    <a:gd name="T51" fmla="*/ 11 h 296"/>
                    <a:gd name="T52" fmla="*/ 3 w 152"/>
                    <a:gd name="T53" fmla="*/ 11 h 296"/>
                    <a:gd name="T54" fmla="*/ 3 w 152"/>
                    <a:gd name="T55" fmla="*/ 10 h 296"/>
                    <a:gd name="T56" fmla="*/ 2 w 152"/>
                    <a:gd name="T57" fmla="*/ 10 h 296"/>
                    <a:gd name="T58" fmla="*/ 2 w 152"/>
                    <a:gd name="T59" fmla="*/ 10 h 296"/>
                    <a:gd name="T60" fmla="*/ 3 w 152"/>
                    <a:gd name="T61" fmla="*/ 9 h 296"/>
                    <a:gd name="T62" fmla="*/ 3 w 152"/>
                    <a:gd name="T63" fmla="*/ 9 h 296"/>
                    <a:gd name="T64" fmla="*/ 2 w 152"/>
                    <a:gd name="T65" fmla="*/ 9 h 296"/>
                    <a:gd name="T66" fmla="*/ 1 w 152"/>
                    <a:gd name="T67" fmla="*/ 8 h 296"/>
                    <a:gd name="T68" fmla="*/ 1 w 152"/>
                    <a:gd name="T69" fmla="*/ 8 h 296"/>
                    <a:gd name="T70" fmla="*/ 1 w 152"/>
                    <a:gd name="T71" fmla="*/ 8 h 296"/>
                    <a:gd name="T72" fmla="*/ 0 w 152"/>
                    <a:gd name="T73" fmla="*/ 7 h 296"/>
                    <a:gd name="T74" fmla="*/ 0 w 152"/>
                    <a:gd name="T75" fmla="*/ 6 h 296"/>
                    <a:gd name="T76" fmla="*/ 0 w 152"/>
                    <a:gd name="T77" fmla="*/ 6 h 296"/>
                    <a:gd name="T78" fmla="*/ 0 w 152"/>
                    <a:gd name="T79" fmla="*/ 5 h 296"/>
                    <a:gd name="T80" fmla="*/ 1 w 152"/>
                    <a:gd name="T81" fmla="*/ 4 h 296"/>
                    <a:gd name="T82" fmla="*/ 1 w 152"/>
                    <a:gd name="T83" fmla="*/ 2 h 296"/>
                    <a:gd name="T84" fmla="*/ 1 w 152"/>
                    <a:gd name="T85" fmla="*/ 1 h 296"/>
                    <a:gd name="T86" fmla="*/ 1 w 152"/>
                    <a:gd name="T87" fmla="*/ 0 h 29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152" h="296">
                      <a:moveTo>
                        <a:pt x="26" y="0"/>
                      </a:moveTo>
                      <a:lnTo>
                        <a:pt x="59" y="0"/>
                      </a:lnTo>
                      <a:lnTo>
                        <a:pt x="62" y="4"/>
                      </a:lnTo>
                      <a:lnTo>
                        <a:pt x="66" y="9"/>
                      </a:lnTo>
                      <a:lnTo>
                        <a:pt x="71" y="13"/>
                      </a:lnTo>
                      <a:lnTo>
                        <a:pt x="77" y="17"/>
                      </a:lnTo>
                      <a:lnTo>
                        <a:pt x="82" y="21"/>
                      </a:lnTo>
                      <a:lnTo>
                        <a:pt x="88" y="23"/>
                      </a:lnTo>
                      <a:lnTo>
                        <a:pt x="93" y="24"/>
                      </a:lnTo>
                      <a:lnTo>
                        <a:pt x="99" y="25"/>
                      </a:lnTo>
                      <a:lnTo>
                        <a:pt x="104" y="24"/>
                      </a:lnTo>
                      <a:lnTo>
                        <a:pt x="108" y="21"/>
                      </a:lnTo>
                      <a:lnTo>
                        <a:pt x="114" y="17"/>
                      </a:lnTo>
                      <a:lnTo>
                        <a:pt x="118" y="12"/>
                      </a:lnTo>
                      <a:lnTo>
                        <a:pt x="119" y="23"/>
                      </a:lnTo>
                      <a:lnTo>
                        <a:pt x="122" y="35"/>
                      </a:lnTo>
                      <a:lnTo>
                        <a:pt x="126" y="49"/>
                      </a:lnTo>
                      <a:lnTo>
                        <a:pt x="130" y="62"/>
                      </a:lnTo>
                      <a:lnTo>
                        <a:pt x="136" y="76"/>
                      </a:lnTo>
                      <a:lnTo>
                        <a:pt x="141" y="86"/>
                      </a:lnTo>
                      <a:lnTo>
                        <a:pt x="144" y="91"/>
                      </a:lnTo>
                      <a:lnTo>
                        <a:pt x="147" y="94"/>
                      </a:lnTo>
                      <a:lnTo>
                        <a:pt x="149" y="97"/>
                      </a:lnTo>
                      <a:lnTo>
                        <a:pt x="152" y="99"/>
                      </a:lnTo>
                      <a:lnTo>
                        <a:pt x="148" y="110"/>
                      </a:lnTo>
                      <a:lnTo>
                        <a:pt x="143" y="120"/>
                      </a:lnTo>
                      <a:lnTo>
                        <a:pt x="137" y="131"/>
                      </a:lnTo>
                      <a:lnTo>
                        <a:pt x="129" y="140"/>
                      </a:lnTo>
                      <a:lnTo>
                        <a:pt x="123" y="149"/>
                      </a:lnTo>
                      <a:lnTo>
                        <a:pt x="117" y="157"/>
                      </a:lnTo>
                      <a:lnTo>
                        <a:pt x="114" y="165"/>
                      </a:lnTo>
                      <a:lnTo>
                        <a:pt x="112" y="172"/>
                      </a:lnTo>
                      <a:lnTo>
                        <a:pt x="113" y="187"/>
                      </a:lnTo>
                      <a:lnTo>
                        <a:pt x="115" y="197"/>
                      </a:lnTo>
                      <a:lnTo>
                        <a:pt x="115" y="201"/>
                      </a:lnTo>
                      <a:lnTo>
                        <a:pt x="115" y="205"/>
                      </a:lnTo>
                      <a:lnTo>
                        <a:pt x="114" y="210"/>
                      </a:lnTo>
                      <a:lnTo>
                        <a:pt x="112" y="216"/>
                      </a:lnTo>
                      <a:lnTo>
                        <a:pt x="118" y="216"/>
                      </a:lnTo>
                      <a:lnTo>
                        <a:pt x="126" y="216"/>
                      </a:lnTo>
                      <a:lnTo>
                        <a:pt x="136" y="216"/>
                      </a:lnTo>
                      <a:lnTo>
                        <a:pt x="146" y="216"/>
                      </a:lnTo>
                      <a:lnTo>
                        <a:pt x="139" y="235"/>
                      </a:lnTo>
                      <a:lnTo>
                        <a:pt x="136" y="252"/>
                      </a:lnTo>
                      <a:lnTo>
                        <a:pt x="135" y="259"/>
                      </a:lnTo>
                      <a:lnTo>
                        <a:pt x="136" y="267"/>
                      </a:lnTo>
                      <a:lnTo>
                        <a:pt x="139" y="275"/>
                      </a:lnTo>
                      <a:lnTo>
                        <a:pt x="146" y="283"/>
                      </a:lnTo>
                      <a:lnTo>
                        <a:pt x="136" y="288"/>
                      </a:lnTo>
                      <a:lnTo>
                        <a:pt x="125" y="291"/>
                      </a:lnTo>
                      <a:lnTo>
                        <a:pt x="115" y="295"/>
                      </a:lnTo>
                      <a:lnTo>
                        <a:pt x="105" y="296"/>
                      </a:lnTo>
                      <a:lnTo>
                        <a:pt x="94" y="296"/>
                      </a:lnTo>
                      <a:lnTo>
                        <a:pt x="85" y="294"/>
                      </a:lnTo>
                      <a:lnTo>
                        <a:pt x="79" y="291"/>
                      </a:lnTo>
                      <a:lnTo>
                        <a:pt x="73" y="288"/>
                      </a:lnTo>
                      <a:lnTo>
                        <a:pt x="70" y="284"/>
                      </a:lnTo>
                      <a:lnTo>
                        <a:pt x="67" y="280"/>
                      </a:lnTo>
                      <a:lnTo>
                        <a:pt x="66" y="276"/>
                      </a:lnTo>
                      <a:lnTo>
                        <a:pt x="66" y="271"/>
                      </a:lnTo>
                      <a:lnTo>
                        <a:pt x="76" y="262"/>
                      </a:lnTo>
                      <a:lnTo>
                        <a:pt x="85" y="253"/>
                      </a:lnTo>
                      <a:lnTo>
                        <a:pt x="77" y="251"/>
                      </a:lnTo>
                      <a:lnTo>
                        <a:pt x="69" y="249"/>
                      </a:lnTo>
                      <a:lnTo>
                        <a:pt x="60" y="246"/>
                      </a:lnTo>
                      <a:lnTo>
                        <a:pt x="52" y="242"/>
                      </a:lnTo>
                      <a:lnTo>
                        <a:pt x="45" y="236"/>
                      </a:lnTo>
                      <a:lnTo>
                        <a:pt x="38" y="231"/>
                      </a:lnTo>
                      <a:lnTo>
                        <a:pt x="32" y="226"/>
                      </a:lnTo>
                      <a:lnTo>
                        <a:pt x="25" y="219"/>
                      </a:lnTo>
                      <a:lnTo>
                        <a:pt x="20" y="213"/>
                      </a:lnTo>
                      <a:lnTo>
                        <a:pt x="14" y="205"/>
                      </a:lnTo>
                      <a:lnTo>
                        <a:pt x="10" y="198"/>
                      </a:lnTo>
                      <a:lnTo>
                        <a:pt x="6" y="190"/>
                      </a:lnTo>
                      <a:lnTo>
                        <a:pt x="3" y="180"/>
                      </a:lnTo>
                      <a:lnTo>
                        <a:pt x="1" y="172"/>
                      </a:lnTo>
                      <a:lnTo>
                        <a:pt x="0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26" y="130"/>
                      </a:lnTo>
                      <a:lnTo>
                        <a:pt x="27" y="106"/>
                      </a:lnTo>
                      <a:lnTo>
                        <a:pt x="31" y="67"/>
                      </a:lnTo>
                      <a:lnTo>
                        <a:pt x="32" y="46"/>
                      </a:lnTo>
                      <a:lnTo>
                        <a:pt x="32" y="27"/>
                      </a:lnTo>
                      <a:lnTo>
                        <a:pt x="31" y="18"/>
                      </a:lnTo>
                      <a:lnTo>
                        <a:pt x="29" y="10"/>
                      </a:lnTo>
                      <a:lnTo>
                        <a:pt x="28" y="4"/>
                      </a:lnTo>
                      <a:lnTo>
                        <a:pt x="2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4" name="Freeform 295"/>
                <p:cNvSpPr>
                  <a:spLocks/>
                </p:cNvSpPr>
                <p:nvPr/>
              </p:nvSpPr>
              <p:spPr bwMode="auto">
                <a:xfrm>
                  <a:off x="5189" y="2442"/>
                  <a:ext cx="8" cy="13"/>
                </a:xfrm>
                <a:custGeom>
                  <a:avLst/>
                  <a:gdLst>
                    <a:gd name="T0" fmla="*/ 1 w 26"/>
                    <a:gd name="T1" fmla="*/ 1 h 38"/>
                    <a:gd name="T2" fmla="*/ 1 w 26"/>
                    <a:gd name="T3" fmla="*/ 0 h 38"/>
                    <a:gd name="T4" fmla="*/ 1 w 26"/>
                    <a:gd name="T5" fmla="*/ 0 h 38"/>
                    <a:gd name="T6" fmla="*/ 0 w 26"/>
                    <a:gd name="T7" fmla="*/ 0 h 38"/>
                    <a:gd name="T8" fmla="*/ 0 w 26"/>
                    <a:gd name="T9" fmla="*/ 0 h 38"/>
                    <a:gd name="T10" fmla="*/ 0 w 26"/>
                    <a:gd name="T11" fmla="*/ 0 h 38"/>
                    <a:gd name="T12" fmla="*/ 1 w 26"/>
                    <a:gd name="T13" fmla="*/ 1 h 38"/>
                    <a:gd name="T14" fmla="*/ 1 w 26"/>
                    <a:gd name="T15" fmla="*/ 1 h 3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6" h="38">
                      <a:moveTo>
                        <a:pt x="26" y="38"/>
                      </a:moveTo>
                      <a:lnTo>
                        <a:pt x="26" y="0"/>
                      </a:lnTo>
                      <a:lnTo>
                        <a:pt x="21" y="1"/>
                      </a:lnTo>
                      <a:lnTo>
                        <a:pt x="13" y="4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8" y="30"/>
                      </a:lnTo>
                      <a:lnTo>
                        <a:pt x="26" y="3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5" name="Freeform 296"/>
                <p:cNvSpPr>
                  <a:spLocks/>
                </p:cNvSpPr>
                <p:nvPr/>
              </p:nvSpPr>
              <p:spPr bwMode="auto">
                <a:xfrm>
                  <a:off x="5165" y="2420"/>
                  <a:ext cx="10" cy="10"/>
                </a:xfrm>
                <a:custGeom>
                  <a:avLst/>
                  <a:gdLst>
                    <a:gd name="T0" fmla="*/ 0 w 34"/>
                    <a:gd name="T1" fmla="*/ 1 h 31"/>
                    <a:gd name="T2" fmla="*/ 0 w 34"/>
                    <a:gd name="T3" fmla="*/ 1 h 31"/>
                    <a:gd name="T4" fmla="*/ 0 w 34"/>
                    <a:gd name="T5" fmla="*/ 1 h 31"/>
                    <a:gd name="T6" fmla="*/ 1 w 34"/>
                    <a:gd name="T7" fmla="*/ 1 h 31"/>
                    <a:gd name="T8" fmla="*/ 1 w 34"/>
                    <a:gd name="T9" fmla="*/ 1 h 31"/>
                    <a:gd name="T10" fmla="*/ 1 w 34"/>
                    <a:gd name="T11" fmla="*/ 1 h 31"/>
                    <a:gd name="T12" fmla="*/ 1 w 34"/>
                    <a:gd name="T13" fmla="*/ 1 h 31"/>
                    <a:gd name="T14" fmla="*/ 1 w 34"/>
                    <a:gd name="T15" fmla="*/ 0 h 31"/>
                    <a:gd name="T16" fmla="*/ 1 w 34"/>
                    <a:gd name="T17" fmla="*/ 0 h 31"/>
                    <a:gd name="T18" fmla="*/ 0 w 34"/>
                    <a:gd name="T19" fmla="*/ 0 h 31"/>
                    <a:gd name="T20" fmla="*/ 0 w 34"/>
                    <a:gd name="T21" fmla="*/ 0 h 31"/>
                    <a:gd name="T22" fmla="*/ 0 w 34"/>
                    <a:gd name="T23" fmla="*/ 1 h 31"/>
                    <a:gd name="T24" fmla="*/ 0 w 34"/>
                    <a:gd name="T25" fmla="*/ 1 h 31"/>
                    <a:gd name="T26" fmla="*/ 0 w 34"/>
                    <a:gd name="T27" fmla="*/ 1 h 31"/>
                    <a:gd name="T28" fmla="*/ 0 w 34"/>
                    <a:gd name="T29" fmla="*/ 1 h 3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4" h="31">
                      <a:moveTo>
                        <a:pt x="0" y="18"/>
                      </a:moveTo>
                      <a:lnTo>
                        <a:pt x="8" y="22"/>
                      </a:lnTo>
                      <a:lnTo>
                        <a:pt x="17" y="26"/>
                      </a:lnTo>
                      <a:lnTo>
                        <a:pt x="27" y="30"/>
                      </a:lnTo>
                      <a:lnTo>
                        <a:pt x="34" y="31"/>
                      </a:lnTo>
                      <a:lnTo>
                        <a:pt x="33" y="24"/>
                      </a:lnTo>
                      <a:lnTo>
                        <a:pt x="30" y="15"/>
                      </a:lnTo>
                      <a:lnTo>
                        <a:pt x="26" y="6"/>
                      </a:lnTo>
                      <a:lnTo>
                        <a:pt x="20" y="0"/>
                      </a:lnTo>
                      <a:lnTo>
                        <a:pt x="16" y="5"/>
                      </a:lnTo>
                      <a:lnTo>
                        <a:pt x="10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8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6" name="Freeform 297"/>
                <p:cNvSpPr>
                  <a:spLocks/>
                </p:cNvSpPr>
                <p:nvPr/>
              </p:nvSpPr>
              <p:spPr bwMode="auto">
                <a:xfrm>
                  <a:off x="5139" y="2418"/>
                  <a:ext cx="6" cy="12"/>
                </a:xfrm>
                <a:custGeom>
                  <a:avLst/>
                  <a:gdLst>
                    <a:gd name="T0" fmla="*/ 0 w 20"/>
                    <a:gd name="T1" fmla="*/ 0 h 37"/>
                    <a:gd name="T2" fmla="*/ 0 w 20"/>
                    <a:gd name="T3" fmla="*/ 1 h 37"/>
                    <a:gd name="T4" fmla="*/ 0 w 20"/>
                    <a:gd name="T5" fmla="*/ 1 h 37"/>
                    <a:gd name="T6" fmla="*/ 1 w 20"/>
                    <a:gd name="T7" fmla="*/ 1 h 37"/>
                    <a:gd name="T8" fmla="*/ 1 w 20"/>
                    <a:gd name="T9" fmla="*/ 0 h 37"/>
                    <a:gd name="T10" fmla="*/ 0 w 20"/>
                    <a:gd name="T11" fmla="*/ 0 h 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" h="37">
                      <a:moveTo>
                        <a:pt x="0" y="6"/>
                      </a:moveTo>
                      <a:lnTo>
                        <a:pt x="0" y="37"/>
                      </a:lnTo>
                      <a:lnTo>
                        <a:pt x="7" y="33"/>
                      </a:lnTo>
                      <a:lnTo>
                        <a:pt x="20" y="30"/>
                      </a:lnTo>
                      <a:lnTo>
                        <a:pt x="20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7" name="Line 298"/>
                <p:cNvSpPr>
                  <a:spLocks noChangeShapeType="1"/>
                </p:cNvSpPr>
                <p:nvPr/>
              </p:nvSpPr>
              <p:spPr bwMode="auto">
                <a:xfrm>
                  <a:off x="5180" y="2449"/>
                  <a:ext cx="1" cy="10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8" name="Freeform 299"/>
                <p:cNvSpPr>
                  <a:spLocks/>
                </p:cNvSpPr>
                <p:nvPr/>
              </p:nvSpPr>
              <p:spPr bwMode="auto">
                <a:xfrm>
                  <a:off x="5180" y="2453"/>
                  <a:ext cx="4" cy="6"/>
                </a:xfrm>
                <a:custGeom>
                  <a:avLst/>
                  <a:gdLst>
                    <a:gd name="T0" fmla="*/ 0 w 13"/>
                    <a:gd name="T1" fmla="*/ 1 h 18"/>
                    <a:gd name="T2" fmla="*/ 0 w 13"/>
                    <a:gd name="T3" fmla="*/ 0 h 18"/>
                    <a:gd name="T4" fmla="*/ 0 w 13"/>
                    <a:gd name="T5" fmla="*/ 0 h 18"/>
                    <a:gd name="T6" fmla="*/ 0 w 13"/>
                    <a:gd name="T7" fmla="*/ 0 h 18"/>
                    <a:gd name="T8" fmla="*/ 0 w 13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" y="13"/>
                      </a:lnTo>
                      <a:lnTo>
                        <a:pt x="3" y="9"/>
                      </a:lnTo>
                      <a:lnTo>
                        <a:pt x="7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9" name="Line 300"/>
                <p:cNvSpPr>
                  <a:spLocks noChangeShapeType="1"/>
                </p:cNvSpPr>
                <p:nvPr/>
              </p:nvSpPr>
              <p:spPr bwMode="auto">
                <a:xfrm flipH="1" flipV="1">
                  <a:off x="5178" y="2447"/>
                  <a:ext cx="6" cy="6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0" name="Freeform 301"/>
                <p:cNvSpPr>
                  <a:spLocks/>
                </p:cNvSpPr>
                <p:nvPr/>
              </p:nvSpPr>
              <p:spPr bwMode="auto">
                <a:xfrm>
                  <a:off x="5116" y="2564"/>
                  <a:ext cx="9" cy="10"/>
                </a:xfrm>
                <a:custGeom>
                  <a:avLst/>
                  <a:gdLst>
                    <a:gd name="T0" fmla="*/ 0 w 27"/>
                    <a:gd name="T1" fmla="*/ 0 h 31"/>
                    <a:gd name="T2" fmla="*/ 1 w 27"/>
                    <a:gd name="T3" fmla="*/ 1 h 31"/>
                    <a:gd name="T4" fmla="*/ 1 w 27"/>
                    <a:gd name="T5" fmla="*/ 0 h 3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7" h="31">
                      <a:moveTo>
                        <a:pt x="0" y="0"/>
                      </a:moveTo>
                      <a:lnTo>
                        <a:pt x="20" y="31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1" name="Freeform 302"/>
                <p:cNvSpPr>
                  <a:spLocks/>
                </p:cNvSpPr>
                <p:nvPr/>
              </p:nvSpPr>
              <p:spPr bwMode="auto">
                <a:xfrm>
                  <a:off x="5119" y="2568"/>
                  <a:ext cx="6" cy="1"/>
                </a:xfrm>
                <a:custGeom>
                  <a:avLst/>
                  <a:gdLst>
                    <a:gd name="T0" fmla="*/ 1 w 20"/>
                    <a:gd name="T1" fmla="*/ 0 h 1"/>
                    <a:gd name="T2" fmla="*/ 0 w 20"/>
                    <a:gd name="T3" fmla="*/ 0 h 1"/>
                    <a:gd name="T4" fmla="*/ 0 w 20"/>
                    <a:gd name="T5" fmla="*/ 0 h 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0" h="1">
                      <a:moveTo>
                        <a:pt x="20" y="0"/>
                      </a:move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2" name="Freeform 303"/>
                <p:cNvSpPr>
                  <a:spLocks/>
                </p:cNvSpPr>
                <p:nvPr/>
              </p:nvSpPr>
              <p:spPr bwMode="auto">
                <a:xfrm>
                  <a:off x="5127" y="2557"/>
                  <a:ext cx="12" cy="5"/>
                </a:xfrm>
                <a:custGeom>
                  <a:avLst/>
                  <a:gdLst>
                    <a:gd name="T0" fmla="*/ 0 w 34"/>
                    <a:gd name="T1" fmla="*/ 1 h 13"/>
                    <a:gd name="T2" fmla="*/ 0 w 34"/>
                    <a:gd name="T3" fmla="*/ 1 h 13"/>
                    <a:gd name="T4" fmla="*/ 0 w 34"/>
                    <a:gd name="T5" fmla="*/ 1 h 13"/>
                    <a:gd name="T6" fmla="*/ 1 w 34"/>
                    <a:gd name="T7" fmla="*/ 1 h 13"/>
                    <a:gd name="T8" fmla="*/ 1 w 34"/>
                    <a:gd name="T9" fmla="*/ 0 h 13"/>
                    <a:gd name="T10" fmla="*/ 1 w 34"/>
                    <a:gd name="T11" fmla="*/ 0 h 13"/>
                    <a:gd name="T12" fmla="*/ 1 w 34"/>
                    <a:gd name="T13" fmla="*/ 0 h 13"/>
                    <a:gd name="T14" fmla="*/ 1 w 34"/>
                    <a:gd name="T15" fmla="*/ 0 h 13"/>
                    <a:gd name="T16" fmla="*/ 1 w 34"/>
                    <a:gd name="T17" fmla="*/ 0 h 1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4" h="13">
                      <a:moveTo>
                        <a:pt x="0" y="13"/>
                      </a:move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6" y="10"/>
                      </a:lnTo>
                      <a:lnTo>
                        <a:pt x="20" y="7"/>
                      </a:lnTo>
                      <a:lnTo>
                        <a:pt x="28" y="2"/>
                      </a:lnTo>
                      <a:lnTo>
                        <a:pt x="34" y="0"/>
                      </a:lnTo>
                      <a:lnTo>
                        <a:pt x="25" y="0"/>
                      </a:lnTo>
                      <a:lnTo>
                        <a:pt x="15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3" name="Freeform 304"/>
                <p:cNvSpPr>
                  <a:spLocks/>
                </p:cNvSpPr>
                <p:nvPr/>
              </p:nvSpPr>
              <p:spPr bwMode="auto">
                <a:xfrm>
                  <a:off x="5127" y="2547"/>
                  <a:ext cx="12" cy="6"/>
                </a:xfrm>
                <a:custGeom>
                  <a:avLst/>
                  <a:gdLst>
                    <a:gd name="T0" fmla="*/ 1 w 34"/>
                    <a:gd name="T1" fmla="*/ 1 h 18"/>
                    <a:gd name="T2" fmla="*/ 1 w 34"/>
                    <a:gd name="T3" fmla="*/ 0 h 18"/>
                    <a:gd name="T4" fmla="*/ 1 w 34"/>
                    <a:gd name="T5" fmla="*/ 0 h 18"/>
                    <a:gd name="T6" fmla="*/ 1 w 34"/>
                    <a:gd name="T7" fmla="*/ 0 h 18"/>
                    <a:gd name="T8" fmla="*/ 0 w 34"/>
                    <a:gd name="T9" fmla="*/ 0 h 18"/>
                    <a:gd name="T10" fmla="*/ 0 w 34"/>
                    <a:gd name="T11" fmla="*/ 0 h 18"/>
                    <a:gd name="T12" fmla="*/ 1 w 34"/>
                    <a:gd name="T13" fmla="*/ 1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34" h="18">
                      <a:moveTo>
                        <a:pt x="34" y="18"/>
                      </a:move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34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4" name="Freeform 305"/>
                <p:cNvSpPr>
                  <a:spLocks/>
                </p:cNvSpPr>
                <p:nvPr/>
              </p:nvSpPr>
              <p:spPr bwMode="auto">
                <a:xfrm>
                  <a:off x="5141" y="2535"/>
                  <a:ext cx="20" cy="8"/>
                </a:xfrm>
                <a:custGeom>
                  <a:avLst/>
                  <a:gdLst>
                    <a:gd name="T0" fmla="*/ 2 w 59"/>
                    <a:gd name="T1" fmla="*/ 1 h 25"/>
                    <a:gd name="T2" fmla="*/ 2 w 59"/>
                    <a:gd name="T3" fmla="*/ 0 h 25"/>
                    <a:gd name="T4" fmla="*/ 2 w 59"/>
                    <a:gd name="T5" fmla="*/ 0 h 25"/>
                    <a:gd name="T6" fmla="*/ 2 w 59"/>
                    <a:gd name="T7" fmla="*/ 0 h 25"/>
                    <a:gd name="T8" fmla="*/ 1 w 59"/>
                    <a:gd name="T9" fmla="*/ 0 h 25"/>
                    <a:gd name="T10" fmla="*/ 1 w 59"/>
                    <a:gd name="T11" fmla="*/ 0 h 25"/>
                    <a:gd name="T12" fmla="*/ 0 w 59"/>
                    <a:gd name="T13" fmla="*/ 0 h 25"/>
                    <a:gd name="T14" fmla="*/ 0 w 59"/>
                    <a:gd name="T15" fmla="*/ 0 h 25"/>
                    <a:gd name="T16" fmla="*/ 0 w 59"/>
                    <a:gd name="T17" fmla="*/ 0 h 25"/>
                    <a:gd name="T18" fmla="*/ 0 w 59"/>
                    <a:gd name="T19" fmla="*/ 0 h 25"/>
                    <a:gd name="T20" fmla="*/ 1 w 59"/>
                    <a:gd name="T21" fmla="*/ 1 h 25"/>
                    <a:gd name="T22" fmla="*/ 1 w 59"/>
                    <a:gd name="T23" fmla="*/ 1 h 25"/>
                    <a:gd name="T24" fmla="*/ 1 w 59"/>
                    <a:gd name="T25" fmla="*/ 1 h 25"/>
                    <a:gd name="T26" fmla="*/ 2 w 59"/>
                    <a:gd name="T27" fmla="*/ 1 h 25"/>
                    <a:gd name="T28" fmla="*/ 2 w 59"/>
                    <a:gd name="T29" fmla="*/ 1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59" h="25">
                      <a:moveTo>
                        <a:pt x="53" y="25"/>
                      </a:moveTo>
                      <a:lnTo>
                        <a:pt x="56" y="12"/>
                      </a:lnTo>
                      <a:lnTo>
                        <a:pt x="59" y="0"/>
                      </a:lnTo>
                      <a:lnTo>
                        <a:pt x="44" y="0"/>
                      </a:lnTo>
                      <a:lnTo>
                        <a:pt x="27" y="0"/>
                      </a:lnTo>
                      <a:lnTo>
                        <a:pt x="19" y="1"/>
                      </a:lnTo>
                      <a:lnTo>
                        <a:pt x="12" y="2"/>
                      </a:lnTo>
                      <a:lnTo>
                        <a:pt x="5" y="4"/>
                      </a:lnTo>
                      <a:lnTo>
                        <a:pt x="0" y="6"/>
                      </a:lnTo>
                      <a:lnTo>
                        <a:pt x="13" y="14"/>
                      </a:lnTo>
                      <a:lnTo>
                        <a:pt x="26" y="20"/>
                      </a:lnTo>
                      <a:lnTo>
                        <a:pt x="33" y="22"/>
                      </a:lnTo>
                      <a:lnTo>
                        <a:pt x="38" y="24"/>
                      </a:lnTo>
                      <a:lnTo>
                        <a:pt x="46" y="25"/>
                      </a:lnTo>
                      <a:lnTo>
                        <a:pt x="53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5" name="Line 306"/>
                <p:cNvSpPr>
                  <a:spLocks noChangeShapeType="1"/>
                </p:cNvSpPr>
                <p:nvPr/>
              </p:nvSpPr>
              <p:spPr bwMode="auto">
                <a:xfrm flipV="1">
                  <a:off x="5191" y="2516"/>
                  <a:ext cx="6" cy="2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146" name="Freeform 307"/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13279705" y="4358847"/>
                <a:ext cx="14288" cy="55563"/>
              </a:xfrm>
              <a:custGeom>
                <a:avLst/>
                <a:gdLst>
                  <a:gd name="T0" fmla="*/ 0 w 33"/>
                  <a:gd name="T1" fmla="*/ 2147483647 h 43"/>
                  <a:gd name="T2" fmla="*/ 81171427 w 33"/>
                  <a:gd name="T3" fmla="*/ 2147483647 h 43"/>
                  <a:gd name="T4" fmla="*/ 162342854 w 33"/>
                  <a:gd name="T5" fmla="*/ 2147483647 h 43"/>
                  <a:gd name="T6" fmla="*/ 405856702 w 33"/>
                  <a:gd name="T7" fmla="*/ 2147483647 h 43"/>
                  <a:gd name="T8" fmla="*/ 730542409 w 33"/>
                  <a:gd name="T9" fmla="*/ 2147483647 h 43"/>
                  <a:gd name="T10" fmla="*/ 1136399111 w 33"/>
                  <a:gd name="T11" fmla="*/ 2147483647 h 43"/>
                  <a:gd name="T12" fmla="*/ 1623240196 w 33"/>
                  <a:gd name="T13" fmla="*/ 2147483647 h 43"/>
                  <a:gd name="T14" fmla="*/ 2110268325 w 33"/>
                  <a:gd name="T15" fmla="*/ 2147483647 h 43"/>
                  <a:gd name="T16" fmla="*/ 2147483647 w 33"/>
                  <a:gd name="T17" fmla="*/ 0 h 43"/>
                  <a:gd name="T18" fmla="*/ 2147483647 w 33"/>
                  <a:gd name="T19" fmla="*/ 2147483647 h 43"/>
                  <a:gd name="T20" fmla="*/ 1866754044 w 33"/>
                  <a:gd name="T21" fmla="*/ 2147483647 h 43"/>
                  <a:gd name="T22" fmla="*/ 1460897343 w 33"/>
                  <a:gd name="T23" fmla="*/ 2147483647 h 43"/>
                  <a:gd name="T24" fmla="*/ 1298741965 w 33"/>
                  <a:gd name="T25" fmla="*/ 2147483647 h 43"/>
                  <a:gd name="T26" fmla="*/ 1298741965 w 33"/>
                  <a:gd name="T27" fmla="*/ 2147483647 h 43"/>
                  <a:gd name="T28" fmla="*/ 1298741965 w 33"/>
                  <a:gd name="T29" fmla="*/ 2147483647 h 43"/>
                  <a:gd name="T30" fmla="*/ 1136399111 w 33"/>
                  <a:gd name="T31" fmla="*/ 2147483647 h 43"/>
                  <a:gd name="T32" fmla="*/ 811713836 w 33"/>
                  <a:gd name="T33" fmla="*/ 2147483647 h 43"/>
                  <a:gd name="T34" fmla="*/ 0 w 33"/>
                  <a:gd name="T35" fmla="*/ 2147483647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3" h="43">
                    <a:moveTo>
                      <a:pt x="0" y="43"/>
                    </a:moveTo>
                    <a:lnTo>
                      <a:pt x="1" y="34"/>
                    </a:lnTo>
                    <a:lnTo>
                      <a:pt x="2" y="27"/>
                    </a:lnTo>
                    <a:lnTo>
                      <a:pt x="5" y="21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0" y="5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23" y="27"/>
                    </a:lnTo>
                    <a:lnTo>
                      <a:pt x="18" y="29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0" y="41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7" name="Freeform 308"/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13355905" y="4298522"/>
                <a:ext cx="22225" cy="58738"/>
              </a:xfrm>
              <a:custGeom>
                <a:avLst/>
                <a:gdLst>
                  <a:gd name="T0" fmla="*/ 0 w 54"/>
                  <a:gd name="T1" fmla="*/ 2147483647 h 92"/>
                  <a:gd name="T2" fmla="*/ 69790204 w 54"/>
                  <a:gd name="T3" fmla="*/ 2147483647 h 92"/>
                  <a:gd name="T4" fmla="*/ 139410428 w 54"/>
                  <a:gd name="T5" fmla="*/ 2147483647 h 92"/>
                  <a:gd name="T6" fmla="*/ 209200632 w 54"/>
                  <a:gd name="T7" fmla="*/ 2147483647 h 92"/>
                  <a:gd name="T8" fmla="*/ 418231696 w 54"/>
                  <a:gd name="T9" fmla="*/ 2147483647 h 92"/>
                  <a:gd name="T10" fmla="*/ 766843169 w 54"/>
                  <a:gd name="T11" fmla="*/ 2147483647 h 92"/>
                  <a:gd name="T12" fmla="*/ 1254865069 w 54"/>
                  <a:gd name="T13" fmla="*/ 2147483647 h 92"/>
                  <a:gd name="T14" fmla="*/ 2147483647 w 54"/>
                  <a:gd name="T15" fmla="*/ 1821683732 h 92"/>
                  <a:gd name="T16" fmla="*/ 2147483647 w 54"/>
                  <a:gd name="T17" fmla="*/ 0 h 92"/>
                  <a:gd name="T18" fmla="*/ 2147483647 w 54"/>
                  <a:gd name="T19" fmla="*/ 2147483647 h 92"/>
                  <a:gd name="T20" fmla="*/ 2147483647 w 54"/>
                  <a:gd name="T21" fmla="*/ 2147483647 h 92"/>
                  <a:gd name="T22" fmla="*/ 2147483647 w 54"/>
                  <a:gd name="T23" fmla="*/ 2147483647 h 92"/>
                  <a:gd name="T24" fmla="*/ 2147483647 w 54"/>
                  <a:gd name="T25" fmla="*/ 2147483647 h 92"/>
                  <a:gd name="T26" fmla="*/ 2147483647 w 54"/>
                  <a:gd name="T27" fmla="*/ 2147483647 h 92"/>
                  <a:gd name="T28" fmla="*/ 2147483647 w 54"/>
                  <a:gd name="T29" fmla="*/ 2147483647 h 92"/>
                  <a:gd name="T30" fmla="*/ 1952087602 w 54"/>
                  <a:gd name="T31" fmla="*/ 2147483647 h 92"/>
                  <a:gd name="T32" fmla="*/ 1812676762 w 54"/>
                  <a:gd name="T33" fmla="*/ 2147483647 h 92"/>
                  <a:gd name="T34" fmla="*/ 1812676762 w 54"/>
                  <a:gd name="T35" fmla="*/ 2147483647 h 92"/>
                  <a:gd name="T36" fmla="*/ 1673266334 w 54"/>
                  <a:gd name="T37" fmla="*/ 2147483647 h 92"/>
                  <a:gd name="T38" fmla="*/ 1394275497 w 54"/>
                  <a:gd name="T39" fmla="*/ 2147483647 h 92"/>
                  <a:gd name="T40" fmla="*/ 976043801 w 54"/>
                  <a:gd name="T41" fmla="*/ 2147483647 h 92"/>
                  <a:gd name="T42" fmla="*/ 557811693 w 54"/>
                  <a:gd name="T43" fmla="*/ 2147483647 h 92"/>
                  <a:gd name="T44" fmla="*/ 348611061 w 54"/>
                  <a:gd name="T45" fmla="*/ 2147483647 h 92"/>
                  <a:gd name="T46" fmla="*/ 139410428 w 54"/>
                  <a:gd name="T47" fmla="*/ 2147483647 h 92"/>
                  <a:gd name="T48" fmla="*/ 69790204 w 54"/>
                  <a:gd name="T49" fmla="*/ 2147483647 h 92"/>
                  <a:gd name="T50" fmla="*/ 0 w 54"/>
                  <a:gd name="T51" fmla="*/ 2147483647 h 9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54" h="92">
                    <a:moveTo>
                      <a:pt x="0" y="55"/>
                    </a:moveTo>
                    <a:lnTo>
                      <a:pt x="1" y="51"/>
                    </a:lnTo>
                    <a:lnTo>
                      <a:pt x="2" y="46"/>
                    </a:lnTo>
                    <a:lnTo>
                      <a:pt x="3" y="42"/>
                    </a:lnTo>
                    <a:lnTo>
                      <a:pt x="6" y="37"/>
                    </a:lnTo>
                    <a:lnTo>
                      <a:pt x="11" y="29"/>
                    </a:lnTo>
                    <a:lnTo>
                      <a:pt x="18" y="21"/>
                    </a:lnTo>
                    <a:lnTo>
                      <a:pt x="31" y="7"/>
                    </a:lnTo>
                    <a:lnTo>
                      <a:pt x="41" y="0"/>
                    </a:lnTo>
                    <a:lnTo>
                      <a:pt x="54" y="12"/>
                    </a:lnTo>
                    <a:lnTo>
                      <a:pt x="51" y="21"/>
                    </a:lnTo>
                    <a:lnTo>
                      <a:pt x="47" y="29"/>
                    </a:lnTo>
                    <a:lnTo>
                      <a:pt x="44" y="35"/>
                    </a:lnTo>
                    <a:lnTo>
                      <a:pt x="41" y="41"/>
                    </a:lnTo>
                    <a:lnTo>
                      <a:pt x="33" y="49"/>
                    </a:lnTo>
                    <a:lnTo>
                      <a:pt x="28" y="55"/>
                    </a:lnTo>
                    <a:lnTo>
                      <a:pt x="26" y="64"/>
                    </a:lnTo>
                    <a:lnTo>
                      <a:pt x="26" y="74"/>
                    </a:lnTo>
                    <a:lnTo>
                      <a:pt x="24" y="83"/>
                    </a:lnTo>
                    <a:lnTo>
                      <a:pt x="20" y="92"/>
                    </a:lnTo>
                    <a:lnTo>
                      <a:pt x="14" y="83"/>
                    </a:lnTo>
                    <a:lnTo>
                      <a:pt x="8" y="74"/>
                    </a:lnTo>
                    <a:lnTo>
                      <a:pt x="5" y="70"/>
                    </a:lnTo>
                    <a:lnTo>
                      <a:pt x="2" y="64"/>
                    </a:lnTo>
                    <a:lnTo>
                      <a:pt x="1" y="60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8" name="Freeform 309"/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13403530" y="4177872"/>
                <a:ext cx="23813" cy="57150"/>
              </a:xfrm>
              <a:custGeom>
                <a:avLst/>
                <a:gdLst>
                  <a:gd name="T0" fmla="*/ 0 w 60"/>
                  <a:gd name="T1" fmla="*/ 0 h 18"/>
                  <a:gd name="T2" fmla="*/ 1187830938 w 60"/>
                  <a:gd name="T3" fmla="*/ 2147483647 h 18"/>
                  <a:gd name="T4" fmla="*/ 2147483647 w 60"/>
                  <a:gd name="T5" fmla="*/ 2147483647 h 18"/>
                  <a:gd name="T6" fmla="*/ 2147483647 w 60"/>
                  <a:gd name="T7" fmla="*/ 2147483647 h 18"/>
                  <a:gd name="T8" fmla="*/ 2147483647 w 60"/>
                  <a:gd name="T9" fmla="*/ 2147483647 h 18"/>
                  <a:gd name="T10" fmla="*/ 2147483647 w 60"/>
                  <a:gd name="T11" fmla="*/ 2147483647 h 18"/>
                  <a:gd name="T12" fmla="*/ 2147483647 w 60"/>
                  <a:gd name="T13" fmla="*/ 2147483647 h 18"/>
                  <a:gd name="T14" fmla="*/ 2147483647 w 60"/>
                  <a:gd name="T15" fmla="*/ 2147483647 h 18"/>
                  <a:gd name="T16" fmla="*/ 1437809493 w 60"/>
                  <a:gd name="T17" fmla="*/ 2147483647 h 18"/>
                  <a:gd name="T18" fmla="*/ 625182533 w 60"/>
                  <a:gd name="T19" fmla="*/ 2147483647 h 18"/>
                  <a:gd name="T20" fmla="*/ 0 w 60"/>
                  <a:gd name="T21" fmla="*/ 2147483647 h 18"/>
                  <a:gd name="T22" fmla="*/ 0 w 60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0" h="18">
                    <a:moveTo>
                      <a:pt x="0" y="0"/>
                    </a:moveTo>
                    <a:lnTo>
                      <a:pt x="19" y="4"/>
                    </a:lnTo>
                    <a:lnTo>
                      <a:pt x="37" y="9"/>
                    </a:lnTo>
                    <a:lnTo>
                      <a:pt x="45" y="11"/>
                    </a:lnTo>
                    <a:lnTo>
                      <a:pt x="51" y="13"/>
                    </a:lnTo>
                    <a:lnTo>
                      <a:pt x="56" y="16"/>
                    </a:lnTo>
                    <a:lnTo>
                      <a:pt x="60" y="18"/>
                    </a:lnTo>
                    <a:lnTo>
                      <a:pt x="38" y="18"/>
                    </a:lnTo>
                    <a:lnTo>
                      <a:pt x="23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9" name="Freeform 310"/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13387655" y="4147710"/>
                <a:ext cx="25400" cy="57150"/>
              </a:xfrm>
              <a:custGeom>
                <a:avLst/>
                <a:gdLst>
                  <a:gd name="T0" fmla="*/ 0 w 66"/>
                  <a:gd name="T1" fmla="*/ 2147483647 h 18"/>
                  <a:gd name="T2" fmla="*/ 2147483647 w 66"/>
                  <a:gd name="T3" fmla="*/ 2147483647 h 18"/>
                  <a:gd name="T4" fmla="*/ 2147483647 w 66"/>
                  <a:gd name="T5" fmla="*/ 2147483647 h 18"/>
                  <a:gd name="T6" fmla="*/ 2147483647 w 66"/>
                  <a:gd name="T7" fmla="*/ 2147483647 h 18"/>
                  <a:gd name="T8" fmla="*/ 1995019524 w 66"/>
                  <a:gd name="T9" fmla="*/ 2147483647 h 18"/>
                  <a:gd name="T10" fmla="*/ 1653037388 w 66"/>
                  <a:gd name="T11" fmla="*/ 2147483647 h 18"/>
                  <a:gd name="T12" fmla="*/ 1424950391 w 66"/>
                  <a:gd name="T13" fmla="*/ 2147483647 h 18"/>
                  <a:gd name="T14" fmla="*/ 1082968255 w 66"/>
                  <a:gd name="T15" fmla="*/ 0 h 18"/>
                  <a:gd name="T16" fmla="*/ 0 w 66"/>
                  <a:gd name="T17" fmla="*/ 2147483647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6" h="18">
                    <a:moveTo>
                      <a:pt x="0" y="18"/>
                    </a:moveTo>
                    <a:lnTo>
                      <a:pt x="66" y="18"/>
                    </a:lnTo>
                    <a:lnTo>
                      <a:pt x="52" y="13"/>
                    </a:lnTo>
                    <a:lnTo>
                      <a:pt x="40" y="7"/>
                    </a:lnTo>
                    <a:lnTo>
                      <a:pt x="35" y="4"/>
                    </a:lnTo>
                    <a:lnTo>
                      <a:pt x="29" y="2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0" name="Freeform 311"/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13213030" y="4044522"/>
                <a:ext cx="7938" cy="57150"/>
              </a:xfrm>
              <a:custGeom>
                <a:avLst/>
                <a:gdLst>
                  <a:gd name="T0" fmla="*/ 0 w 17"/>
                  <a:gd name="T1" fmla="*/ 2147483647 h 42"/>
                  <a:gd name="T2" fmla="*/ 1323466786 w 17"/>
                  <a:gd name="T3" fmla="*/ 2147483647 h 42"/>
                  <a:gd name="T4" fmla="*/ 1425288445 w 17"/>
                  <a:gd name="T5" fmla="*/ 2147483647 h 42"/>
                  <a:gd name="T6" fmla="*/ 1628932699 w 17"/>
                  <a:gd name="T7" fmla="*/ 2147483647 h 42"/>
                  <a:gd name="T8" fmla="*/ 1730754359 w 17"/>
                  <a:gd name="T9" fmla="*/ 2147483647 h 42"/>
                  <a:gd name="T10" fmla="*/ 1628932699 w 17"/>
                  <a:gd name="T11" fmla="*/ 2147483647 h 42"/>
                  <a:gd name="T12" fmla="*/ 1628932699 w 17"/>
                  <a:gd name="T13" fmla="*/ 2147483647 h 42"/>
                  <a:gd name="T14" fmla="*/ 1323466786 w 17"/>
                  <a:gd name="T15" fmla="*/ 0 h 42"/>
                  <a:gd name="T16" fmla="*/ 0 w 17"/>
                  <a:gd name="T17" fmla="*/ 2147483647 h 4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" h="42">
                    <a:moveTo>
                      <a:pt x="0" y="36"/>
                    </a:moveTo>
                    <a:lnTo>
                      <a:pt x="13" y="42"/>
                    </a:lnTo>
                    <a:lnTo>
                      <a:pt x="14" y="33"/>
                    </a:lnTo>
                    <a:lnTo>
                      <a:pt x="16" y="23"/>
                    </a:lnTo>
                    <a:lnTo>
                      <a:pt x="17" y="18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3" y="0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1" name="Freeform 312"/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13140005" y="4179460"/>
                <a:ext cx="30163" cy="58737"/>
              </a:xfrm>
              <a:custGeom>
                <a:avLst/>
                <a:gdLst>
                  <a:gd name="T0" fmla="*/ 441213891 w 72"/>
                  <a:gd name="T1" fmla="*/ 2147483647 h 29"/>
                  <a:gd name="T2" fmla="*/ 1102859823 w 72"/>
                  <a:gd name="T3" fmla="*/ 2147483647 h 29"/>
                  <a:gd name="T4" fmla="*/ 1764505337 w 72"/>
                  <a:gd name="T5" fmla="*/ 2147483647 h 29"/>
                  <a:gd name="T6" fmla="*/ 2147483647 w 72"/>
                  <a:gd name="T7" fmla="*/ 2147483647 h 29"/>
                  <a:gd name="T8" fmla="*/ 2147483647 w 72"/>
                  <a:gd name="T9" fmla="*/ 2147483647 h 29"/>
                  <a:gd name="T10" fmla="*/ 2147483647 w 72"/>
                  <a:gd name="T11" fmla="*/ 2147483647 h 29"/>
                  <a:gd name="T12" fmla="*/ 2147483647 w 72"/>
                  <a:gd name="T13" fmla="*/ 2147483647 h 29"/>
                  <a:gd name="T14" fmla="*/ 2147483647 w 72"/>
                  <a:gd name="T15" fmla="*/ 2147483647 h 29"/>
                  <a:gd name="T16" fmla="*/ 2147483647 w 72"/>
                  <a:gd name="T17" fmla="*/ 2147483647 h 29"/>
                  <a:gd name="T18" fmla="*/ 2147483647 w 72"/>
                  <a:gd name="T19" fmla="*/ 0 h 29"/>
                  <a:gd name="T20" fmla="*/ 2147483647 w 72"/>
                  <a:gd name="T21" fmla="*/ 0 h 29"/>
                  <a:gd name="T22" fmla="*/ 2147483647 w 72"/>
                  <a:gd name="T23" fmla="*/ 2147483647 h 29"/>
                  <a:gd name="T24" fmla="*/ 1985112492 w 72"/>
                  <a:gd name="T25" fmla="*/ 2147483647 h 29"/>
                  <a:gd name="T26" fmla="*/ 1544073714 w 72"/>
                  <a:gd name="T27" fmla="*/ 2147483647 h 29"/>
                  <a:gd name="T28" fmla="*/ 882252669 w 72"/>
                  <a:gd name="T29" fmla="*/ 2147483647 h 29"/>
                  <a:gd name="T30" fmla="*/ 0 w 72"/>
                  <a:gd name="T31" fmla="*/ 2147483647 h 29"/>
                  <a:gd name="T32" fmla="*/ 220607155 w 72"/>
                  <a:gd name="T33" fmla="*/ 2147483647 h 29"/>
                  <a:gd name="T34" fmla="*/ 441213891 w 72"/>
                  <a:gd name="T35" fmla="*/ 2147483647 h 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29">
                    <a:moveTo>
                      <a:pt x="6" y="29"/>
                    </a:moveTo>
                    <a:lnTo>
                      <a:pt x="15" y="26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39" y="24"/>
                    </a:lnTo>
                    <a:lnTo>
                      <a:pt x="55" y="27"/>
                    </a:lnTo>
                    <a:lnTo>
                      <a:pt x="72" y="29"/>
                    </a:lnTo>
                    <a:lnTo>
                      <a:pt x="72" y="4"/>
                    </a:lnTo>
                    <a:lnTo>
                      <a:pt x="58" y="1"/>
                    </a:lnTo>
                    <a:lnTo>
                      <a:pt x="47" y="0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2" y="5"/>
                    </a:lnTo>
                    <a:lnTo>
                      <a:pt x="0" y="4"/>
                    </a:lnTo>
                    <a:lnTo>
                      <a:pt x="3" y="16"/>
                    </a:lnTo>
                    <a:lnTo>
                      <a:pt x="6" y="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2" name="Freeform 313"/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13147943" y="4365197"/>
                <a:ext cx="19050" cy="55563"/>
              </a:xfrm>
              <a:custGeom>
                <a:avLst/>
                <a:gdLst>
                  <a:gd name="T0" fmla="*/ 0 w 46"/>
                  <a:gd name="T1" fmla="*/ 0 h 37"/>
                  <a:gd name="T2" fmla="*/ 639195417 w 46"/>
                  <a:gd name="T3" fmla="*/ 2147483647 h 37"/>
                  <a:gd name="T4" fmla="*/ 1420567611 w 46"/>
                  <a:gd name="T5" fmla="*/ 2147483647 h 37"/>
                  <a:gd name="T6" fmla="*/ 2147483647 w 46"/>
                  <a:gd name="T7" fmla="*/ 2147483647 h 37"/>
                  <a:gd name="T8" fmla="*/ 2147483647 w 46"/>
                  <a:gd name="T9" fmla="*/ 2147483647 h 37"/>
                  <a:gd name="T10" fmla="*/ 2147483647 w 46"/>
                  <a:gd name="T11" fmla="*/ 2147483647 h 37"/>
                  <a:gd name="T12" fmla="*/ 2059763442 w 46"/>
                  <a:gd name="T13" fmla="*/ 2147483647 h 37"/>
                  <a:gd name="T14" fmla="*/ 1491570274 w 46"/>
                  <a:gd name="T15" fmla="*/ 2147483647 h 37"/>
                  <a:gd name="T16" fmla="*/ 923377520 w 46"/>
                  <a:gd name="T17" fmla="*/ 2147483647 h 37"/>
                  <a:gd name="T18" fmla="*/ 639195417 w 46"/>
                  <a:gd name="T19" fmla="*/ 2147483647 h 37"/>
                  <a:gd name="T20" fmla="*/ 497190091 w 46"/>
                  <a:gd name="T21" fmla="*/ 2147483647 h 37"/>
                  <a:gd name="T22" fmla="*/ 355184765 w 46"/>
                  <a:gd name="T23" fmla="*/ 2147483647 h 37"/>
                  <a:gd name="T24" fmla="*/ 213007989 w 46"/>
                  <a:gd name="T25" fmla="*/ 2147483647 h 37"/>
                  <a:gd name="T26" fmla="*/ 71002663 w 46"/>
                  <a:gd name="T27" fmla="*/ 2147483647 h 37"/>
                  <a:gd name="T28" fmla="*/ 0 w 46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37">
                    <a:moveTo>
                      <a:pt x="0" y="0"/>
                    </a:moveTo>
                    <a:lnTo>
                      <a:pt x="9" y="9"/>
                    </a:lnTo>
                    <a:lnTo>
                      <a:pt x="20" y="15"/>
                    </a:lnTo>
                    <a:lnTo>
                      <a:pt x="31" y="20"/>
                    </a:lnTo>
                    <a:lnTo>
                      <a:pt x="46" y="25"/>
                    </a:lnTo>
                    <a:lnTo>
                      <a:pt x="37" y="29"/>
                    </a:lnTo>
                    <a:lnTo>
                      <a:pt x="29" y="33"/>
                    </a:lnTo>
                    <a:lnTo>
                      <a:pt x="21" y="36"/>
                    </a:lnTo>
                    <a:lnTo>
                      <a:pt x="13" y="37"/>
                    </a:lnTo>
                    <a:lnTo>
                      <a:pt x="9" y="36"/>
                    </a:lnTo>
                    <a:lnTo>
                      <a:pt x="7" y="33"/>
                    </a:lnTo>
                    <a:lnTo>
                      <a:pt x="5" y="29"/>
                    </a:lnTo>
                    <a:lnTo>
                      <a:pt x="3" y="23"/>
                    </a:lnTo>
                    <a:lnTo>
                      <a:pt x="1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3" name="Freeform 314"/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13260655" y="4184222"/>
                <a:ext cx="11113" cy="57150"/>
              </a:xfrm>
              <a:custGeom>
                <a:avLst/>
                <a:gdLst>
                  <a:gd name="T0" fmla="*/ 0 w 26"/>
                  <a:gd name="T1" fmla="*/ 0 h 19"/>
                  <a:gd name="T2" fmla="*/ 2030239527 w 26"/>
                  <a:gd name="T3" fmla="*/ 2147483647 h 19"/>
                  <a:gd name="T4" fmla="*/ 2030239527 w 26"/>
                  <a:gd name="T5" fmla="*/ 2147483647 h 19"/>
                  <a:gd name="T6" fmla="*/ 2030239527 w 26"/>
                  <a:gd name="T7" fmla="*/ 0 h 19"/>
                  <a:gd name="T8" fmla="*/ 1171228562 w 26"/>
                  <a:gd name="T9" fmla="*/ 0 h 19"/>
                  <a:gd name="T10" fmla="*/ 0 w 26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19">
                    <a:moveTo>
                      <a:pt x="0" y="0"/>
                    </a:moveTo>
                    <a:lnTo>
                      <a:pt x="26" y="1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4" name="Freeform 315"/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13120955" y="4179460"/>
                <a:ext cx="19050" cy="58737"/>
              </a:xfrm>
              <a:custGeom>
                <a:avLst/>
                <a:gdLst>
                  <a:gd name="T0" fmla="*/ 173895045 w 43"/>
                  <a:gd name="T1" fmla="*/ 0 h 31"/>
                  <a:gd name="T2" fmla="*/ 86947301 w 43"/>
                  <a:gd name="T3" fmla="*/ 2147483647 h 31"/>
                  <a:gd name="T4" fmla="*/ 0 w 43"/>
                  <a:gd name="T5" fmla="*/ 2147483647 h 31"/>
                  <a:gd name="T6" fmla="*/ 0 w 43"/>
                  <a:gd name="T7" fmla="*/ 2147483647 h 31"/>
                  <a:gd name="T8" fmla="*/ 0 w 43"/>
                  <a:gd name="T9" fmla="*/ 2147483647 h 31"/>
                  <a:gd name="T10" fmla="*/ 0 w 43"/>
                  <a:gd name="T11" fmla="*/ 2147483647 h 31"/>
                  <a:gd name="T12" fmla="*/ 173895045 w 43"/>
                  <a:gd name="T13" fmla="*/ 2147483647 h 31"/>
                  <a:gd name="T14" fmla="*/ 1130316687 w 43"/>
                  <a:gd name="T15" fmla="*/ 2147483647 h 31"/>
                  <a:gd name="T16" fmla="*/ 2147483647 w 43"/>
                  <a:gd name="T17" fmla="*/ 2147483647 h 31"/>
                  <a:gd name="T18" fmla="*/ 2147483647 w 43"/>
                  <a:gd name="T19" fmla="*/ 2147483647 h 31"/>
                  <a:gd name="T20" fmla="*/ 2147483647 w 43"/>
                  <a:gd name="T21" fmla="*/ 0 h 31"/>
                  <a:gd name="T22" fmla="*/ 173895045 w 43"/>
                  <a:gd name="T23" fmla="*/ 0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3" h="31">
                    <a:moveTo>
                      <a:pt x="2" y="0"/>
                    </a:moveTo>
                    <a:lnTo>
                      <a:pt x="1" y="12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13" y="22"/>
                    </a:lnTo>
                    <a:lnTo>
                      <a:pt x="25" y="13"/>
                    </a:lnTo>
                    <a:lnTo>
                      <a:pt x="35" y="5"/>
                    </a:lnTo>
                    <a:lnTo>
                      <a:pt x="43" y="0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5" name="Freeform 316"/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13165405" y="4227085"/>
                <a:ext cx="30163" cy="57150"/>
              </a:xfrm>
              <a:custGeom>
                <a:avLst/>
                <a:gdLst>
                  <a:gd name="T0" fmla="*/ 306637908 w 71"/>
                  <a:gd name="T1" fmla="*/ 2147483647 h 49"/>
                  <a:gd name="T2" fmla="*/ 306637908 w 71"/>
                  <a:gd name="T3" fmla="*/ 2147483647 h 49"/>
                  <a:gd name="T4" fmla="*/ 383342417 w 71"/>
                  <a:gd name="T5" fmla="*/ 2147483647 h 49"/>
                  <a:gd name="T6" fmla="*/ 536751435 w 71"/>
                  <a:gd name="T7" fmla="*/ 2147483647 h 49"/>
                  <a:gd name="T8" fmla="*/ 689980324 w 71"/>
                  <a:gd name="T9" fmla="*/ 2147483647 h 49"/>
                  <a:gd name="T10" fmla="*/ 1073503294 w 71"/>
                  <a:gd name="T11" fmla="*/ 2147483647 h 49"/>
                  <a:gd name="T12" fmla="*/ 1380141202 w 71"/>
                  <a:gd name="T13" fmla="*/ 2147483647 h 49"/>
                  <a:gd name="T14" fmla="*/ 1763483618 w 71"/>
                  <a:gd name="T15" fmla="*/ 2147483647 h 49"/>
                  <a:gd name="T16" fmla="*/ 2147483647 w 71"/>
                  <a:gd name="T17" fmla="*/ 2147483647 h 49"/>
                  <a:gd name="T18" fmla="*/ 2147483647 w 71"/>
                  <a:gd name="T19" fmla="*/ 2147483647 h 49"/>
                  <a:gd name="T20" fmla="*/ 2147483647 w 71"/>
                  <a:gd name="T21" fmla="*/ 2147483647 h 49"/>
                  <a:gd name="T22" fmla="*/ 2147483647 w 71"/>
                  <a:gd name="T23" fmla="*/ 2147483647 h 49"/>
                  <a:gd name="T24" fmla="*/ 2147483647 w 71"/>
                  <a:gd name="T25" fmla="*/ 2147483647 h 49"/>
                  <a:gd name="T26" fmla="*/ 2147483647 w 71"/>
                  <a:gd name="T27" fmla="*/ 2147483647 h 49"/>
                  <a:gd name="T28" fmla="*/ 2147483647 w 71"/>
                  <a:gd name="T29" fmla="*/ 2147483647 h 49"/>
                  <a:gd name="T30" fmla="*/ 2147483647 w 71"/>
                  <a:gd name="T31" fmla="*/ 2147483647 h 49"/>
                  <a:gd name="T32" fmla="*/ 2147483647 w 71"/>
                  <a:gd name="T33" fmla="*/ 2147483647 h 49"/>
                  <a:gd name="T34" fmla="*/ 2147483647 w 71"/>
                  <a:gd name="T35" fmla="*/ 2147483647 h 49"/>
                  <a:gd name="T36" fmla="*/ 2147483647 w 71"/>
                  <a:gd name="T37" fmla="*/ 2147483647 h 49"/>
                  <a:gd name="T38" fmla="*/ 2147483647 w 71"/>
                  <a:gd name="T39" fmla="*/ 2147483647 h 49"/>
                  <a:gd name="T40" fmla="*/ 1610074176 w 71"/>
                  <a:gd name="T41" fmla="*/ 2147483647 h 49"/>
                  <a:gd name="T42" fmla="*/ 1073503294 w 71"/>
                  <a:gd name="T43" fmla="*/ 2147483647 h 49"/>
                  <a:gd name="T44" fmla="*/ 306637908 w 71"/>
                  <a:gd name="T45" fmla="*/ 0 h 49"/>
                  <a:gd name="T46" fmla="*/ 229933399 w 71"/>
                  <a:gd name="T47" fmla="*/ 1586130603 h 49"/>
                  <a:gd name="T48" fmla="*/ 76704509 w 71"/>
                  <a:gd name="T49" fmla="*/ 2147483647 h 49"/>
                  <a:gd name="T50" fmla="*/ 0 w 71"/>
                  <a:gd name="T51" fmla="*/ 2147483647 h 49"/>
                  <a:gd name="T52" fmla="*/ 0 w 71"/>
                  <a:gd name="T53" fmla="*/ 2147483647 h 49"/>
                  <a:gd name="T54" fmla="*/ 76704509 w 71"/>
                  <a:gd name="T55" fmla="*/ 2147483647 h 49"/>
                  <a:gd name="T56" fmla="*/ 306637908 w 71"/>
                  <a:gd name="T57" fmla="*/ 2147483647 h 4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1" h="49">
                    <a:moveTo>
                      <a:pt x="4" y="12"/>
                    </a:moveTo>
                    <a:lnTo>
                      <a:pt x="4" y="18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9" y="37"/>
                    </a:lnTo>
                    <a:lnTo>
                      <a:pt x="14" y="41"/>
                    </a:lnTo>
                    <a:lnTo>
                      <a:pt x="18" y="46"/>
                    </a:lnTo>
                    <a:lnTo>
                      <a:pt x="23" y="48"/>
                    </a:lnTo>
                    <a:lnTo>
                      <a:pt x="30" y="49"/>
                    </a:lnTo>
                    <a:lnTo>
                      <a:pt x="35" y="48"/>
                    </a:lnTo>
                    <a:lnTo>
                      <a:pt x="40" y="46"/>
                    </a:lnTo>
                    <a:lnTo>
                      <a:pt x="45" y="42"/>
                    </a:lnTo>
                    <a:lnTo>
                      <a:pt x="50" y="37"/>
                    </a:lnTo>
                    <a:lnTo>
                      <a:pt x="60" y="28"/>
                    </a:lnTo>
                    <a:lnTo>
                      <a:pt x="71" y="18"/>
                    </a:lnTo>
                    <a:lnTo>
                      <a:pt x="61" y="12"/>
                    </a:lnTo>
                    <a:lnTo>
                      <a:pt x="52" y="9"/>
                    </a:lnTo>
                    <a:lnTo>
                      <a:pt x="44" y="7"/>
                    </a:lnTo>
                    <a:lnTo>
                      <a:pt x="37" y="6"/>
                    </a:lnTo>
                    <a:lnTo>
                      <a:pt x="29" y="6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4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6" name="Freeform 317"/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12966968" y="4430285"/>
                <a:ext cx="46037" cy="58737"/>
              </a:xfrm>
              <a:custGeom>
                <a:avLst/>
                <a:gdLst>
                  <a:gd name="T0" fmla="*/ 2147483647 w 112"/>
                  <a:gd name="T1" fmla="*/ 2147483647 h 26"/>
                  <a:gd name="T2" fmla="*/ 2147483647 w 112"/>
                  <a:gd name="T3" fmla="*/ 2147483647 h 26"/>
                  <a:gd name="T4" fmla="*/ 2147483647 w 112"/>
                  <a:gd name="T5" fmla="*/ 2147483647 h 26"/>
                  <a:gd name="T6" fmla="*/ 2147483647 w 112"/>
                  <a:gd name="T7" fmla="*/ 2147483647 h 26"/>
                  <a:gd name="T8" fmla="*/ 2147483647 w 112"/>
                  <a:gd name="T9" fmla="*/ 2147483647 h 26"/>
                  <a:gd name="T10" fmla="*/ 2147483647 w 112"/>
                  <a:gd name="T11" fmla="*/ 2147483647 h 26"/>
                  <a:gd name="T12" fmla="*/ 2147483647 w 112"/>
                  <a:gd name="T13" fmla="*/ 2147483647 h 26"/>
                  <a:gd name="T14" fmla="*/ 2147483647 w 112"/>
                  <a:gd name="T15" fmla="*/ 2147483647 h 26"/>
                  <a:gd name="T16" fmla="*/ 2147483647 w 112"/>
                  <a:gd name="T17" fmla="*/ 2147483647 h 26"/>
                  <a:gd name="T18" fmla="*/ 2147483647 w 112"/>
                  <a:gd name="T19" fmla="*/ 2147483647 h 26"/>
                  <a:gd name="T20" fmla="*/ 2147483647 w 112"/>
                  <a:gd name="T21" fmla="*/ 2147483647 h 26"/>
                  <a:gd name="T22" fmla="*/ 2147483647 w 112"/>
                  <a:gd name="T23" fmla="*/ 2147483647 h 26"/>
                  <a:gd name="T24" fmla="*/ 2147483647 w 112"/>
                  <a:gd name="T25" fmla="*/ 2147483647 h 26"/>
                  <a:gd name="T26" fmla="*/ 2147483647 w 112"/>
                  <a:gd name="T27" fmla="*/ 2147483647 h 26"/>
                  <a:gd name="T28" fmla="*/ 2147483647 w 112"/>
                  <a:gd name="T29" fmla="*/ 2147483647 h 26"/>
                  <a:gd name="T30" fmla="*/ 2147483647 w 112"/>
                  <a:gd name="T31" fmla="*/ 2147483647 h 26"/>
                  <a:gd name="T32" fmla="*/ 2147483647 w 112"/>
                  <a:gd name="T33" fmla="*/ 2147483647 h 26"/>
                  <a:gd name="T34" fmla="*/ 1111234940 w 112"/>
                  <a:gd name="T35" fmla="*/ 2147483647 h 26"/>
                  <a:gd name="T36" fmla="*/ 0 w 112"/>
                  <a:gd name="T37" fmla="*/ 2147483647 h 26"/>
                  <a:gd name="T38" fmla="*/ 347208177 w 112"/>
                  <a:gd name="T39" fmla="*/ 2147483647 h 26"/>
                  <a:gd name="T40" fmla="*/ 763857824 w 112"/>
                  <a:gd name="T41" fmla="*/ 2147483647 h 26"/>
                  <a:gd name="T42" fmla="*/ 1250117882 w 112"/>
                  <a:gd name="T43" fmla="*/ 2147483647 h 26"/>
                  <a:gd name="T44" fmla="*/ 1736209412 w 112"/>
                  <a:gd name="T45" fmla="*/ 0 h 26"/>
                  <a:gd name="T46" fmla="*/ 2147483647 w 112"/>
                  <a:gd name="T47" fmla="*/ 2147483647 h 26"/>
                  <a:gd name="T48" fmla="*/ 2147483647 w 112"/>
                  <a:gd name="T49" fmla="*/ 2147483647 h 2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12" h="26">
                    <a:moveTo>
                      <a:pt x="46" y="2"/>
                    </a:moveTo>
                    <a:lnTo>
                      <a:pt x="56" y="2"/>
                    </a:lnTo>
                    <a:lnTo>
                      <a:pt x="66" y="3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2" y="9"/>
                    </a:lnTo>
                    <a:lnTo>
                      <a:pt x="100" y="12"/>
                    </a:lnTo>
                    <a:lnTo>
                      <a:pt x="106" y="16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5" y="23"/>
                    </a:lnTo>
                    <a:lnTo>
                      <a:pt x="101" y="25"/>
                    </a:lnTo>
                    <a:lnTo>
                      <a:pt x="95" y="25"/>
                    </a:lnTo>
                    <a:lnTo>
                      <a:pt x="87" y="26"/>
                    </a:lnTo>
                    <a:lnTo>
                      <a:pt x="79" y="26"/>
                    </a:lnTo>
                    <a:lnTo>
                      <a:pt x="66" y="24"/>
                    </a:lnTo>
                    <a:lnTo>
                      <a:pt x="41" y="19"/>
                    </a:lnTo>
                    <a:lnTo>
                      <a:pt x="16" y="13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2"/>
                    </a:lnTo>
                    <a:lnTo>
                      <a:pt x="18" y="1"/>
                    </a:lnTo>
                    <a:lnTo>
                      <a:pt x="25" y="0"/>
                    </a:lnTo>
                    <a:lnTo>
                      <a:pt x="37" y="1"/>
                    </a:lnTo>
                    <a:lnTo>
                      <a:pt x="46" y="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7" name="Freeform 318"/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13065393" y="4468385"/>
                <a:ext cx="14287" cy="58737"/>
              </a:xfrm>
              <a:custGeom>
                <a:avLst/>
                <a:gdLst>
                  <a:gd name="T0" fmla="*/ 0 w 41"/>
                  <a:gd name="T1" fmla="*/ 0 h 25"/>
                  <a:gd name="T2" fmla="*/ 1734824064 w 41"/>
                  <a:gd name="T3" fmla="*/ 0 h 25"/>
                  <a:gd name="T4" fmla="*/ 1184760974 w 41"/>
                  <a:gd name="T5" fmla="*/ 2147483647 h 25"/>
                  <a:gd name="T6" fmla="*/ 761588746 w 41"/>
                  <a:gd name="T7" fmla="*/ 2147483647 h 25"/>
                  <a:gd name="T8" fmla="*/ 380794199 w 41"/>
                  <a:gd name="T9" fmla="*/ 2147483647 h 25"/>
                  <a:gd name="T10" fmla="*/ 0 w 41"/>
                  <a:gd name="T11" fmla="*/ 2147483647 h 25"/>
                  <a:gd name="T12" fmla="*/ 0 w 41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1" h="25">
                    <a:moveTo>
                      <a:pt x="0" y="0"/>
                    </a:moveTo>
                    <a:lnTo>
                      <a:pt x="41" y="0"/>
                    </a:lnTo>
                    <a:lnTo>
                      <a:pt x="28" y="8"/>
                    </a:lnTo>
                    <a:lnTo>
                      <a:pt x="18" y="15"/>
                    </a:lnTo>
                    <a:lnTo>
                      <a:pt x="9" y="20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8" name="Freeform 319"/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12898705" y="4400122"/>
                <a:ext cx="36513" cy="55563"/>
              </a:xfrm>
              <a:custGeom>
                <a:avLst/>
                <a:gdLst>
                  <a:gd name="T0" fmla="*/ 0 w 81"/>
                  <a:gd name="T1" fmla="*/ 2147483647 h 31"/>
                  <a:gd name="T2" fmla="*/ 0 w 81"/>
                  <a:gd name="T3" fmla="*/ 2147483647 h 31"/>
                  <a:gd name="T4" fmla="*/ 0 w 81"/>
                  <a:gd name="T5" fmla="*/ 2147483647 h 31"/>
                  <a:gd name="T6" fmla="*/ 0 w 81"/>
                  <a:gd name="T7" fmla="*/ 2147483647 h 31"/>
                  <a:gd name="T8" fmla="*/ 183287146 w 81"/>
                  <a:gd name="T9" fmla="*/ 2147483647 h 31"/>
                  <a:gd name="T10" fmla="*/ 274727418 w 81"/>
                  <a:gd name="T11" fmla="*/ 2147483647 h 31"/>
                  <a:gd name="T12" fmla="*/ 366370540 w 81"/>
                  <a:gd name="T13" fmla="*/ 2147483647 h 31"/>
                  <a:gd name="T14" fmla="*/ 732741532 w 81"/>
                  <a:gd name="T15" fmla="*/ 2147483647 h 31"/>
                  <a:gd name="T16" fmla="*/ 1282399218 w 81"/>
                  <a:gd name="T17" fmla="*/ 0 h 31"/>
                  <a:gd name="T18" fmla="*/ 2147483647 w 81"/>
                  <a:gd name="T19" fmla="*/ 2147483647 h 31"/>
                  <a:gd name="T20" fmla="*/ 2147483647 w 81"/>
                  <a:gd name="T21" fmla="*/ 2147483647 h 31"/>
                  <a:gd name="T22" fmla="*/ 2147483647 w 81"/>
                  <a:gd name="T23" fmla="*/ 2147483647 h 31"/>
                  <a:gd name="T24" fmla="*/ 2147483647 w 81"/>
                  <a:gd name="T25" fmla="*/ 2147483647 h 31"/>
                  <a:gd name="T26" fmla="*/ 2147483647 w 81"/>
                  <a:gd name="T27" fmla="*/ 2147483647 h 31"/>
                  <a:gd name="T28" fmla="*/ 2147483647 w 81"/>
                  <a:gd name="T29" fmla="*/ 2147483647 h 31"/>
                  <a:gd name="T30" fmla="*/ 2147483647 w 81"/>
                  <a:gd name="T31" fmla="*/ 2147483647 h 31"/>
                  <a:gd name="T32" fmla="*/ 2147483647 w 81"/>
                  <a:gd name="T33" fmla="*/ 2147483647 h 31"/>
                  <a:gd name="T34" fmla="*/ 2147483647 w 81"/>
                  <a:gd name="T35" fmla="*/ 2147483647 h 31"/>
                  <a:gd name="T36" fmla="*/ 2147483647 w 81"/>
                  <a:gd name="T37" fmla="*/ 2147483647 h 31"/>
                  <a:gd name="T38" fmla="*/ 2147483647 w 81"/>
                  <a:gd name="T39" fmla="*/ 2147483647 h 31"/>
                  <a:gd name="T40" fmla="*/ 2147483647 w 81"/>
                  <a:gd name="T41" fmla="*/ 2147483647 h 31"/>
                  <a:gd name="T42" fmla="*/ 2147483647 w 81"/>
                  <a:gd name="T43" fmla="*/ 2147483647 h 31"/>
                  <a:gd name="T44" fmla="*/ 2147483647 w 81"/>
                  <a:gd name="T45" fmla="*/ 2147483647 h 31"/>
                  <a:gd name="T46" fmla="*/ 0 w 81"/>
                  <a:gd name="T47" fmla="*/ 2147483647 h 3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81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lnTo>
                      <a:pt x="41" y="1"/>
                    </a:lnTo>
                    <a:lnTo>
                      <a:pt x="56" y="1"/>
                    </a:lnTo>
                    <a:lnTo>
                      <a:pt x="65" y="1"/>
                    </a:lnTo>
                    <a:lnTo>
                      <a:pt x="73" y="1"/>
                    </a:lnTo>
                    <a:lnTo>
                      <a:pt x="81" y="1"/>
                    </a:lnTo>
                    <a:lnTo>
                      <a:pt x="73" y="6"/>
                    </a:lnTo>
                    <a:lnTo>
                      <a:pt x="67" y="10"/>
                    </a:lnTo>
                    <a:lnTo>
                      <a:pt x="64" y="14"/>
                    </a:lnTo>
                    <a:lnTo>
                      <a:pt x="62" y="18"/>
                    </a:lnTo>
                    <a:lnTo>
                      <a:pt x="59" y="21"/>
                    </a:lnTo>
                    <a:lnTo>
                      <a:pt x="54" y="23"/>
                    </a:lnTo>
                    <a:lnTo>
                      <a:pt x="47" y="25"/>
                    </a:lnTo>
                    <a:lnTo>
                      <a:pt x="34" y="25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9" name="Freeform 320"/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12943155" y="4385835"/>
                <a:ext cx="39688" cy="55562"/>
              </a:xfrm>
              <a:custGeom>
                <a:avLst/>
                <a:gdLst>
                  <a:gd name="T0" fmla="*/ 177379496 w 89"/>
                  <a:gd name="T1" fmla="*/ 2147483647 h 49"/>
                  <a:gd name="T2" fmla="*/ 2147483647 w 89"/>
                  <a:gd name="T3" fmla="*/ 2147483647 h 49"/>
                  <a:gd name="T4" fmla="*/ 2147483647 w 89"/>
                  <a:gd name="T5" fmla="*/ 2147483647 h 49"/>
                  <a:gd name="T6" fmla="*/ 2147483647 w 89"/>
                  <a:gd name="T7" fmla="*/ 2147483647 h 49"/>
                  <a:gd name="T8" fmla="*/ 2147483647 w 89"/>
                  <a:gd name="T9" fmla="*/ 2147483647 h 49"/>
                  <a:gd name="T10" fmla="*/ 2147483647 w 89"/>
                  <a:gd name="T11" fmla="*/ 2147483647 h 49"/>
                  <a:gd name="T12" fmla="*/ 2147483647 w 89"/>
                  <a:gd name="T13" fmla="*/ 2147483647 h 49"/>
                  <a:gd name="T14" fmla="*/ 2147483647 w 89"/>
                  <a:gd name="T15" fmla="*/ 2147483647 h 49"/>
                  <a:gd name="T16" fmla="*/ 1418836635 w 89"/>
                  <a:gd name="T17" fmla="*/ 2147483647 h 49"/>
                  <a:gd name="T18" fmla="*/ 798008400 w 89"/>
                  <a:gd name="T19" fmla="*/ 0 h 49"/>
                  <a:gd name="T20" fmla="*/ 354758992 w 89"/>
                  <a:gd name="T21" fmla="*/ 2147483647 h 49"/>
                  <a:gd name="T22" fmla="*/ 88689748 w 89"/>
                  <a:gd name="T23" fmla="*/ 2147483647 h 49"/>
                  <a:gd name="T24" fmla="*/ 0 w 89"/>
                  <a:gd name="T25" fmla="*/ 2147483647 h 49"/>
                  <a:gd name="T26" fmla="*/ 0 w 89"/>
                  <a:gd name="T27" fmla="*/ 2147483647 h 49"/>
                  <a:gd name="T28" fmla="*/ 0 w 89"/>
                  <a:gd name="T29" fmla="*/ 2147483647 h 49"/>
                  <a:gd name="T30" fmla="*/ 177379496 w 89"/>
                  <a:gd name="T31" fmla="*/ 2147483647 h 4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49">
                    <a:moveTo>
                      <a:pt x="2" y="49"/>
                    </a:moveTo>
                    <a:lnTo>
                      <a:pt x="89" y="49"/>
                    </a:lnTo>
                    <a:lnTo>
                      <a:pt x="78" y="41"/>
                    </a:lnTo>
                    <a:lnTo>
                      <a:pt x="68" y="35"/>
                    </a:lnTo>
                    <a:lnTo>
                      <a:pt x="57" y="30"/>
                    </a:lnTo>
                    <a:lnTo>
                      <a:pt x="46" y="25"/>
                    </a:lnTo>
                    <a:lnTo>
                      <a:pt x="36" y="21"/>
                    </a:lnTo>
                    <a:lnTo>
                      <a:pt x="26" y="14"/>
                    </a:lnTo>
                    <a:lnTo>
                      <a:pt x="16" y="8"/>
                    </a:lnTo>
                    <a:lnTo>
                      <a:pt x="9" y="0"/>
                    </a:lnTo>
                    <a:lnTo>
                      <a:pt x="4" y="10"/>
                    </a:lnTo>
                    <a:lnTo>
                      <a:pt x="1" y="23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0" name="Freeform 321"/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12995543" y="4395360"/>
                <a:ext cx="36512" cy="58737"/>
              </a:xfrm>
              <a:custGeom>
                <a:avLst/>
                <a:gdLst>
                  <a:gd name="T0" fmla="*/ 0 w 86"/>
                  <a:gd name="T1" fmla="*/ 2147483647 h 46"/>
                  <a:gd name="T2" fmla="*/ 1071403882 w 86"/>
                  <a:gd name="T3" fmla="*/ 2147483647 h 46"/>
                  <a:gd name="T4" fmla="*/ 1913169362 w 86"/>
                  <a:gd name="T5" fmla="*/ 2147483647 h 46"/>
                  <a:gd name="T6" fmla="*/ 2147483647 w 86"/>
                  <a:gd name="T7" fmla="*/ 2147483647 h 46"/>
                  <a:gd name="T8" fmla="*/ 2147483647 w 86"/>
                  <a:gd name="T9" fmla="*/ 2147483647 h 46"/>
                  <a:gd name="T10" fmla="*/ 2147483647 w 86"/>
                  <a:gd name="T11" fmla="*/ 2147483647 h 46"/>
                  <a:gd name="T12" fmla="*/ 2147483647 w 86"/>
                  <a:gd name="T13" fmla="*/ 2147483647 h 46"/>
                  <a:gd name="T14" fmla="*/ 2147483647 w 86"/>
                  <a:gd name="T15" fmla="*/ 2147483647 h 46"/>
                  <a:gd name="T16" fmla="*/ 2147483647 w 86"/>
                  <a:gd name="T17" fmla="*/ 2147483647 h 46"/>
                  <a:gd name="T18" fmla="*/ 2147483647 w 86"/>
                  <a:gd name="T19" fmla="*/ 2147483647 h 46"/>
                  <a:gd name="T20" fmla="*/ 2147483647 w 86"/>
                  <a:gd name="T21" fmla="*/ 2147483647 h 46"/>
                  <a:gd name="T22" fmla="*/ 2147483647 w 86"/>
                  <a:gd name="T23" fmla="*/ 2147483647 h 46"/>
                  <a:gd name="T24" fmla="*/ 2147483647 w 86"/>
                  <a:gd name="T25" fmla="*/ 2147483647 h 46"/>
                  <a:gd name="T26" fmla="*/ 2147483647 w 86"/>
                  <a:gd name="T27" fmla="*/ 2147483647 h 46"/>
                  <a:gd name="T28" fmla="*/ 2147483647 w 86"/>
                  <a:gd name="T29" fmla="*/ 2147483647 h 46"/>
                  <a:gd name="T30" fmla="*/ 2147483647 w 86"/>
                  <a:gd name="T31" fmla="*/ 2147483647 h 46"/>
                  <a:gd name="T32" fmla="*/ 2147483647 w 86"/>
                  <a:gd name="T33" fmla="*/ 2147483647 h 46"/>
                  <a:gd name="T34" fmla="*/ 2147483647 w 86"/>
                  <a:gd name="T35" fmla="*/ 2147483647 h 46"/>
                  <a:gd name="T36" fmla="*/ 2147483647 w 86"/>
                  <a:gd name="T37" fmla="*/ 2147483647 h 46"/>
                  <a:gd name="T38" fmla="*/ 2147483647 w 86"/>
                  <a:gd name="T39" fmla="*/ 2147483647 h 46"/>
                  <a:gd name="T40" fmla="*/ 2147483647 w 86"/>
                  <a:gd name="T41" fmla="*/ 2082086192 h 46"/>
                  <a:gd name="T42" fmla="*/ 2147483647 w 86"/>
                  <a:gd name="T43" fmla="*/ 0 h 46"/>
                  <a:gd name="T44" fmla="*/ 2147483647 w 86"/>
                  <a:gd name="T45" fmla="*/ 0 h 46"/>
                  <a:gd name="T46" fmla="*/ 1989775359 w 86"/>
                  <a:gd name="T47" fmla="*/ 2082086192 h 46"/>
                  <a:gd name="T48" fmla="*/ 1454073842 w 86"/>
                  <a:gd name="T49" fmla="*/ 2147483647 h 46"/>
                  <a:gd name="T50" fmla="*/ 1071403882 w 86"/>
                  <a:gd name="T51" fmla="*/ 2147483647 h 46"/>
                  <a:gd name="T52" fmla="*/ 612127501 w 86"/>
                  <a:gd name="T53" fmla="*/ 2147483647 h 46"/>
                  <a:gd name="T54" fmla="*/ 306063963 w 86"/>
                  <a:gd name="T55" fmla="*/ 2147483647 h 46"/>
                  <a:gd name="T56" fmla="*/ 0 w 86"/>
                  <a:gd name="T57" fmla="*/ 2147483647 h 4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6" h="46">
                    <a:moveTo>
                      <a:pt x="0" y="21"/>
                    </a:moveTo>
                    <a:lnTo>
                      <a:pt x="14" y="26"/>
                    </a:lnTo>
                    <a:lnTo>
                      <a:pt x="25" y="29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1" y="29"/>
                    </a:lnTo>
                    <a:lnTo>
                      <a:pt x="46" y="27"/>
                    </a:lnTo>
                    <a:lnTo>
                      <a:pt x="46" y="36"/>
                    </a:lnTo>
                    <a:lnTo>
                      <a:pt x="46" y="46"/>
                    </a:lnTo>
                    <a:lnTo>
                      <a:pt x="56" y="45"/>
                    </a:lnTo>
                    <a:lnTo>
                      <a:pt x="67" y="43"/>
                    </a:lnTo>
                    <a:lnTo>
                      <a:pt x="77" y="40"/>
                    </a:lnTo>
                    <a:lnTo>
                      <a:pt x="86" y="40"/>
                    </a:lnTo>
                    <a:lnTo>
                      <a:pt x="83" y="32"/>
                    </a:lnTo>
                    <a:lnTo>
                      <a:pt x="80" y="25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4" y="9"/>
                    </a:lnTo>
                    <a:lnTo>
                      <a:pt x="58" y="6"/>
                    </a:lnTo>
                    <a:lnTo>
                      <a:pt x="51" y="3"/>
                    </a:lnTo>
                    <a:lnTo>
                      <a:pt x="46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6" y="1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4" y="15"/>
                    </a:lnTo>
                    <a:lnTo>
                      <a:pt x="0" y="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1" name="Freeform 322"/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13047930" y="4400122"/>
                <a:ext cx="25400" cy="55563"/>
              </a:xfrm>
              <a:custGeom>
                <a:avLst/>
                <a:gdLst>
                  <a:gd name="T0" fmla="*/ 0 w 59"/>
                  <a:gd name="T1" fmla="*/ 0 h 18"/>
                  <a:gd name="T2" fmla="*/ 0 w 59"/>
                  <a:gd name="T3" fmla="*/ 2147483647 h 18"/>
                  <a:gd name="T4" fmla="*/ 2147483647 w 59"/>
                  <a:gd name="T5" fmla="*/ 2147483647 h 18"/>
                  <a:gd name="T6" fmla="*/ 2147483647 w 59"/>
                  <a:gd name="T7" fmla="*/ 2147483647 h 18"/>
                  <a:gd name="T8" fmla="*/ 2147483647 w 59"/>
                  <a:gd name="T9" fmla="*/ 2147483647 h 18"/>
                  <a:gd name="T10" fmla="*/ 2147483647 w 59"/>
                  <a:gd name="T11" fmla="*/ 2147483647 h 18"/>
                  <a:gd name="T12" fmla="*/ 2147483647 w 59"/>
                  <a:gd name="T13" fmla="*/ 2147483647 h 18"/>
                  <a:gd name="T14" fmla="*/ 2147483647 w 59"/>
                  <a:gd name="T15" fmla="*/ 2147483647 h 18"/>
                  <a:gd name="T16" fmla="*/ 1755332007 w 59"/>
                  <a:gd name="T17" fmla="*/ 2147483647 h 18"/>
                  <a:gd name="T18" fmla="*/ 1117029576 w 59"/>
                  <a:gd name="T19" fmla="*/ 2147483647 h 18"/>
                  <a:gd name="T20" fmla="*/ 558607563 w 59"/>
                  <a:gd name="T21" fmla="*/ 2147483647 h 18"/>
                  <a:gd name="T22" fmla="*/ 0 w 59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9" h="18">
                    <a:moveTo>
                      <a:pt x="0" y="0"/>
                    </a:moveTo>
                    <a:lnTo>
                      <a:pt x="0" y="18"/>
                    </a:lnTo>
                    <a:lnTo>
                      <a:pt x="39" y="18"/>
                    </a:lnTo>
                    <a:lnTo>
                      <a:pt x="59" y="6"/>
                    </a:lnTo>
                    <a:lnTo>
                      <a:pt x="51" y="5"/>
                    </a:lnTo>
                    <a:lnTo>
                      <a:pt x="45" y="4"/>
                    </a:lnTo>
                    <a:lnTo>
                      <a:pt x="37" y="5"/>
                    </a:lnTo>
                    <a:lnTo>
                      <a:pt x="29" y="6"/>
                    </a:lnTo>
                    <a:lnTo>
                      <a:pt x="22" y="6"/>
                    </a:lnTo>
                    <a:lnTo>
                      <a:pt x="14" y="5"/>
                    </a:lnTo>
                    <a:lnTo>
                      <a:pt x="7" y="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2" name="Freeform 323"/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13120955" y="4392185"/>
                <a:ext cx="1588" cy="55562"/>
              </a:xfrm>
              <a:custGeom>
                <a:avLst/>
                <a:gdLst>
                  <a:gd name="T0" fmla="*/ 250283092 w 4"/>
                  <a:gd name="T1" fmla="*/ 2147483647 h 19"/>
                  <a:gd name="T2" fmla="*/ 250283092 w 4"/>
                  <a:gd name="T3" fmla="*/ 0 h 19"/>
                  <a:gd name="T4" fmla="*/ 125141546 w 4"/>
                  <a:gd name="T5" fmla="*/ 2147483647 h 19"/>
                  <a:gd name="T6" fmla="*/ 62570773 w 4"/>
                  <a:gd name="T7" fmla="*/ 2147483647 h 19"/>
                  <a:gd name="T8" fmla="*/ 0 w 4"/>
                  <a:gd name="T9" fmla="*/ 2147483647 h 19"/>
                  <a:gd name="T10" fmla="*/ 0 w 4"/>
                  <a:gd name="T11" fmla="*/ 2147483647 h 19"/>
                  <a:gd name="T12" fmla="*/ 0 w 4"/>
                  <a:gd name="T13" fmla="*/ 2147483647 h 19"/>
                  <a:gd name="T14" fmla="*/ 62570773 w 4"/>
                  <a:gd name="T15" fmla="*/ 2147483647 h 19"/>
                  <a:gd name="T16" fmla="*/ 125141546 w 4"/>
                  <a:gd name="T17" fmla="*/ 2147483647 h 19"/>
                  <a:gd name="T18" fmla="*/ 250283092 w 4"/>
                  <a:gd name="T19" fmla="*/ 2147483647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6"/>
                    </a:lnTo>
                    <a:lnTo>
                      <a:pt x="2" y="19"/>
                    </a:lnTo>
                    <a:lnTo>
                      <a:pt x="4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3" name="Freeform 324"/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12695505" y="4206447"/>
                <a:ext cx="20638" cy="58738"/>
              </a:xfrm>
              <a:custGeom>
                <a:avLst/>
                <a:gdLst>
                  <a:gd name="T0" fmla="*/ 0 w 46"/>
                  <a:gd name="T1" fmla="*/ 2147483647 h 50"/>
                  <a:gd name="T2" fmla="*/ 632247822 w 46"/>
                  <a:gd name="T3" fmla="*/ 0 h 50"/>
                  <a:gd name="T4" fmla="*/ 2077098948 w 46"/>
                  <a:gd name="T5" fmla="*/ 2147483647 h 50"/>
                  <a:gd name="T6" fmla="*/ 2147483647 w 46"/>
                  <a:gd name="T7" fmla="*/ 2147483647 h 50"/>
                  <a:gd name="T8" fmla="*/ 2147483647 w 46"/>
                  <a:gd name="T9" fmla="*/ 2147483647 h 50"/>
                  <a:gd name="T10" fmla="*/ 2147483647 w 46"/>
                  <a:gd name="T11" fmla="*/ 2147483647 h 50"/>
                  <a:gd name="T12" fmla="*/ 2147483647 w 46"/>
                  <a:gd name="T13" fmla="*/ 2147483647 h 50"/>
                  <a:gd name="T14" fmla="*/ 2147483647 w 46"/>
                  <a:gd name="T15" fmla="*/ 2147483647 h 50"/>
                  <a:gd name="T16" fmla="*/ 2147483647 w 46"/>
                  <a:gd name="T17" fmla="*/ 2147483647 h 50"/>
                  <a:gd name="T18" fmla="*/ 1896542918 w 46"/>
                  <a:gd name="T19" fmla="*/ 2147483647 h 50"/>
                  <a:gd name="T20" fmla="*/ 722425563 w 46"/>
                  <a:gd name="T21" fmla="*/ 2147483647 h 50"/>
                  <a:gd name="T22" fmla="*/ 0 w 46"/>
                  <a:gd name="T23" fmla="*/ 2147483647 h 5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6" h="50">
                    <a:moveTo>
                      <a:pt x="0" y="50"/>
                    </a:moveTo>
                    <a:lnTo>
                      <a:pt x="7" y="0"/>
                    </a:lnTo>
                    <a:lnTo>
                      <a:pt x="23" y="8"/>
                    </a:lnTo>
                    <a:lnTo>
                      <a:pt x="34" y="14"/>
                    </a:lnTo>
                    <a:lnTo>
                      <a:pt x="37" y="18"/>
                    </a:lnTo>
                    <a:lnTo>
                      <a:pt x="41" y="22"/>
                    </a:lnTo>
                    <a:lnTo>
                      <a:pt x="44" y="30"/>
                    </a:lnTo>
                    <a:lnTo>
                      <a:pt x="46" y="38"/>
                    </a:lnTo>
                    <a:lnTo>
                      <a:pt x="34" y="42"/>
                    </a:lnTo>
                    <a:lnTo>
                      <a:pt x="21" y="46"/>
                    </a:lnTo>
                    <a:lnTo>
                      <a:pt x="8" y="49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4" name="Freeform 325"/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12641530" y="4179460"/>
                <a:ext cx="30163" cy="58737"/>
              </a:xfrm>
              <a:custGeom>
                <a:avLst/>
                <a:gdLst>
                  <a:gd name="T0" fmla="*/ 0 w 66"/>
                  <a:gd name="T1" fmla="*/ 0 h 80"/>
                  <a:gd name="T2" fmla="*/ 954503108 w 66"/>
                  <a:gd name="T3" fmla="*/ 0 h 80"/>
                  <a:gd name="T4" fmla="*/ 1718105960 w 66"/>
                  <a:gd name="T5" fmla="*/ 0 h 80"/>
                  <a:gd name="T6" fmla="*/ 2147483647 w 66"/>
                  <a:gd name="T7" fmla="*/ 0 h 80"/>
                  <a:gd name="T8" fmla="*/ 2147483647 w 66"/>
                  <a:gd name="T9" fmla="*/ 0 h 80"/>
                  <a:gd name="T10" fmla="*/ 2147483647 w 66"/>
                  <a:gd name="T11" fmla="*/ 2147483647 h 80"/>
                  <a:gd name="T12" fmla="*/ 2147483647 w 66"/>
                  <a:gd name="T13" fmla="*/ 2147483647 h 80"/>
                  <a:gd name="T14" fmla="*/ 2147483647 w 66"/>
                  <a:gd name="T15" fmla="*/ 2147483647 h 80"/>
                  <a:gd name="T16" fmla="*/ 2147483647 w 66"/>
                  <a:gd name="T17" fmla="*/ 2147483647 h 80"/>
                  <a:gd name="T18" fmla="*/ 2147483647 w 66"/>
                  <a:gd name="T19" fmla="*/ 2147483647 h 80"/>
                  <a:gd name="T20" fmla="*/ 2147483647 w 66"/>
                  <a:gd name="T21" fmla="*/ 2147483647 h 80"/>
                  <a:gd name="T22" fmla="*/ 2147483647 w 66"/>
                  <a:gd name="T23" fmla="*/ 2147483647 h 80"/>
                  <a:gd name="T24" fmla="*/ 2147483647 w 66"/>
                  <a:gd name="T25" fmla="*/ 2147483647 h 80"/>
                  <a:gd name="T26" fmla="*/ 2147483647 w 66"/>
                  <a:gd name="T27" fmla="*/ 2147483647 h 80"/>
                  <a:gd name="T28" fmla="*/ 2147483647 w 66"/>
                  <a:gd name="T29" fmla="*/ 2147483647 h 80"/>
                  <a:gd name="T30" fmla="*/ 2147483647 w 66"/>
                  <a:gd name="T31" fmla="*/ 2147483647 h 80"/>
                  <a:gd name="T32" fmla="*/ 2147483647 w 66"/>
                  <a:gd name="T33" fmla="*/ 2147483647 h 80"/>
                  <a:gd name="T34" fmla="*/ 0 w 66"/>
                  <a:gd name="T35" fmla="*/ 2147483647 h 80"/>
                  <a:gd name="T36" fmla="*/ 0 w 66"/>
                  <a:gd name="T37" fmla="*/ 0 h 8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6" h="80">
                    <a:moveTo>
                      <a:pt x="0" y="0"/>
                    </a:moveTo>
                    <a:lnTo>
                      <a:pt x="10" y="0"/>
                    </a:lnTo>
                    <a:lnTo>
                      <a:pt x="18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7"/>
                    </a:lnTo>
                    <a:lnTo>
                      <a:pt x="34" y="14"/>
                    </a:lnTo>
                    <a:lnTo>
                      <a:pt x="36" y="21"/>
                    </a:lnTo>
                    <a:lnTo>
                      <a:pt x="38" y="27"/>
                    </a:lnTo>
                    <a:lnTo>
                      <a:pt x="44" y="36"/>
                    </a:lnTo>
                    <a:lnTo>
                      <a:pt x="49" y="45"/>
                    </a:lnTo>
                    <a:lnTo>
                      <a:pt x="56" y="52"/>
                    </a:lnTo>
                    <a:lnTo>
                      <a:pt x="61" y="60"/>
                    </a:lnTo>
                    <a:lnTo>
                      <a:pt x="62" y="65"/>
                    </a:lnTo>
                    <a:lnTo>
                      <a:pt x="65" y="69"/>
                    </a:lnTo>
                    <a:lnTo>
                      <a:pt x="66" y="75"/>
                    </a:lnTo>
                    <a:lnTo>
                      <a:pt x="66" y="80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5" name="Freeform 326"/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12476430" y="4163585"/>
                <a:ext cx="7938" cy="57150"/>
              </a:xfrm>
              <a:custGeom>
                <a:avLst/>
                <a:gdLst>
                  <a:gd name="T0" fmla="*/ 1250469965 w 20"/>
                  <a:gd name="T1" fmla="*/ 2147483647 h 48"/>
                  <a:gd name="T2" fmla="*/ 1250469965 w 20"/>
                  <a:gd name="T3" fmla="*/ 2147483647 h 48"/>
                  <a:gd name="T4" fmla="*/ 1187930829 w 20"/>
                  <a:gd name="T5" fmla="*/ 2147483647 h 48"/>
                  <a:gd name="T6" fmla="*/ 1000313024 w 20"/>
                  <a:gd name="T7" fmla="*/ 2147483647 h 48"/>
                  <a:gd name="T8" fmla="*/ 875391924 w 20"/>
                  <a:gd name="T9" fmla="*/ 2147483647 h 48"/>
                  <a:gd name="T10" fmla="*/ 750313652 w 20"/>
                  <a:gd name="T11" fmla="*/ 2147483647 h 48"/>
                  <a:gd name="T12" fmla="*/ 562695846 w 20"/>
                  <a:gd name="T13" fmla="*/ 2147483647 h 48"/>
                  <a:gd name="T14" fmla="*/ 250156941 w 20"/>
                  <a:gd name="T15" fmla="*/ 2147483647 h 48"/>
                  <a:gd name="T16" fmla="*/ 0 w 20"/>
                  <a:gd name="T17" fmla="*/ 0 h 48"/>
                  <a:gd name="T18" fmla="*/ 0 w 20"/>
                  <a:gd name="T19" fmla="*/ 2147483647 h 48"/>
                  <a:gd name="T20" fmla="*/ 125078669 w 20"/>
                  <a:gd name="T21" fmla="*/ 2147483647 h 48"/>
                  <a:gd name="T22" fmla="*/ 250156941 w 20"/>
                  <a:gd name="T23" fmla="*/ 2147483647 h 48"/>
                  <a:gd name="T24" fmla="*/ 500156710 w 20"/>
                  <a:gd name="T25" fmla="*/ 2147483647 h 48"/>
                  <a:gd name="T26" fmla="*/ 875391924 w 20"/>
                  <a:gd name="T27" fmla="*/ 2147483647 h 48"/>
                  <a:gd name="T28" fmla="*/ 1250469965 w 20"/>
                  <a:gd name="T29" fmla="*/ 2147483647 h 4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0" h="48">
                    <a:moveTo>
                      <a:pt x="20" y="48"/>
                    </a:moveTo>
                    <a:lnTo>
                      <a:pt x="20" y="39"/>
                    </a:lnTo>
                    <a:lnTo>
                      <a:pt x="19" y="32"/>
                    </a:lnTo>
                    <a:lnTo>
                      <a:pt x="16" y="25"/>
                    </a:lnTo>
                    <a:lnTo>
                      <a:pt x="14" y="19"/>
                    </a:lnTo>
                    <a:lnTo>
                      <a:pt x="12" y="14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7"/>
                    </a:lnTo>
                    <a:lnTo>
                      <a:pt x="4" y="24"/>
                    </a:lnTo>
                    <a:lnTo>
                      <a:pt x="8" y="31"/>
                    </a:lnTo>
                    <a:lnTo>
                      <a:pt x="14" y="41"/>
                    </a:lnTo>
                    <a:lnTo>
                      <a:pt x="20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6" name="Line 327" descr="Horizontal dunkel"/>
              <p:cNvSpPr>
                <a:spLocks noChangeShapeType="1"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12501830" y="4200097"/>
                <a:ext cx="4763" cy="6350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7" name="Freeform 328"/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12498655" y="4200097"/>
                <a:ext cx="7938" cy="57150"/>
              </a:xfrm>
              <a:custGeom>
                <a:avLst/>
                <a:gdLst>
                  <a:gd name="T0" fmla="*/ 1250469965 w 20"/>
                  <a:gd name="T1" fmla="*/ 2147483647 h 12"/>
                  <a:gd name="T2" fmla="*/ 1250469965 w 20"/>
                  <a:gd name="T3" fmla="*/ 2147483647 h 12"/>
                  <a:gd name="T4" fmla="*/ 1125391693 w 20"/>
                  <a:gd name="T5" fmla="*/ 2147483647 h 12"/>
                  <a:gd name="T6" fmla="*/ 937931457 w 20"/>
                  <a:gd name="T7" fmla="*/ 2147483647 h 12"/>
                  <a:gd name="T8" fmla="*/ 812852788 w 20"/>
                  <a:gd name="T9" fmla="*/ 2147483647 h 12"/>
                  <a:gd name="T10" fmla="*/ 437617177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20" y="8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8" name="Freeform 329"/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12400230" y="4044522"/>
                <a:ext cx="22225" cy="57150"/>
              </a:xfrm>
              <a:custGeom>
                <a:avLst/>
                <a:gdLst>
                  <a:gd name="T0" fmla="*/ 516107273 w 53"/>
                  <a:gd name="T1" fmla="*/ 0 h 30"/>
                  <a:gd name="T2" fmla="*/ 811176437 w 53"/>
                  <a:gd name="T3" fmla="*/ 2147483647 h 30"/>
                  <a:gd name="T4" fmla="*/ 1696032103 w 53"/>
                  <a:gd name="T5" fmla="*/ 2147483647 h 30"/>
                  <a:gd name="T6" fmla="*/ 2147483647 w 53"/>
                  <a:gd name="T7" fmla="*/ 2147483647 h 30"/>
                  <a:gd name="T8" fmla="*/ 2147483647 w 53"/>
                  <a:gd name="T9" fmla="*/ 2147483647 h 30"/>
                  <a:gd name="T10" fmla="*/ 2147483647 w 53"/>
                  <a:gd name="T11" fmla="*/ 2147483647 h 30"/>
                  <a:gd name="T12" fmla="*/ 2147483647 w 53"/>
                  <a:gd name="T13" fmla="*/ 2147483647 h 30"/>
                  <a:gd name="T14" fmla="*/ 2147483647 w 53"/>
                  <a:gd name="T15" fmla="*/ 2147483647 h 30"/>
                  <a:gd name="T16" fmla="*/ 1917245915 w 53"/>
                  <a:gd name="T17" fmla="*/ 2147483647 h 30"/>
                  <a:gd name="T18" fmla="*/ 1548497521 w 53"/>
                  <a:gd name="T19" fmla="*/ 2147483647 h 30"/>
                  <a:gd name="T20" fmla="*/ 1106069478 w 53"/>
                  <a:gd name="T21" fmla="*/ 2147483647 h 30"/>
                  <a:gd name="T22" fmla="*/ 663641855 w 53"/>
                  <a:gd name="T23" fmla="*/ 2147483647 h 30"/>
                  <a:gd name="T24" fmla="*/ 0 w 53"/>
                  <a:gd name="T25" fmla="*/ 2147483647 h 30"/>
                  <a:gd name="T26" fmla="*/ 516107273 w 53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3" h="30">
                    <a:moveTo>
                      <a:pt x="7" y="0"/>
                    </a:moveTo>
                    <a:lnTo>
                      <a:pt x="11" y="4"/>
                    </a:lnTo>
                    <a:lnTo>
                      <a:pt x="23" y="13"/>
                    </a:lnTo>
                    <a:lnTo>
                      <a:pt x="37" y="23"/>
                    </a:lnTo>
                    <a:lnTo>
                      <a:pt x="46" y="30"/>
                    </a:lnTo>
                    <a:lnTo>
                      <a:pt x="49" y="18"/>
                    </a:lnTo>
                    <a:lnTo>
                      <a:pt x="53" y="6"/>
                    </a:lnTo>
                    <a:lnTo>
                      <a:pt x="37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9" name="Freeform 330"/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12928868" y="4408060"/>
                <a:ext cx="11112" cy="57150"/>
              </a:xfrm>
              <a:custGeom>
                <a:avLst/>
                <a:gdLst>
                  <a:gd name="T0" fmla="*/ 0 w 33"/>
                  <a:gd name="T1" fmla="*/ 2147483647 h 31"/>
                  <a:gd name="T2" fmla="*/ 152730063 w 33"/>
                  <a:gd name="T3" fmla="*/ 2147483647 h 31"/>
                  <a:gd name="T4" fmla="*/ 267248988 w 33"/>
                  <a:gd name="T5" fmla="*/ 2147483647 h 31"/>
                  <a:gd name="T6" fmla="*/ 839958100 w 33"/>
                  <a:gd name="T7" fmla="*/ 2147483647 h 31"/>
                  <a:gd name="T8" fmla="*/ 1259936814 w 33"/>
                  <a:gd name="T9" fmla="*/ 2147483647 h 31"/>
                  <a:gd name="T10" fmla="*/ 1259936814 w 33"/>
                  <a:gd name="T11" fmla="*/ 0 h 31"/>
                  <a:gd name="T12" fmla="*/ 1030898627 w 33"/>
                  <a:gd name="T13" fmla="*/ 0 h 31"/>
                  <a:gd name="T14" fmla="*/ 725438839 w 33"/>
                  <a:gd name="T15" fmla="*/ 0 h 31"/>
                  <a:gd name="T16" fmla="*/ 381768249 w 33"/>
                  <a:gd name="T17" fmla="*/ 0 h 31"/>
                  <a:gd name="T18" fmla="*/ 0 w 33"/>
                  <a:gd name="T19" fmla="*/ 0 h 31"/>
                  <a:gd name="T20" fmla="*/ 0 w 33"/>
                  <a:gd name="T21" fmla="*/ 2147483647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6"/>
                    </a:moveTo>
                    <a:lnTo>
                      <a:pt x="4" y="21"/>
                    </a:lnTo>
                    <a:lnTo>
                      <a:pt x="7" y="31"/>
                    </a:lnTo>
                    <a:lnTo>
                      <a:pt x="22" y="31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0" name="Freeform 331"/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13444805" y="4365197"/>
                <a:ext cx="28575" cy="55563"/>
              </a:xfrm>
              <a:custGeom>
                <a:avLst/>
                <a:gdLst>
                  <a:gd name="T0" fmla="*/ 1614314731 w 65"/>
                  <a:gd name="T1" fmla="*/ 2147483647 h 68"/>
                  <a:gd name="T2" fmla="*/ 1359402871 w 65"/>
                  <a:gd name="T3" fmla="*/ 2147483647 h 68"/>
                  <a:gd name="T4" fmla="*/ 1189525815 w 65"/>
                  <a:gd name="T5" fmla="*/ 2147483647 h 68"/>
                  <a:gd name="T6" fmla="*/ 934613515 w 65"/>
                  <a:gd name="T7" fmla="*/ 2147483647 h 68"/>
                  <a:gd name="T8" fmla="*/ 594666412 w 65"/>
                  <a:gd name="T9" fmla="*/ 2147483647 h 68"/>
                  <a:gd name="T10" fmla="*/ 339754112 w 65"/>
                  <a:gd name="T11" fmla="*/ 2147483647 h 68"/>
                  <a:gd name="T12" fmla="*/ 169877056 w 65"/>
                  <a:gd name="T13" fmla="*/ 2147483647 h 68"/>
                  <a:gd name="T14" fmla="*/ 0 w 65"/>
                  <a:gd name="T15" fmla="*/ 2147483647 h 68"/>
                  <a:gd name="T16" fmla="*/ 0 w 65"/>
                  <a:gd name="T17" fmla="*/ 2147483647 h 68"/>
                  <a:gd name="T18" fmla="*/ 0 w 65"/>
                  <a:gd name="T19" fmla="*/ 2147483647 h 68"/>
                  <a:gd name="T20" fmla="*/ 169877056 w 65"/>
                  <a:gd name="T21" fmla="*/ 2147483647 h 68"/>
                  <a:gd name="T22" fmla="*/ 424789356 w 65"/>
                  <a:gd name="T23" fmla="*/ 2147483647 h 68"/>
                  <a:gd name="T24" fmla="*/ 764736459 w 65"/>
                  <a:gd name="T25" fmla="*/ 2147483647 h 68"/>
                  <a:gd name="T26" fmla="*/ 1274367628 w 65"/>
                  <a:gd name="T27" fmla="*/ 2147483647 h 68"/>
                  <a:gd name="T28" fmla="*/ 1869227031 w 65"/>
                  <a:gd name="T29" fmla="*/ 2147483647 h 68"/>
                  <a:gd name="T30" fmla="*/ 2147483647 w 65"/>
                  <a:gd name="T31" fmla="*/ 1090951724 h 68"/>
                  <a:gd name="T32" fmla="*/ 2147483647 w 65"/>
                  <a:gd name="T33" fmla="*/ 0 h 68"/>
                  <a:gd name="T34" fmla="*/ 2147483647 w 65"/>
                  <a:gd name="T35" fmla="*/ 0 h 68"/>
                  <a:gd name="T36" fmla="*/ 2147483647 w 65"/>
                  <a:gd name="T37" fmla="*/ 0 h 68"/>
                  <a:gd name="T38" fmla="*/ 2147483647 w 65"/>
                  <a:gd name="T39" fmla="*/ 2147483647 h 68"/>
                  <a:gd name="T40" fmla="*/ 2147483647 w 65"/>
                  <a:gd name="T41" fmla="*/ 2147483647 h 68"/>
                  <a:gd name="T42" fmla="*/ 2147483647 w 65"/>
                  <a:gd name="T43" fmla="*/ 2147483647 h 68"/>
                  <a:gd name="T44" fmla="*/ 2147483647 w 65"/>
                  <a:gd name="T45" fmla="*/ 2147483647 h 68"/>
                  <a:gd name="T46" fmla="*/ 2147483647 w 65"/>
                  <a:gd name="T47" fmla="*/ 2147483647 h 68"/>
                  <a:gd name="T48" fmla="*/ 2147483647 w 65"/>
                  <a:gd name="T49" fmla="*/ 2147483647 h 68"/>
                  <a:gd name="T50" fmla="*/ 1614314731 w 65"/>
                  <a:gd name="T51" fmla="*/ 2147483647 h 6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5" h="68">
                    <a:moveTo>
                      <a:pt x="19" y="68"/>
                    </a:moveTo>
                    <a:lnTo>
                      <a:pt x="16" y="68"/>
                    </a:lnTo>
                    <a:lnTo>
                      <a:pt x="14" y="66"/>
                    </a:lnTo>
                    <a:lnTo>
                      <a:pt x="11" y="64"/>
                    </a:lnTo>
                    <a:lnTo>
                      <a:pt x="7" y="61"/>
                    </a:lnTo>
                    <a:lnTo>
                      <a:pt x="4" y="59"/>
                    </a:lnTo>
                    <a:lnTo>
                      <a:pt x="2" y="55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5" y="21"/>
                    </a:lnTo>
                    <a:lnTo>
                      <a:pt x="9" y="14"/>
                    </a:lnTo>
                    <a:lnTo>
                      <a:pt x="15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9" y="0"/>
                    </a:lnTo>
                    <a:lnTo>
                      <a:pt x="52" y="0"/>
                    </a:lnTo>
                    <a:lnTo>
                      <a:pt x="65" y="0"/>
                    </a:lnTo>
                    <a:lnTo>
                      <a:pt x="65" y="43"/>
                    </a:lnTo>
                    <a:lnTo>
                      <a:pt x="56" y="52"/>
                    </a:lnTo>
                    <a:lnTo>
                      <a:pt x="45" y="61"/>
                    </a:lnTo>
                    <a:lnTo>
                      <a:pt x="39" y="64"/>
                    </a:lnTo>
                    <a:lnTo>
                      <a:pt x="34" y="66"/>
                    </a:lnTo>
                    <a:lnTo>
                      <a:pt x="27" y="68"/>
                    </a:lnTo>
                    <a:lnTo>
                      <a:pt x="19" y="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1" name="Freeform 332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12382768" y="3947685"/>
                <a:ext cx="274637" cy="368300"/>
              </a:xfrm>
              <a:custGeom>
                <a:avLst/>
                <a:gdLst>
                  <a:gd name="T0" fmla="*/ 2147483647 w 625"/>
                  <a:gd name="T1" fmla="*/ 2147483647 h 694"/>
                  <a:gd name="T2" fmla="*/ 2147483647 w 625"/>
                  <a:gd name="T3" fmla="*/ 2147483647 h 694"/>
                  <a:gd name="T4" fmla="*/ 2147483647 w 625"/>
                  <a:gd name="T5" fmla="*/ 2147483647 h 694"/>
                  <a:gd name="T6" fmla="*/ 2147483647 w 625"/>
                  <a:gd name="T7" fmla="*/ 2147483647 h 694"/>
                  <a:gd name="T8" fmla="*/ 2147483647 w 625"/>
                  <a:gd name="T9" fmla="*/ 2147483647 h 694"/>
                  <a:gd name="T10" fmla="*/ 2147483647 w 625"/>
                  <a:gd name="T11" fmla="*/ 2147483647 h 694"/>
                  <a:gd name="T12" fmla="*/ 2147483647 w 625"/>
                  <a:gd name="T13" fmla="*/ 2147483647 h 694"/>
                  <a:gd name="T14" fmla="*/ 2147483647 w 625"/>
                  <a:gd name="T15" fmla="*/ 2147483647 h 694"/>
                  <a:gd name="T16" fmla="*/ 2147483647 w 625"/>
                  <a:gd name="T17" fmla="*/ 2147483647 h 694"/>
                  <a:gd name="T18" fmla="*/ 2147483647 w 625"/>
                  <a:gd name="T19" fmla="*/ 2147483647 h 694"/>
                  <a:gd name="T20" fmla="*/ 2147483647 w 625"/>
                  <a:gd name="T21" fmla="*/ 2147483647 h 694"/>
                  <a:gd name="T22" fmla="*/ 2147483647 w 625"/>
                  <a:gd name="T23" fmla="*/ 2147483647 h 694"/>
                  <a:gd name="T24" fmla="*/ 2147483647 w 625"/>
                  <a:gd name="T25" fmla="*/ 2147483647 h 694"/>
                  <a:gd name="T26" fmla="*/ 2147483647 w 625"/>
                  <a:gd name="T27" fmla="*/ 2147483647 h 694"/>
                  <a:gd name="T28" fmla="*/ 2147483647 w 625"/>
                  <a:gd name="T29" fmla="*/ 2147483647 h 694"/>
                  <a:gd name="T30" fmla="*/ 2147483647 w 625"/>
                  <a:gd name="T31" fmla="*/ 2147483647 h 694"/>
                  <a:gd name="T32" fmla="*/ 2147483647 w 625"/>
                  <a:gd name="T33" fmla="*/ 2147483647 h 694"/>
                  <a:gd name="T34" fmla="*/ 2147483647 w 625"/>
                  <a:gd name="T35" fmla="*/ 2147483647 h 694"/>
                  <a:gd name="T36" fmla="*/ 2147483647 w 625"/>
                  <a:gd name="T37" fmla="*/ 2147483647 h 694"/>
                  <a:gd name="T38" fmla="*/ 2147483647 w 625"/>
                  <a:gd name="T39" fmla="*/ 2147483647 h 694"/>
                  <a:gd name="T40" fmla="*/ 2147483647 w 625"/>
                  <a:gd name="T41" fmla="*/ 2147483647 h 694"/>
                  <a:gd name="T42" fmla="*/ 2147483647 w 625"/>
                  <a:gd name="T43" fmla="*/ 2147483647 h 694"/>
                  <a:gd name="T44" fmla="*/ 2147483647 w 625"/>
                  <a:gd name="T45" fmla="*/ 2147483647 h 694"/>
                  <a:gd name="T46" fmla="*/ 2147483647 w 625"/>
                  <a:gd name="T47" fmla="*/ 2147483647 h 694"/>
                  <a:gd name="T48" fmla="*/ 2147483647 w 625"/>
                  <a:gd name="T49" fmla="*/ 2147483647 h 694"/>
                  <a:gd name="T50" fmla="*/ 2147483647 w 625"/>
                  <a:gd name="T51" fmla="*/ 2147483647 h 694"/>
                  <a:gd name="T52" fmla="*/ 2147483647 w 625"/>
                  <a:gd name="T53" fmla="*/ 2147483647 h 694"/>
                  <a:gd name="T54" fmla="*/ 2147483647 w 625"/>
                  <a:gd name="T55" fmla="*/ 2147483647 h 694"/>
                  <a:gd name="T56" fmla="*/ 2147483647 w 625"/>
                  <a:gd name="T57" fmla="*/ 2147483647 h 694"/>
                  <a:gd name="T58" fmla="*/ 2147483647 w 625"/>
                  <a:gd name="T59" fmla="*/ 2147483647 h 694"/>
                  <a:gd name="T60" fmla="*/ 2147483647 w 625"/>
                  <a:gd name="T61" fmla="*/ 2147483647 h 694"/>
                  <a:gd name="T62" fmla="*/ 2147483647 w 625"/>
                  <a:gd name="T63" fmla="*/ 2147483647 h 694"/>
                  <a:gd name="T64" fmla="*/ 2147483647 w 625"/>
                  <a:gd name="T65" fmla="*/ 2147483647 h 694"/>
                  <a:gd name="T66" fmla="*/ 2147483647 w 625"/>
                  <a:gd name="T67" fmla="*/ 2147483647 h 694"/>
                  <a:gd name="T68" fmla="*/ 1951552945 w 625"/>
                  <a:gd name="T69" fmla="*/ 2147483647 h 694"/>
                  <a:gd name="T70" fmla="*/ 424217053 w 625"/>
                  <a:gd name="T71" fmla="*/ 2147483647 h 694"/>
                  <a:gd name="T72" fmla="*/ 848434107 w 625"/>
                  <a:gd name="T73" fmla="*/ 597907985 h 694"/>
                  <a:gd name="T74" fmla="*/ 2147483647 w 625"/>
                  <a:gd name="T75" fmla="*/ 1942990531 h 694"/>
                  <a:gd name="T76" fmla="*/ 2147483647 w 625"/>
                  <a:gd name="T77" fmla="*/ 2147483647 h 694"/>
                  <a:gd name="T78" fmla="*/ 2147483647 w 625"/>
                  <a:gd name="T79" fmla="*/ 2147483647 h 694"/>
                  <a:gd name="T80" fmla="*/ 2147483647 w 625"/>
                  <a:gd name="T81" fmla="*/ 2147483647 h 694"/>
                  <a:gd name="T82" fmla="*/ 2147483647 w 625"/>
                  <a:gd name="T83" fmla="*/ 2147483647 h 694"/>
                  <a:gd name="T84" fmla="*/ 2147483647 w 625"/>
                  <a:gd name="T85" fmla="*/ 2147483647 h 694"/>
                  <a:gd name="T86" fmla="*/ 2147483647 w 625"/>
                  <a:gd name="T87" fmla="*/ 2147483647 h 694"/>
                  <a:gd name="T88" fmla="*/ 2147483647 w 625"/>
                  <a:gd name="T89" fmla="*/ 2147483647 h 694"/>
                  <a:gd name="T90" fmla="*/ 2147483647 w 625"/>
                  <a:gd name="T91" fmla="*/ 2147483647 h 694"/>
                  <a:gd name="T92" fmla="*/ 2147483647 w 625"/>
                  <a:gd name="T93" fmla="*/ 2147483647 h 694"/>
                  <a:gd name="T94" fmla="*/ 2147483647 w 625"/>
                  <a:gd name="T95" fmla="*/ 2147483647 h 694"/>
                  <a:gd name="T96" fmla="*/ 2147483647 w 625"/>
                  <a:gd name="T97" fmla="*/ 2147483647 h 694"/>
                  <a:gd name="T98" fmla="*/ 2147483647 w 625"/>
                  <a:gd name="T99" fmla="*/ 2147483647 h 694"/>
                  <a:gd name="T100" fmla="*/ 2147483647 w 625"/>
                  <a:gd name="T101" fmla="*/ 2147483647 h 6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625" h="694">
                    <a:moveTo>
                      <a:pt x="433" y="265"/>
                    </a:moveTo>
                    <a:lnTo>
                      <a:pt x="512" y="333"/>
                    </a:lnTo>
                    <a:lnTo>
                      <a:pt x="502" y="337"/>
                    </a:lnTo>
                    <a:lnTo>
                      <a:pt x="493" y="341"/>
                    </a:lnTo>
                    <a:lnTo>
                      <a:pt x="489" y="341"/>
                    </a:lnTo>
                    <a:lnTo>
                      <a:pt x="484" y="341"/>
                    </a:lnTo>
                    <a:lnTo>
                      <a:pt x="481" y="341"/>
                    </a:lnTo>
                    <a:lnTo>
                      <a:pt x="479" y="339"/>
                    </a:lnTo>
                    <a:lnTo>
                      <a:pt x="479" y="382"/>
                    </a:lnTo>
                    <a:lnTo>
                      <a:pt x="493" y="392"/>
                    </a:lnTo>
                    <a:lnTo>
                      <a:pt x="507" y="402"/>
                    </a:lnTo>
                    <a:lnTo>
                      <a:pt x="515" y="404"/>
                    </a:lnTo>
                    <a:lnTo>
                      <a:pt x="524" y="406"/>
                    </a:lnTo>
                    <a:lnTo>
                      <a:pt x="528" y="405"/>
                    </a:lnTo>
                    <a:lnTo>
                      <a:pt x="534" y="405"/>
                    </a:lnTo>
                    <a:lnTo>
                      <a:pt x="539" y="403"/>
                    </a:lnTo>
                    <a:lnTo>
                      <a:pt x="545" y="402"/>
                    </a:lnTo>
                    <a:lnTo>
                      <a:pt x="550" y="424"/>
                    </a:lnTo>
                    <a:lnTo>
                      <a:pt x="554" y="443"/>
                    </a:lnTo>
                    <a:lnTo>
                      <a:pt x="558" y="451"/>
                    </a:lnTo>
                    <a:lnTo>
                      <a:pt x="560" y="459"/>
                    </a:lnTo>
                    <a:lnTo>
                      <a:pt x="563" y="465"/>
                    </a:lnTo>
                    <a:lnTo>
                      <a:pt x="568" y="470"/>
                    </a:lnTo>
                    <a:lnTo>
                      <a:pt x="572" y="474"/>
                    </a:lnTo>
                    <a:lnTo>
                      <a:pt x="576" y="478"/>
                    </a:lnTo>
                    <a:lnTo>
                      <a:pt x="582" y="481"/>
                    </a:lnTo>
                    <a:lnTo>
                      <a:pt x="588" y="483"/>
                    </a:lnTo>
                    <a:lnTo>
                      <a:pt x="596" y="485"/>
                    </a:lnTo>
                    <a:lnTo>
                      <a:pt x="605" y="486"/>
                    </a:lnTo>
                    <a:lnTo>
                      <a:pt x="614" y="487"/>
                    </a:lnTo>
                    <a:lnTo>
                      <a:pt x="625" y="487"/>
                    </a:lnTo>
                    <a:lnTo>
                      <a:pt x="625" y="496"/>
                    </a:lnTo>
                    <a:lnTo>
                      <a:pt x="625" y="505"/>
                    </a:lnTo>
                    <a:lnTo>
                      <a:pt x="625" y="515"/>
                    </a:lnTo>
                    <a:lnTo>
                      <a:pt x="625" y="525"/>
                    </a:lnTo>
                    <a:lnTo>
                      <a:pt x="625" y="539"/>
                    </a:lnTo>
                    <a:lnTo>
                      <a:pt x="622" y="557"/>
                    </a:lnTo>
                    <a:lnTo>
                      <a:pt x="620" y="579"/>
                    </a:lnTo>
                    <a:lnTo>
                      <a:pt x="618" y="603"/>
                    </a:lnTo>
                    <a:lnTo>
                      <a:pt x="616" y="628"/>
                    </a:lnTo>
                    <a:lnTo>
                      <a:pt x="614" y="651"/>
                    </a:lnTo>
                    <a:lnTo>
                      <a:pt x="611" y="672"/>
                    </a:lnTo>
                    <a:lnTo>
                      <a:pt x="611" y="691"/>
                    </a:lnTo>
                    <a:lnTo>
                      <a:pt x="582" y="692"/>
                    </a:lnTo>
                    <a:lnTo>
                      <a:pt x="562" y="693"/>
                    </a:lnTo>
                    <a:lnTo>
                      <a:pt x="553" y="694"/>
                    </a:lnTo>
                    <a:lnTo>
                      <a:pt x="546" y="693"/>
                    </a:lnTo>
                    <a:lnTo>
                      <a:pt x="539" y="693"/>
                    </a:lnTo>
                    <a:lnTo>
                      <a:pt x="531" y="691"/>
                    </a:lnTo>
                    <a:lnTo>
                      <a:pt x="392" y="567"/>
                    </a:lnTo>
                    <a:lnTo>
                      <a:pt x="394" y="564"/>
                    </a:lnTo>
                    <a:lnTo>
                      <a:pt x="396" y="560"/>
                    </a:lnTo>
                    <a:lnTo>
                      <a:pt x="397" y="556"/>
                    </a:lnTo>
                    <a:lnTo>
                      <a:pt x="397" y="552"/>
                    </a:lnTo>
                    <a:lnTo>
                      <a:pt x="397" y="547"/>
                    </a:lnTo>
                    <a:lnTo>
                      <a:pt x="396" y="543"/>
                    </a:lnTo>
                    <a:lnTo>
                      <a:pt x="394" y="539"/>
                    </a:lnTo>
                    <a:lnTo>
                      <a:pt x="392" y="537"/>
                    </a:lnTo>
                    <a:lnTo>
                      <a:pt x="366" y="513"/>
                    </a:lnTo>
                    <a:lnTo>
                      <a:pt x="338" y="488"/>
                    </a:lnTo>
                    <a:lnTo>
                      <a:pt x="326" y="476"/>
                    </a:lnTo>
                    <a:lnTo>
                      <a:pt x="315" y="465"/>
                    </a:lnTo>
                    <a:lnTo>
                      <a:pt x="305" y="453"/>
                    </a:lnTo>
                    <a:lnTo>
                      <a:pt x="300" y="444"/>
                    </a:lnTo>
                    <a:lnTo>
                      <a:pt x="295" y="432"/>
                    </a:lnTo>
                    <a:lnTo>
                      <a:pt x="293" y="419"/>
                    </a:lnTo>
                    <a:lnTo>
                      <a:pt x="292" y="407"/>
                    </a:lnTo>
                    <a:lnTo>
                      <a:pt x="292" y="393"/>
                    </a:lnTo>
                    <a:lnTo>
                      <a:pt x="291" y="381"/>
                    </a:lnTo>
                    <a:lnTo>
                      <a:pt x="289" y="370"/>
                    </a:lnTo>
                    <a:lnTo>
                      <a:pt x="288" y="365"/>
                    </a:lnTo>
                    <a:lnTo>
                      <a:pt x="285" y="360"/>
                    </a:lnTo>
                    <a:lnTo>
                      <a:pt x="282" y="356"/>
                    </a:lnTo>
                    <a:lnTo>
                      <a:pt x="279" y="352"/>
                    </a:lnTo>
                    <a:lnTo>
                      <a:pt x="268" y="342"/>
                    </a:lnTo>
                    <a:lnTo>
                      <a:pt x="258" y="332"/>
                    </a:lnTo>
                    <a:lnTo>
                      <a:pt x="249" y="321"/>
                    </a:lnTo>
                    <a:lnTo>
                      <a:pt x="241" y="310"/>
                    </a:lnTo>
                    <a:lnTo>
                      <a:pt x="235" y="297"/>
                    </a:lnTo>
                    <a:lnTo>
                      <a:pt x="229" y="283"/>
                    </a:lnTo>
                    <a:lnTo>
                      <a:pt x="224" y="269"/>
                    </a:lnTo>
                    <a:lnTo>
                      <a:pt x="220" y="253"/>
                    </a:lnTo>
                    <a:lnTo>
                      <a:pt x="216" y="246"/>
                    </a:lnTo>
                    <a:lnTo>
                      <a:pt x="213" y="238"/>
                    </a:lnTo>
                    <a:lnTo>
                      <a:pt x="207" y="231"/>
                    </a:lnTo>
                    <a:lnTo>
                      <a:pt x="202" y="224"/>
                    </a:lnTo>
                    <a:lnTo>
                      <a:pt x="190" y="212"/>
                    </a:lnTo>
                    <a:lnTo>
                      <a:pt x="177" y="199"/>
                    </a:lnTo>
                    <a:lnTo>
                      <a:pt x="162" y="187"/>
                    </a:lnTo>
                    <a:lnTo>
                      <a:pt x="150" y="171"/>
                    </a:lnTo>
                    <a:lnTo>
                      <a:pt x="145" y="164"/>
                    </a:lnTo>
                    <a:lnTo>
                      <a:pt x="140" y="155"/>
                    </a:lnTo>
                    <a:lnTo>
                      <a:pt x="136" y="146"/>
                    </a:lnTo>
                    <a:lnTo>
                      <a:pt x="133" y="136"/>
                    </a:lnTo>
                    <a:lnTo>
                      <a:pt x="123" y="135"/>
                    </a:lnTo>
                    <a:lnTo>
                      <a:pt x="112" y="132"/>
                    </a:lnTo>
                    <a:lnTo>
                      <a:pt x="102" y="128"/>
                    </a:lnTo>
                    <a:lnTo>
                      <a:pt x="91" y="121"/>
                    </a:lnTo>
                    <a:lnTo>
                      <a:pt x="80" y="113"/>
                    </a:lnTo>
                    <a:lnTo>
                      <a:pt x="69" y="104"/>
                    </a:lnTo>
                    <a:lnTo>
                      <a:pt x="59" y="95"/>
                    </a:lnTo>
                    <a:lnTo>
                      <a:pt x="49" y="85"/>
                    </a:lnTo>
                    <a:lnTo>
                      <a:pt x="39" y="74"/>
                    </a:lnTo>
                    <a:lnTo>
                      <a:pt x="31" y="62"/>
                    </a:lnTo>
                    <a:lnTo>
                      <a:pt x="23" y="51"/>
                    </a:lnTo>
                    <a:lnTo>
                      <a:pt x="16" y="40"/>
                    </a:lnTo>
                    <a:lnTo>
                      <a:pt x="10" y="29"/>
                    </a:lnTo>
                    <a:lnTo>
                      <a:pt x="5" y="19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0" y="7"/>
                    </a:lnTo>
                    <a:lnTo>
                      <a:pt x="28" y="10"/>
                    </a:lnTo>
                    <a:lnTo>
                      <a:pt x="37" y="13"/>
                    </a:lnTo>
                    <a:lnTo>
                      <a:pt x="54" y="15"/>
                    </a:lnTo>
                    <a:lnTo>
                      <a:pt x="69" y="16"/>
                    </a:lnTo>
                    <a:lnTo>
                      <a:pt x="84" y="16"/>
                    </a:lnTo>
                    <a:lnTo>
                      <a:pt x="100" y="17"/>
                    </a:lnTo>
                    <a:lnTo>
                      <a:pt x="108" y="19"/>
                    </a:lnTo>
                    <a:lnTo>
                      <a:pt x="116" y="20"/>
                    </a:lnTo>
                    <a:lnTo>
                      <a:pt x="124" y="22"/>
                    </a:lnTo>
                    <a:lnTo>
                      <a:pt x="133" y="25"/>
                    </a:lnTo>
                    <a:lnTo>
                      <a:pt x="138" y="27"/>
                    </a:lnTo>
                    <a:lnTo>
                      <a:pt x="144" y="31"/>
                    </a:lnTo>
                    <a:lnTo>
                      <a:pt x="149" y="36"/>
                    </a:lnTo>
                    <a:lnTo>
                      <a:pt x="156" y="42"/>
                    </a:lnTo>
                    <a:lnTo>
                      <a:pt x="169" y="57"/>
                    </a:lnTo>
                    <a:lnTo>
                      <a:pt x="181" y="76"/>
                    </a:lnTo>
                    <a:lnTo>
                      <a:pt x="204" y="109"/>
                    </a:lnTo>
                    <a:lnTo>
                      <a:pt x="220" y="130"/>
                    </a:lnTo>
                    <a:lnTo>
                      <a:pt x="237" y="147"/>
                    </a:lnTo>
                    <a:lnTo>
                      <a:pt x="254" y="163"/>
                    </a:lnTo>
                    <a:lnTo>
                      <a:pt x="271" y="181"/>
                    </a:lnTo>
                    <a:lnTo>
                      <a:pt x="289" y="196"/>
                    </a:lnTo>
                    <a:lnTo>
                      <a:pt x="299" y="202"/>
                    </a:lnTo>
                    <a:lnTo>
                      <a:pt x="308" y="209"/>
                    </a:lnTo>
                    <a:lnTo>
                      <a:pt x="318" y="214"/>
                    </a:lnTo>
                    <a:lnTo>
                      <a:pt x="329" y="219"/>
                    </a:lnTo>
                    <a:lnTo>
                      <a:pt x="341" y="223"/>
                    </a:lnTo>
                    <a:lnTo>
                      <a:pt x="353" y="226"/>
                    </a:lnTo>
                    <a:lnTo>
                      <a:pt x="366" y="227"/>
                    </a:lnTo>
                    <a:lnTo>
                      <a:pt x="379" y="228"/>
                    </a:lnTo>
                    <a:lnTo>
                      <a:pt x="383" y="229"/>
                    </a:lnTo>
                    <a:lnTo>
                      <a:pt x="388" y="230"/>
                    </a:lnTo>
                    <a:lnTo>
                      <a:pt x="392" y="231"/>
                    </a:lnTo>
                    <a:lnTo>
                      <a:pt x="395" y="235"/>
                    </a:lnTo>
                    <a:lnTo>
                      <a:pt x="401" y="241"/>
                    </a:lnTo>
                    <a:lnTo>
                      <a:pt x="405" y="247"/>
                    </a:lnTo>
                    <a:lnTo>
                      <a:pt x="411" y="254"/>
                    </a:lnTo>
                    <a:lnTo>
                      <a:pt x="416" y="260"/>
                    </a:lnTo>
                    <a:lnTo>
                      <a:pt x="419" y="262"/>
                    </a:lnTo>
                    <a:lnTo>
                      <a:pt x="423" y="264"/>
                    </a:lnTo>
                    <a:lnTo>
                      <a:pt x="427" y="265"/>
                    </a:lnTo>
                    <a:lnTo>
                      <a:pt x="433" y="26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2" name="Freeform 333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12724080" y="3996897"/>
                <a:ext cx="254000" cy="257175"/>
              </a:xfrm>
              <a:custGeom>
                <a:avLst/>
                <a:gdLst>
                  <a:gd name="T0" fmla="*/ 2147483647 w 585"/>
                  <a:gd name="T1" fmla="*/ 2147483647 h 493"/>
                  <a:gd name="T2" fmla="*/ 2147483647 w 585"/>
                  <a:gd name="T3" fmla="*/ 2147483647 h 493"/>
                  <a:gd name="T4" fmla="*/ 2147483647 w 585"/>
                  <a:gd name="T5" fmla="*/ 2147483647 h 493"/>
                  <a:gd name="T6" fmla="*/ 2147483647 w 585"/>
                  <a:gd name="T7" fmla="*/ 2147483647 h 493"/>
                  <a:gd name="T8" fmla="*/ 2147483647 w 585"/>
                  <a:gd name="T9" fmla="*/ 2147483647 h 493"/>
                  <a:gd name="T10" fmla="*/ 2147483647 w 585"/>
                  <a:gd name="T11" fmla="*/ 2147483647 h 493"/>
                  <a:gd name="T12" fmla="*/ 2147483647 w 585"/>
                  <a:gd name="T13" fmla="*/ 2147483647 h 493"/>
                  <a:gd name="T14" fmla="*/ 2147483647 w 585"/>
                  <a:gd name="T15" fmla="*/ 2147483647 h 493"/>
                  <a:gd name="T16" fmla="*/ 2147483647 w 585"/>
                  <a:gd name="T17" fmla="*/ 2147483647 h 493"/>
                  <a:gd name="T18" fmla="*/ 2147483647 w 585"/>
                  <a:gd name="T19" fmla="*/ 2147483647 h 493"/>
                  <a:gd name="T20" fmla="*/ 2147483647 w 585"/>
                  <a:gd name="T21" fmla="*/ 2147483647 h 493"/>
                  <a:gd name="T22" fmla="*/ 2147483647 w 585"/>
                  <a:gd name="T23" fmla="*/ 2147483647 h 493"/>
                  <a:gd name="T24" fmla="*/ 2147483647 w 585"/>
                  <a:gd name="T25" fmla="*/ 2147483647 h 493"/>
                  <a:gd name="T26" fmla="*/ 2147483647 w 585"/>
                  <a:gd name="T27" fmla="*/ 2147483647 h 493"/>
                  <a:gd name="T28" fmla="*/ 2147483647 w 585"/>
                  <a:gd name="T29" fmla="*/ 2147483647 h 493"/>
                  <a:gd name="T30" fmla="*/ 2147483647 w 585"/>
                  <a:gd name="T31" fmla="*/ 2147483647 h 493"/>
                  <a:gd name="T32" fmla="*/ 2147483647 w 585"/>
                  <a:gd name="T33" fmla="*/ 2147483647 h 493"/>
                  <a:gd name="T34" fmla="*/ 2147483647 w 585"/>
                  <a:gd name="T35" fmla="*/ 2147483647 h 493"/>
                  <a:gd name="T36" fmla="*/ 2147483647 w 585"/>
                  <a:gd name="T37" fmla="*/ 2147483647 h 493"/>
                  <a:gd name="T38" fmla="*/ 2147483647 w 585"/>
                  <a:gd name="T39" fmla="*/ 2147483647 h 493"/>
                  <a:gd name="T40" fmla="*/ 2147483647 w 585"/>
                  <a:gd name="T41" fmla="*/ 2147483647 h 493"/>
                  <a:gd name="T42" fmla="*/ 2147483647 w 585"/>
                  <a:gd name="T43" fmla="*/ 2147483647 h 493"/>
                  <a:gd name="T44" fmla="*/ 2147483647 w 585"/>
                  <a:gd name="T45" fmla="*/ 2147483647 h 493"/>
                  <a:gd name="T46" fmla="*/ 2147483647 w 585"/>
                  <a:gd name="T47" fmla="*/ 2147483647 h 493"/>
                  <a:gd name="T48" fmla="*/ 2147483647 w 585"/>
                  <a:gd name="T49" fmla="*/ 2147483647 h 493"/>
                  <a:gd name="T50" fmla="*/ 2147483647 w 585"/>
                  <a:gd name="T51" fmla="*/ 2147483647 h 493"/>
                  <a:gd name="T52" fmla="*/ 2147483647 w 585"/>
                  <a:gd name="T53" fmla="*/ 2147483647 h 493"/>
                  <a:gd name="T54" fmla="*/ 2147483647 w 585"/>
                  <a:gd name="T55" fmla="*/ 2147483647 h 493"/>
                  <a:gd name="T56" fmla="*/ 2147483647 w 585"/>
                  <a:gd name="T57" fmla="*/ 2147483647 h 493"/>
                  <a:gd name="T58" fmla="*/ 2147483647 w 585"/>
                  <a:gd name="T59" fmla="*/ 2147483647 h 493"/>
                  <a:gd name="T60" fmla="*/ 982185436 w 585"/>
                  <a:gd name="T61" fmla="*/ 2147483647 h 493"/>
                  <a:gd name="T62" fmla="*/ 409275193 w 585"/>
                  <a:gd name="T63" fmla="*/ 2147483647 h 493"/>
                  <a:gd name="T64" fmla="*/ 2147483647 w 585"/>
                  <a:gd name="T65" fmla="*/ 2147483647 h 493"/>
                  <a:gd name="T66" fmla="*/ 2147483647 w 585"/>
                  <a:gd name="T67" fmla="*/ 2147483647 h 493"/>
                  <a:gd name="T68" fmla="*/ 2147483647 w 585"/>
                  <a:gd name="T69" fmla="*/ 2147483647 h 493"/>
                  <a:gd name="T70" fmla="*/ 2147483647 w 585"/>
                  <a:gd name="T71" fmla="*/ 2147483647 h 493"/>
                  <a:gd name="T72" fmla="*/ 2147483647 w 585"/>
                  <a:gd name="T73" fmla="*/ 2147483647 h 493"/>
                  <a:gd name="T74" fmla="*/ 2147483647 w 585"/>
                  <a:gd name="T75" fmla="*/ 2147483647 h 493"/>
                  <a:gd name="T76" fmla="*/ 2147483647 w 585"/>
                  <a:gd name="T77" fmla="*/ 2147483647 h 493"/>
                  <a:gd name="T78" fmla="*/ 2147483647 w 585"/>
                  <a:gd name="T79" fmla="*/ 2147483647 h 493"/>
                  <a:gd name="T80" fmla="*/ 2147483647 w 585"/>
                  <a:gd name="T81" fmla="*/ 2147483647 h 493"/>
                  <a:gd name="T82" fmla="*/ 2147483647 w 585"/>
                  <a:gd name="T83" fmla="*/ 2147483647 h 493"/>
                  <a:gd name="T84" fmla="*/ 2147483647 w 585"/>
                  <a:gd name="T85" fmla="*/ 2147483647 h 493"/>
                  <a:gd name="T86" fmla="*/ 2147483647 w 585"/>
                  <a:gd name="T87" fmla="*/ 2147483647 h 493"/>
                  <a:gd name="T88" fmla="*/ 2147483647 w 585"/>
                  <a:gd name="T89" fmla="*/ 2147483647 h 493"/>
                  <a:gd name="T90" fmla="*/ 2147483647 w 585"/>
                  <a:gd name="T91" fmla="*/ 2147483647 h 493"/>
                  <a:gd name="T92" fmla="*/ 2147483647 w 585"/>
                  <a:gd name="T93" fmla="*/ 2147483647 h 493"/>
                  <a:gd name="T94" fmla="*/ 2147483647 w 585"/>
                  <a:gd name="T95" fmla="*/ 851741691 h 493"/>
                  <a:gd name="T96" fmla="*/ 2147483647 w 585"/>
                  <a:gd name="T97" fmla="*/ 283823129 h 4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85" h="493">
                    <a:moveTo>
                      <a:pt x="525" y="12"/>
                    </a:moveTo>
                    <a:lnTo>
                      <a:pt x="524" y="17"/>
                    </a:lnTo>
                    <a:lnTo>
                      <a:pt x="520" y="22"/>
                    </a:lnTo>
                    <a:lnTo>
                      <a:pt x="516" y="28"/>
                    </a:lnTo>
                    <a:lnTo>
                      <a:pt x="510" y="33"/>
                    </a:lnTo>
                    <a:lnTo>
                      <a:pt x="497" y="45"/>
                    </a:lnTo>
                    <a:lnTo>
                      <a:pt x="485" y="55"/>
                    </a:lnTo>
                    <a:lnTo>
                      <a:pt x="495" y="55"/>
                    </a:lnTo>
                    <a:lnTo>
                      <a:pt x="505" y="55"/>
                    </a:lnTo>
                    <a:lnTo>
                      <a:pt x="506" y="68"/>
                    </a:lnTo>
                    <a:lnTo>
                      <a:pt x="508" y="81"/>
                    </a:lnTo>
                    <a:lnTo>
                      <a:pt x="512" y="93"/>
                    </a:lnTo>
                    <a:lnTo>
                      <a:pt x="516" y="103"/>
                    </a:lnTo>
                    <a:lnTo>
                      <a:pt x="520" y="112"/>
                    </a:lnTo>
                    <a:lnTo>
                      <a:pt x="527" y="121"/>
                    </a:lnTo>
                    <a:lnTo>
                      <a:pt x="534" y="130"/>
                    </a:lnTo>
                    <a:lnTo>
                      <a:pt x="540" y="138"/>
                    </a:lnTo>
                    <a:lnTo>
                      <a:pt x="553" y="155"/>
                    </a:lnTo>
                    <a:lnTo>
                      <a:pt x="566" y="170"/>
                    </a:lnTo>
                    <a:lnTo>
                      <a:pt x="573" y="177"/>
                    </a:lnTo>
                    <a:lnTo>
                      <a:pt x="577" y="185"/>
                    </a:lnTo>
                    <a:lnTo>
                      <a:pt x="582" y="194"/>
                    </a:lnTo>
                    <a:lnTo>
                      <a:pt x="585" y="204"/>
                    </a:lnTo>
                    <a:lnTo>
                      <a:pt x="580" y="205"/>
                    </a:lnTo>
                    <a:lnTo>
                      <a:pt x="574" y="206"/>
                    </a:lnTo>
                    <a:lnTo>
                      <a:pt x="568" y="206"/>
                    </a:lnTo>
                    <a:lnTo>
                      <a:pt x="561" y="206"/>
                    </a:lnTo>
                    <a:lnTo>
                      <a:pt x="547" y="204"/>
                    </a:lnTo>
                    <a:lnTo>
                      <a:pt x="531" y="204"/>
                    </a:lnTo>
                    <a:lnTo>
                      <a:pt x="524" y="217"/>
                    </a:lnTo>
                    <a:lnTo>
                      <a:pt x="518" y="229"/>
                    </a:lnTo>
                    <a:lnTo>
                      <a:pt x="516" y="233"/>
                    </a:lnTo>
                    <a:lnTo>
                      <a:pt x="513" y="237"/>
                    </a:lnTo>
                    <a:lnTo>
                      <a:pt x="509" y="239"/>
                    </a:lnTo>
                    <a:lnTo>
                      <a:pt x="505" y="240"/>
                    </a:lnTo>
                    <a:lnTo>
                      <a:pt x="506" y="246"/>
                    </a:lnTo>
                    <a:lnTo>
                      <a:pt x="508" y="253"/>
                    </a:lnTo>
                    <a:lnTo>
                      <a:pt x="512" y="259"/>
                    </a:lnTo>
                    <a:lnTo>
                      <a:pt x="515" y="265"/>
                    </a:lnTo>
                    <a:lnTo>
                      <a:pt x="518" y="271"/>
                    </a:lnTo>
                    <a:lnTo>
                      <a:pt x="521" y="277"/>
                    </a:lnTo>
                    <a:lnTo>
                      <a:pt x="524" y="283"/>
                    </a:lnTo>
                    <a:lnTo>
                      <a:pt x="525" y="289"/>
                    </a:lnTo>
                    <a:lnTo>
                      <a:pt x="525" y="294"/>
                    </a:lnTo>
                    <a:lnTo>
                      <a:pt x="523" y="297"/>
                    </a:lnTo>
                    <a:lnTo>
                      <a:pt x="519" y="301"/>
                    </a:lnTo>
                    <a:lnTo>
                      <a:pt x="516" y="304"/>
                    </a:lnTo>
                    <a:lnTo>
                      <a:pt x="505" y="308"/>
                    </a:lnTo>
                    <a:lnTo>
                      <a:pt x="494" y="312"/>
                    </a:lnTo>
                    <a:lnTo>
                      <a:pt x="481" y="316"/>
                    </a:lnTo>
                    <a:lnTo>
                      <a:pt x="469" y="319"/>
                    </a:lnTo>
                    <a:lnTo>
                      <a:pt x="459" y="323"/>
                    </a:lnTo>
                    <a:lnTo>
                      <a:pt x="452" y="327"/>
                    </a:lnTo>
                    <a:lnTo>
                      <a:pt x="448" y="334"/>
                    </a:lnTo>
                    <a:lnTo>
                      <a:pt x="446" y="344"/>
                    </a:lnTo>
                    <a:lnTo>
                      <a:pt x="443" y="354"/>
                    </a:lnTo>
                    <a:lnTo>
                      <a:pt x="443" y="365"/>
                    </a:lnTo>
                    <a:lnTo>
                      <a:pt x="445" y="386"/>
                    </a:lnTo>
                    <a:lnTo>
                      <a:pt x="446" y="400"/>
                    </a:lnTo>
                    <a:lnTo>
                      <a:pt x="445" y="415"/>
                    </a:lnTo>
                    <a:lnTo>
                      <a:pt x="442" y="428"/>
                    </a:lnTo>
                    <a:lnTo>
                      <a:pt x="439" y="439"/>
                    </a:lnTo>
                    <a:lnTo>
                      <a:pt x="436" y="447"/>
                    </a:lnTo>
                    <a:lnTo>
                      <a:pt x="430" y="454"/>
                    </a:lnTo>
                    <a:lnTo>
                      <a:pt x="425" y="459"/>
                    </a:lnTo>
                    <a:lnTo>
                      <a:pt x="419" y="464"/>
                    </a:lnTo>
                    <a:lnTo>
                      <a:pt x="413" y="467"/>
                    </a:lnTo>
                    <a:lnTo>
                      <a:pt x="400" y="472"/>
                    </a:lnTo>
                    <a:lnTo>
                      <a:pt x="386" y="477"/>
                    </a:lnTo>
                    <a:lnTo>
                      <a:pt x="380" y="480"/>
                    </a:lnTo>
                    <a:lnTo>
                      <a:pt x="374" y="484"/>
                    </a:lnTo>
                    <a:lnTo>
                      <a:pt x="370" y="488"/>
                    </a:lnTo>
                    <a:lnTo>
                      <a:pt x="366" y="493"/>
                    </a:lnTo>
                    <a:lnTo>
                      <a:pt x="356" y="493"/>
                    </a:lnTo>
                    <a:lnTo>
                      <a:pt x="346" y="493"/>
                    </a:lnTo>
                    <a:lnTo>
                      <a:pt x="341" y="493"/>
                    </a:lnTo>
                    <a:lnTo>
                      <a:pt x="337" y="492"/>
                    </a:lnTo>
                    <a:lnTo>
                      <a:pt x="334" y="491"/>
                    </a:lnTo>
                    <a:lnTo>
                      <a:pt x="331" y="489"/>
                    </a:lnTo>
                    <a:lnTo>
                      <a:pt x="329" y="487"/>
                    </a:lnTo>
                    <a:lnTo>
                      <a:pt x="328" y="484"/>
                    </a:lnTo>
                    <a:lnTo>
                      <a:pt x="327" y="482"/>
                    </a:lnTo>
                    <a:lnTo>
                      <a:pt x="326" y="478"/>
                    </a:lnTo>
                    <a:lnTo>
                      <a:pt x="327" y="471"/>
                    </a:lnTo>
                    <a:lnTo>
                      <a:pt x="328" y="464"/>
                    </a:lnTo>
                    <a:lnTo>
                      <a:pt x="330" y="457"/>
                    </a:lnTo>
                    <a:lnTo>
                      <a:pt x="333" y="450"/>
                    </a:lnTo>
                    <a:lnTo>
                      <a:pt x="304" y="451"/>
                    </a:lnTo>
                    <a:lnTo>
                      <a:pt x="279" y="454"/>
                    </a:lnTo>
                    <a:lnTo>
                      <a:pt x="267" y="455"/>
                    </a:lnTo>
                    <a:lnTo>
                      <a:pt x="257" y="455"/>
                    </a:lnTo>
                    <a:lnTo>
                      <a:pt x="251" y="454"/>
                    </a:lnTo>
                    <a:lnTo>
                      <a:pt x="247" y="453"/>
                    </a:lnTo>
                    <a:lnTo>
                      <a:pt x="244" y="452"/>
                    </a:lnTo>
                    <a:lnTo>
                      <a:pt x="239" y="450"/>
                    </a:lnTo>
                    <a:lnTo>
                      <a:pt x="219" y="462"/>
                    </a:lnTo>
                    <a:lnTo>
                      <a:pt x="207" y="455"/>
                    </a:lnTo>
                    <a:lnTo>
                      <a:pt x="192" y="447"/>
                    </a:lnTo>
                    <a:lnTo>
                      <a:pt x="183" y="444"/>
                    </a:lnTo>
                    <a:lnTo>
                      <a:pt x="176" y="440"/>
                    </a:lnTo>
                    <a:lnTo>
                      <a:pt x="168" y="438"/>
                    </a:lnTo>
                    <a:lnTo>
                      <a:pt x="159" y="438"/>
                    </a:lnTo>
                    <a:lnTo>
                      <a:pt x="144" y="437"/>
                    </a:lnTo>
                    <a:lnTo>
                      <a:pt x="122" y="436"/>
                    </a:lnTo>
                    <a:lnTo>
                      <a:pt x="111" y="435"/>
                    </a:lnTo>
                    <a:lnTo>
                      <a:pt x="102" y="432"/>
                    </a:lnTo>
                    <a:lnTo>
                      <a:pt x="98" y="431"/>
                    </a:lnTo>
                    <a:lnTo>
                      <a:pt x="95" y="429"/>
                    </a:lnTo>
                    <a:lnTo>
                      <a:pt x="93" y="428"/>
                    </a:lnTo>
                    <a:lnTo>
                      <a:pt x="93" y="424"/>
                    </a:lnTo>
                    <a:lnTo>
                      <a:pt x="87" y="393"/>
                    </a:lnTo>
                    <a:lnTo>
                      <a:pt x="81" y="366"/>
                    </a:lnTo>
                    <a:lnTo>
                      <a:pt x="75" y="346"/>
                    </a:lnTo>
                    <a:lnTo>
                      <a:pt x="69" y="331"/>
                    </a:lnTo>
                    <a:lnTo>
                      <a:pt x="64" y="320"/>
                    </a:lnTo>
                    <a:lnTo>
                      <a:pt x="58" y="310"/>
                    </a:lnTo>
                    <a:lnTo>
                      <a:pt x="53" y="304"/>
                    </a:lnTo>
                    <a:lnTo>
                      <a:pt x="47" y="300"/>
                    </a:lnTo>
                    <a:lnTo>
                      <a:pt x="41" y="296"/>
                    </a:lnTo>
                    <a:lnTo>
                      <a:pt x="35" y="292"/>
                    </a:lnTo>
                    <a:lnTo>
                      <a:pt x="30" y="288"/>
                    </a:lnTo>
                    <a:lnTo>
                      <a:pt x="24" y="281"/>
                    </a:lnTo>
                    <a:lnTo>
                      <a:pt x="19" y="272"/>
                    </a:lnTo>
                    <a:lnTo>
                      <a:pt x="12" y="260"/>
                    </a:lnTo>
                    <a:lnTo>
                      <a:pt x="6" y="243"/>
                    </a:lnTo>
                    <a:lnTo>
                      <a:pt x="0" y="222"/>
                    </a:lnTo>
                    <a:lnTo>
                      <a:pt x="2" y="215"/>
                    </a:lnTo>
                    <a:lnTo>
                      <a:pt x="5" y="204"/>
                    </a:lnTo>
                    <a:lnTo>
                      <a:pt x="11" y="191"/>
                    </a:lnTo>
                    <a:lnTo>
                      <a:pt x="17" y="177"/>
                    </a:lnTo>
                    <a:lnTo>
                      <a:pt x="24" y="164"/>
                    </a:lnTo>
                    <a:lnTo>
                      <a:pt x="31" y="153"/>
                    </a:lnTo>
                    <a:lnTo>
                      <a:pt x="36" y="144"/>
                    </a:lnTo>
                    <a:lnTo>
                      <a:pt x="41" y="141"/>
                    </a:lnTo>
                    <a:lnTo>
                      <a:pt x="46" y="141"/>
                    </a:lnTo>
                    <a:lnTo>
                      <a:pt x="54" y="141"/>
                    </a:lnTo>
                    <a:lnTo>
                      <a:pt x="64" y="141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5" y="152"/>
                    </a:lnTo>
                    <a:lnTo>
                      <a:pt x="77" y="158"/>
                    </a:lnTo>
                    <a:lnTo>
                      <a:pt x="80" y="164"/>
                    </a:lnTo>
                    <a:lnTo>
                      <a:pt x="88" y="176"/>
                    </a:lnTo>
                    <a:lnTo>
                      <a:pt x="97" y="187"/>
                    </a:lnTo>
                    <a:lnTo>
                      <a:pt x="107" y="198"/>
                    </a:lnTo>
                    <a:lnTo>
                      <a:pt x="118" y="208"/>
                    </a:lnTo>
                    <a:lnTo>
                      <a:pt x="124" y="211"/>
                    </a:lnTo>
                    <a:lnTo>
                      <a:pt x="129" y="214"/>
                    </a:lnTo>
                    <a:lnTo>
                      <a:pt x="135" y="215"/>
                    </a:lnTo>
                    <a:lnTo>
                      <a:pt x="139" y="216"/>
                    </a:lnTo>
                    <a:lnTo>
                      <a:pt x="155" y="215"/>
                    </a:lnTo>
                    <a:lnTo>
                      <a:pt x="170" y="213"/>
                    </a:lnTo>
                    <a:lnTo>
                      <a:pt x="184" y="209"/>
                    </a:lnTo>
                    <a:lnTo>
                      <a:pt x="199" y="204"/>
                    </a:lnTo>
                    <a:lnTo>
                      <a:pt x="211" y="196"/>
                    </a:lnTo>
                    <a:lnTo>
                      <a:pt x="221" y="189"/>
                    </a:lnTo>
                    <a:lnTo>
                      <a:pt x="225" y="185"/>
                    </a:lnTo>
                    <a:lnTo>
                      <a:pt x="228" y="181"/>
                    </a:lnTo>
                    <a:lnTo>
                      <a:pt x="230" y="177"/>
                    </a:lnTo>
                    <a:lnTo>
                      <a:pt x="233" y="172"/>
                    </a:lnTo>
                    <a:lnTo>
                      <a:pt x="256" y="175"/>
                    </a:lnTo>
                    <a:lnTo>
                      <a:pt x="273" y="176"/>
                    </a:lnTo>
                    <a:lnTo>
                      <a:pt x="281" y="177"/>
                    </a:lnTo>
                    <a:lnTo>
                      <a:pt x="288" y="178"/>
                    </a:lnTo>
                    <a:lnTo>
                      <a:pt x="294" y="181"/>
                    </a:lnTo>
                    <a:lnTo>
                      <a:pt x="300" y="184"/>
                    </a:lnTo>
                    <a:lnTo>
                      <a:pt x="326" y="184"/>
                    </a:lnTo>
                    <a:lnTo>
                      <a:pt x="326" y="181"/>
                    </a:lnTo>
                    <a:lnTo>
                      <a:pt x="327" y="178"/>
                    </a:lnTo>
                    <a:lnTo>
                      <a:pt x="329" y="176"/>
                    </a:lnTo>
                    <a:lnTo>
                      <a:pt x="331" y="174"/>
                    </a:lnTo>
                    <a:lnTo>
                      <a:pt x="337" y="170"/>
                    </a:lnTo>
                    <a:lnTo>
                      <a:pt x="344" y="167"/>
                    </a:lnTo>
                    <a:lnTo>
                      <a:pt x="350" y="164"/>
                    </a:lnTo>
                    <a:lnTo>
                      <a:pt x="357" y="162"/>
                    </a:lnTo>
                    <a:lnTo>
                      <a:pt x="362" y="158"/>
                    </a:lnTo>
                    <a:lnTo>
                      <a:pt x="366" y="154"/>
                    </a:lnTo>
                    <a:lnTo>
                      <a:pt x="372" y="149"/>
                    </a:lnTo>
                    <a:lnTo>
                      <a:pt x="378" y="143"/>
                    </a:lnTo>
                    <a:lnTo>
                      <a:pt x="383" y="136"/>
                    </a:lnTo>
                    <a:lnTo>
                      <a:pt x="389" y="129"/>
                    </a:lnTo>
                    <a:lnTo>
                      <a:pt x="400" y="114"/>
                    </a:lnTo>
                    <a:lnTo>
                      <a:pt x="408" y="97"/>
                    </a:lnTo>
                    <a:lnTo>
                      <a:pt x="415" y="79"/>
                    </a:lnTo>
                    <a:lnTo>
                      <a:pt x="420" y="62"/>
                    </a:lnTo>
                    <a:lnTo>
                      <a:pt x="424" y="46"/>
                    </a:lnTo>
                    <a:lnTo>
                      <a:pt x="426" y="30"/>
                    </a:lnTo>
                    <a:lnTo>
                      <a:pt x="427" y="25"/>
                    </a:lnTo>
                    <a:lnTo>
                      <a:pt x="429" y="20"/>
                    </a:lnTo>
                    <a:lnTo>
                      <a:pt x="435" y="15"/>
                    </a:lnTo>
                    <a:lnTo>
                      <a:pt x="440" y="11"/>
                    </a:lnTo>
                    <a:lnTo>
                      <a:pt x="447" y="6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5" y="0"/>
                    </a:lnTo>
                    <a:lnTo>
                      <a:pt x="479" y="2"/>
                    </a:lnTo>
                    <a:lnTo>
                      <a:pt x="495" y="6"/>
                    </a:lnTo>
                    <a:lnTo>
                      <a:pt x="512" y="10"/>
                    </a:lnTo>
                    <a:lnTo>
                      <a:pt x="525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3" name="Freeform 334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13079680" y="4403297"/>
                <a:ext cx="92075" cy="57150"/>
              </a:xfrm>
              <a:custGeom>
                <a:avLst/>
                <a:gdLst>
                  <a:gd name="T0" fmla="*/ 0 w 212"/>
                  <a:gd name="T1" fmla="*/ 2147483647 h 105"/>
                  <a:gd name="T2" fmla="*/ 1310792729 w 212"/>
                  <a:gd name="T3" fmla="*/ 2147483647 h 105"/>
                  <a:gd name="T4" fmla="*/ 2147483647 w 212"/>
                  <a:gd name="T5" fmla="*/ 2147483647 h 105"/>
                  <a:gd name="T6" fmla="*/ 2147483647 w 212"/>
                  <a:gd name="T7" fmla="*/ 2147483647 h 105"/>
                  <a:gd name="T8" fmla="*/ 2147483647 w 212"/>
                  <a:gd name="T9" fmla="*/ 2147483647 h 105"/>
                  <a:gd name="T10" fmla="*/ 2147483647 w 212"/>
                  <a:gd name="T11" fmla="*/ 2147483647 h 105"/>
                  <a:gd name="T12" fmla="*/ 2147483647 w 212"/>
                  <a:gd name="T13" fmla="*/ 2147483647 h 105"/>
                  <a:gd name="T14" fmla="*/ 2147483647 w 212"/>
                  <a:gd name="T15" fmla="*/ 2147483647 h 105"/>
                  <a:gd name="T16" fmla="*/ 2147483647 w 212"/>
                  <a:gd name="T17" fmla="*/ 2147483647 h 105"/>
                  <a:gd name="T18" fmla="*/ 2147483647 w 212"/>
                  <a:gd name="T19" fmla="*/ 2147483647 h 105"/>
                  <a:gd name="T20" fmla="*/ 2147483647 w 212"/>
                  <a:gd name="T21" fmla="*/ 2147483647 h 105"/>
                  <a:gd name="T22" fmla="*/ 2147483647 w 212"/>
                  <a:gd name="T23" fmla="*/ 1289859171 h 105"/>
                  <a:gd name="T24" fmla="*/ 2147483647 w 212"/>
                  <a:gd name="T25" fmla="*/ 0 h 105"/>
                  <a:gd name="T26" fmla="*/ 2147483647 w 212"/>
                  <a:gd name="T27" fmla="*/ 0 h 105"/>
                  <a:gd name="T28" fmla="*/ 2147483647 w 212"/>
                  <a:gd name="T29" fmla="*/ 1451313909 h 105"/>
                  <a:gd name="T30" fmla="*/ 2147483647 w 212"/>
                  <a:gd name="T31" fmla="*/ 2147483647 h 105"/>
                  <a:gd name="T32" fmla="*/ 2147483647 w 212"/>
                  <a:gd name="T33" fmla="*/ 2147483647 h 105"/>
                  <a:gd name="T34" fmla="*/ 2147483647 w 212"/>
                  <a:gd name="T35" fmla="*/ 2147483647 h 105"/>
                  <a:gd name="T36" fmla="*/ 2147483647 w 212"/>
                  <a:gd name="T37" fmla="*/ 2147483647 h 105"/>
                  <a:gd name="T38" fmla="*/ 2147483647 w 212"/>
                  <a:gd name="T39" fmla="*/ 2147483647 h 105"/>
                  <a:gd name="T40" fmla="*/ 2147483647 w 212"/>
                  <a:gd name="T41" fmla="*/ 2147483647 h 105"/>
                  <a:gd name="T42" fmla="*/ 2147483647 w 212"/>
                  <a:gd name="T43" fmla="*/ 2147483647 h 105"/>
                  <a:gd name="T44" fmla="*/ 1884229315 w 212"/>
                  <a:gd name="T45" fmla="*/ 2147483647 h 105"/>
                  <a:gd name="T46" fmla="*/ 0 w 212"/>
                  <a:gd name="T47" fmla="*/ 2147483647 h 10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12" h="105">
                    <a:moveTo>
                      <a:pt x="0" y="105"/>
                    </a:moveTo>
                    <a:lnTo>
                      <a:pt x="16" y="85"/>
                    </a:lnTo>
                    <a:lnTo>
                      <a:pt x="35" y="68"/>
                    </a:lnTo>
                    <a:lnTo>
                      <a:pt x="44" y="60"/>
                    </a:lnTo>
                    <a:lnTo>
                      <a:pt x="54" y="53"/>
                    </a:lnTo>
                    <a:lnTo>
                      <a:pt x="64" y="46"/>
                    </a:lnTo>
                    <a:lnTo>
                      <a:pt x="73" y="38"/>
                    </a:lnTo>
                    <a:lnTo>
                      <a:pt x="83" y="32"/>
                    </a:lnTo>
                    <a:lnTo>
                      <a:pt x="94" y="27"/>
                    </a:lnTo>
                    <a:lnTo>
                      <a:pt x="106" y="21"/>
                    </a:lnTo>
                    <a:lnTo>
                      <a:pt x="118" y="16"/>
                    </a:lnTo>
                    <a:lnTo>
                      <a:pt x="144" y="8"/>
                    </a:lnTo>
                    <a:lnTo>
                      <a:pt x="172" y="0"/>
                    </a:lnTo>
                    <a:lnTo>
                      <a:pt x="212" y="0"/>
                    </a:lnTo>
                    <a:lnTo>
                      <a:pt x="202" y="9"/>
                    </a:lnTo>
                    <a:lnTo>
                      <a:pt x="190" y="18"/>
                    </a:lnTo>
                    <a:lnTo>
                      <a:pt x="178" y="27"/>
                    </a:lnTo>
                    <a:lnTo>
                      <a:pt x="165" y="35"/>
                    </a:lnTo>
                    <a:lnTo>
                      <a:pt x="137" y="52"/>
                    </a:lnTo>
                    <a:lnTo>
                      <a:pt x="109" y="66"/>
                    </a:lnTo>
                    <a:lnTo>
                      <a:pt x="79" y="79"/>
                    </a:lnTo>
                    <a:lnTo>
                      <a:pt x="50" y="90"/>
                    </a:lnTo>
                    <a:lnTo>
                      <a:pt x="23" y="99"/>
                    </a:lnTo>
                    <a:lnTo>
                      <a:pt x="0" y="10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4" name="Freeform 335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13195568" y="4069922"/>
                <a:ext cx="42862" cy="88900"/>
              </a:xfrm>
              <a:custGeom>
                <a:avLst/>
                <a:gdLst>
                  <a:gd name="T0" fmla="*/ 0 w 92"/>
                  <a:gd name="T1" fmla="*/ 2147483647 h 166"/>
                  <a:gd name="T2" fmla="*/ 0 w 92"/>
                  <a:gd name="T3" fmla="*/ 2147483647 h 166"/>
                  <a:gd name="T4" fmla="*/ 505520485 w 92"/>
                  <a:gd name="T5" fmla="*/ 2147483647 h 166"/>
                  <a:gd name="T6" fmla="*/ 1213552738 w 92"/>
                  <a:gd name="T7" fmla="*/ 2147483647 h 166"/>
                  <a:gd name="T8" fmla="*/ 1415630762 w 92"/>
                  <a:gd name="T9" fmla="*/ 2147483647 h 166"/>
                  <a:gd name="T10" fmla="*/ 1719073222 w 92"/>
                  <a:gd name="T11" fmla="*/ 2147483647 h 166"/>
                  <a:gd name="T12" fmla="*/ 1820220554 w 92"/>
                  <a:gd name="T13" fmla="*/ 2147483647 h 166"/>
                  <a:gd name="T14" fmla="*/ 1921368352 w 92"/>
                  <a:gd name="T15" fmla="*/ 2147483647 h 166"/>
                  <a:gd name="T16" fmla="*/ 2022515683 w 92"/>
                  <a:gd name="T17" fmla="*/ 2147483647 h 166"/>
                  <a:gd name="T18" fmla="*/ 2147483647 w 92"/>
                  <a:gd name="T19" fmla="*/ 2147483647 h 166"/>
                  <a:gd name="T20" fmla="*/ 2147483647 w 92"/>
                  <a:gd name="T21" fmla="*/ 2147483647 h 166"/>
                  <a:gd name="T22" fmla="*/ 2147483647 w 92"/>
                  <a:gd name="T23" fmla="*/ 2147483647 h 166"/>
                  <a:gd name="T24" fmla="*/ 2147483647 w 92"/>
                  <a:gd name="T25" fmla="*/ 2147483647 h 166"/>
                  <a:gd name="T26" fmla="*/ 2147483647 w 92"/>
                  <a:gd name="T27" fmla="*/ 2147483647 h 166"/>
                  <a:gd name="T28" fmla="*/ 2147483647 w 92"/>
                  <a:gd name="T29" fmla="*/ 2147483647 h 166"/>
                  <a:gd name="T30" fmla="*/ 2147483647 w 92"/>
                  <a:gd name="T31" fmla="*/ 2147483647 h 166"/>
                  <a:gd name="T32" fmla="*/ 2147483647 w 92"/>
                  <a:gd name="T33" fmla="*/ 2147483647 h 166"/>
                  <a:gd name="T34" fmla="*/ 2147483647 w 92"/>
                  <a:gd name="T35" fmla="*/ 2147483647 h 166"/>
                  <a:gd name="T36" fmla="*/ 2147483647 w 92"/>
                  <a:gd name="T37" fmla="*/ 2147483647 h 166"/>
                  <a:gd name="T38" fmla="*/ 2147483647 w 92"/>
                  <a:gd name="T39" fmla="*/ 2147483647 h 166"/>
                  <a:gd name="T40" fmla="*/ 2147483647 w 92"/>
                  <a:gd name="T41" fmla="*/ 2147483647 h 166"/>
                  <a:gd name="T42" fmla="*/ 2147483647 w 92"/>
                  <a:gd name="T43" fmla="*/ 2147483647 h 166"/>
                  <a:gd name="T44" fmla="*/ 2147483647 w 92"/>
                  <a:gd name="T45" fmla="*/ 2147483647 h 166"/>
                  <a:gd name="T46" fmla="*/ 2147483647 w 92"/>
                  <a:gd name="T47" fmla="*/ 2147483647 h 166"/>
                  <a:gd name="T48" fmla="*/ 2147483647 w 92"/>
                  <a:gd name="T49" fmla="*/ 2147483647 h 166"/>
                  <a:gd name="T50" fmla="*/ 2147483647 w 92"/>
                  <a:gd name="T51" fmla="*/ 2147483647 h 166"/>
                  <a:gd name="T52" fmla="*/ 2147483647 w 92"/>
                  <a:gd name="T53" fmla="*/ 2147483647 h 166"/>
                  <a:gd name="T54" fmla="*/ 2147483647 w 92"/>
                  <a:gd name="T55" fmla="*/ 2147483647 h 166"/>
                  <a:gd name="T56" fmla="*/ 2147483647 w 92"/>
                  <a:gd name="T57" fmla="*/ 2147483647 h 166"/>
                  <a:gd name="T58" fmla="*/ 2147483647 w 92"/>
                  <a:gd name="T59" fmla="*/ 2147483647 h 166"/>
                  <a:gd name="T60" fmla="*/ 2147483647 w 92"/>
                  <a:gd name="T61" fmla="*/ 2147483647 h 166"/>
                  <a:gd name="T62" fmla="*/ 2147483647 w 92"/>
                  <a:gd name="T63" fmla="*/ 2147483647 h 166"/>
                  <a:gd name="T64" fmla="*/ 2147483647 w 92"/>
                  <a:gd name="T65" fmla="*/ 2147483647 h 166"/>
                  <a:gd name="T66" fmla="*/ 2147483647 w 92"/>
                  <a:gd name="T67" fmla="*/ 2147483647 h 166"/>
                  <a:gd name="T68" fmla="*/ 2147483647 w 92"/>
                  <a:gd name="T69" fmla="*/ 2147483647 h 166"/>
                  <a:gd name="T70" fmla="*/ 2147483647 w 92"/>
                  <a:gd name="T71" fmla="*/ 1996739521 h 166"/>
                  <a:gd name="T72" fmla="*/ 2147483647 w 92"/>
                  <a:gd name="T73" fmla="*/ 2147483647 h 166"/>
                  <a:gd name="T74" fmla="*/ 2147483647 w 92"/>
                  <a:gd name="T75" fmla="*/ 2147483647 h 166"/>
                  <a:gd name="T76" fmla="*/ 2147483647 w 92"/>
                  <a:gd name="T77" fmla="*/ 2147483647 h 166"/>
                  <a:gd name="T78" fmla="*/ 2147483647 w 92"/>
                  <a:gd name="T79" fmla="*/ 2147483647 h 166"/>
                  <a:gd name="T80" fmla="*/ 2147483647 w 92"/>
                  <a:gd name="T81" fmla="*/ 2147483647 h 166"/>
                  <a:gd name="T82" fmla="*/ 2147483647 w 92"/>
                  <a:gd name="T83" fmla="*/ 1689570742 h 166"/>
                  <a:gd name="T84" fmla="*/ 2147483647 w 92"/>
                  <a:gd name="T85" fmla="*/ 1075233718 h 166"/>
                  <a:gd name="T86" fmla="*/ 1617925891 w 92"/>
                  <a:gd name="T87" fmla="*/ 460896159 h 166"/>
                  <a:gd name="T88" fmla="*/ 808962945 w 92"/>
                  <a:gd name="T89" fmla="*/ 153727915 h 166"/>
                  <a:gd name="T90" fmla="*/ 0 w 92"/>
                  <a:gd name="T91" fmla="*/ 0 h 166"/>
                  <a:gd name="T92" fmla="*/ 0 w 92"/>
                  <a:gd name="T93" fmla="*/ 1535842827 h 166"/>
                  <a:gd name="T94" fmla="*/ 0 w 92"/>
                  <a:gd name="T95" fmla="*/ 2147483647 h 166"/>
                  <a:gd name="T96" fmla="*/ 0 w 92"/>
                  <a:gd name="T97" fmla="*/ 2147483647 h 166"/>
                  <a:gd name="T98" fmla="*/ 0 w 92"/>
                  <a:gd name="T99" fmla="*/ 2147483647 h 166"/>
                  <a:gd name="T100" fmla="*/ 0 w 92"/>
                  <a:gd name="T101" fmla="*/ 2147483647 h 166"/>
                  <a:gd name="T102" fmla="*/ 0 w 92"/>
                  <a:gd name="T103" fmla="*/ 2147483647 h 16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2" h="166">
                    <a:moveTo>
                      <a:pt x="0" y="81"/>
                    </a:moveTo>
                    <a:lnTo>
                      <a:pt x="0" y="148"/>
                    </a:lnTo>
                    <a:lnTo>
                      <a:pt x="5" y="144"/>
                    </a:lnTo>
                    <a:lnTo>
                      <a:pt x="12" y="139"/>
                    </a:lnTo>
                    <a:lnTo>
                      <a:pt x="14" y="137"/>
                    </a:lnTo>
                    <a:lnTo>
                      <a:pt x="17" y="135"/>
                    </a:lnTo>
                    <a:lnTo>
                      <a:pt x="18" y="132"/>
                    </a:lnTo>
                    <a:lnTo>
                      <a:pt x="19" y="130"/>
                    </a:lnTo>
                    <a:lnTo>
                      <a:pt x="20" y="138"/>
                    </a:lnTo>
                    <a:lnTo>
                      <a:pt x="24" y="148"/>
                    </a:lnTo>
                    <a:lnTo>
                      <a:pt x="27" y="154"/>
                    </a:lnTo>
                    <a:lnTo>
                      <a:pt x="30" y="159"/>
                    </a:lnTo>
                    <a:lnTo>
                      <a:pt x="35" y="163"/>
                    </a:lnTo>
                    <a:lnTo>
                      <a:pt x="39" y="166"/>
                    </a:lnTo>
                    <a:lnTo>
                      <a:pt x="41" y="158"/>
                    </a:lnTo>
                    <a:lnTo>
                      <a:pt x="41" y="148"/>
                    </a:lnTo>
                    <a:lnTo>
                      <a:pt x="41" y="137"/>
                    </a:lnTo>
                    <a:lnTo>
                      <a:pt x="41" y="126"/>
                    </a:lnTo>
                    <a:lnTo>
                      <a:pt x="40" y="107"/>
                    </a:lnTo>
                    <a:lnTo>
                      <a:pt x="39" y="99"/>
                    </a:lnTo>
                    <a:lnTo>
                      <a:pt x="48" y="100"/>
                    </a:lnTo>
                    <a:lnTo>
                      <a:pt x="57" y="102"/>
                    </a:lnTo>
                    <a:lnTo>
                      <a:pt x="64" y="105"/>
                    </a:lnTo>
                    <a:lnTo>
                      <a:pt x="71" y="108"/>
                    </a:lnTo>
                    <a:lnTo>
                      <a:pt x="76" y="111"/>
                    </a:lnTo>
                    <a:lnTo>
                      <a:pt x="82" y="114"/>
                    </a:lnTo>
                    <a:lnTo>
                      <a:pt x="87" y="116"/>
                    </a:lnTo>
                    <a:lnTo>
                      <a:pt x="92" y="118"/>
                    </a:lnTo>
                    <a:lnTo>
                      <a:pt x="85" y="103"/>
                    </a:lnTo>
                    <a:lnTo>
                      <a:pt x="81" y="89"/>
                    </a:lnTo>
                    <a:lnTo>
                      <a:pt x="76" y="75"/>
                    </a:lnTo>
                    <a:lnTo>
                      <a:pt x="73" y="60"/>
                    </a:lnTo>
                    <a:lnTo>
                      <a:pt x="70" y="47"/>
                    </a:lnTo>
                    <a:lnTo>
                      <a:pt x="67" y="34"/>
                    </a:lnTo>
                    <a:lnTo>
                      <a:pt x="63" y="23"/>
                    </a:lnTo>
                    <a:lnTo>
                      <a:pt x="59" y="13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0" y="23"/>
                    </a:lnTo>
                    <a:lnTo>
                      <a:pt x="42" y="19"/>
                    </a:lnTo>
                    <a:lnTo>
                      <a:pt x="35" y="15"/>
                    </a:lnTo>
                    <a:lnTo>
                      <a:pt x="29" y="11"/>
                    </a:lnTo>
                    <a:lnTo>
                      <a:pt x="23" y="7"/>
                    </a:lnTo>
                    <a:lnTo>
                      <a:pt x="16" y="3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33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5" name="Freeform 336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13208268" y="4214385"/>
                <a:ext cx="71437" cy="55562"/>
              </a:xfrm>
              <a:custGeom>
                <a:avLst/>
                <a:gdLst>
                  <a:gd name="T0" fmla="*/ 557808499 w 166"/>
                  <a:gd name="T1" fmla="*/ 0 h 62"/>
                  <a:gd name="T2" fmla="*/ 1115802475 w 166"/>
                  <a:gd name="T3" fmla="*/ 2147483647 h 62"/>
                  <a:gd name="T4" fmla="*/ 1753430202 w 166"/>
                  <a:gd name="T5" fmla="*/ 2147483647 h 62"/>
                  <a:gd name="T6" fmla="*/ 2147483647 w 166"/>
                  <a:gd name="T7" fmla="*/ 2147483647 h 62"/>
                  <a:gd name="T8" fmla="*/ 2147483647 w 166"/>
                  <a:gd name="T9" fmla="*/ 2147483647 h 62"/>
                  <a:gd name="T10" fmla="*/ 2147483647 w 166"/>
                  <a:gd name="T11" fmla="*/ 2147483647 h 62"/>
                  <a:gd name="T12" fmla="*/ 2147483647 w 166"/>
                  <a:gd name="T13" fmla="*/ 2147483647 h 62"/>
                  <a:gd name="T14" fmla="*/ 2147483647 w 166"/>
                  <a:gd name="T15" fmla="*/ 2147483647 h 62"/>
                  <a:gd name="T16" fmla="*/ 2147483647 w 166"/>
                  <a:gd name="T17" fmla="*/ 2147483647 h 62"/>
                  <a:gd name="T18" fmla="*/ 2147483647 w 166"/>
                  <a:gd name="T19" fmla="*/ 719582566 h 62"/>
                  <a:gd name="T20" fmla="*/ 2147483647 w 166"/>
                  <a:gd name="T21" fmla="*/ 0 h 62"/>
                  <a:gd name="T22" fmla="*/ 2147483647 w 166"/>
                  <a:gd name="T23" fmla="*/ 719582566 h 62"/>
                  <a:gd name="T24" fmla="*/ 2147483647 w 166"/>
                  <a:gd name="T25" fmla="*/ 1439164236 h 62"/>
                  <a:gd name="T26" fmla="*/ 2147483647 w 166"/>
                  <a:gd name="T27" fmla="*/ 2147483647 h 62"/>
                  <a:gd name="T28" fmla="*/ 2147483647 w 166"/>
                  <a:gd name="T29" fmla="*/ 2147483647 h 62"/>
                  <a:gd name="T30" fmla="*/ 2147483647 w 166"/>
                  <a:gd name="T31" fmla="*/ 2147483647 h 62"/>
                  <a:gd name="T32" fmla="*/ 2147483647 w 166"/>
                  <a:gd name="T33" fmla="*/ 2147483647 h 62"/>
                  <a:gd name="T34" fmla="*/ 2147483647 w 166"/>
                  <a:gd name="T35" fmla="*/ 2147483647 h 62"/>
                  <a:gd name="T36" fmla="*/ 2147483647 w 166"/>
                  <a:gd name="T37" fmla="*/ 2147483647 h 62"/>
                  <a:gd name="T38" fmla="*/ 2147483647 w 166"/>
                  <a:gd name="T39" fmla="*/ 2147483647 h 62"/>
                  <a:gd name="T40" fmla="*/ 2147483647 w 166"/>
                  <a:gd name="T41" fmla="*/ 2147483647 h 62"/>
                  <a:gd name="T42" fmla="*/ 2147483647 w 166"/>
                  <a:gd name="T43" fmla="*/ 2147483647 h 62"/>
                  <a:gd name="T44" fmla="*/ 2147483647 w 166"/>
                  <a:gd name="T45" fmla="*/ 2147483647 h 62"/>
                  <a:gd name="T46" fmla="*/ 2147483647 w 166"/>
                  <a:gd name="T47" fmla="*/ 2147483647 h 62"/>
                  <a:gd name="T48" fmla="*/ 2147483647 w 166"/>
                  <a:gd name="T49" fmla="*/ 2147483647 h 62"/>
                  <a:gd name="T50" fmla="*/ 2147483647 w 166"/>
                  <a:gd name="T51" fmla="*/ 2147483647 h 62"/>
                  <a:gd name="T52" fmla="*/ 2147483647 w 166"/>
                  <a:gd name="T53" fmla="*/ 2147483647 h 62"/>
                  <a:gd name="T54" fmla="*/ 2147483647 w 166"/>
                  <a:gd name="T55" fmla="*/ 2147483647 h 62"/>
                  <a:gd name="T56" fmla="*/ 2147483647 w 166"/>
                  <a:gd name="T57" fmla="*/ 2147483647 h 62"/>
                  <a:gd name="T58" fmla="*/ 2147483647 w 166"/>
                  <a:gd name="T59" fmla="*/ 2147483647 h 62"/>
                  <a:gd name="T60" fmla="*/ 2147483647 w 166"/>
                  <a:gd name="T61" fmla="*/ 2147483647 h 62"/>
                  <a:gd name="T62" fmla="*/ 2147483647 w 166"/>
                  <a:gd name="T63" fmla="*/ 2147483647 h 62"/>
                  <a:gd name="T64" fmla="*/ 2147483647 w 166"/>
                  <a:gd name="T65" fmla="*/ 2147483647 h 62"/>
                  <a:gd name="T66" fmla="*/ 2147483647 w 166"/>
                  <a:gd name="T67" fmla="*/ 2147483647 h 62"/>
                  <a:gd name="T68" fmla="*/ 2147483647 w 166"/>
                  <a:gd name="T69" fmla="*/ 2147483647 h 62"/>
                  <a:gd name="T70" fmla="*/ 2147483647 w 166"/>
                  <a:gd name="T71" fmla="*/ 2147483647 h 62"/>
                  <a:gd name="T72" fmla="*/ 2147483647 w 166"/>
                  <a:gd name="T73" fmla="*/ 2147483647 h 62"/>
                  <a:gd name="T74" fmla="*/ 2072151542 w 166"/>
                  <a:gd name="T75" fmla="*/ 2147483647 h 62"/>
                  <a:gd name="T76" fmla="*/ 1514343043 w 166"/>
                  <a:gd name="T77" fmla="*/ 2147483647 h 62"/>
                  <a:gd name="T78" fmla="*/ 956349067 w 166"/>
                  <a:gd name="T79" fmla="*/ 2147483647 h 62"/>
                  <a:gd name="T80" fmla="*/ 557808499 w 166"/>
                  <a:gd name="T81" fmla="*/ 2147483647 h 62"/>
                  <a:gd name="T82" fmla="*/ 159453409 w 166"/>
                  <a:gd name="T83" fmla="*/ 2147483647 h 62"/>
                  <a:gd name="T84" fmla="*/ 79634181 w 166"/>
                  <a:gd name="T85" fmla="*/ 2147483647 h 62"/>
                  <a:gd name="T86" fmla="*/ 0 w 166"/>
                  <a:gd name="T87" fmla="*/ 2147483647 h 62"/>
                  <a:gd name="T88" fmla="*/ 79634181 w 166"/>
                  <a:gd name="T89" fmla="*/ 2147483647 h 62"/>
                  <a:gd name="T90" fmla="*/ 318721340 w 166"/>
                  <a:gd name="T91" fmla="*/ 2147483647 h 62"/>
                  <a:gd name="T92" fmla="*/ 557808499 w 166"/>
                  <a:gd name="T93" fmla="*/ 0 h 6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66" h="62">
                    <a:moveTo>
                      <a:pt x="7" y="0"/>
                    </a:moveTo>
                    <a:lnTo>
                      <a:pt x="14" y="3"/>
                    </a:lnTo>
                    <a:lnTo>
                      <a:pt x="22" y="6"/>
                    </a:lnTo>
                    <a:lnTo>
                      <a:pt x="30" y="7"/>
                    </a:lnTo>
                    <a:lnTo>
                      <a:pt x="36" y="8"/>
                    </a:lnTo>
                    <a:lnTo>
                      <a:pt x="48" y="8"/>
                    </a:lnTo>
                    <a:lnTo>
                      <a:pt x="58" y="7"/>
                    </a:lnTo>
                    <a:lnTo>
                      <a:pt x="69" y="5"/>
                    </a:lnTo>
                    <a:lnTo>
                      <a:pt x="80" y="3"/>
                    </a:lnTo>
                    <a:lnTo>
                      <a:pt x="92" y="1"/>
                    </a:lnTo>
                    <a:lnTo>
                      <a:pt x="106" y="0"/>
                    </a:lnTo>
                    <a:lnTo>
                      <a:pt x="111" y="1"/>
                    </a:lnTo>
                    <a:lnTo>
                      <a:pt x="115" y="2"/>
                    </a:lnTo>
                    <a:lnTo>
                      <a:pt x="120" y="5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8" y="26"/>
                    </a:lnTo>
                    <a:lnTo>
                      <a:pt x="145" y="36"/>
                    </a:lnTo>
                    <a:lnTo>
                      <a:pt x="151" y="45"/>
                    </a:lnTo>
                    <a:lnTo>
                      <a:pt x="155" y="49"/>
                    </a:lnTo>
                    <a:lnTo>
                      <a:pt x="158" y="52"/>
                    </a:lnTo>
                    <a:lnTo>
                      <a:pt x="162" y="54"/>
                    </a:lnTo>
                    <a:lnTo>
                      <a:pt x="166" y="56"/>
                    </a:lnTo>
                    <a:lnTo>
                      <a:pt x="159" y="57"/>
                    </a:lnTo>
                    <a:lnTo>
                      <a:pt x="151" y="59"/>
                    </a:lnTo>
                    <a:lnTo>
                      <a:pt x="143" y="61"/>
                    </a:lnTo>
                    <a:lnTo>
                      <a:pt x="133" y="62"/>
                    </a:lnTo>
                    <a:lnTo>
                      <a:pt x="125" y="61"/>
                    </a:lnTo>
                    <a:lnTo>
                      <a:pt x="119" y="58"/>
                    </a:lnTo>
                    <a:lnTo>
                      <a:pt x="112" y="54"/>
                    </a:lnTo>
                    <a:lnTo>
                      <a:pt x="106" y="50"/>
                    </a:lnTo>
                    <a:lnTo>
                      <a:pt x="100" y="45"/>
                    </a:lnTo>
                    <a:lnTo>
                      <a:pt x="93" y="41"/>
                    </a:lnTo>
                    <a:lnTo>
                      <a:pt x="87" y="39"/>
                    </a:lnTo>
                    <a:lnTo>
                      <a:pt x="79" y="38"/>
                    </a:lnTo>
                    <a:lnTo>
                      <a:pt x="56" y="38"/>
                    </a:lnTo>
                    <a:lnTo>
                      <a:pt x="35" y="39"/>
                    </a:lnTo>
                    <a:lnTo>
                      <a:pt x="26" y="41"/>
                    </a:lnTo>
                    <a:lnTo>
                      <a:pt x="19" y="43"/>
                    </a:lnTo>
                    <a:lnTo>
                      <a:pt x="12" y="46"/>
                    </a:lnTo>
                    <a:lnTo>
                      <a:pt x="7" y="50"/>
                    </a:lnTo>
                    <a:lnTo>
                      <a:pt x="2" y="45"/>
                    </a:lnTo>
                    <a:lnTo>
                      <a:pt x="1" y="40"/>
                    </a:lnTo>
                    <a:lnTo>
                      <a:pt x="0" y="34"/>
                    </a:lnTo>
                    <a:lnTo>
                      <a:pt x="1" y="28"/>
                    </a:lnTo>
                    <a:lnTo>
                      <a:pt x="4" y="15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6" name="Freeform 337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13284468" y="4138185"/>
                <a:ext cx="85725" cy="63500"/>
              </a:xfrm>
              <a:custGeom>
                <a:avLst/>
                <a:gdLst>
                  <a:gd name="T0" fmla="*/ 2147483647 w 193"/>
                  <a:gd name="T1" fmla="*/ 2147483647 h 121"/>
                  <a:gd name="T2" fmla="*/ 2147483647 w 193"/>
                  <a:gd name="T3" fmla="*/ 2147483647 h 121"/>
                  <a:gd name="T4" fmla="*/ 2147483647 w 193"/>
                  <a:gd name="T5" fmla="*/ 1734520343 h 121"/>
                  <a:gd name="T6" fmla="*/ 2147483647 w 193"/>
                  <a:gd name="T7" fmla="*/ 578081434 h 121"/>
                  <a:gd name="T8" fmla="*/ 2147483647 w 193"/>
                  <a:gd name="T9" fmla="*/ 144589500 h 121"/>
                  <a:gd name="T10" fmla="*/ 2147483647 w 193"/>
                  <a:gd name="T11" fmla="*/ 144589500 h 121"/>
                  <a:gd name="T12" fmla="*/ 2147483647 w 193"/>
                  <a:gd name="T13" fmla="*/ 433492459 h 121"/>
                  <a:gd name="T14" fmla="*/ 2147483647 w 193"/>
                  <a:gd name="T15" fmla="*/ 1445341868 h 121"/>
                  <a:gd name="T16" fmla="*/ 2147483647 w 193"/>
                  <a:gd name="T17" fmla="*/ 2147483647 h 121"/>
                  <a:gd name="T18" fmla="*/ 2147483647 w 193"/>
                  <a:gd name="T19" fmla="*/ 2147483647 h 121"/>
                  <a:gd name="T20" fmla="*/ 2147483647 w 193"/>
                  <a:gd name="T21" fmla="*/ 2147483647 h 121"/>
                  <a:gd name="T22" fmla="*/ 2147483647 w 193"/>
                  <a:gd name="T23" fmla="*/ 2147483647 h 121"/>
                  <a:gd name="T24" fmla="*/ 2147483647 w 193"/>
                  <a:gd name="T25" fmla="*/ 2147483647 h 121"/>
                  <a:gd name="T26" fmla="*/ 2147483647 w 193"/>
                  <a:gd name="T27" fmla="*/ 2147483647 h 121"/>
                  <a:gd name="T28" fmla="*/ 2147483647 w 193"/>
                  <a:gd name="T29" fmla="*/ 2147483647 h 121"/>
                  <a:gd name="T30" fmla="*/ 2147483647 w 193"/>
                  <a:gd name="T31" fmla="*/ 2147483647 h 121"/>
                  <a:gd name="T32" fmla="*/ 2147483647 w 193"/>
                  <a:gd name="T33" fmla="*/ 2147483647 h 121"/>
                  <a:gd name="T34" fmla="*/ 2147483647 w 193"/>
                  <a:gd name="T35" fmla="*/ 2147483647 h 121"/>
                  <a:gd name="T36" fmla="*/ 2147483647 w 193"/>
                  <a:gd name="T37" fmla="*/ 2147483647 h 121"/>
                  <a:gd name="T38" fmla="*/ 2147483647 w 193"/>
                  <a:gd name="T39" fmla="*/ 2147483647 h 121"/>
                  <a:gd name="T40" fmla="*/ 2147483647 w 193"/>
                  <a:gd name="T41" fmla="*/ 2147483647 h 121"/>
                  <a:gd name="T42" fmla="*/ 2147483647 w 193"/>
                  <a:gd name="T43" fmla="*/ 2147483647 h 121"/>
                  <a:gd name="T44" fmla="*/ 2147483647 w 193"/>
                  <a:gd name="T45" fmla="*/ 2147483647 h 121"/>
                  <a:gd name="T46" fmla="*/ 2147483647 w 193"/>
                  <a:gd name="T47" fmla="*/ 2147483647 h 121"/>
                  <a:gd name="T48" fmla="*/ 2147483647 w 193"/>
                  <a:gd name="T49" fmla="*/ 2147483647 h 121"/>
                  <a:gd name="T50" fmla="*/ 2147483647 w 193"/>
                  <a:gd name="T51" fmla="*/ 2147483647 h 121"/>
                  <a:gd name="T52" fmla="*/ 2147483647 w 193"/>
                  <a:gd name="T53" fmla="*/ 2147483647 h 121"/>
                  <a:gd name="T54" fmla="*/ 1139140006 w 193"/>
                  <a:gd name="T55" fmla="*/ 2147483647 h 121"/>
                  <a:gd name="T56" fmla="*/ 262984756 w 193"/>
                  <a:gd name="T57" fmla="*/ 2147483647 h 121"/>
                  <a:gd name="T58" fmla="*/ 0 w 193"/>
                  <a:gd name="T59" fmla="*/ 2147483647 h 121"/>
                  <a:gd name="T60" fmla="*/ 87595848 w 193"/>
                  <a:gd name="T61" fmla="*/ 2147483647 h 121"/>
                  <a:gd name="T62" fmla="*/ 613368149 w 193"/>
                  <a:gd name="T63" fmla="*/ 2147483647 h 121"/>
                  <a:gd name="T64" fmla="*/ 1752508155 w 193"/>
                  <a:gd name="T65" fmla="*/ 2147483647 h 1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93" h="121">
                    <a:moveTo>
                      <a:pt x="26" y="36"/>
                    </a:moveTo>
                    <a:lnTo>
                      <a:pt x="33" y="35"/>
                    </a:lnTo>
                    <a:lnTo>
                      <a:pt x="39" y="31"/>
                    </a:lnTo>
                    <a:lnTo>
                      <a:pt x="48" y="25"/>
                    </a:lnTo>
                    <a:lnTo>
                      <a:pt x="58" y="18"/>
                    </a:lnTo>
                    <a:lnTo>
                      <a:pt x="68" y="12"/>
                    </a:lnTo>
                    <a:lnTo>
                      <a:pt x="79" y="6"/>
                    </a:lnTo>
                    <a:lnTo>
                      <a:pt x="84" y="4"/>
                    </a:lnTo>
                    <a:lnTo>
                      <a:pt x="90" y="2"/>
                    </a:lnTo>
                    <a:lnTo>
                      <a:pt x="94" y="1"/>
                    </a:lnTo>
                    <a:lnTo>
                      <a:pt x="100" y="0"/>
                    </a:lnTo>
                    <a:lnTo>
                      <a:pt x="105" y="1"/>
                    </a:lnTo>
                    <a:lnTo>
                      <a:pt x="111" y="1"/>
                    </a:lnTo>
                    <a:lnTo>
                      <a:pt x="116" y="3"/>
                    </a:lnTo>
                    <a:lnTo>
                      <a:pt x="122" y="5"/>
                    </a:lnTo>
                    <a:lnTo>
                      <a:pt x="131" y="10"/>
                    </a:lnTo>
                    <a:lnTo>
                      <a:pt x="139" y="15"/>
                    </a:lnTo>
                    <a:lnTo>
                      <a:pt x="148" y="21"/>
                    </a:lnTo>
                    <a:lnTo>
                      <a:pt x="158" y="26"/>
                    </a:lnTo>
                    <a:lnTo>
                      <a:pt x="162" y="28"/>
                    </a:lnTo>
                    <a:lnTo>
                      <a:pt x="168" y="29"/>
                    </a:lnTo>
                    <a:lnTo>
                      <a:pt x="173" y="30"/>
                    </a:lnTo>
                    <a:lnTo>
                      <a:pt x="179" y="30"/>
                    </a:lnTo>
                    <a:lnTo>
                      <a:pt x="179" y="48"/>
                    </a:lnTo>
                    <a:lnTo>
                      <a:pt x="178" y="60"/>
                    </a:lnTo>
                    <a:lnTo>
                      <a:pt x="178" y="66"/>
                    </a:lnTo>
                    <a:lnTo>
                      <a:pt x="179" y="71"/>
                    </a:lnTo>
                    <a:lnTo>
                      <a:pt x="182" y="75"/>
                    </a:lnTo>
                    <a:lnTo>
                      <a:pt x="187" y="80"/>
                    </a:lnTo>
                    <a:lnTo>
                      <a:pt x="187" y="89"/>
                    </a:lnTo>
                    <a:lnTo>
                      <a:pt x="187" y="97"/>
                    </a:lnTo>
                    <a:lnTo>
                      <a:pt x="188" y="102"/>
                    </a:lnTo>
                    <a:lnTo>
                      <a:pt x="189" y="106"/>
                    </a:lnTo>
                    <a:lnTo>
                      <a:pt x="191" y="109"/>
                    </a:lnTo>
                    <a:lnTo>
                      <a:pt x="193" y="111"/>
                    </a:lnTo>
                    <a:lnTo>
                      <a:pt x="188" y="114"/>
                    </a:lnTo>
                    <a:lnTo>
                      <a:pt x="182" y="117"/>
                    </a:lnTo>
                    <a:lnTo>
                      <a:pt x="177" y="118"/>
                    </a:lnTo>
                    <a:lnTo>
                      <a:pt x="171" y="120"/>
                    </a:lnTo>
                    <a:lnTo>
                      <a:pt x="159" y="121"/>
                    </a:lnTo>
                    <a:lnTo>
                      <a:pt x="146" y="121"/>
                    </a:lnTo>
                    <a:lnTo>
                      <a:pt x="116" y="119"/>
                    </a:lnTo>
                    <a:lnTo>
                      <a:pt x="80" y="117"/>
                    </a:lnTo>
                    <a:lnTo>
                      <a:pt x="72" y="116"/>
                    </a:lnTo>
                    <a:lnTo>
                      <a:pt x="67" y="114"/>
                    </a:lnTo>
                    <a:lnTo>
                      <a:pt x="63" y="110"/>
                    </a:lnTo>
                    <a:lnTo>
                      <a:pt x="59" y="106"/>
                    </a:lnTo>
                    <a:lnTo>
                      <a:pt x="56" y="100"/>
                    </a:lnTo>
                    <a:lnTo>
                      <a:pt x="55" y="93"/>
                    </a:lnTo>
                    <a:lnTo>
                      <a:pt x="54" y="87"/>
                    </a:lnTo>
                    <a:lnTo>
                      <a:pt x="54" y="80"/>
                    </a:lnTo>
                    <a:lnTo>
                      <a:pt x="47" y="79"/>
                    </a:lnTo>
                    <a:lnTo>
                      <a:pt x="39" y="78"/>
                    </a:lnTo>
                    <a:lnTo>
                      <a:pt x="31" y="75"/>
                    </a:lnTo>
                    <a:lnTo>
                      <a:pt x="22" y="72"/>
                    </a:lnTo>
                    <a:lnTo>
                      <a:pt x="13" y="69"/>
                    </a:lnTo>
                    <a:lnTo>
                      <a:pt x="7" y="65"/>
                    </a:lnTo>
                    <a:lnTo>
                      <a:pt x="3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1" y="51"/>
                    </a:lnTo>
                    <a:lnTo>
                      <a:pt x="3" y="48"/>
                    </a:lnTo>
                    <a:lnTo>
                      <a:pt x="7" y="45"/>
                    </a:lnTo>
                    <a:lnTo>
                      <a:pt x="11" y="41"/>
                    </a:lnTo>
                    <a:lnTo>
                      <a:pt x="20" y="38"/>
                    </a:lnTo>
                    <a:lnTo>
                      <a:pt x="26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7" name="Freeform 338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12973318" y="4076272"/>
                <a:ext cx="166687" cy="230188"/>
              </a:xfrm>
              <a:custGeom>
                <a:avLst/>
                <a:gdLst>
                  <a:gd name="T0" fmla="*/ 2147483647 w 379"/>
                  <a:gd name="T1" fmla="*/ 2147483647 h 437"/>
                  <a:gd name="T2" fmla="*/ 2147483647 w 379"/>
                  <a:gd name="T3" fmla="*/ 2147483647 h 437"/>
                  <a:gd name="T4" fmla="*/ 2041659342 w 379"/>
                  <a:gd name="T5" fmla="*/ 2147483647 h 437"/>
                  <a:gd name="T6" fmla="*/ 170219093 w 379"/>
                  <a:gd name="T7" fmla="*/ 2147483647 h 437"/>
                  <a:gd name="T8" fmla="*/ 1276061113 w 379"/>
                  <a:gd name="T9" fmla="*/ 2147483647 h 437"/>
                  <a:gd name="T10" fmla="*/ 2147483647 w 379"/>
                  <a:gd name="T11" fmla="*/ 2147483647 h 437"/>
                  <a:gd name="T12" fmla="*/ 2147483647 w 379"/>
                  <a:gd name="T13" fmla="*/ 2147483647 h 437"/>
                  <a:gd name="T14" fmla="*/ 2147483647 w 379"/>
                  <a:gd name="T15" fmla="*/ 2147483647 h 437"/>
                  <a:gd name="T16" fmla="*/ 2147483647 w 379"/>
                  <a:gd name="T17" fmla="*/ 2147483647 h 437"/>
                  <a:gd name="T18" fmla="*/ 2147483647 w 379"/>
                  <a:gd name="T19" fmla="*/ 2147483647 h 437"/>
                  <a:gd name="T20" fmla="*/ 2147483647 w 379"/>
                  <a:gd name="T21" fmla="*/ 2147483647 h 437"/>
                  <a:gd name="T22" fmla="*/ 2147483647 w 379"/>
                  <a:gd name="T23" fmla="*/ 2147483647 h 437"/>
                  <a:gd name="T24" fmla="*/ 2147483647 w 379"/>
                  <a:gd name="T25" fmla="*/ 2147483647 h 437"/>
                  <a:gd name="T26" fmla="*/ 2147483647 w 379"/>
                  <a:gd name="T27" fmla="*/ 2147483647 h 437"/>
                  <a:gd name="T28" fmla="*/ 2147483647 w 379"/>
                  <a:gd name="T29" fmla="*/ 2147483647 h 437"/>
                  <a:gd name="T30" fmla="*/ 2147483647 w 379"/>
                  <a:gd name="T31" fmla="*/ 2147483647 h 437"/>
                  <a:gd name="T32" fmla="*/ 2147483647 w 379"/>
                  <a:gd name="T33" fmla="*/ 2147483647 h 437"/>
                  <a:gd name="T34" fmla="*/ 2147483647 w 379"/>
                  <a:gd name="T35" fmla="*/ 1022999719 h 437"/>
                  <a:gd name="T36" fmla="*/ 2147483647 w 379"/>
                  <a:gd name="T37" fmla="*/ 1315444355 h 437"/>
                  <a:gd name="T38" fmla="*/ 2147483647 w 379"/>
                  <a:gd name="T39" fmla="*/ 2147483647 h 437"/>
                  <a:gd name="T40" fmla="*/ 2147483647 w 379"/>
                  <a:gd name="T41" fmla="*/ 2147483647 h 437"/>
                  <a:gd name="T42" fmla="*/ 2147483647 w 379"/>
                  <a:gd name="T43" fmla="*/ 2147483647 h 437"/>
                  <a:gd name="T44" fmla="*/ 2147483647 w 379"/>
                  <a:gd name="T45" fmla="*/ 2147483647 h 437"/>
                  <a:gd name="T46" fmla="*/ 2147483647 w 379"/>
                  <a:gd name="T47" fmla="*/ 2147483647 h 437"/>
                  <a:gd name="T48" fmla="*/ 2147483647 w 379"/>
                  <a:gd name="T49" fmla="*/ 2147483647 h 437"/>
                  <a:gd name="T50" fmla="*/ 2147483647 w 379"/>
                  <a:gd name="T51" fmla="*/ 2147483647 h 437"/>
                  <a:gd name="T52" fmla="*/ 2147483647 w 379"/>
                  <a:gd name="T53" fmla="*/ 2147483647 h 437"/>
                  <a:gd name="T54" fmla="*/ 2147483647 w 379"/>
                  <a:gd name="T55" fmla="*/ 2147483647 h 437"/>
                  <a:gd name="T56" fmla="*/ 2147483647 w 379"/>
                  <a:gd name="T57" fmla="*/ 2147483647 h 437"/>
                  <a:gd name="T58" fmla="*/ 2147483647 w 379"/>
                  <a:gd name="T59" fmla="*/ 2147483647 h 437"/>
                  <a:gd name="T60" fmla="*/ 2147483647 w 379"/>
                  <a:gd name="T61" fmla="*/ 2147483647 h 437"/>
                  <a:gd name="T62" fmla="*/ 2147483647 w 379"/>
                  <a:gd name="T63" fmla="*/ 2147483647 h 437"/>
                  <a:gd name="T64" fmla="*/ 2147483647 w 379"/>
                  <a:gd name="T65" fmla="*/ 2147483647 h 437"/>
                  <a:gd name="T66" fmla="*/ 2147483647 w 379"/>
                  <a:gd name="T67" fmla="*/ 2147483647 h 437"/>
                  <a:gd name="T68" fmla="*/ 2147483647 w 379"/>
                  <a:gd name="T69" fmla="*/ 2147483647 h 437"/>
                  <a:gd name="T70" fmla="*/ 2147483647 w 379"/>
                  <a:gd name="T71" fmla="*/ 2147483647 h 437"/>
                  <a:gd name="T72" fmla="*/ 2147483647 w 379"/>
                  <a:gd name="T73" fmla="*/ 2147483647 h 437"/>
                  <a:gd name="T74" fmla="*/ 2147483647 w 379"/>
                  <a:gd name="T75" fmla="*/ 2147483647 h 437"/>
                  <a:gd name="T76" fmla="*/ 2147483647 w 379"/>
                  <a:gd name="T77" fmla="*/ 2147483647 h 437"/>
                  <a:gd name="T78" fmla="*/ 2147483647 w 379"/>
                  <a:gd name="T79" fmla="*/ 2147483647 h 437"/>
                  <a:gd name="T80" fmla="*/ 2147483647 w 379"/>
                  <a:gd name="T81" fmla="*/ 2147483647 h 437"/>
                  <a:gd name="T82" fmla="*/ 2147483647 w 379"/>
                  <a:gd name="T83" fmla="*/ 2147483647 h 437"/>
                  <a:gd name="T84" fmla="*/ 2147483647 w 379"/>
                  <a:gd name="T85" fmla="*/ 2147483647 h 437"/>
                  <a:gd name="T86" fmla="*/ 2147483647 w 379"/>
                  <a:gd name="T87" fmla="*/ 2147483647 h 437"/>
                  <a:gd name="T88" fmla="*/ 2147483647 w 379"/>
                  <a:gd name="T89" fmla="*/ 2147483647 h 437"/>
                  <a:gd name="T90" fmla="*/ 2147483647 w 379"/>
                  <a:gd name="T91" fmla="*/ 2147483647 h 437"/>
                  <a:gd name="T92" fmla="*/ 2147483647 w 379"/>
                  <a:gd name="T93" fmla="*/ 2147483647 h 437"/>
                  <a:gd name="T94" fmla="*/ 2147483647 w 379"/>
                  <a:gd name="T95" fmla="*/ 2147483647 h 437"/>
                  <a:gd name="T96" fmla="*/ 2147483647 w 379"/>
                  <a:gd name="T97" fmla="*/ 2147483647 h 437"/>
                  <a:gd name="T98" fmla="*/ 2147483647 w 379"/>
                  <a:gd name="T99" fmla="*/ 2147483647 h 437"/>
                  <a:gd name="T100" fmla="*/ 2147483647 w 379"/>
                  <a:gd name="T101" fmla="*/ 2147483647 h 437"/>
                  <a:gd name="T102" fmla="*/ 2147483647 w 379"/>
                  <a:gd name="T103" fmla="*/ 2147483647 h 437"/>
                  <a:gd name="T104" fmla="*/ 2147483647 w 379"/>
                  <a:gd name="T105" fmla="*/ 2147483647 h 437"/>
                  <a:gd name="T106" fmla="*/ 2147483647 w 379"/>
                  <a:gd name="T107" fmla="*/ 2147483647 h 437"/>
                  <a:gd name="T108" fmla="*/ 2147483647 w 379"/>
                  <a:gd name="T109" fmla="*/ 2147483647 h 437"/>
                  <a:gd name="T110" fmla="*/ 2147483647 w 379"/>
                  <a:gd name="T111" fmla="*/ 2147483647 h 437"/>
                  <a:gd name="T112" fmla="*/ 2147483647 w 379"/>
                  <a:gd name="T113" fmla="*/ 2147483647 h 437"/>
                  <a:gd name="T114" fmla="*/ 2147483647 w 379"/>
                  <a:gd name="T115" fmla="*/ 2147483647 h 437"/>
                  <a:gd name="T116" fmla="*/ 2147483647 w 379"/>
                  <a:gd name="T117" fmla="*/ 2147483647 h 437"/>
                  <a:gd name="T118" fmla="*/ 2147483647 w 379"/>
                  <a:gd name="T119" fmla="*/ 2147483647 h 437"/>
                  <a:gd name="T120" fmla="*/ 2147483647 w 379"/>
                  <a:gd name="T121" fmla="*/ 2147483647 h 43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79" h="437">
                    <a:moveTo>
                      <a:pt x="59" y="437"/>
                    </a:moveTo>
                    <a:lnTo>
                      <a:pt x="33" y="437"/>
                    </a:lnTo>
                    <a:lnTo>
                      <a:pt x="34" y="430"/>
                    </a:lnTo>
                    <a:lnTo>
                      <a:pt x="37" y="419"/>
                    </a:lnTo>
                    <a:lnTo>
                      <a:pt x="38" y="415"/>
                    </a:lnTo>
                    <a:lnTo>
                      <a:pt x="41" y="410"/>
                    </a:lnTo>
                    <a:lnTo>
                      <a:pt x="44" y="408"/>
                    </a:lnTo>
                    <a:lnTo>
                      <a:pt x="46" y="407"/>
                    </a:lnTo>
                    <a:lnTo>
                      <a:pt x="46" y="320"/>
                    </a:lnTo>
                    <a:lnTo>
                      <a:pt x="38" y="317"/>
                    </a:lnTo>
                    <a:lnTo>
                      <a:pt x="32" y="314"/>
                    </a:lnTo>
                    <a:lnTo>
                      <a:pt x="24" y="311"/>
                    </a:lnTo>
                    <a:lnTo>
                      <a:pt x="18" y="307"/>
                    </a:lnTo>
                    <a:lnTo>
                      <a:pt x="12" y="303"/>
                    </a:lnTo>
                    <a:lnTo>
                      <a:pt x="7" y="299"/>
                    </a:lnTo>
                    <a:lnTo>
                      <a:pt x="2" y="294"/>
                    </a:lnTo>
                    <a:lnTo>
                      <a:pt x="0" y="290"/>
                    </a:lnTo>
                    <a:lnTo>
                      <a:pt x="5" y="284"/>
                    </a:lnTo>
                    <a:lnTo>
                      <a:pt x="11" y="278"/>
                    </a:lnTo>
                    <a:lnTo>
                      <a:pt x="15" y="270"/>
                    </a:lnTo>
                    <a:lnTo>
                      <a:pt x="19" y="264"/>
                    </a:lnTo>
                    <a:lnTo>
                      <a:pt x="24" y="250"/>
                    </a:lnTo>
                    <a:lnTo>
                      <a:pt x="28" y="236"/>
                    </a:lnTo>
                    <a:lnTo>
                      <a:pt x="31" y="221"/>
                    </a:lnTo>
                    <a:lnTo>
                      <a:pt x="32" y="204"/>
                    </a:lnTo>
                    <a:lnTo>
                      <a:pt x="33" y="189"/>
                    </a:lnTo>
                    <a:lnTo>
                      <a:pt x="33" y="173"/>
                    </a:lnTo>
                    <a:lnTo>
                      <a:pt x="39" y="172"/>
                    </a:lnTo>
                    <a:lnTo>
                      <a:pt x="45" y="170"/>
                    </a:lnTo>
                    <a:lnTo>
                      <a:pt x="50" y="168"/>
                    </a:lnTo>
                    <a:lnTo>
                      <a:pt x="54" y="164"/>
                    </a:lnTo>
                    <a:lnTo>
                      <a:pt x="57" y="159"/>
                    </a:lnTo>
                    <a:lnTo>
                      <a:pt x="59" y="154"/>
                    </a:lnTo>
                    <a:lnTo>
                      <a:pt x="61" y="149"/>
                    </a:lnTo>
                    <a:lnTo>
                      <a:pt x="63" y="143"/>
                    </a:lnTo>
                    <a:lnTo>
                      <a:pt x="65" y="130"/>
                    </a:lnTo>
                    <a:lnTo>
                      <a:pt x="66" y="115"/>
                    </a:lnTo>
                    <a:lnTo>
                      <a:pt x="69" y="100"/>
                    </a:lnTo>
                    <a:lnTo>
                      <a:pt x="72" y="86"/>
                    </a:lnTo>
                    <a:lnTo>
                      <a:pt x="76" y="78"/>
                    </a:lnTo>
                    <a:lnTo>
                      <a:pt x="78" y="71"/>
                    </a:lnTo>
                    <a:lnTo>
                      <a:pt x="81" y="64"/>
                    </a:lnTo>
                    <a:lnTo>
                      <a:pt x="86" y="57"/>
                    </a:lnTo>
                    <a:lnTo>
                      <a:pt x="90" y="51"/>
                    </a:lnTo>
                    <a:lnTo>
                      <a:pt x="95" y="44"/>
                    </a:lnTo>
                    <a:lnTo>
                      <a:pt x="101" y="39"/>
                    </a:lnTo>
                    <a:lnTo>
                      <a:pt x="108" y="35"/>
                    </a:lnTo>
                    <a:lnTo>
                      <a:pt x="115" y="31"/>
                    </a:lnTo>
                    <a:lnTo>
                      <a:pt x="123" y="29"/>
                    </a:lnTo>
                    <a:lnTo>
                      <a:pt x="132" y="27"/>
                    </a:lnTo>
                    <a:lnTo>
                      <a:pt x="142" y="25"/>
                    </a:lnTo>
                    <a:lnTo>
                      <a:pt x="153" y="25"/>
                    </a:lnTo>
                    <a:lnTo>
                      <a:pt x="165" y="26"/>
                    </a:lnTo>
                    <a:lnTo>
                      <a:pt x="178" y="28"/>
                    </a:lnTo>
                    <a:lnTo>
                      <a:pt x="192" y="30"/>
                    </a:lnTo>
                    <a:lnTo>
                      <a:pt x="217" y="38"/>
                    </a:lnTo>
                    <a:lnTo>
                      <a:pt x="237" y="44"/>
                    </a:lnTo>
                    <a:lnTo>
                      <a:pt x="246" y="46"/>
                    </a:lnTo>
                    <a:lnTo>
                      <a:pt x="254" y="47"/>
                    </a:lnTo>
                    <a:lnTo>
                      <a:pt x="262" y="48"/>
                    </a:lnTo>
                    <a:lnTo>
                      <a:pt x="272" y="50"/>
                    </a:lnTo>
                    <a:lnTo>
                      <a:pt x="283" y="48"/>
                    </a:lnTo>
                    <a:lnTo>
                      <a:pt x="294" y="47"/>
                    </a:lnTo>
                    <a:lnTo>
                      <a:pt x="303" y="45"/>
                    </a:lnTo>
                    <a:lnTo>
                      <a:pt x="311" y="42"/>
                    </a:lnTo>
                    <a:lnTo>
                      <a:pt x="317" y="39"/>
                    </a:lnTo>
                    <a:lnTo>
                      <a:pt x="324" y="35"/>
                    </a:lnTo>
                    <a:lnTo>
                      <a:pt x="329" y="31"/>
                    </a:lnTo>
                    <a:lnTo>
                      <a:pt x="334" y="27"/>
                    </a:lnTo>
                    <a:lnTo>
                      <a:pt x="343" y="18"/>
                    </a:lnTo>
                    <a:lnTo>
                      <a:pt x="351" y="10"/>
                    </a:lnTo>
                    <a:lnTo>
                      <a:pt x="356" y="7"/>
                    </a:lnTo>
                    <a:lnTo>
                      <a:pt x="360" y="4"/>
                    </a:lnTo>
                    <a:lnTo>
                      <a:pt x="366" y="2"/>
                    </a:lnTo>
                    <a:lnTo>
                      <a:pt x="371" y="0"/>
                    </a:lnTo>
                    <a:lnTo>
                      <a:pt x="374" y="9"/>
                    </a:lnTo>
                    <a:lnTo>
                      <a:pt x="379" y="18"/>
                    </a:lnTo>
                    <a:lnTo>
                      <a:pt x="378" y="23"/>
                    </a:lnTo>
                    <a:lnTo>
                      <a:pt x="375" y="29"/>
                    </a:lnTo>
                    <a:lnTo>
                      <a:pt x="372" y="35"/>
                    </a:lnTo>
                    <a:lnTo>
                      <a:pt x="369" y="41"/>
                    </a:lnTo>
                    <a:lnTo>
                      <a:pt x="358" y="55"/>
                    </a:lnTo>
                    <a:lnTo>
                      <a:pt x="344" y="68"/>
                    </a:lnTo>
                    <a:lnTo>
                      <a:pt x="329" y="80"/>
                    </a:lnTo>
                    <a:lnTo>
                      <a:pt x="314" y="89"/>
                    </a:lnTo>
                    <a:lnTo>
                      <a:pt x="306" y="93"/>
                    </a:lnTo>
                    <a:lnTo>
                      <a:pt x="299" y="96"/>
                    </a:lnTo>
                    <a:lnTo>
                      <a:pt x="292" y="97"/>
                    </a:lnTo>
                    <a:lnTo>
                      <a:pt x="285" y="98"/>
                    </a:lnTo>
                    <a:lnTo>
                      <a:pt x="280" y="98"/>
                    </a:lnTo>
                    <a:lnTo>
                      <a:pt x="276" y="96"/>
                    </a:lnTo>
                    <a:lnTo>
                      <a:pt x="271" y="94"/>
                    </a:lnTo>
                    <a:lnTo>
                      <a:pt x="266" y="91"/>
                    </a:lnTo>
                    <a:lnTo>
                      <a:pt x="257" y="85"/>
                    </a:lnTo>
                    <a:lnTo>
                      <a:pt x="248" y="77"/>
                    </a:lnTo>
                    <a:lnTo>
                      <a:pt x="238" y="69"/>
                    </a:lnTo>
                    <a:lnTo>
                      <a:pt x="228" y="62"/>
                    </a:lnTo>
                    <a:lnTo>
                      <a:pt x="223" y="60"/>
                    </a:lnTo>
                    <a:lnTo>
                      <a:pt x="217" y="57"/>
                    </a:lnTo>
                    <a:lnTo>
                      <a:pt x="212" y="56"/>
                    </a:lnTo>
                    <a:lnTo>
                      <a:pt x="205" y="56"/>
                    </a:lnTo>
                    <a:lnTo>
                      <a:pt x="199" y="56"/>
                    </a:lnTo>
                    <a:lnTo>
                      <a:pt x="190" y="56"/>
                    </a:lnTo>
                    <a:lnTo>
                      <a:pt x="177" y="56"/>
                    </a:lnTo>
                    <a:lnTo>
                      <a:pt x="159" y="56"/>
                    </a:lnTo>
                    <a:lnTo>
                      <a:pt x="151" y="56"/>
                    </a:lnTo>
                    <a:lnTo>
                      <a:pt x="145" y="58"/>
                    </a:lnTo>
                    <a:lnTo>
                      <a:pt x="138" y="61"/>
                    </a:lnTo>
                    <a:lnTo>
                      <a:pt x="132" y="64"/>
                    </a:lnTo>
                    <a:lnTo>
                      <a:pt x="125" y="69"/>
                    </a:lnTo>
                    <a:lnTo>
                      <a:pt x="120" y="74"/>
                    </a:lnTo>
                    <a:lnTo>
                      <a:pt x="114" y="79"/>
                    </a:lnTo>
                    <a:lnTo>
                      <a:pt x="109" y="85"/>
                    </a:lnTo>
                    <a:lnTo>
                      <a:pt x="92" y="110"/>
                    </a:lnTo>
                    <a:lnTo>
                      <a:pt x="79" y="129"/>
                    </a:lnTo>
                    <a:lnTo>
                      <a:pt x="79" y="161"/>
                    </a:lnTo>
                    <a:lnTo>
                      <a:pt x="91" y="161"/>
                    </a:lnTo>
                    <a:lnTo>
                      <a:pt x="102" y="163"/>
                    </a:lnTo>
                    <a:lnTo>
                      <a:pt x="111" y="165"/>
                    </a:lnTo>
                    <a:lnTo>
                      <a:pt x="119" y="169"/>
                    </a:lnTo>
                    <a:lnTo>
                      <a:pt x="124" y="173"/>
                    </a:lnTo>
                    <a:lnTo>
                      <a:pt x="128" y="178"/>
                    </a:lnTo>
                    <a:lnTo>
                      <a:pt x="132" y="184"/>
                    </a:lnTo>
                    <a:lnTo>
                      <a:pt x="133" y="191"/>
                    </a:lnTo>
                    <a:lnTo>
                      <a:pt x="139" y="186"/>
                    </a:lnTo>
                    <a:lnTo>
                      <a:pt x="145" y="180"/>
                    </a:lnTo>
                    <a:lnTo>
                      <a:pt x="150" y="174"/>
                    </a:lnTo>
                    <a:lnTo>
                      <a:pt x="155" y="168"/>
                    </a:lnTo>
                    <a:lnTo>
                      <a:pt x="159" y="163"/>
                    </a:lnTo>
                    <a:lnTo>
                      <a:pt x="164" y="157"/>
                    </a:lnTo>
                    <a:lnTo>
                      <a:pt x="168" y="155"/>
                    </a:lnTo>
                    <a:lnTo>
                      <a:pt x="172" y="153"/>
                    </a:lnTo>
                    <a:lnTo>
                      <a:pt x="184" y="150"/>
                    </a:lnTo>
                    <a:lnTo>
                      <a:pt x="196" y="149"/>
                    </a:lnTo>
                    <a:lnTo>
                      <a:pt x="209" y="149"/>
                    </a:lnTo>
                    <a:lnTo>
                      <a:pt x="221" y="150"/>
                    </a:lnTo>
                    <a:lnTo>
                      <a:pt x="232" y="150"/>
                    </a:lnTo>
                    <a:lnTo>
                      <a:pt x="242" y="149"/>
                    </a:lnTo>
                    <a:lnTo>
                      <a:pt x="246" y="148"/>
                    </a:lnTo>
                    <a:lnTo>
                      <a:pt x="250" y="147"/>
                    </a:lnTo>
                    <a:lnTo>
                      <a:pt x="255" y="144"/>
                    </a:lnTo>
                    <a:lnTo>
                      <a:pt x="259" y="141"/>
                    </a:lnTo>
                    <a:lnTo>
                      <a:pt x="268" y="158"/>
                    </a:lnTo>
                    <a:lnTo>
                      <a:pt x="273" y="173"/>
                    </a:lnTo>
                    <a:lnTo>
                      <a:pt x="276" y="179"/>
                    </a:lnTo>
                    <a:lnTo>
                      <a:pt x="278" y="187"/>
                    </a:lnTo>
                    <a:lnTo>
                      <a:pt x="278" y="194"/>
                    </a:lnTo>
                    <a:lnTo>
                      <a:pt x="279" y="203"/>
                    </a:lnTo>
                    <a:lnTo>
                      <a:pt x="268" y="200"/>
                    </a:lnTo>
                    <a:lnTo>
                      <a:pt x="259" y="198"/>
                    </a:lnTo>
                    <a:lnTo>
                      <a:pt x="252" y="195"/>
                    </a:lnTo>
                    <a:lnTo>
                      <a:pt x="246" y="192"/>
                    </a:lnTo>
                    <a:lnTo>
                      <a:pt x="240" y="189"/>
                    </a:lnTo>
                    <a:lnTo>
                      <a:pt x="235" y="187"/>
                    </a:lnTo>
                    <a:lnTo>
                      <a:pt x="227" y="185"/>
                    </a:lnTo>
                    <a:lnTo>
                      <a:pt x="218" y="185"/>
                    </a:lnTo>
                    <a:lnTo>
                      <a:pt x="210" y="186"/>
                    </a:lnTo>
                    <a:lnTo>
                      <a:pt x="202" y="188"/>
                    </a:lnTo>
                    <a:lnTo>
                      <a:pt x="196" y="191"/>
                    </a:lnTo>
                    <a:lnTo>
                      <a:pt x="192" y="195"/>
                    </a:lnTo>
                    <a:lnTo>
                      <a:pt x="189" y="199"/>
                    </a:lnTo>
                    <a:lnTo>
                      <a:pt x="187" y="203"/>
                    </a:lnTo>
                    <a:lnTo>
                      <a:pt x="186" y="206"/>
                    </a:lnTo>
                    <a:lnTo>
                      <a:pt x="186" y="209"/>
                    </a:lnTo>
                    <a:lnTo>
                      <a:pt x="186" y="215"/>
                    </a:lnTo>
                    <a:lnTo>
                      <a:pt x="188" y="223"/>
                    </a:lnTo>
                    <a:lnTo>
                      <a:pt x="189" y="228"/>
                    </a:lnTo>
                    <a:lnTo>
                      <a:pt x="192" y="233"/>
                    </a:lnTo>
                    <a:lnTo>
                      <a:pt x="198" y="243"/>
                    </a:lnTo>
                    <a:lnTo>
                      <a:pt x="205" y="252"/>
                    </a:lnTo>
                    <a:lnTo>
                      <a:pt x="213" y="261"/>
                    </a:lnTo>
                    <a:lnTo>
                      <a:pt x="220" y="272"/>
                    </a:lnTo>
                    <a:lnTo>
                      <a:pt x="222" y="277"/>
                    </a:lnTo>
                    <a:lnTo>
                      <a:pt x="224" y="283"/>
                    </a:lnTo>
                    <a:lnTo>
                      <a:pt x="225" y="289"/>
                    </a:lnTo>
                    <a:lnTo>
                      <a:pt x="225" y="296"/>
                    </a:lnTo>
                    <a:lnTo>
                      <a:pt x="225" y="302"/>
                    </a:lnTo>
                    <a:lnTo>
                      <a:pt x="222" y="309"/>
                    </a:lnTo>
                    <a:lnTo>
                      <a:pt x="220" y="316"/>
                    </a:lnTo>
                    <a:lnTo>
                      <a:pt x="215" y="322"/>
                    </a:lnTo>
                    <a:lnTo>
                      <a:pt x="212" y="329"/>
                    </a:lnTo>
                    <a:lnTo>
                      <a:pt x="209" y="335"/>
                    </a:lnTo>
                    <a:lnTo>
                      <a:pt x="206" y="340"/>
                    </a:lnTo>
                    <a:lnTo>
                      <a:pt x="205" y="345"/>
                    </a:lnTo>
                    <a:lnTo>
                      <a:pt x="205" y="348"/>
                    </a:lnTo>
                    <a:lnTo>
                      <a:pt x="206" y="351"/>
                    </a:lnTo>
                    <a:lnTo>
                      <a:pt x="209" y="354"/>
                    </a:lnTo>
                    <a:lnTo>
                      <a:pt x="210" y="356"/>
                    </a:lnTo>
                    <a:lnTo>
                      <a:pt x="215" y="361"/>
                    </a:lnTo>
                    <a:lnTo>
                      <a:pt x="222" y="364"/>
                    </a:lnTo>
                    <a:lnTo>
                      <a:pt x="228" y="366"/>
                    </a:lnTo>
                    <a:lnTo>
                      <a:pt x="236" y="368"/>
                    </a:lnTo>
                    <a:lnTo>
                      <a:pt x="244" y="369"/>
                    </a:lnTo>
                    <a:lnTo>
                      <a:pt x="252" y="369"/>
                    </a:lnTo>
                    <a:lnTo>
                      <a:pt x="252" y="390"/>
                    </a:lnTo>
                    <a:lnTo>
                      <a:pt x="252" y="400"/>
                    </a:lnTo>
                    <a:lnTo>
                      <a:pt x="252" y="411"/>
                    </a:lnTo>
                    <a:lnTo>
                      <a:pt x="252" y="431"/>
                    </a:lnTo>
                    <a:lnTo>
                      <a:pt x="245" y="430"/>
                    </a:lnTo>
                    <a:lnTo>
                      <a:pt x="239" y="429"/>
                    </a:lnTo>
                    <a:lnTo>
                      <a:pt x="234" y="427"/>
                    </a:lnTo>
                    <a:lnTo>
                      <a:pt x="229" y="425"/>
                    </a:lnTo>
                    <a:lnTo>
                      <a:pt x="225" y="423"/>
                    </a:lnTo>
                    <a:lnTo>
                      <a:pt x="221" y="421"/>
                    </a:lnTo>
                    <a:lnTo>
                      <a:pt x="217" y="419"/>
                    </a:lnTo>
                    <a:lnTo>
                      <a:pt x="212" y="419"/>
                    </a:lnTo>
                    <a:lnTo>
                      <a:pt x="207" y="418"/>
                    </a:lnTo>
                    <a:lnTo>
                      <a:pt x="202" y="417"/>
                    </a:lnTo>
                    <a:lnTo>
                      <a:pt x="198" y="416"/>
                    </a:lnTo>
                    <a:lnTo>
                      <a:pt x="193" y="414"/>
                    </a:lnTo>
                    <a:lnTo>
                      <a:pt x="186" y="408"/>
                    </a:lnTo>
                    <a:lnTo>
                      <a:pt x="177" y="400"/>
                    </a:lnTo>
                    <a:lnTo>
                      <a:pt x="170" y="391"/>
                    </a:lnTo>
                    <a:lnTo>
                      <a:pt x="164" y="379"/>
                    </a:lnTo>
                    <a:lnTo>
                      <a:pt x="158" y="368"/>
                    </a:lnTo>
                    <a:lnTo>
                      <a:pt x="153" y="356"/>
                    </a:lnTo>
                    <a:lnTo>
                      <a:pt x="148" y="343"/>
                    </a:lnTo>
                    <a:lnTo>
                      <a:pt x="144" y="330"/>
                    </a:lnTo>
                    <a:lnTo>
                      <a:pt x="140" y="317"/>
                    </a:lnTo>
                    <a:lnTo>
                      <a:pt x="137" y="304"/>
                    </a:lnTo>
                    <a:lnTo>
                      <a:pt x="134" y="282"/>
                    </a:lnTo>
                    <a:lnTo>
                      <a:pt x="133" y="264"/>
                    </a:lnTo>
                    <a:lnTo>
                      <a:pt x="122" y="264"/>
                    </a:lnTo>
                    <a:lnTo>
                      <a:pt x="114" y="263"/>
                    </a:lnTo>
                    <a:lnTo>
                      <a:pt x="109" y="261"/>
                    </a:lnTo>
                    <a:lnTo>
                      <a:pt x="104" y="260"/>
                    </a:lnTo>
                    <a:lnTo>
                      <a:pt x="101" y="259"/>
                    </a:lnTo>
                    <a:lnTo>
                      <a:pt x="97" y="259"/>
                    </a:lnTo>
                    <a:lnTo>
                      <a:pt x="92" y="261"/>
                    </a:lnTo>
                    <a:lnTo>
                      <a:pt x="86" y="264"/>
                    </a:lnTo>
                    <a:lnTo>
                      <a:pt x="86" y="296"/>
                    </a:lnTo>
                    <a:lnTo>
                      <a:pt x="105" y="381"/>
                    </a:lnTo>
                    <a:lnTo>
                      <a:pt x="104" y="389"/>
                    </a:lnTo>
                    <a:lnTo>
                      <a:pt x="101" y="394"/>
                    </a:lnTo>
                    <a:lnTo>
                      <a:pt x="98" y="399"/>
                    </a:lnTo>
                    <a:lnTo>
                      <a:pt x="93" y="404"/>
                    </a:lnTo>
                    <a:lnTo>
                      <a:pt x="83" y="411"/>
                    </a:lnTo>
                    <a:lnTo>
                      <a:pt x="72" y="416"/>
                    </a:lnTo>
                    <a:lnTo>
                      <a:pt x="64" y="421"/>
                    </a:lnTo>
                    <a:lnTo>
                      <a:pt x="57" y="426"/>
                    </a:lnTo>
                    <a:lnTo>
                      <a:pt x="56" y="428"/>
                    </a:lnTo>
                    <a:lnTo>
                      <a:pt x="55" y="431"/>
                    </a:lnTo>
                    <a:lnTo>
                      <a:pt x="56" y="434"/>
                    </a:lnTo>
                    <a:lnTo>
                      <a:pt x="59" y="4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8" name="Freeform 339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12638355" y="4317572"/>
                <a:ext cx="250825" cy="95250"/>
              </a:xfrm>
              <a:custGeom>
                <a:avLst/>
                <a:gdLst>
                  <a:gd name="T0" fmla="*/ 898829652 w 578"/>
                  <a:gd name="T1" fmla="*/ 2147483647 h 184"/>
                  <a:gd name="T2" fmla="*/ 1961305258 w 578"/>
                  <a:gd name="T3" fmla="*/ 2147483647 h 184"/>
                  <a:gd name="T4" fmla="*/ 2147483647 w 578"/>
                  <a:gd name="T5" fmla="*/ 971141564 h 184"/>
                  <a:gd name="T6" fmla="*/ 2147483647 w 578"/>
                  <a:gd name="T7" fmla="*/ 0 h 184"/>
                  <a:gd name="T8" fmla="*/ 2147483647 w 578"/>
                  <a:gd name="T9" fmla="*/ 277354023 h 184"/>
                  <a:gd name="T10" fmla="*/ 2147483647 w 578"/>
                  <a:gd name="T11" fmla="*/ 277354023 h 184"/>
                  <a:gd name="T12" fmla="*/ 2147483647 w 578"/>
                  <a:gd name="T13" fmla="*/ 693519391 h 184"/>
                  <a:gd name="T14" fmla="*/ 2147483647 w 578"/>
                  <a:gd name="T15" fmla="*/ 2080826323 h 184"/>
                  <a:gd name="T16" fmla="*/ 2147483647 w 578"/>
                  <a:gd name="T17" fmla="*/ 2147483647 h 184"/>
                  <a:gd name="T18" fmla="*/ 2147483647 w 578"/>
                  <a:gd name="T19" fmla="*/ 2147483647 h 184"/>
                  <a:gd name="T20" fmla="*/ 2147483647 w 578"/>
                  <a:gd name="T21" fmla="*/ 2147483647 h 184"/>
                  <a:gd name="T22" fmla="*/ 2147483647 w 578"/>
                  <a:gd name="T23" fmla="*/ 2147483647 h 184"/>
                  <a:gd name="T24" fmla="*/ 2147483647 w 578"/>
                  <a:gd name="T25" fmla="*/ 2147483647 h 184"/>
                  <a:gd name="T26" fmla="*/ 2147483647 w 578"/>
                  <a:gd name="T27" fmla="*/ 2147483647 h 184"/>
                  <a:gd name="T28" fmla="*/ 2147483647 w 578"/>
                  <a:gd name="T29" fmla="*/ 2147483647 h 184"/>
                  <a:gd name="T30" fmla="*/ 2147483647 w 578"/>
                  <a:gd name="T31" fmla="*/ 2147483647 h 184"/>
                  <a:gd name="T32" fmla="*/ 2147483647 w 578"/>
                  <a:gd name="T33" fmla="*/ 2147483647 h 184"/>
                  <a:gd name="T34" fmla="*/ 2147483647 w 578"/>
                  <a:gd name="T35" fmla="*/ 2147483647 h 184"/>
                  <a:gd name="T36" fmla="*/ 2147483647 w 578"/>
                  <a:gd name="T37" fmla="*/ 2147483647 h 184"/>
                  <a:gd name="T38" fmla="*/ 2147483647 w 578"/>
                  <a:gd name="T39" fmla="*/ 2147483647 h 184"/>
                  <a:gd name="T40" fmla="*/ 2147483647 w 578"/>
                  <a:gd name="T41" fmla="*/ 2147483647 h 184"/>
                  <a:gd name="T42" fmla="*/ 2147483647 w 578"/>
                  <a:gd name="T43" fmla="*/ 2147483647 h 184"/>
                  <a:gd name="T44" fmla="*/ 2147483647 w 578"/>
                  <a:gd name="T45" fmla="*/ 2147483647 h 184"/>
                  <a:gd name="T46" fmla="*/ 2147483647 w 578"/>
                  <a:gd name="T47" fmla="*/ 2147483647 h 184"/>
                  <a:gd name="T48" fmla="*/ 2147483647 w 578"/>
                  <a:gd name="T49" fmla="*/ 2147483647 h 184"/>
                  <a:gd name="T50" fmla="*/ 2147483647 w 578"/>
                  <a:gd name="T51" fmla="*/ 2147483647 h 184"/>
                  <a:gd name="T52" fmla="*/ 2147483647 w 578"/>
                  <a:gd name="T53" fmla="*/ 2147483647 h 184"/>
                  <a:gd name="T54" fmla="*/ 2147483647 w 578"/>
                  <a:gd name="T55" fmla="*/ 2147483647 h 184"/>
                  <a:gd name="T56" fmla="*/ 2147483647 w 578"/>
                  <a:gd name="T57" fmla="*/ 2147483647 h 184"/>
                  <a:gd name="T58" fmla="*/ 2147483647 w 578"/>
                  <a:gd name="T59" fmla="*/ 2147483647 h 184"/>
                  <a:gd name="T60" fmla="*/ 2147483647 w 578"/>
                  <a:gd name="T61" fmla="*/ 2147483647 h 184"/>
                  <a:gd name="T62" fmla="*/ 2147483647 w 578"/>
                  <a:gd name="T63" fmla="*/ 2147483647 h 184"/>
                  <a:gd name="T64" fmla="*/ 2147483647 w 578"/>
                  <a:gd name="T65" fmla="*/ 2147483647 h 184"/>
                  <a:gd name="T66" fmla="*/ 2147483647 w 578"/>
                  <a:gd name="T67" fmla="*/ 2147483647 h 184"/>
                  <a:gd name="T68" fmla="*/ 2147483647 w 578"/>
                  <a:gd name="T69" fmla="*/ 2147483647 h 184"/>
                  <a:gd name="T70" fmla="*/ 2147483647 w 578"/>
                  <a:gd name="T71" fmla="*/ 2147483647 h 184"/>
                  <a:gd name="T72" fmla="*/ 2147483647 w 578"/>
                  <a:gd name="T73" fmla="*/ 2147483647 h 184"/>
                  <a:gd name="T74" fmla="*/ 2147483647 w 578"/>
                  <a:gd name="T75" fmla="*/ 2147483647 h 184"/>
                  <a:gd name="T76" fmla="*/ 2147483647 w 578"/>
                  <a:gd name="T77" fmla="*/ 2147483647 h 184"/>
                  <a:gd name="T78" fmla="*/ 2147483647 w 578"/>
                  <a:gd name="T79" fmla="*/ 2147483647 h 184"/>
                  <a:gd name="T80" fmla="*/ 2147483647 w 578"/>
                  <a:gd name="T81" fmla="*/ 2147483647 h 184"/>
                  <a:gd name="T82" fmla="*/ 2147483647 w 578"/>
                  <a:gd name="T83" fmla="*/ 2147483647 h 184"/>
                  <a:gd name="T84" fmla="*/ 2147483647 w 578"/>
                  <a:gd name="T85" fmla="*/ 2147483647 h 184"/>
                  <a:gd name="T86" fmla="*/ 2147483647 w 578"/>
                  <a:gd name="T87" fmla="*/ 2147483647 h 184"/>
                  <a:gd name="T88" fmla="*/ 2147483647 w 578"/>
                  <a:gd name="T89" fmla="*/ 2147483647 h 184"/>
                  <a:gd name="T90" fmla="*/ 2147483647 w 578"/>
                  <a:gd name="T91" fmla="*/ 2147483647 h 184"/>
                  <a:gd name="T92" fmla="*/ 2147483647 w 578"/>
                  <a:gd name="T93" fmla="*/ 2147483647 h 184"/>
                  <a:gd name="T94" fmla="*/ 2147483647 w 578"/>
                  <a:gd name="T95" fmla="*/ 2147483647 h 184"/>
                  <a:gd name="T96" fmla="*/ 2147483647 w 578"/>
                  <a:gd name="T97" fmla="*/ 2147483647 h 184"/>
                  <a:gd name="T98" fmla="*/ 2147483647 w 578"/>
                  <a:gd name="T99" fmla="*/ 2147483647 h 184"/>
                  <a:gd name="T100" fmla="*/ 2147483647 w 578"/>
                  <a:gd name="T101" fmla="*/ 2147483647 h 184"/>
                  <a:gd name="T102" fmla="*/ 2147483647 w 578"/>
                  <a:gd name="T103" fmla="*/ 2147483647 h 184"/>
                  <a:gd name="T104" fmla="*/ 2147483647 w 578"/>
                  <a:gd name="T105" fmla="*/ 2147483647 h 184"/>
                  <a:gd name="T106" fmla="*/ 0 w 578"/>
                  <a:gd name="T107" fmla="*/ 2147483647 h 18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78" h="184">
                    <a:moveTo>
                      <a:pt x="0" y="55"/>
                    </a:moveTo>
                    <a:lnTo>
                      <a:pt x="6" y="53"/>
                    </a:lnTo>
                    <a:lnTo>
                      <a:pt x="11" y="50"/>
                    </a:lnTo>
                    <a:lnTo>
                      <a:pt x="14" y="46"/>
                    </a:lnTo>
                    <a:lnTo>
                      <a:pt x="19" y="42"/>
                    </a:lnTo>
                    <a:lnTo>
                      <a:pt x="24" y="32"/>
                    </a:lnTo>
                    <a:lnTo>
                      <a:pt x="30" y="23"/>
                    </a:lnTo>
                    <a:lnTo>
                      <a:pt x="35" y="14"/>
                    </a:lnTo>
                    <a:lnTo>
                      <a:pt x="41" y="7"/>
                    </a:lnTo>
                    <a:lnTo>
                      <a:pt x="44" y="4"/>
                    </a:lnTo>
                    <a:lnTo>
                      <a:pt x="48" y="2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69" y="1"/>
                    </a:lnTo>
                    <a:lnTo>
                      <a:pt x="79" y="2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5" y="2"/>
                    </a:lnTo>
                    <a:lnTo>
                      <a:pt x="99" y="0"/>
                    </a:lnTo>
                    <a:lnTo>
                      <a:pt x="100" y="2"/>
                    </a:lnTo>
                    <a:lnTo>
                      <a:pt x="101" y="5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5" y="15"/>
                    </a:lnTo>
                    <a:lnTo>
                      <a:pt x="125" y="20"/>
                    </a:lnTo>
                    <a:lnTo>
                      <a:pt x="136" y="24"/>
                    </a:lnTo>
                    <a:lnTo>
                      <a:pt x="147" y="27"/>
                    </a:lnTo>
                    <a:lnTo>
                      <a:pt x="157" y="29"/>
                    </a:lnTo>
                    <a:lnTo>
                      <a:pt x="166" y="30"/>
                    </a:lnTo>
                    <a:lnTo>
                      <a:pt x="168" y="37"/>
                    </a:lnTo>
                    <a:lnTo>
                      <a:pt x="171" y="44"/>
                    </a:lnTo>
                    <a:lnTo>
                      <a:pt x="174" y="49"/>
                    </a:lnTo>
                    <a:lnTo>
                      <a:pt x="178" y="53"/>
                    </a:lnTo>
                    <a:lnTo>
                      <a:pt x="181" y="57"/>
                    </a:lnTo>
                    <a:lnTo>
                      <a:pt x="187" y="59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214" y="61"/>
                    </a:lnTo>
                    <a:lnTo>
                      <a:pt x="231" y="60"/>
                    </a:lnTo>
                    <a:lnTo>
                      <a:pt x="247" y="58"/>
                    </a:lnTo>
                    <a:lnTo>
                      <a:pt x="263" y="55"/>
                    </a:lnTo>
                    <a:lnTo>
                      <a:pt x="277" y="51"/>
                    </a:lnTo>
                    <a:lnTo>
                      <a:pt x="289" y="46"/>
                    </a:lnTo>
                    <a:lnTo>
                      <a:pt x="294" y="43"/>
                    </a:lnTo>
                    <a:lnTo>
                      <a:pt x="299" y="39"/>
                    </a:lnTo>
                    <a:lnTo>
                      <a:pt x="302" y="35"/>
                    </a:lnTo>
                    <a:lnTo>
                      <a:pt x="305" y="30"/>
                    </a:lnTo>
                    <a:lnTo>
                      <a:pt x="314" y="34"/>
                    </a:lnTo>
                    <a:lnTo>
                      <a:pt x="320" y="35"/>
                    </a:lnTo>
                    <a:lnTo>
                      <a:pt x="324" y="36"/>
                    </a:lnTo>
                    <a:lnTo>
                      <a:pt x="327" y="35"/>
                    </a:lnTo>
                    <a:lnTo>
                      <a:pt x="331" y="33"/>
                    </a:lnTo>
                    <a:lnTo>
                      <a:pt x="334" y="32"/>
                    </a:lnTo>
                    <a:lnTo>
                      <a:pt x="339" y="31"/>
                    </a:lnTo>
                    <a:lnTo>
                      <a:pt x="345" y="30"/>
                    </a:lnTo>
                    <a:lnTo>
                      <a:pt x="356" y="31"/>
                    </a:lnTo>
                    <a:lnTo>
                      <a:pt x="366" y="34"/>
                    </a:lnTo>
                    <a:lnTo>
                      <a:pt x="375" y="39"/>
                    </a:lnTo>
                    <a:lnTo>
                      <a:pt x="383" y="45"/>
                    </a:lnTo>
                    <a:lnTo>
                      <a:pt x="399" y="59"/>
                    </a:lnTo>
                    <a:lnTo>
                      <a:pt x="413" y="74"/>
                    </a:lnTo>
                    <a:lnTo>
                      <a:pt x="421" y="82"/>
                    </a:lnTo>
                    <a:lnTo>
                      <a:pt x="428" y="89"/>
                    </a:lnTo>
                    <a:lnTo>
                      <a:pt x="437" y="96"/>
                    </a:lnTo>
                    <a:lnTo>
                      <a:pt x="446" y="101"/>
                    </a:lnTo>
                    <a:lnTo>
                      <a:pt x="456" y="105"/>
                    </a:lnTo>
                    <a:lnTo>
                      <a:pt x="467" y="107"/>
                    </a:lnTo>
                    <a:lnTo>
                      <a:pt x="472" y="107"/>
                    </a:lnTo>
                    <a:lnTo>
                      <a:pt x="479" y="107"/>
                    </a:lnTo>
                    <a:lnTo>
                      <a:pt x="484" y="106"/>
                    </a:lnTo>
                    <a:lnTo>
                      <a:pt x="491" y="105"/>
                    </a:lnTo>
                    <a:lnTo>
                      <a:pt x="493" y="108"/>
                    </a:lnTo>
                    <a:lnTo>
                      <a:pt x="495" y="113"/>
                    </a:lnTo>
                    <a:lnTo>
                      <a:pt x="500" y="119"/>
                    </a:lnTo>
                    <a:lnTo>
                      <a:pt x="505" y="125"/>
                    </a:lnTo>
                    <a:lnTo>
                      <a:pt x="511" y="131"/>
                    </a:lnTo>
                    <a:lnTo>
                      <a:pt x="516" y="136"/>
                    </a:lnTo>
                    <a:lnTo>
                      <a:pt x="522" y="140"/>
                    </a:lnTo>
                    <a:lnTo>
                      <a:pt x="525" y="141"/>
                    </a:lnTo>
                    <a:lnTo>
                      <a:pt x="529" y="141"/>
                    </a:lnTo>
                    <a:lnTo>
                      <a:pt x="534" y="139"/>
                    </a:lnTo>
                    <a:lnTo>
                      <a:pt x="537" y="137"/>
                    </a:lnTo>
                    <a:lnTo>
                      <a:pt x="540" y="134"/>
                    </a:lnTo>
                    <a:lnTo>
                      <a:pt x="546" y="128"/>
                    </a:lnTo>
                    <a:lnTo>
                      <a:pt x="551" y="123"/>
                    </a:lnTo>
                    <a:lnTo>
                      <a:pt x="555" y="129"/>
                    </a:lnTo>
                    <a:lnTo>
                      <a:pt x="558" y="134"/>
                    </a:lnTo>
                    <a:lnTo>
                      <a:pt x="562" y="138"/>
                    </a:lnTo>
                    <a:lnTo>
                      <a:pt x="567" y="141"/>
                    </a:lnTo>
                    <a:lnTo>
                      <a:pt x="571" y="145"/>
                    </a:lnTo>
                    <a:lnTo>
                      <a:pt x="574" y="150"/>
                    </a:lnTo>
                    <a:lnTo>
                      <a:pt x="577" y="154"/>
                    </a:lnTo>
                    <a:lnTo>
                      <a:pt x="578" y="160"/>
                    </a:lnTo>
                    <a:lnTo>
                      <a:pt x="578" y="165"/>
                    </a:lnTo>
                    <a:lnTo>
                      <a:pt x="577" y="169"/>
                    </a:lnTo>
                    <a:lnTo>
                      <a:pt x="575" y="173"/>
                    </a:lnTo>
                    <a:lnTo>
                      <a:pt x="573" y="177"/>
                    </a:lnTo>
                    <a:lnTo>
                      <a:pt x="570" y="180"/>
                    </a:lnTo>
                    <a:lnTo>
                      <a:pt x="567" y="182"/>
                    </a:lnTo>
                    <a:lnTo>
                      <a:pt x="562" y="184"/>
                    </a:lnTo>
                    <a:lnTo>
                      <a:pt x="558" y="184"/>
                    </a:lnTo>
                    <a:lnTo>
                      <a:pt x="551" y="178"/>
                    </a:lnTo>
                    <a:lnTo>
                      <a:pt x="545" y="172"/>
                    </a:lnTo>
                    <a:lnTo>
                      <a:pt x="535" y="171"/>
                    </a:lnTo>
                    <a:lnTo>
                      <a:pt x="526" y="170"/>
                    </a:lnTo>
                    <a:lnTo>
                      <a:pt x="517" y="170"/>
                    </a:lnTo>
                    <a:lnTo>
                      <a:pt x="509" y="170"/>
                    </a:lnTo>
                    <a:lnTo>
                      <a:pt x="491" y="172"/>
                    </a:lnTo>
                    <a:lnTo>
                      <a:pt x="471" y="172"/>
                    </a:lnTo>
                    <a:lnTo>
                      <a:pt x="467" y="172"/>
                    </a:lnTo>
                    <a:lnTo>
                      <a:pt x="462" y="170"/>
                    </a:lnTo>
                    <a:lnTo>
                      <a:pt x="459" y="167"/>
                    </a:lnTo>
                    <a:lnTo>
                      <a:pt x="455" y="163"/>
                    </a:lnTo>
                    <a:lnTo>
                      <a:pt x="451" y="160"/>
                    </a:lnTo>
                    <a:lnTo>
                      <a:pt x="447" y="157"/>
                    </a:lnTo>
                    <a:lnTo>
                      <a:pt x="443" y="155"/>
                    </a:lnTo>
                    <a:lnTo>
                      <a:pt x="438" y="154"/>
                    </a:lnTo>
                    <a:lnTo>
                      <a:pt x="434" y="155"/>
                    </a:lnTo>
                    <a:lnTo>
                      <a:pt x="429" y="157"/>
                    </a:lnTo>
                    <a:lnTo>
                      <a:pt x="426" y="160"/>
                    </a:lnTo>
                    <a:lnTo>
                      <a:pt x="423" y="163"/>
                    </a:lnTo>
                    <a:lnTo>
                      <a:pt x="420" y="167"/>
                    </a:lnTo>
                    <a:lnTo>
                      <a:pt x="416" y="170"/>
                    </a:lnTo>
                    <a:lnTo>
                      <a:pt x="414" y="172"/>
                    </a:lnTo>
                    <a:lnTo>
                      <a:pt x="412" y="172"/>
                    </a:lnTo>
                    <a:lnTo>
                      <a:pt x="398" y="171"/>
                    </a:lnTo>
                    <a:lnTo>
                      <a:pt x="378" y="167"/>
                    </a:lnTo>
                    <a:lnTo>
                      <a:pt x="354" y="160"/>
                    </a:lnTo>
                    <a:lnTo>
                      <a:pt x="328" y="153"/>
                    </a:lnTo>
                    <a:lnTo>
                      <a:pt x="304" y="144"/>
                    </a:lnTo>
                    <a:lnTo>
                      <a:pt x="285" y="136"/>
                    </a:lnTo>
                    <a:lnTo>
                      <a:pt x="277" y="132"/>
                    </a:lnTo>
                    <a:lnTo>
                      <a:pt x="270" y="129"/>
                    </a:lnTo>
                    <a:lnTo>
                      <a:pt x="267" y="126"/>
                    </a:lnTo>
                    <a:lnTo>
                      <a:pt x="266" y="123"/>
                    </a:lnTo>
                    <a:lnTo>
                      <a:pt x="252" y="122"/>
                    </a:lnTo>
                    <a:lnTo>
                      <a:pt x="240" y="121"/>
                    </a:lnTo>
                    <a:lnTo>
                      <a:pt x="230" y="119"/>
                    </a:lnTo>
                    <a:lnTo>
                      <a:pt x="220" y="117"/>
                    </a:lnTo>
                    <a:lnTo>
                      <a:pt x="211" y="115"/>
                    </a:lnTo>
                    <a:lnTo>
                      <a:pt x="201" y="113"/>
                    </a:lnTo>
                    <a:lnTo>
                      <a:pt x="191" y="111"/>
                    </a:lnTo>
                    <a:lnTo>
                      <a:pt x="179" y="111"/>
                    </a:lnTo>
                    <a:lnTo>
                      <a:pt x="168" y="111"/>
                    </a:lnTo>
                    <a:lnTo>
                      <a:pt x="157" y="111"/>
                    </a:lnTo>
                    <a:lnTo>
                      <a:pt x="149" y="111"/>
                    </a:lnTo>
                    <a:lnTo>
                      <a:pt x="146" y="111"/>
                    </a:lnTo>
                    <a:lnTo>
                      <a:pt x="136" y="110"/>
                    </a:lnTo>
                    <a:lnTo>
                      <a:pt x="128" y="107"/>
                    </a:lnTo>
                    <a:lnTo>
                      <a:pt x="124" y="105"/>
                    </a:lnTo>
                    <a:lnTo>
                      <a:pt x="122" y="103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97"/>
                    </a:lnTo>
                    <a:lnTo>
                      <a:pt x="64" y="96"/>
                    </a:lnTo>
                    <a:lnTo>
                      <a:pt x="57" y="94"/>
                    </a:lnTo>
                    <a:lnTo>
                      <a:pt x="46" y="88"/>
                    </a:lnTo>
                    <a:lnTo>
                      <a:pt x="34" y="81"/>
                    </a:lnTo>
                    <a:lnTo>
                      <a:pt x="14" y="67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9" name="Freeform 340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13319393" y="4174697"/>
                <a:ext cx="214312" cy="252413"/>
              </a:xfrm>
              <a:custGeom>
                <a:avLst/>
                <a:gdLst>
                  <a:gd name="T0" fmla="*/ 2147483647 w 491"/>
                  <a:gd name="T1" fmla="*/ 2147483647 h 481"/>
                  <a:gd name="T2" fmla="*/ 2147483647 w 491"/>
                  <a:gd name="T3" fmla="*/ 2147483647 h 481"/>
                  <a:gd name="T4" fmla="*/ 2147483647 w 491"/>
                  <a:gd name="T5" fmla="*/ 2147483647 h 481"/>
                  <a:gd name="T6" fmla="*/ 2147483647 w 491"/>
                  <a:gd name="T7" fmla="*/ 2147483647 h 481"/>
                  <a:gd name="T8" fmla="*/ 2147483647 w 491"/>
                  <a:gd name="T9" fmla="*/ 2147483647 h 481"/>
                  <a:gd name="T10" fmla="*/ 2147483647 w 491"/>
                  <a:gd name="T11" fmla="*/ 2147483647 h 481"/>
                  <a:gd name="T12" fmla="*/ 2147483647 w 491"/>
                  <a:gd name="T13" fmla="*/ 2147483647 h 481"/>
                  <a:gd name="T14" fmla="*/ 2147483647 w 491"/>
                  <a:gd name="T15" fmla="*/ 2147483647 h 481"/>
                  <a:gd name="T16" fmla="*/ 2147483647 w 491"/>
                  <a:gd name="T17" fmla="*/ 2147483647 h 481"/>
                  <a:gd name="T18" fmla="*/ 2147483647 w 491"/>
                  <a:gd name="T19" fmla="*/ 2147483647 h 481"/>
                  <a:gd name="T20" fmla="*/ 2147483647 w 491"/>
                  <a:gd name="T21" fmla="*/ 2147483647 h 481"/>
                  <a:gd name="T22" fmla="*/ 2147483647 w 491"/>
                  <a:gd name="T23" fmla="*/ 2147483647 h 481"/>
                  <a:gd name="T24" fmla="*/ 2147483647 w 491"/>
                  <a:gd name="T25" fmla="*/ 2147483647 h 481"/>
                  <a:gd name="T26" fmla="*/ 2147483647 w 491"/>
                  <a:gd name="T27" fmla="*/ 2147483647 h 481"/>
                  <a:gd name="T28" fmla="*/ 2147483647 w 491"/>
                  <a:gd name="T29" fmla="*/ 2147483647 h 481"/>
                  <a:gd name="T30" fmla="*/ 2147483647 w 491"/>
                  <a:gd name="T31" fmla="*/ 2147483647 h 481"/>
                  <a:gd name="T32" fmla="*/ 2147483647 w 491"/>
                  <a:gd name="T33" fmla="*/ 2147483647 h 481"/>
                  <a:gd name="T34" fmla="*/ 2147483647 w 491"/>
                  <a:gd name="T35" fmla="*/ 2147483647 h 481"/>
                  <a:gd name="T36" fmla="*/ 2147483647 w 491"/>
                  <a:gd name="T37" fmla="*/ 2147483647 h 481"/>
                  <a:gd name="T38" fmla="*/ 2147483647 w 491"/>
                  <a:gd name="T39" fmla="*/ 2147483647 h 481"/>
                  <a:gd name="T40" fmla="*/ 2147483647 w 491"/>
                  <a:gd name="T41" fmla="*/ 2147483647 h 481"/>
                  <a:gd name="T42" fmla="*/ 2147483647 w 491"/>
                  <a:gd name="T43" fmla="*/ 2147483647 h 481"/>
                  <a:gd name="T44" fmla="*/ 2147483647 w 491"/>
                  <a:gd name="T45" fmla="*/ 2147483647 h 481"/>
                  <a:gd name="T46" fmla="*/ 2147483647 w 491"/>
                  <a:gd name="T47" fmla="*/ 2147483647 h 481"/>
                  <a:gd name="T48" fmla="*/ 1995838770 w 491"/>
                  <a:gd name="T49" fmla="*/ 2147483647 h 481"/>
                  <a:gd name="T50" fmla="*/ 1080984054 w 491"/>
                  <a:gd name="T51" fmla="*/ 2147483647 h 481"/>
                  <a:gd name="T52" fmla="*/ 1164239246 w 491"/>
                  <a:gd name="T53" fmla="*/ 2147483647 h 481"/>
                  <a:gd name="T54" fmla="*/ 1912583578 w 491"/>
                  <a:gd name="T55" fmla="*/ 2147483647 h 481"/>
                  <a:gd name="T56" fmla="*/ 2147483647 w 491"/>
                  <a:gd name="T57" fmla="*/ 2147483647 h 481"/>
                  <a:gd name="T58" fmla="*/ 2147483647 w 491"/>
                  <a:gd name="T59" fmla="*/ 2147483647 h 481"/>
                  <a:gd name="T60" fmla="*/ 1413623776 w 491"/>
                  <a:gd name="T61" fmla="*/ 2147483647 h 481"/>
                  <a:gd name="T62" fmla="*/ 0 w 491"/>
                  <a:gd name="T63" fmla="*/ 2147483647 h 481"/>
                  <a:gd name="T64" fmla="*/ 2147483647 w 491"/>
                  <a:gd name="T65" fmla="*/ 2147483647 h 481"/>
                  <a:gd name="T66" fmla="*/ 2147483647 w 491"/>
                  <a:gd name="T67" fmla="*/ 2147483647 h 481"/>
                  <a:gd name="T68" fmla="*/ 2147483647 w 491"/>
                  <a:gd name="T69" fmla="*/ 2147483647 h 481"/>
                  <a:gd name="T70" fmla="*/ 2147483647 w 491"/>
                  <a:gd name="T71" fmla="*/ 2147483647 h 481"/>
                  <a:gd name="T72" fmla="*/ 2147483647 w 491"/>
                  <a:gd name="T73" fmla="*/ 2147483647 h 481"/>
                  <a:gd name="T74" fmla="*/ 2147483647 w 491"/>
                  <a:gd name="T75" fmla="*/ 2147483647 h 481"/>
                  <a:gd name="T76" fmla="*/ 2147483647 w 491"/>
                  <a:gd name="T77" fmla="*/ 2147483647 h 481"/>
                  <a:gd name="T78" fmla="*/ 2147483647 w 491"/>
                  <a:gd name="T79" fmla="*/ 2147483647 h 481"/>
                  <a:gd name="T80" fmla="*/ 2147483647 w 491"/>
                  <a:gd name="T81" fmla="*/ 2147483647 h 481"/>
                  <a:gd name="T82" fmla="*/ 2147483647 w 491"/>
                  <a:gd name="T83" fmla="*/ 2147483647 h 481"/>
                  <a:gd name="T84" fmla="*/ 2147483647 w 491"/>
                  <a:gd name="T85" fmla="*/ 2147483647 h 481"/>
                  <a:gd name="T86" fmla="*/ 2147483647 w 491"/>
                  <a:gd name="T87" fmla="*/ 2147483647 h 481"/>
                  <a:gd name="T88" fmla="*/ 2147483647 w 491"/>
                  <a:gd name="T89" fmla="*/ 2147483647 h 481"/>
                  <a:gd name="T90" fmla="*/ 2147483647 w 491"/>
                  <a:gd name="T91" fmla="*/ 1300622266 h 481"/>
                  <a:gd name="T92" fmla="*/ 2147483647 w 491"/>
                  <a:gd name="T93" fmla="*/ 144574925 h 481"/>
                  <a:gd name="T94" fmla="*/ 2147483647 w 491"/>
                  <a:gd name="T95" fmla="*/ 0 h 481"/>
                  <a:gd name="T96" fmla="*/ 2147483647 w 491"/>
                  <a:gd name="T97" fmla="*/ 1156047867 h 481"/>
                  <a:gd name="T98" fmla="*/ 2147483647 w 491"/>
                  <a:gd name="T99" fmla="*/ 2147483647 h 481"/>
                  <a:gd name="T100" fmla="*/ 2147483647 w 491"/>
                  <a:gd name="T101" fmla="*/ 2147483647 h 481"/>
                  <a:gd name="T102" fmla="*/ 2147483647 w 491"/>
                  <a:gd name="T103" fmla="*/ 2147483647 h 481"/>
                  <a:gd name="T104" fmla="*/ 2147483647 w 491"/>
                  <a:gd name="T105" fmla="*/ 2147483647 h 481"/>
                  <a:gd name="T106" fmla="*/ 2147483647 w 491"/>
                  <a:gd name="T107" fmla="*/ 2147483647 h 48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91" h="481">
                    <a:moveTo>
                      <a:pt x="491" y="481"/>
                    </a:moveTo>
                    <a:lnTo>
                      <a:pt x="488" y="480"/>
                    </a:lnTo>
                    <a:lnTo>
                      <a:pt x="482" y="479"/>
                    </a:lnTo>
                    <a:lnTo>
                      <a:pt x="477" y="477"/>
                    </a:lnTo>
                    <a:lnTo>
                      <a:pt x="470" y="473"/>
                    </a:lnTo>
                    <a:lnTo>
                      <a:pt x="457" y="465"/>
                    </a:lnTo>
                    <a:lnTo>
                      <a:pt x="444" y="455"/>
                    </a:lnTo>
                    <a:lnTo>
                      <a:pt x="432" y="445"/>
                    </a:lnTo>
                    <a:lnTo>
                      <a:pt x="422" y="434"/>
                    </a:lnTo>
                    <a:lnTo>
                      <a:pt x="417" y="428"/>
                    </a:lnTo>
                    <a:lnTo>
                      <a:pt x="414" y="423"/>
                    </a:lnTo>
                    <a:lnTo>
                      <a:pt x="412" y="417"/>
                    </a:lnTo>
                    <a:lnTo>
                      <a:pt x="412" y="412"/>
                    </a:lnTo>
                    <a:lnTo>
                      <a:pt x="392" y="412"/>
                    </a:lnTo>
                    <a:lnTo>
                      <a:pt x="376" y="410"/>
                    </a:lnTo>
                    <a:lnTo>
                      <a:pt x="370" y="409"/>
                    </a:lnTo>
                    <a:lnTo>
                      <a:pt x="365" y="408"/>
                    </a:lnTo>
                    <a:lnTo>
                      <a:pt x="360" y="406"/>
                    </a:lnTo>
                    <a:lnTo>
                      <a:pt x="356" y="403"/>
                    </a:lnTo>
                    <a:lnTo>
                      <a:pt x="353" y="400"/>
                    </a:lnTo>
                    <a:lnTo>
                      <a:pt x="350" y="396"/>
                    </a:lnTo>
                    <a:lnTo>
                      <a:pt x="348" y="392"/>
                    </a:lnTo>
                    <a:lnTo>
                      <a:pt x="347" y="387"/>
                    </a:lnTo>
                    <a:lnTo>
                      <a:pt x="346" y="374"/>
                    </a:lnTo>
                    <a:lnTo>
                      <a:pt x="345" y="357"/>
                    </a:lnTo>
                    <a:lnTo>
                      <a:pt x="344" y="344"/>
                    </a:lnTo>
                    <a:lnTo>
                      <a:pt x="342" y="332"/>
                    </a:lnTo>
                    <a:lnTo>
                      <a:pt x="337" y="322"/>
                    </a:lnTo>
                    <a:lnTo>
                      <a:pt x="332" y="313"/>
                    </a:lnTo>
                    <a:lnTo>
                      <a:pt x="327" y="303"/>
                    </a:lnTo>
                    <a:lnTo>
                      <a:pt x="323" y="294"/>
                    </a:lnTo>
                    <a:lnTo>
                      <a:pt x="320" y="286"/>
                    </a:lnTo>
                    <a:lnTo>
                      <a:pt x="319" y="277"/>
                    </a:lnTo>
                    <a:lnTo>
                      <a:pt x="319" y="267"/>
                    </a:lnTo>
                    <a:lnTo>
                      <a:pt x="319" y="252"/>
                    </a:lnTo>
                    <a:lnTo>
                      <a:pt x="314" y="244"/>
                    </a:lnTo>
                    <a:lnTo>
                      <a:pt x="309" y="237"/>
                    </a:lnTo>
                    <a:lnTo>
                      <a:pt x="301" y="229"/>
                    </a:lnTo>
                    <a:lnTo>
                      <a:pt x="292" y="223"/>
                    </a:lnTo>
                    <a:lnTo>
                      <a:pt x="282" y="216"/>
                    </a:lnTo>
                    <a:lnTo>
                      <a:pt x="272" y="210"/>
                    </a:lnTo>
                    <a:lnTo>
                      <a:pt x="260" y="205"/>
                    </a:lnTo>
                    <a:lnTo>
                      <a:pt x="248" y="200"/>
                    </a:lnTo>
                    <a:lnTo>
                      <a:pt x="235" y="194"/>
                    </a:lnTo>
                    <a:lnTo>
                      <a:pt x="221" y="190"/>
                    </a:lnTo>
                    <a:lnTo>
                      <a:pt x="208" y="187"/>
                    </a:lnTo>
                    <a:lnTo>
                      <a:pt x="192" y="184"/>
                    </a:lnTo>
                    <a:lnTo>
                      <a:pt x="178" y="181"/>
                    </a:lnTo>
                    <a:lnTo>
                      <a:pt x="163" y="180"/>
                    </a:lnTo>
                    <a:lnTo>
                      <a:pt x="147" y="179"/>
                    </a:lnTo>
                    <a:lnTo>
                      <a:pt x="133" y="178"/>
                    </a:lnTo>
                    <a:lnTo>
                      <a:pt x="133" y="170"/>
                    </a:lnTo>
                    <a:lnTo>
                      <a:pt x="133" y="163"/>
                    </a:lnTo>
                    <a:lnTo>
                      <a:pt x="133" y="156"/>
                    </a:lnTo>
                    <a:lnTo>
                      <a:pt x="133" y="148"/>
                    </a:lnTo>
                    <a:lnTo>
                      <a:pt x="121" y="147"/>
                    </a:lnTo>
                    <a:lnTo>
                      <a:pt x="110" y="145"/>
                    </a:lnTo>
                    <a:lnTo>
                      <a:pt x="100" y="140"/>
                    </a:lnTo>
                    <a:lnTo>
                      <a:pt x="92" y="136"/>
                    </a:lnTo>
                    <a:lnTo>
                      <a:pt x="85" y="130"/>
                    </a:lnTo>
                    <a:lnTo>
                      <a:pt x="77" y="124"/>
                    </a:lnTo>
                    <a:lnTo>
                      <a:pt x="71" y="117"/>
                    </a:lnTo>
                    <a:lnTo>
                      <a:pt x="66" y="111"/>
                    </a:lnTo>
                    <a:lnTo>
                      <a:pt x="92" y="111"/>
                    </a:lnTo>
                    <a:lnTo>
                      <a:pt x="82" y="121"/>
                    </a:lnTo>
                    <a:lnTo>
                      <a:pt x="73" y="133"/>
                    </a:lnTo>
                    <a:lnTo>
                      <a:pt x="66" y="139"/>
                    </a:lnTo>
                    <a:lnTo>
                      <a:pt x="60" y="144"/>
                    </a:lnTo>
                    <a:lnTo>
                      <a:pt x="54" y="147"/>
                    </a:lnTo>
                    <a:lnTo>
                      <a:pt x="46" y="148"/>
                    </a:lnTo>
                    <a:lnTo>
                      <a:pt x="43" y="163"/>
                    </a:lnTo>
                    <a:lnTo>
                      <a:pt x="40" y="178"/>
                    </a:lnTo>
                    <a:lnTo>
                      <a:pt x="34" y="192"/>
                    </a:lnTo>
                    <a:lnTo>
                      <a:pt x="30" y="206"/>
                    </a:lnTo>
                    <a:lnTo>
                      <a:pt x="24" y="220"/>
                    </a:lnTo>
                    <a:lnTo>
                      <a:pt x="20" y="234"/>
                    </a:lnTo>
                    <a:lnTo>
                      <a:pt x="17" y="249"/>
                    </a:lnTo>
                    <a:lnTo>
                      <a:pt x="13" y="265"/>
                    </a:lnTo>
                    <a:lnTo>
                      <a:pt x="13" y="256"/>
                    </a:lnTo>
                    <a:lnTo>
                      <a:pt x="13" y="246"/>
                    </a:lnTo>
                    <a:lnTo>
                      <a:pt x="14" y="237"/>
                    </a:lnTo>
                    <a:lnTo>
                      <a:pt x="17" y="228"/>
                    </a:lnTo>
                    <a:lnTo>
                      <a:pt x="20" y="219"/>
                    </a:lnTo>
                    <a:lnTo>
                      <a:pt x="23" y="209"/>
                    </a:lnTo>
                    <a:lnTo>
                      <a:pt x="26" y="200"/>
                    </a:lnTo>
                    <a:lnTo>
                      <a:pt x="30" y="190"/>
                    </a:lnTo>
                    <a:lnTo>
                      <a:pt x="32" y="181"/>
                    </a:lnTo>
                    <a:lnTo>
                      <a:pt x="33" y="172"/>
                    </a:lnTo>
                    <a:lnTo>
                      <a:pt x="32" y="156"/>
                    </a:lnTo>
                    <a:lnTo>
                      <a:pt x="30" y="143"/>
                    </a:lnTo>
                    <a:lnTo>
                      <a:pt x="26" y="130"/>
                    </a:lnTo>
                    <a:lnTo>
                      <a:pt x="21" y="120"/>
                    </a:lnTo>
                    <a:lnTo>
                      <a:pt x="17" y="111"/>
                    </a:lnTo>
                    <a:lnTo>
                      <a:pt x="11" y="101"/>
                    </a:lnTo>
                    <a:lnTo>
                      <a:pt x="4" y="89"/>
                    </a:lnTo>
                    <a:lnTo>
                      <a:pt x="0" y="73"/>
                    </a:lnTo>
                    <a:lnTo>
                      <a:pt x="13" y="68"/>
                    </a:lnTo>
                    <a:lnTo>
                      <a:pt x="28" y="62"/>
                    </a:lnTo>
                    <a:lnTo>
                      <a:pt x="34" y="59"/>
                    </a:lnTo>
                    <a:lnTo>
                      <a:pt x="42" y="57"/>
                    </a:lnTo>
                    <a:lnTo>
                      <a:pt x="51" y="56"/>
                    </a:lnTo>
                    <a:lnTo>
                      <a:pt x="59" y="55"/>
                    </a:lnTo>
                    <a:lnTo>
                      <a:pt x="68" y="56"/>
                    </a:lnTo>
                    <a:lnTo>
                      <a:pt x="76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6" y="63"/>
                    </a:lnTo>
                    <a:lnTo>
                      <a:pt x="102" y="66"/>
                    </a:lnTo>
                    <a:lnTo>
                      <a:pt x="107" y="70"/>
                    </a:lnTo>
                    <a:lnTo>
                      <a:pt x="112" y="73"/>
                    </a:lnTo>
                    <a:lnTo>
                      <a:pt x="121" y="82"/>
                    </a:lnTo>
                    <a:lnTo>
                      <a:pt x="127" y="92"/>
                    </a:lnTo>
                    <a:lnTo>
                      <a:pt x="134" y="101"/>
                    </a:lnTo>
                    <a:lnTo>
                      <a:pt x="140" y="111"/>
                    </a:lnTo>
                    <a:lnTo>
                      <a:pt x="179" y="111"/>
                    </a:lnTo>
                    <a:lnTo>
                      <a:pt x="180" y="107"/>
                    </a:lnTo>
                    <a:lnTo>
                      <a:pt x="183" y="103"/>
                    </a:lnTo>
                    <a:lnTo>
                      <a:pt x="187" y="101"/>
                    </a:lnTo>
                    <a:lnTo>
                      <a:pt x="191" y="99"/>
                    </a:lnTo>
                    <a:lnTo>
                      <a:pt x="196" y="96"/>
                    </a:lnTo>
                    <a:lnTo>
                      <a:pt x="199" y="94"/>
                    </a:lnTo>
                    <a:lnTo>
                      <a:pt x="200" y="92"/>
                    </a:lnTo>
                    <a:lnTo>
                      <a:pt x="200" y="90"/>
                    </a:lnTo>
                    <a:lnTo>
                      <a:pt x="200" y="89"/>
                    </a:lnTo>
                    <a:lnTo>
                      <a:pt x="199" y="85"/>
                    </a:lnTo>
                    <a:lnTo>
                      <a:pt x="207" y="73"/>
                    </a:lnTo>
                    <a:lnTo>
                      <a:pt x="215" y="64"/>
                    </a:lnTo>
                    <a:lnTo>
                      <a:pt x="223" y="58"/>
                    </a:lnTo>
                    <a:lnTo>
                      <a:pt x="232" y="54"/>
                    </a:lnTo>
                    <a:lnTo>
                      <a:pt x="239" y="51"/>
                    </a:lnTo>
                    <a:lnTo>
                      <a:pt x="247" y="50"/>
                    </a:lnTo>
                    <a:lnTo>
                      <a:pt x="254" y="49"/>
                    </a:lnTo>
                    <a:lnTo>
                      <a:pt x="259" y="49"/>
                    </a:lnTo>
                    <a:lnTo>
                      <a:pt x="260" y="40"/>
                    </a:lnTo>
                    <a:lnTo>
                      <a:pt x="263" y="30"/>
                    </a:lnTo>
                    <a:lnTo>
                      <a:pt x="267" y="22"/>
                    </a:lnTo>
                    <a:lnTo>
                      <a:pt x="273" y="15"/>
                    </a:lnTo>
                    <a:lnTo>
                      <a:pt x="280" y="9"/>
                    </a:lnTo>
                    <a:lnTo>
                      <a:pt x="290" y="4"/>
                    </a:lnTo>
                    <a:lnTo>
                      <a:pt x="294" y="2"/>
                    </a:lnTo>
                    <a:lnTo>
                      <a:pt x="300" y="1"/>
                    </a:lnTo>
                    <a:lnTo>
                      <a:pt x="306" y="0"/>
                    </a:lnTo>
                    <a:lnTo>
                      <a:pt x="312" y="0"/>
                    </a:lnTo>
                    <a:lnTo>
                      <a:pt x="323" y="0"/>
                    </a:lnTo>
                    <a:lnTo>
                      <a:pt x="333" y="2"/>
                    </a:lnTo>
                    <a:lnTo>
                      <a:pt x="343" y="5"/>
                    </a:lnTo>
                    <a:lnTo>
                      <a:pt x="351" y="8"/>
                    </a:lnTo>
                    <a:lnTo>
                      <a:pt x="368" y="17"/>
                    </a:lnTo>
                    <a:lnTo>
                      <a:pt x="383" y="27"/>
                    </a:lnTo>
                    <a:lnTo>
                      <a:pt x="399" y="38"/>
                    </a:lnTo>
                    <a:lnTo>
                      <a:pt x="413" y="47"/>
                    </a:lnTo>
                    <a:lnTo>
                      <a:pt x="421" y="50"/>
                    </a:lnTo>
                    <a:lnTo>
                      <a:pt x="428" y="53"/>
                    </a:lnTo>
                    <a:lnTo>
                      <a:pt x="436" y="55"/>
                    </a:lnTo>
                    <a:lnTo>
                      <a:pt x="445" y="55"/>
                    </a:lnTo>
                    <a:lnTo>
                      <a:pt x="459" y="60"/>
                    </a:lnTo>
                    <a:lnTo>
                      <a:pt x="471" y="64"/>
                    </a:lnTo>
                    <a:lnTo>
                      <a:pt x="481" y="66"/>
                    </a:lnTo>
                    <a:lnTo>
                      <a:pt x="491" y="67"/>
                    </a:lnTo>
                    <a:lnTo>
                      <a:pt x="491" y="289"/>
                    </a:lnTo>
                    <a:lnTo>
                      <a:pt x="471" y="301"/>
                    </a:lnTo>
                    <a:lnTo>
                      <a:pt x="491" y="326"/>
                    </a:lnTo>
                    <a:lnTo>
                      <a:pt x="491" y="474"/>
                    </a:lnTo>
                    <a:lnTo>
                      <a:pt x="491" y="48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0" name="Freeform 341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11850955" y="3006297"/>
                <a:ext cx="53975" cy="60325"/>
              </a:xfrm>
              <a:custGeom>
                <a:avLst/>
                <a:gdLst>
                  <a:gd name="T0" fmla="*/ 0 w 133"/>
                  <a:gd name="T1" fmla="*/ 2147483647 h 117"/>
                  <a:gd name="T2" fmla="*/ 2147483647 w 133"/>
                  <a:gd name="T3" fmla="*/ 0 h 117"/>
                  <a:gd name="T4" fmla="*/ 2147483647 w 133"/>
                  <a:gd name="T5" fmla="*/ 822513845 h 117"/>
                  <a:gd name="T6" fmla="*/ 2147483647 w 133"/>
                  <a:gd name="T7" fmla="*/ 1918844411 h 117"/>
                  <a:gd name="T8" fmla="*/ 2147483647 w 133"/>
                  <a:gd name="T9" fmla="*/ 2147483647 h 117"/>
                  <a:gd name="T10" fmla="*/ 2147483647 w 133"/>
                  <a:gd name="T11" fmla="*/ 2147483647 h 117"/>
                  <a:gd name="T12" fmla="*/ 2147483647 w 133"/>
                  <a:gd name="T13" fmla="*/ 2147483647 h 117"/>
                  <a:gd name="T14" fmla="*/ 2147483647 w 133"/>
                  <a:gd name="T15" fmla="*/ 2147483647 h 117"/>
                  <a:gd name="T16" fmla="*/ 2147483647 w 133"/>
                  <a:gd name="T17" fmla="*/ 2147483647 h 117"/>
                  <a:gd name="T18" fmla="*/ 2147483647 w 133"/>
                  <a:gd name="T19" fmla="*/ 2147483647 h 117"/>
                  <a:gd name="T20" fmla="*/ 2147483647 w 133"/>
                  <a:gd name="T21" fmla="*/ 2147483647 h 117"/>
                  <a:gd name="T22" fmla="*/ 2147483647 w 133"/>
                  <a:gd name="T23" fmla="*/ 2147483647 h 117"/>
                  <a:gd name="T24" fmla="*/ 2147483647 w 133"/>
                  <a:gd name="T25" fmla="*/ 2147483647 h 117"/>
                  <a:gd name="T26" fmla="*/ 2147483647 w 133"/>
                  <a:gd name="T27" fmla="*/ 2147483647 h 117"/>
                  <a:gd name="T28" fmla="*/ 2147483647 w 133"/>
                  <a:gd name="T29" fmla="*/ 2147483647 h 117"/>
                  <a:gd name="T30" fmla="*/ 2147483647 w 133"/>
                  <a:gd name="T31" fmla="*/ 2147483647 h 117"/>
                  <a:gd name="T32" fmla="*/ 2147483647 w 133"/>
                  <a:gd name="T33" fmla="*/ 2147483647 h 117"/>
                  <a:gd name="T34" fmla="*/ 2147483647 w 133"/>
                  <a:gd name="T35" fmla="*/ 2147483647 h 117"/>
                  <a:gd name="T36" fmla="*/ 2147483647 w 133"/>
                  <a:gd name="T37" fmla="*/ 2147483647 h 117"/>
                  <a:gd name="T38" fmla="*/ 2147483647 w 133"/>
                  <a:gd name="T39" fmla="*/ 2147483647 h 117"/>
                  <a:gd name="T40" fmla="*/ 2147483647 w 133"/>
                  <a:gd name="T41" fmla="*/ 2147483647 h 117"/>
                  <a:gd name="T42" fmla="*/ 2147483647 w 133"/>
                  <a:gd name="T43" fmla="*/ 2147483647 h 117"/>
                  <a:gd name="T44" fmla="*/ 2138737055 w 133"/>
                  <a:gd name="T45" fmla="*/ 2147483647 h 117"/>
                  <a:gd name="T46" fmla="*/ 1203101533 w 133"/>
                  <a:gd name="T47" fmla="*/ 2147483647 h 117"/>
                  <a:gd name="T48" fmla="*/ 534766444 w 133"/>
                  <a:gd name="T49" fmla="*/ 2147483647 h 117"/>
                  <a:gd name="T50" fmla="*/ 0 w 133"/>
                  <a:gd name="T51" fmla="*/ 2147483647 h 11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1" name="Freeform 342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10307905" y="2410985"/>
                <a:ext cx="220663" cy="177800"/>
              </a:xfrm>
              <a:custGeom>
                <a:avLst/>
                <a:gdLst>
                  <a:gd name="T0" fmla="*/ 2147483647 w 505"/>
                  <a:gd name="T1" fmla="*/ 2147483647 h 339"/>
                  <a:gd name="T2" fmla="*/ 2147483647 w 505"/>
                  <a:gd name="T3" fmla="*/ 2147483647 h 339"/>
                  <a:gd name="T4" fmla="*/ 2147483647 w 505"/>
                  <a:gd name="T5" fmla="*/ 2147483647 h 339"/>
                  <a:gd name="T6" fmla="*/ 2147483647 w 505"/>
                  <a:gd name="T7" fmla="*/ 2147483647 h 339"/>
                  <a:gd name="T8" fmla="*/ 2147483647 w 505"/>
                  <a:gd name="T9" fmla="*/ 2147483647 h 339"/>
                  <a:gd name="T10" fmla="*/ 2147483647 w 505"/>
                  <a:gd name="T11" fmla="*/ 2147483647 h 339"/>
                  <a:gd name="T12" fmla="*/ 2147483647 w 505"/>
                  <a:gd name="T13" fmla="*/ 2147483647 h 339"/>
                  <a:gd name="T14" fmla="*/ 2147483647 w 505"/>
                  <a:gd name="T15" fmla="*/ 2147483647 h 339"/>
                  <a:gd name="T16" fmla="*/ 2147483647 w 505"/>
                  <a:gd name="T17" fmla="*/ 2147483647 h 339"/>
                  <a:gd name="T18" fmla="*/ 2147483647 w 505"/>
                  <a:gd name="T19" fmla="*/ 2147483647 h 339"/>
                  <a:gd name="T20" fmla="*/ 2147483647 w 505"/>
                  <a:gd name="T21" fmla="*/ 2147483647 h 339"/>
                  <a:gd name="T22" fmla="*/ 2147483647 w 505"/>
                  <a:gd name="T23" fmla="*/ 2147483647 h 339"/>
                  <a:gd name="T24" fmla="*/ 2147483647 w 505"/>
                  <a:gd name="T25" fmla="*/ 2147483647 h 339"/>
                  <a:gd name="T26" fmla="*/ 2147483647 w 505"/>
                  <a:gd name="T27" fmla="*/ 2147483647 h 339"/>
                  <a:gd name="T28" fmla="*/ 2147483647 w 505"/>
                  <a:gd name="T29" fmla="*/ 2147483647 h 339"/>
                  <a:gd name="T30" fmla="*/ 2147483647 w 505"/>
                  <a:gd name="T31" fmla="*/ 2147483647 h 339"/>
                  <a:gd name="T32" fmla="*/ 2147483647 w 505"/>
                  <a:gd name="T33" fmla="*/ 2147483647 h 339"/>
                  <a:gd name="T34" fmla="*/ 2147483647 w 505"/>
                  <a:gd name="T35" fmla="*/ 2147483647 h 339"/>
                  <a:gd name="T36" fmla="*/ 2147483647 w 505"/>
                  <a:gd name="T37" fmla="*/ 2147483647 h 339"/>
                  <a:gd name="T38" fmla="*/ 2147483647 w 505"/>
                  <a:gd name="T39" fmla="*/ 2147483647 h 339"/>
                  <a:gd name="T40" fmla="*/ 2147483647 w 505"/>
                  <a:gd name="T41" fmla="*/ 2147483647 h 339"/>
                  <a:gd name="T42" fmla="*/ 2147483647 w 505"/>
                  <a:gd name="T43" fmla="*/ 2147483647 h 339"/>
                  <a:gd name="T44" fmla="*/ 2147483647 w 505"/>
                  <a:gd name="T45" fmla="*/ 2147483647 h 339"/>
                  <a:gd name="T46" fmla="*/ 2147483647 w 505"/>
                  <a:gd name="T47" fmla="*/ 2147483647 h 339"/>
                  <a:gd name="T48" fmla="*/ 2147483647 w 505"/>
                  <a:gd name="T49" fmla="*/ 2147483647 h 339"/>
                  <a:gd name="T50" fmla="*/ 2147483647 w 505"/>
                  <a:gd name="T51" fmla="*/ 2147483647 h 339"/>
                  <a:gd name="T52" fmla="*/ 2147483647 w 505"/>
                  <a:gd name="T53" fmla="*/ 2147483647 h 339"/>
                  <a:gd name="T54" fmla="*/ 2147483647 w 505"/>
                  <a:gd name="T55" fmla="*/ 2147483647 h 339"/>
                  <a:gd name="T56" fmla="*/ 1251361084 w 505"/>
                  <a:gd name="T57" fmla="*/ 2147483647 h 339"/>
                  <a:gd name="T58" fmla="*/ 166873663 w 505"/>
                  <a:gd name="T59" fmla="*/ 2147483647 h 339"/>
                  <a:gd name="T60" fmla="*/ 417184157 w 505"/>
                  <a:gd name="T61" fmla="*/ 2147483647 h 339"/>
                  <a:gd name="T62" fmla="*/ 917805145 w 505"/>
                  <a:gd name="T63" fmla="*/ 2147483647 h 339"/>
                  <a:gd name="T64" fmla="*/ 917805145 w 505"/>
                  <a:gd name="T65" fmla="*/ 2147483647 h 339"/>
                  <a:gd name="T66" fmla="*/ 917805145 w 505"/>
                  <a:gd name="T67" fmla="*/ 2147483647 h 339"/>
                  <a:gd name="T68" fmla="*/ 2147483647 w 505"/>
                  <a:gd name="T69" fmla="*/ 2147483647 h 339"/>
                  <a:gd name="T70" fmla="*/ 2147483647 w 505"/>
                  <a:gd name="T71" fmla="*/ 2147483647 h 339"/>
                  <a:gd name="T72" fmla="*/ 2147483647 w 505"/>
                  <a:gd name="T73" fmla="*/ 1154249278 h 339"/>
                  <a:gd name="T74" fmla="*/ 2147483647 w 505"/>
                  <a:gd name="T75" fmla="*/ 1586955211 h 339"/>
                  <a:gd name="T76" fmla="*/ 2147483647 w 505"/>
                  <a:gd name="T77" fmla="*/ 2147483647 h 339"/>
                  <a:gd name="T78" fmla="*/ 2147483647 w 505"/>
                  <a:gd name="T79" fmla="*/ 2147483647 h 339"/>
                  <a:gd name="T80" fmla="*/ 2147483647 w 505"/>
                  <a:gd name="T81" fmla="*/ 2147483647 h 339"/>
                  <a:gd name="T82" fmla="*/ 2147483647 w 505"/>
                  <a:gd name="T83" fmla="*/ 2147483647 h 339"/>
                  <a:gd name="T84" fmla="*/ 2147483647 w 505"/>
                  <a:gd name="T85" fmla="*/ 2147483647 h 33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2" name="Freeform 343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10371405" y="2615772"/>
                <a:ext cx="146050" cy="71438"/>
              </a:xfrm>
              <a:custGeom>
                <a:avLst/>
                <a:gdLst>
                  <a:gd name="T0" fmla="*/ 2147483647 w 338"/>
                  <a:gd name="T1" fmla="*/ 0 h 141"/>
                  <a:gd name="T2" fmla="*/ 2147483647 w 338"/>
                  <a:gd name="T3" fmla="*/ 0 h 141"/>
                  <a:gd name="T4" fmla="*/ 2147483647 w 338"/>
                  <a:gd name="T5" fmla="*/ 1040392126 h 141"/>
                  <a:gd name="T6" fmla="*/ 2147483647 w 338"/>
                  <a:gd name="T7" fmla="*/ 2147483647 h 141"/>
                  <a:gd name="T8" fmla="*/ 2147483647 w 338"/>
                  <a:gd name="T9" fmla="*/ 2147483647 h 141"/>
                  <a:gd name="T10" fmla="*/ 2147483647 w 338"/>
                  <a:gd name="T11" fmla="*/ 2147483647 h 141"/>
                  <a:gd name="T12" fmla="*/ 2147483647 w 338"/>
                  <a:gd name="T13" fmla="*/ 2147483647 h 141"/>
                  <a:gd name="T14" fmla="*/ 2147483647 w 338"/>
                  <a:gd name="T15" fmla="*/ 2147483647 h 141"/>
                  <a:gd name="T16" fmla="*/ 2147483647 w 338"/>
                  <a:gd name="T17" fmla="*/ 2147483647 h 141"/>
                  <a:gd name="T18" fmla="*/ 2147483647 w 338"/>
                  <a:gd name="T19" fmla="*/ 2147483647 h 141"/>
                  <a:gd name="T20" fmla="*/ 2147483647 w 338"/>
                  <a:gd name="T21" fmla="*/ 2147483647 h 141"/>
                  <a:gd name="T22" fmla="*/ 2147483647 w 338"/>
                  <a:gd name="T23" fmla="*/ 2147483647 h 141"/>
                  <a:gd name="T24" fmla="*/ 2147483647 w 338"/>
                  <a:gd name="T25" fmla="*/ 2147483647 h 141"/>
                  <a:gd name="T26" fmla="*/ 2147483647 w 338"/>
                  <a:gd name="T27" fmla="*/ 2147483647 h 141"/>
                  <a:gd name="T28" fmla="*/ 2147483647 w 338"/>
                  <a:gd name="T29" fmla="*/ 2147483647 h 141"/>
                  <a:gd name="T30" fmla="*/ 2147483647 w 338"/>
                  <a:gd name="T31" fmla="*/ 2147483647 h 141"/>
                  <a:gd name="T32" fmla="*/ 2147483647 w 338"/>
                  <a:gd name="T33" fmla="*/ 2147483647 h 141"/>
                  <a:gd name="T34" fmla="*/ 2147483647 w 338"/>
                  <a:gd name="T35" fmla="*/ 2147483647 h 141"/>
                  <a:gd name="T36" fmla="*/ 2147483647 w 338"/>
                  <a:gd name="T37" fmla="*/ 2147483647 h 141"/>
                  <a:gd name="T38" fmla="*/ 1694215000 w 338"/>
                  <a:gd name="T39" fmla="*/ 2147483647 h 141"/>
                  <a:gd name="T40" fmla="*/ 887436961 w 338"/>
                  <a:gd name="T41" fmla="*/ 2147483647 h 141"/>
                  <a:gd name="T42" fmla="*/ 0 w 338"/>
                  <a:gd name="T43" fmla="*/ 2147483647 h 141"/>
                  <a:gd name="T44" fmla="*/ 968096314 w 338"/>
                  <a:gd name="T45" fmla="*/ 2147483647 h 141"/>
                  <a:gd name="T46" fmla="*/ 1855533275 w 338"/>
                  <a:gd name="T47" fmla="*/ 2147483647 h 141"/>
                  <a:gd name="T48" fmla="*/ 2147483647 w 338"/>
                  <a:gd name="T49" fmla="*/ 2147483647 h 141"/>
                  <a:gd name="T50" fmla="*/ 2147483647 w 338"/>
                  <a:gd name="T51" fmla="*/ 2147483647 h 141"/>
                  <a:gd name="T52" fmla="*/ 2147483647 w 338"/>
                  <a:gd name="T53" fmla="*/ 2147483647 h 141"/>
                  <a:gd name="T54" fmla="*/ 2147483647 w 338"/>
                  <a:gd name="T55" fmla="*/ 2147483647 h 141"/>
                  <a:gd name="T56" fmla="*/ 2147483647 w 338"/>
                  <a:gd name="T57" fmla="*/ 2147483647 h 141"/>
                  <a:gd name="T58" fmla="*/ 2147483647 w 338"/>
                  <a:gd name="T59" fmla="*/ 2147483647 h 141"/>
                  <a:gd name="T60" fmla="*/ 2147483647 w 338"/>
                  <a:gd name="T61" fmla="*/ 2147483647 h 141"/>
                  <a:gd name="T62" fmla="*/ 2147483647 w 338"/>
                  <a:gd name="T63" fmla="*/ 2147483647 h 141"/>
                  <a:gd name="T64" fmla="*/ 2147483647 w 338"/>
                  <a:gd name="T65" fmla="*/ 2147483647 h 141"/>
                  <a:gd name="T66" fmla="*/ 2147483647 w 338"/>
                  <a:gd name="T67" fmla="*/ 2147483647 h 141"/>
                  <a:gd name="T68" fmla="*/ 2147483647 w 338"/>
                  <a:gd name="T69" fmla="*/ 2147483647 h 141"/>
                  <a:gd name="T70" fmla="*/ 2147483647 w 338"/>
                  <a:gd name="T71" fmla="*/ 2147483647 h 141"/>
                  <a:gd name="T72" fmla="*/ 2147483647 w 338"/>
                  <a:gd name="T73" fmla="*/ 2147483647 h 141"/>
                  <a:gd name="T74" fmla="*/ 2147483647 w 338"/>
                  <a:gd name="T75" fmla="*/ 2147483647 h 141"/>
                  <a:gd name="T76" fmla="*/ 2147483647 w 338"/>
                  <a:gd name="T77" fmla="*/ 2147483647 h 141"/>
                  <a:gd name="T78" fmla="*/ 2147483647 w 338"/>
                  <a:gd name="T79" fmla="*/ 0 h 1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3" name="Freeform 344"/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10471418" y="2271285"/>
                <a:ext cx="111125" cy="65087"/>
              </a:xfrm>
              <a:custGeom>
                <a:avLst/>
                <a:gdLst>
                  <a:gd name="T0" fmla="*/ 2147483647 w 259"/>
                  <a:gd name="T1" fmla="*/ 2147483647 h 129"/>
                  <a:gd name="T2" fmla="*/ 2147483647 w 259"/>
                  <a:gd name="T3" fmla="*/ 2147483647 h 129"/>
                  <a:gd name="T4" fmla="*/ 2147483647 w 259"/>
                  <a:gd name="T5" fmla="*/ 2147483647 h 129"/>
                  <a:gd name="T6" fmla="*/ 2147483647 w 259"/>
                  <a:gd name="T7" fmla="*/ 2147483647 h 129"/>
                  <a:gd name="T8" fmla="*/ 2147483647 w 259"/>
                  <a:gd name="T9" fmla="*/ 2147483647 h 129"/>
                  <a:gd name="T10" fmla="*/ 2147483647 w 259"/>
                  <a:gd name="T11" fmla="*/ 2147483647 h 129"/>
                  <a:gd name="T12" fmla="*/ 2147483647 w 259"/>
                  <a:gd name="T13" fmla="*/ 1541428175 h 129"/>
                  <a:gd name="T14" fmla="*/ 2147483647 w 259"/>
                  <a:gd name="T15" fmla="*/ 1798290237 h 129"/>
                  <a:gd name="T16" fmla="*/ 2147483647 w 259"/>
                  <a:gd name="T17" fmla="*/ 2055152298 h 129"/>
                  <a:gd name="T18" fmla="*/ 2147483647 w 259"/>
                  <a:gd name="T19" fmla="*/ 2147483647 h 129"/>
                  <a:gd name="T20" fmla="*/ 2147483647 w 259"/>
                  <a:gd name="T21" fmla="*/ 2147483647 h 129"/>
                  <a:gd name="T22" fmla="*/ 2147483647 w 259"/>
                  <a:gd name="T23" fmla="*/ 2147483647 h 129"/>
                  <a:gd name="T24" fmla="*/ 2147483647 w 259"/>
                  <a:gd name="T25" fmla="*/ 2147483647 h 129"/>
                  <a:gd name="T26" fmla="*/ 2147483647 w 259"/>
                  <a:gd name="T27" fmla="*/ 2147483647 h 129"/>
                  <a:gd name="T28" fmla="*/ 2147483647 w 259"/>
                  <a:gd name="T29" fmla="*/ 2147483647 h 129"/>
                  <a:gd name="T30" fmla="*/ 2147483647 w 259"/>
                  <a:gd name="T31" fmla="*/ 2147483647 h 129"/>
                  <a:gd name="T32" fmla="*/ 2147483647 w 259"/>
                  <a:gd name="T33" fmla="*/ 1926593868 h 129"/>
                  <a:gd name="T34" fmla="*/ 2147483647 w 259"/>
                  <a:gd name="T35" fmla="*/ 1541428175 h 129"/>
                  <a:gd name="T36" fmla="*/ 2147483647 w 259"/>
                  <a:gd name="T37" fmla="*/ 1156007180 h 129"/>
                  <a:gd name="T38" fmla="*/ 2147483647 w 259"/>
                  <a:gd name="T39" fmla="*/ 770586689 h 129"/>
                  <a:gd name="T40" fmla="*/ 2147483647 w 259"/>
                  <a:gd name="T41" fmla="*/ 385420491 h 129"/>
                  <a:gd name="T42" fmla="*/ 2147483647 w 259"/>
                  <a:gd name="T43" fmla="*/ 128558430 h 129"/>
                  <a:gd name="T44" fmla="*/ 2147483647 w 259"/>
                  <a:gd name="T45" fmla="*/ 0 h 129"/>
                  <a:gd name="T46" fmla="*/ 2147483647 w 259"/>
                  <a:gd name="T47" fmla="*/ 0 h 129"/>
                  <a:gd name="T48" fmla="*/ 2147483647 w 259"/>
                  <a:gd name="T49" fmla="*/ 0 h 129"/>
                  <a:gd name="T50" fmla="*/ 2147483647 w 259"/>
                  <a:gd name="T51" fmla="*/ 0 h 129"/>
                  <a:gd name="T52" fmla="*/ 2147483647 w 259"/>
                  <a:gd name="T53" fmla="*/ 256862061 h 129"/>
                  <a:gd name="T54" fmla="*/ 2132468155 w 259"/>
                  <a:gd name="T55" fmla="*/ 513724627 h 129"/>
                  <a:gd name="T56" fmla="*/ 1658627294 w 259"/>
                  <a:gd name="T57" fmla="*/ 770586689 h 129"/>
                  <a:gd name="T58" fmla="*/ 1105813027 w 259"/>
                  <a:gd name="T59" fmla="*/ 1156007180 h 129"/>
                  <a:gd name="T60" fmla="*/ 789918976 w 259"/>
                  <a:gd name="T61" fmla="*/ 1669731807 h 129"/>
                  <a:gd name="T62" fmla="*/ 394867456 w 259"/>
                  <a:gd name="T63" fmla="*/ 2147483647 h 129"/>
                  <a:gd name="T64" fmla="*/ 157946811 w 259"/>
                  <a:gd name="T65" fmla="*/ 2147483647 h 129"/>
                  <a:gd name="T66" fmla="*/ 0 w 259"/>
                  <a:gd name="T67" fmla="*/ 2147483647 h 129"/>
                  <a:gd name="T68" fmla="*/ 0 w 259"/>
                  <a:gd name="T69" fmla="*/ 2147483647 h 129"/>
                  <a:gd name="T70" fmla="*/ 0 w 259"/>
                  <a:gd name="T71" fmla="*/ 2147483647 h 129"/>
                  <a:gd name="T72" fmla="*/ 236920645 w 259"/>
                  <a:gd name="T73" fmla="*/ 2147483647 h 129"/>
                  <a:gd name="T74" fmla="*/ 473840861 w 259"/>
                  <a:gd name="T75" fmla="*/ 2147483647 h 129"/>
                  <a:gd name="T76" fmla="*/ 947865787 w 259"/>
                  <a:gd name="T77" fmla="*/ 2147483647 h 129"/>
                  <a:gd name="T78" fmla="*/ 1342733243 w 259"/>
                  <a:gd name="T79" fmla="*/ 2147483647 h 129"/>
                  <a:gd name="T80" fmla="*/ 1895547939 w 259"/>
                  <a:gd name="T81" fmla="*/ 2147483647 h 129"/>
                  <a:gd name="T82" fmla="*/ 2147483647 w 259"/>
                  <a:gd name="T83" fmla="*/ 2147483647 h 129"/>
                  <a:gd name="T84" fmla="*/ 2147483647 w 259"/>
                  <a:gd name="T85" fmla="*/ 2147483647 h 129"/>
                  <a:gd name="T86" fmla="*/ 2147483647 w 259"/>
                  <a:gd name="T87" fmla="*/ 2147483647 h 129"/>
                  <a:gd name="T88" fmla="*/ 2147483647 w 259"/>
                  <a:gd name="T89" fmla="*/ 2147483647 h 129"/>
                  <a:gd name="T90" fmla="*/ 2147483647 w 259"/>
                  <a:gd name="T91" fmla="*/ 2147483647 h 129"/>
                  <a:gd name="T92" fmla="*/ 2147483647 w 259"/>
                  <a:gd name="T93" fmla="*/ 2147483647 h 129"/>
                  <a:gd name="T94" fmla="*/ 2147483647 w 259"/>
                  <a:gd name="T95" fmla="*/ 2147483647 h 129"/>
                  <a:gd name="T96" fmla="*/ 2147483647 w 259"/>
                  <a:gd name="T97" fmla="*/ 2147483647 h 129"/>
                  <a:gd name="T98" fmla="*/ 2147483647 w 259"/>
                  <a:gd name="T99" fmla="*/ 2147483647 h 129"/>
                  <a:gd name="T100" fmla="*/ 2147483647 w 259"/>
                  <a:gd name="T101" fmla="*/ 2147483647 h 129"/>
                  <a:gd name="T102" fmla="*/ 2147483647 w 259"/>
                  <a:gd name="T103" fmla="*/ 2147483647 h 129"/>
                  <a:gd name="T104" fmla="*/ 2147483647 w 259"/>
                  <a:gd name="T105" fmla="*/ 2147483647 h 129"/>
                  <a:gd name="T106" fmla="*/ 2147483647 w 259"/>
                  <a:gd name="T107" fmla="*/ 2147483647 h 129"/>
                  <a:gd name="T108" fmla="*/ 2147483647 w 259"/>
                  <a:gd name="T109" fmla="*/ 2147483647 h 129"/>
                  <a:gd name="T110" fmla="*/ 2147483647 w 259"/>
                  <a:gd name="T111" fmla="*/ 2147483647 h 129"/>
                  <a:gd name="T112" fmla="*/ 2147483647 w 259"/>
                  <a:gd name="T113" fmla="*/ 2147483647 h 129"/>
                  <a:gd name="T114" fmla="*/ 2147483647 w 259"/>
                  <a:gd name="T115" fmla="*/ 2147483647 h 129"/>
                  <a:gd name="T116" fmla="*/ 2147483647 w 259"/>
                  <a:gd name="T117" fmla="*/ 2147483647 h 1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4" name="Freeform 345"/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10484118" y="2618947"/>
                <a:ext cx="179387" cy="142875"/>
              </a:xfrm>
              <a:custGeom>
                <a:avLst/>
                <a:gdLst>
                  <a:gd name="T0" fmla="*/ 2147483647 w 425"/>
                  <a:gd name="T1" fmla="*/ 2147483647 h 272"/>
                  <a:gd name="T2" fmla="*/ 2147483647 w 425"/>
                  <a:gd name="T3" fmla="*/ 2147483647 h 272"/>
                  <a:gd name="T4" fmla="*/ 2147483647 w 425"/>
                  <a:gd name="T5" fmla="*/ 2147483647 h 272"/>
                  <a:gd name="T6" fmla="*/ 2147483647 w 425"/>
                  <a:gd name="T7" fmla="*/ 2147483647 h 272"/>
                  <a:gd name="T8" fmla="*/ 2147483647 w 425"/>
                  <a:gd name="T9" fmla="*/ 2147483647 h 272"/>
                  <a:gd name="T10" fmla="*/ 2147483647 w 425"/>
                  <a:gd name="T11" fmla="*/ 2147483647 h 272"/>
                  <a:gd name="T12" fmla="*/ 2147483647 w 425"/>
                  <a:gd name="T13" fmla="*/ 2147483647 h 272"/>
                  <a:gd name="T14" fmla="*/ 2147483647 w 425"/>
                  <a:gd name="T15" fmla="*/ 2147483647 h 272"/>
                  <a:gd name="T16" fmla="*/ 2147483647 w 425"/>
                  <a:gd name="T17" fmla="*/ 2147483647 h 272"/>
                  <a:gd name="T18" fmla="*/ 2147483647 w 425"/>
                  <a:gd name="T19" fmla="*/ 2147483647 h 272"/>
                  <a:gd name="T20" fmla="*/ 2147483647 w 425"/>
                  <a:gd name="T21" fmla="*/ 2147483647 h 272"/>
                  <a:gd name="T22" fmla="*/ 2147483647 w 425"/>
                  <a:gd name="T23" fmla="*/ 2147483647 h 272"/>
                  <a:gd name="T24" fmla="*/ 2147483647 w 425"/>
                  <a:gd name="T25" fmla="*/ 2147483647 h 272"/>
                  <a:gd name="T26" fmla="*/ 2147483647 w 425"/>
                  <a:gd name="T27" fmla="*/ 2147483647 h 272"/>
                  <a:gd name="T28" fmla="*/ 2147483647 w 425"/>
                  <a:gd name="T29" fmla="*/ 2147483647 h 272"/>
                  <a:gd name="T30" fmla="*/ 2147483647 w 425"/>
                  <a:gd name="T31" fmla="*/ 2147483647 h 272"/>
                  <a:gd name="T32" fmla="*/ 1654370227 w 425"/>
                  <a:gd name="T33" fmla="*/ 2147483647 h 272"/>
                  <a:gd name="T34" fmla="*/ 827185114 w 425"/>
                  <a:gd name="T35" fmla="*/ 2147483647 h 272"/>
                  <a:gd name="T36" fmla="*/ 150364716 w 425"/>
                  <a:gd name="T37" fmla="*/ 2147483647 h 272"/>
                  <a:gd name="T38" fmla="*/ 0 w 425"/>
                  <a:gd name="T39" fmla="*/ 2147483647 h 272"/>
                  <a:gd name="T40" fmla="*/ 2147483647 w 425"/>
                  <a:gd name="T41" fmla="*/ 2147483647 h 272"/>
                  <a:gd name="T42" fmla="*/ 2147483647 w 425"/>
                  <a:gd name="T43" fmla="*/ 2147483647 h 272"/>
                  <a:gd name="T44" fmla="*/ 2147483647 w 425"/>
                  <a:gd name="T45" fmla="*/ 2147483647 h 272"/>
                  <a:gd name="T46" fmla="*/ 2147483647 w 425"/>
                  <a:gd name="T47" fmla="*/ 869682751 h 272"/>
                  <a:gd name="T48" fmla="*/ 2147483647 w 425"/>
                  <a:gd name="T49" fmla="*/ 1449379154 h 272"/>
                  <a:gd name="T50" fmla="*/ 2147483647 w 425"/>
                  <a:gd name="T51" fmla="*/ 2147483647 h 272"/>
                  <a:gd name="T52" fmla="*/ 2147483647 w 425"/>
                  <a:gd name="T53" fmla="*/ 2147483647 h 272"/>
                  <a:gd name="T54" fmla="*/ 2147483647 w 425"/>
                  <a:gd name="T55" fmla="*/ 2147483647 h 272"/>
                  <a:gd name="T56" fmla="*/ 2147483647 w 425"/>
                  <a:gd name="T57" fmla="*/ 2147483647 h 272"/>
                  <a:gd name="T58" fmla="*/ 2147483647 w 425"/>
                  <a:gd name="T59" fmla="*/ 2147483647 h 272"/>
                  <a:gd name="T60" fmla="*/ 2147483647 w 425"/>
                  <a:gd name="T61" fmla="*/ 2147483647 h 272"/>
                  <a:gd name="T62" fmla="*/ 2147483647 w 425"/>
                  <a:gd name="T63" fmla="*/ 724551692 h 272"/>
                  <a:gd name="T64" fmla="*/ 2147483647 w 425"/>
                  <a:gd name="T65" fmla="*/ 289986349 h 272"/>
                  <a:gd name="T66" fmla="*/ 2147483647 w 425"/>
                  <a:gd name="T67" fmla="*/ 0 h 272"/>
                  <a:gd name="T68" fmla="*/ 2147483647 w 425"/>
                  <a:gd name="T69" fmla="*/ 289986349 h 272"/>
                  <a:gd name="T70" fmla="*/ 2147483647 w 425"/>
                  <a:gd name="T71" fmla="*/ 1014538041 h 272"/>
                  <a:gd name="T72" fmla="*/ 2147483647 w 425"/>
                  <a:gd name="T73" fmla="*/ 2147483647 h 272"/>
                  <a:gd name="T74" fmla="*/ 2147483647 w 425"/>
                  <a:gd name="T75" fmla="*/ 2147483647 h 272"/>
                  <a:gd name="T76" fmla="*/ 2147483647 w 425"/>
                  <a:gd name="T77" fmla="*/ 2147483647 h 272"/>
                  <a:gd name="T78" fmla="*/ 2147483647 w 425"/>
                  <a:gd name="T79" fmla="*/ 2147483647 h 272"/>
                  <a:gd name="T80" fmla="*/ 2147483647 w 425"/>
                  <a:gd name="T81" fmla="*/ 2147483647 h 272"/>
                  <a:gd name="T82" fmla="*/ 2147483647 w 425"/>
                  <a:gd name="T83" fmla="*/ 2147483647 h 272"/>
                  <a:gd name="T84" fmla="*/ 2147483647 w 425"/>
                  <a:gd name="T85" fmla="*/ 2147483647 h 272"/>
                  <a:gd name="T86" fmla="*/ 2147483647 w 425"/>
                  <a:gd name="T87" fmla="*/ 2147483647 h 272"/>
                  <a:gd name="T88" fmla="*/ 2147483647 w 425"/>
                  <a:gd name="T89" fmla="*/ 2147483647 h 272"/>
                  <a:gd name="T90" fmla="*/ 2147483647 w 425"/>
                  <a:gd name="T91" fmla="*/ 2147483647 h 272"/>
                  <a:gd name="T92" fmla="*/ 2147483647 w 425"/>
                  <a:gd name="T93" fmla="*/ 2147483647 h 27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5" name="Freeform 347"/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10588893" y="2611010"/>
                <a:ext cx="85725" cy="79375"/>
              </a:xfrm>
              <a:custGeom>
                <a:avLst/>
                <a:gdLst>
                  <a:gd name="T0" fmla="*/ 534054248 w 192"/>
                  <a:gd name="T1" fmla="*/ 2147483647 h 154"/>
                  <a:gd name="T2" fmla="*/ 2147483647 w 192"/>
                  <a:gd name="T3" fmla="*/ 0 h 154"/>
                  <a:gd name="T4" fmla="*/ 2147483647 w 192"/>
                  <a:gd name="T5" fmla="*/ 2147483647 h 154"/>
                  <a:gd name="T6" fmla="*/ 2147483647 w 192"/>
                  <a:gd name="T7" fmla="*/ 2147483647 h 154"/>
                  <a:gd name="T8" fmla="*/ 2147483647 w 192"/>
                  <a:gd name="T9" fmla="*/ 2147483647 h 154"/>
                  <a:gd name="T10" fmla="*/ 2147483647 w 192"/>
                  <a:gd name="T11" fmla="*/ 2147483647 h 154"/>
                  <a:gd name="T12" fmla="*/ 2147483647 w 192"/>
                  <a:gd name="T13" fmla="*/ 2147483647 h 154"/>
                  <a:gd name="T14" fmla="*/ 2147483647 w 192"/>
                  <a:gd name="T15" fmla="*/ 2147483647 h 154"/>
                  <a:gd name="T16" fmla="*/ 2147483647 w 192"/>
                  <a:gd name="T17" fmla="*/ 2147483647 h 154"/>
                  <a:gd name="T18" fmla="*/ 2147483647 w 192"/>
                  <a:gd name="T19" fmla="*/ 2147483647 h 154"/>
                  <a:gd name="T20" fmla="*/ 2147483647 w 192"/>
                  <a:gd name="T21" fmla="*/ 2147483647 h 154"/>
                  <a:gd name="T22" fmla="*/ 2147483647 w 192"/>
                  <a:gd name="T23" fmla="*/ 2147483647 h 154"/>
                  <a:gd name="T24" fmla="*/ 2147483647 w 192"/>
                  <a:gd name="T25" fmla="*/ 2147483647 h 154"/>
                  <a:gd name="T26" fmla="*/ 2147483647 w 192"/>
                  <a:gd name="T27" fmla="*/ 2147483647 h 154"/>
                  <a:gd name="T28" fmla="*/ 2147483647 w 192"/>
                  <a:gd name="T29" fmla="*/ 2147483647 h 154"/>
                  <a:gd name="T30" fmla="*/ 2147483647 w 192"/>
                  <a:gd name="T31" fmla="*/ 2147483647 h 154"/>
                  <a:gd name="T32" fmla="*/ 2147483647 w 192"/>
                  <a:gd name="T33" fmla="*/ 2147483647 h 154"/>
                  <a:gd name="T34" fmla="*/ 2147483647 w 192"/>
                  <a:gd name="T35" fmla="*/ 2147483647 h 154"/>
                  <a:gd name="T36" fmla="*/ 2147483647 w 192"/>
                  <a:gd name="T37" fmla="*/ 2147483647 h 154"/>
                  <a:gd name="T38" fmla="*/ 2147483647 w 192"/>
                  <a:gd name="T39" fmla="*/ 2147483647 h 154"/>
                  <a:gd name="T40" fmla="*/ 2147483647 w 192"/>
                  <a:gd name="T41" fmla="*/ 2147483647 h 154"/>
                  <a:gd name="T42" fmla="*/ 2147483647 w 192"/>
                  <a:gd name="T43" fmla="*/ 2147483647 h 154"/>
                  <a:gd name="T44" fmla="*/ 2136216547 w 192"/>
                  <a:gd name="T45" fmla="*/ 2147483647 h 154"/>
                  <a:gd name="T46" fmla="*/ 1602162299 w 192"/>
                  <a:gd name="T47" fmla="*/ 2147483647 h 154"/>
                  <a:gd name="T48" fmla="*/ 1068108050 w 192"/>
                  <a:gd name="T49" fmla="*/ 2147483647 h 154"/>
                  <a:gd name="T50" fmla="*/ 534054248 w 192"/>
                  <a:gd name="T51" fmla="*/ 2147483647 h 154"/>
                  <a:gd name="T52" fmla="*/ 0 w 192"/>
                  <a:gd name="T53" fmla="*/ 2147483647 h 154"/>
                  <a:gd name="T54" fmla="*/ 534054248 w 192"/>
                  <a:gd name="T55" fmla="*/ 2147483647 h 15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6" name="Freeform 348"/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10506343" y="2493535"/>
                <a:ext cx="381000" cy="247650"/>
              </a:xfrm>
              <a:custGeom>
                <a:avLst/>
                <a:gdLst>
                  <a:gd name="T0" fmla="*/ 2147483647 w 877"/>
                  <a:gd name="T1" fmla="*/ 2147483647 h 469"/>
                  <a:gd name="T2" fmla="*/ 2147483647 w 877"/>
                  <a:gd name="T3" fmla="*/ 2147483647 h 469"/>
                  <a:gd name="T4" fmla="*/ 2147483647 w 877"/>
                  <a:gd name="T5" fmla="*/ 2147483647 h 469"/>
                  <a:gd name="T6" fmla="*/ 2147483647 w 877"/>
                  <a:gd name="T7" fmla="*/ 2147483647 h 469"/>
                  <a:gd name="T8" fmla="*/ 2147483647 w 877"/>
                  <a:gd name="T9" fmla="*/ 2147483647 h 469"/>
                  <a:gd name="T10" fmla="*/ 2147483647 w 877"/>
                  <a:gd name="T11" fmla="*/ 2147483647 h 469"/>
                  <a:gd name="T12" fmla="*/ 2147483647 w 877"/>
                  <a:gd name="T13" fmla="*/ 2147483647 h 469"/>
                  <a:gd name="T14" fmla="*/ 2147483647 w 877"/>
                  <a:gd name="T15" fmla="*/ 2147483647 h 469"/>
                  <a:gd name="T16" fmla="*/ 2147483647 w 877"/>
                  <a:gd name="T17" fmla="*/ 2147483647 h 469"/>
                  <a:gd name="T18" fmla="*/ 2131753649 w 877"/>
                  <a:gd name="T19" fmla="*/ 2147483647 h 469"/>
                  <a:gd name="T20" fmla="*/ 655851749 w 877"/>
                  <a:gd name="T21" fmla="*/ 2147483647 h 469"/>
                  <a:gd name="T22" fmla="*/ 1065971097 w 877"/>
                  <a:gd name="T23" fmla="*/ 2147483647 h 469"/>
                  <a:gd name="T24" fmla="*/ 1065971097 w 877"/>
                  <a:gd name="T25" fmla="*/ 2147483647 h 469"/>
                  <a:gd name="T26" fmla="*/ 1885832702 w 877"/>
                  <a:gd name="T27" fmla="*/ 2147483647 h 469"/>
                  <a:gd name="T28" fmla="*/ 2147483647 w 877"/>
                  <a:gd name="T29" fmla="*/ 2147483647 h 469"/>
                  <a:gd name="T30" fmla="*/ 2147483647 w 877"/>
                  <a:gd name="T31" fmla="*/ 2147483647 h 469"/>
                  <a:gd name="T32" fmla="*/ 2131753649 w 877"/>
                  <a:gd name="T33" fmla="*/ 2147483647 h 469"/>
                  <a:gd name="T34" fmla="*/ 2147483647 w 877"/>
                  <a:gd name="T35" fmla="*/ 2147483647 h 469"/>
                  <a:gd name="T36" fmla="*/ 2147483647 w 877"/>
                  <a:gd name="T37" fmla="*/ 2147483647 h 469"/>
                  <a:gd name="T38" fmla="*/ 2147483647 w 877"/>
                  <a:gd name="T39" fmla="*/ 1913851345 h 469"/>
                  <a:gd name="T40" fmla="*/ 2147483647 w 877"/>
                  <a:gd name="T41" fmla="*/ 0 h 469"/>
                  <a:gd name="T42" fmla="*/ 2147483647 w 877"/>
                  <a:gd name="T43" fmla="*/ 2147483647 h 469"/>
                  <a:gd name="T44" fmla="*/ 2147483647 w 877"/>
                  <a:gd name="T45" fmla="*/ 2147483647 h 469"/>
                  <a:gd name="T46" fmla="*/ 2147483647 w 877"/>
                  <a:gd name="T47" fmla="*/ 2147483647 h 469"/>
                  <a:gd name="T48" fmla="*/ 2147483647 w 877"/>
                  <a:gd name="T49" fmla="*/ 2147483647 h 469"/>
                  <a:gd name="T50" fmla="*/ 2147483647 w 877"/>
                  <a:gd name="T51" fmla="*/ 2147483647 h 469"/>
                  <a:gd name="T52" fmla="*/ 2147483647 w 877"/>
                  <a:gd name="T53" fmla="*/ 2147483647 h 469"/>
                  <a:gd name="T54" fmla="*/ 2147483647 w 877"/>
                  <a:gd name="T55" fmla="*/ 2147483647 h 469"/>
                  <a:gd name="T56" fmla="*/ 2147483647 w 877"/>
                  <a:gd name="T57" fmla="*/ 2147483647 h 469"/>
                  <a:gd name="T58" fmla="*/ 2147483647 w 877"/>
                  <a:gd name="T59" fmla="*/ 2147483647 h 469"/>
                  <a:gd name="T60" fmla="*/ 2147483647 w 877"/>
                  <a:gd name="T61" fmla="*/ 2147483647 h 469"/>
                  <a:gd name="T62" fmla="*/ 2147483647 w 877"/>
                  <a:gd name="T63" fmla="*/ 2147483647 h 469"/>
                  <a:gd name="T64" fmla="*/ 2147483647 w 877"/>
                  <a:gd name="T65" fmla="*/ 2147483647 h 469"/>
                  <a:gd name="T66" fmla="*/ 2147483647 w 877"/>
                  <a:gd name="T67" fmla="*/ 2147483647 h 469"/>
                  <a:gd name="T68" fmla="*/ 2147483647 w 877"/>
                  <a:gd name="T69" fmla="*/ 2147483647 h 469"/>
                  <a:gd name="T70" fmla="*/ 2147483647 w 877"/>
                  <a:gd name="T71" fmla="*/ 2147483647 h 469"/>
                  <a:gd name="T72" fmla="*/ 2147483647 w 877"/>
                  <a:gd name="T73" fmla="*/ 2147483647 h 469"/>
                  <a:gd name="T74" fmla="*/ 2147483647 w 877"/>
                  <a:gd name="T75" fmla="*/ 2147483647 h 469"/>
                  <a:gd name="T76" fmla="*/ 2147483647 w 877"/>
                  <a:gd name="T77" fmla="*/ 2147483647 h 469"/>
                  <a:gd name="T78" fmla="*/ 2147483647 w 877"/>
                  <a:gd name="T79" fmla="*/ 2147483647 h 469"/>
                  <a:gd name="T80" fmla="*/ 2147483647 w 877"/>
                  <a:gd name="T81" fmla="*/ 2147483647 h 469"/>
                  <a:gd name="T82" fmla="*/ 2147483647 w 877"/>
                  <a:gd name="T83" fmla="*/ 2147483647 h 469"/>
                  <a:gd name="T84" fmla="*/ 2147483647 w 877"/>
                  <a:gd name="T85" fmla="*/ 2147483647 h 469"/>
                  <a:gd name="T86" fmla="*/ 2147483647 w 877"/>
                  <a:gd name="T87" fmla="*/ 2147483647 h 469"/>
                  <a:gd name="T88" fmla="*/ 2147483647 w 877"/>
                  <a:gd name="T89" fmla="*/ 2147483647 h 469"/>
                  <a:gd name="T90" fmla="*/ 2147483647 w 877"/>
                  <a:gd name="T91" fmla="*/ 2147483647 h 469"/>
                  <a:gd name="T92" fmla="*/ 2147483647 w 877"/>
                  <a:gd name="T93" fmla="*/ 2147483647 h 469"/>
                  <a:gd name="T94" fmla="*/ 2147483647 w 877"/>
                  <a:gd name="T95" fmla="*/ 2147483647 h 469"/>
                  <a:gd name="T96" fmla="*/ 2147483647 w 877"/>
                  <a:gd name="T97" fmla="*/ 2147483647 h 469"/>
                  <a:gd name="T98" fmla="*/ 2147483647 w 877"/>
                  <a:gd name="T99" fmla="*/ 2147483647 h 469"/>
                  <a:gd name="T100" fmla="*/ 2147483647 w 877"/>
                  <a:gd name="T101" fmla="*/ 2147483647 h 469"/>
                  <a:gd name="T102" fmla="*/ 2147483647 w 877"/>
                  <a:gd name="T103" fmla="*/ 2147483647 h 469"/>
                  <a:gd name="T104" fmla="*/ 2147483647 w 877"/>
                  <a:gd name="T105" fmla="*/ 2147483647 h 469"/>
                  <a:gd name="T106" fmla="*/ 2147483647 w 877"/>
                  <a:gd name="T107" fmla="*/ 2147483647 h 469"/>
                  <a:gd name="T108" fmla="*/ 2147483647 w 877"/>
                  <a:gd name="T109" fmla="*/ 2147483647 h 469"/>
                  <a:gd name="T110" fmla="*/ 2147483647 w 877"/>
                  <a:gd name="T111" fmla="*/ 2147483647 h 469"/>
                  <a:gd name="T112" fmla="*/ 2147483647 w 877"/>
                  <a:gd name="T113" fmla="*/ 2147483647 h 469"/>
                  <a:gd name="T114" fmla="*/ 2147483647 w 877"/>
                  <a:gd name="T115" fmla="*/ 2147483647 h 469"/>
                  <a:gd name="T116" fmla="*/ 2147483647 w 877"/>
                  <a:gd name="T117" fmla="*/ 2147483647 h 469"/>
                  <a:gd name="T118" fmla="*/ 2147483647 w 877"/>
                  <a:gd name="T119" fmla="*/ 2147483647 h 46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7" name="Freeform 349"/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11017518" y="2836435"/>
                <a:ext cx="47625" cy="63500"/>
              </a:xfrm>
              <a:custGeom>
                <a:avLst/>
                <a:gdLst>
                  <a:gd name="T0" fmla="*/ 2147483647 w 107"/>
                  <a:gd name="T1" fmla="*/ 0 h 123"/>
                  <a:gd name="T2" fmla="*/ 2147483647 w 107"/>
                  <a:gd name="T3" fmla="*/ 2147483647 h 123"/>
                  <a:gd name="T4" fmla="*/ 2147483647 w 107"/>
                  <a:gd name="T5" fmla="*/ 2147483647 h 123"/>
                  <a:gd name="T6" fmla="*/ 2147483647 w 107"/>
                  <a:gd name="T7" fmla="*/ 2147483647 h 123"/>
                  <a:gd name="T8" fmla="*/ 2147483647 w 107"/>
                  <a:gd name="T9" fmla="*/ 2147483647 h 123"/>
                  <a:gd name="T10" fmla="*/ 2147483647 w 107"/>
                  <a:gd name="T11" fmla="*/ 2147483647 h 123"/>
                  <a:gd name="T12" fmla="*/ 2147483647 w 107"/>
                  <a:gd name="T13" fmla="*/ 2147483647 h 123"/>
                  <a:gd name="T14" fmla="*/ 2147483647 w 107"/>
                  <a:gd name="T15" fmla="*/ 2147483647 h 123"/>
                  <a:gd name="T16" fmla="*/ 2147483647 w 107"/>
                  <a:gd name="T17" fmla="*/ 2147483647 h 123"/>
                  <a:gd name="T18" fmla="*/ 2147483647 w 107"/>
                  <a:gd name="T19" fmla="*/ 2147483647 h 123"/>
                  <a:gd name="T20" fmla="*/ 2147483647 w 107"/>
                  <a:gd name="T21" fmla="*/ 2147483647 h 123"/>
                  <a:gd name="T22" fmla="*/ 2147483647 w 107"/>
                  <a:gd name="T23" fmla="*/ 2147483647 h 123"/>
                  <a:gd name="T24" fmla="*/ 2147483647 w 107"/>
                  <a:gd name="T25" fmla="*/ 2147483647 h 123"/>
                  <a:gd name="T26" fmla="*/ 2147483647 w 107"/>
                  <a:gd name="T27" fmla="*/ 2147483647 h 123"/>
                  <a:gd name="T28" fmla="*/ 2147483647 w 107"/>
                  <a:gd name="T29" fmla="*/ 2147483647 h 123"/>
                  <a:gd name="T30" fmla="*/ 1851717417 w 107"/>
                  <a:gd name="T31" fmla="*/ 2147483647 h 123"/>
                  <a:gd name="T32" fmla="*/ 1499084558 w 107"/>
                  <a:gd name="T33" fmla="*/ 2147483647 h 123"/>
                  <a:gd name="T34" fmla="*/ 1234411959 w 107"/>
                  <a:gd name="T35" fmla="*/ 2147483647 h 123"/>
                  <a:gd name="T36" fmla="*/ 969937871 w 107"/>
                  <a:gd name="T37" fmla="*/ 2147483647 h 123"/>
                  <a:gd name="T38" fmla="*/ 793621220 w 107"/>
                  <a:gd name="T39" fmla="*/ 2147483647 h 123"/>
                  <a:gd name="T40" fmla="*/ 352632414 w 107"/>
                  <a:gd name="T41" fmla="*/ 2147483647 h 123"/>
                  <a:gd name="T42" fmla="*/ 0 w 107"/>
                  <a:gd name="T43" fmla="*/ 825693081 h 123"/>
                  <a:gd name="T44" fmla="*/ 2147483647 w 107"/>
                  <a:gd name="T45" fmla="*/ 0 h 123"/>
                  <a:gd name="T46" fmla="*/ 2147483647 w 107"/>
                  <a:gd name="T47" fmla="*/ 0 h 12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7" h="123">
                    <a:moveTo>
                      <a:pt x="48" y="0"/>
                    </a:moveTo>
                    <a:lnTo>
                      <a:pt x="81" y="31"/>
                    </a:lnTo>
                    <a:lnTo>
                      <a:pt x="94" y="67"/>
                    </a:lnTo>
                    <a:lnTo>
                      <a:pt x="107" y="86"/>
                    </a:lnTo>
                    <a:lnTo>
                      <a:pt x="107" y="117"/>
                    </a:lnTo>
                    <a:lnTo>
                      <a:pt x="107" y="123"/>
                    </a:lnTo>
                    <a:lnTo>
                      <a:pt x="88" y="114"/>
                    </a:lnTo>
                    <a:lnTo>
                      <a:pt x="73" y="105"/>
                    </a:lnTo>
                    <a:lnTo>
                      <a:pt x="61" y="98"/>
                    </a:lnTo>
                    <a:lnTo>
                      <a:pt x="54" y="92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39" y="74"/>
                    </a:lnTo>
                    <a:lnTo>
                      <a:pt x="32" y="73"/>
                    </a:lnTo>
                    <a:lnTo>
                      <a:pt x="26" y="72"/>
                    </a:lnTo>
                    <a:lnTo>
                      <a:pt x="21" y="70"/>
                    </a:lnTo>
                    <a:lnTo>
                      <a:pt x="17" y="67"/>
                    </a:lnTo>
                    <a:lnTo>
                      <a:pt x="14" y="63"/>
                    </a:lnTo>
                    <a:lnTo>
                      <a:pt x="11" y="59"/>
                    </a:lnTo>
                    <a:lnTo>
                      <a:pt x="9" y="54"/>
                    </a:lnTo>
                    <a:lnTo>
                      <a:pt x="4" y="31"/>
                    </a:lnTo>
                    <a:lnTo>
                      <a:pt x="0" y="6"/>
                    </a:lnTo>
                    <a:lnTo>
                      <a:pt x="34" y="0"/>
                    </a:lnTo>
                    <a:lnTo>
                      <a:pt x="4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8" name="Freeform 350"/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11560443" y="2850722"/>
                <a:ext cx="207962" cy="122238"/>
              </a:xfrm>
              <a:custGeom>
                <a:avLst/>
                <a:gdLst>
                  <a:gd name="T0" fmla="*/ 2147483647 w 471"/>
                  <a:gd name="T1" fmla="*/ 2147483647 h 234"/>
                  <a:gd name="T2" fmla="*/ 2147483647 w 471"/>
                  <a:gd name="T3" fmla="*/ 2147483647 h 234"/>
                  <a:gd name="T4" fmla="*/ 2147483647 w 471"/>
                  <a:gd name="T5" fmla="*/ 2147483647 h 234"/>
                  <a:gd name="T6" fmla="*/ 2147483647 w 471"/>
                  <a:gd name="T7" fmla="*/ 2147483647 h 234"/>
                  <a:gd name="T8" fmla="*/ 2147483647 w 471"/>
                  <a:gd name="T9" fmla="*/ 2147483647 h 234"/>
                  <a:gd name="T10" fmla="*/ 2147483647 w 471"/>
                  <a:gd name="T11" fmla="*/ 2147483647 h 234"/>
                  <a:gd name="T12" fmla="*/ 2147483647 w 471"/>
                  <a:gd name="T13" fmla="*/ 2147483647 h 234"/>
                  <a:gd name="T14" fmla="*/ 2147483647 w 471"/>
                  <a:gd name="T15" fmla="*/ 2147483647 h 234"/>
                  <a:gd name="T16" fmla="*/ 2147483647 w 471"/>
                  <a:gd name="T17" fmla="*/ 2147483647 h 234"/>
                  <a:gd name="T18" fmla="*/ 2147483647 w 471"/>
                  <a:gd name="T19" fmla="*/ 2147483647 h 234"/>
                  <a:gd name="T20" fmla="*/ 2147483647 w 471"/>
                  <a:gd name="T21" fmla="*/ 2147483647 h 234"/>
                  <a:gd name="T22" fmla="*/ 2147483647 w 471"/>
                  <a:gd name="T23" fmla="*/ 2147483647 h 234"/>
                  <a:gd name="T24" fmla="*/ 2147483647 w 471"/>
                  <a:gd name="T25" fmla="*/ 2147483647 h 234"/>
                  <a:gd name="T26" fmla="*/ 2147483647 w 471"/>
                  <a:gd name="T27" fmla="*/ 2147483647 h 234"/>
                  <a:gd name="T28" fmla="*/ 2147483647 w 471"/>
                  <a:gd name="T29" fmla="*/ 2147483647 h 234"/>
                  <a:gd name="T30" fmla="*/ 2147483647 w 471"/>
                  <a:gd name="T31" fmla="*/ 2147483647 h 234"/>
                  <a:gd name="T32" fmla="*/ 2147483647 w 471"/>
                  <a:gd name="T33" fmla="*/ 2147483647 h 234"/>
                  <a:gd name="T34" fmla="*/ 2147483647 w 471"/>
                  <a:gd name="T35" fmla="*/ 2147483647 h 234"/>
                  <a:gd name="T36" fmla="*/ 2147483647 w 471"/>
                  <a:gd name="T37" fmla="*/ 2147483647 h 234"/>
                  <a:gd name="T38" fmla="*/ 2147483647 w 471"/>
                  <a:gd name="T39" fmla="*/ 2147483647 h 234"/>
                  <a:gd name="T40" fmla="*/ 2147483647 w 471"/>
                  <a:gd name="T41" fmla="*/ 2147483647 h 234"/>
                  <a:gd name="T42" fmla="*/ 2147483647 w 471"/>
                  <a:gd name="T43" fmla="*/ 2147483647 h 234"/>
                  <a:gd name="T44" fmla="*/ 2147483647 w 471"/>
                  <a:gd name="T45" fmla="*/ 2147483647 h 234"/>
                  <a:gd name="T46" fmla="*/ 2147483647 w 471"/>
                  <a:gd name="T47" fmla="*/ 2147483647 h 234"/>
                  <a:gd name="T48" fmla="*/ 2147483647 w 471"/>
                  <a:gd name="T49" fmla="*/ 2147483647 h 234"/>
                  <a:gd name="T50" fmla="*/ 2147483647 w 471"/>
                  <a:gd name="T51" fmla="*/ 2147483647 h 234"/>
                  <a:gd name="T52" fmla="*/ 2147483647 w 471"/>
                  <a:gd name="T53" fmla="*/ 2147483647 h 234"/>
                  <a:gd name="T54" fmla="*/ 2147483647 w 471"/>
                  <a:gd name="T55" fmla="*/ 2147483647 h 234"/>
                  <a:gd name="T56" fmla="*/ 2147483647 w 471"/>
                  <a:gd name="T57" fmla="*/ 2147483647 h 234"/>
                  <a:gd name="T58" fmla="*/ 2147483647 w 471"/>
                  <a:gd name="T59" fmla="*/ 2147483647 h 234"/>
                  <a:gd name="T60" fmla="*/ 2147483647 w 471"/>
                  <a:gd name="T61" fmla="*/ 2147483647 h 234"/>
                  <a:gd name="T62" fmla="*/ 2147483647 w 471"/>
                  <a:gd name="T63" fmla="*/ 2147483647 h 234"/>
                  <a:gd name="T64" fmla="*/ 2147483647 w 471"/>
                  <a:gd name="T65" fmla="*/ 2147483647 h 234"/>
                  <a:gd name="T66" fmla="*/ 2147483647 w 471"/>
                  <a:gd name="T67" fmla="*/ 2147483647 h 234"/>
                  <a:gd name="T68" fmla="*/ 2147483647 w 471"/>
                  <a:gd name="T69" fmla="*/ 2147483647 h 234"/>
                  <a:gd name="T70" fmla="*/ 2147483647 w 471"/>
                  <a:gd name="T71" fmla="*/ 2147483647 h 234"/>
                  <a:gd name="T72" fmla="*/ 2147483647 w 471"/>
                  <a:gd name="T73" fmla="*/ 2147483647 h 234"/>
                  <a:gd name="T74" fmla="*/ 2147483647 w 471"/>
                  <a:gd name="T75" fmla="*/ 2147483647 h 234"/>
                  <a:gd name="T76" fmla="*/ 2147483647 w 471"/>
                  <a:gd name="T77" fmla="*/ 2147483647 h 234"/>
                  <a:gd name="T78" fmla="*/ 0 w 471"/>
                  <a:gd name="T79" fmla="*/ 2147483647 h 234"/>
                  <a:gd name="T80" fmla="*/ 2147483647 w 471"/>
                  <a:gd name="T81" fmla="*/ 2147483647 h 234"/>
                  <a:gd name="T82" fmla="*/ 2147483647 w 471"/>
                  <a:gd name="T83" fmla="*/ 2147483647 h 234"/>
                  <a:gd name="T84" fmla="*/ 2147483647 w 471"/>
                  <a:gd name="T85" fmla="*/ 0 h 234"/>
                  <a:gd name="T86" fmla="*/ 2147483647 w 471"/>
                  <a:gd name="T87" fmla="*/ 2147483647 h 23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71" h="234">
                    <a:moveTo>
                      <a:pt x="159" y="30"/>
                    </a:moveTo>
                    <a:lnTo>
                      <a:pt x="106" y="67"/>
                    </a:lnTo>
                    <a:lnTo>
                      <a:pt x="126" y="86"/>
                    </a:lnTo>
                    <a:lnTo>
                      <a:pt x="166" y="86"/>
                    </a:lnTo>
                    <a:lnTo>
                      <a:pt x="218" y="98"/>
                    </a:lnTo>
                    <a:lnTo>
                      <a:pt x="272" y="105"/>
                    </a:lnTo>
                    <a:lnTo>
                      <a:pt x="325" y="92"/>
                    </a:lnTo>
                    <a:lnTo>
                      <a:pt x="372" y="86"/>
                    </a:lnTo>
                    <a:lnTo>
                      <a:pt x="379" y="86"/>
                    </a:lnTo>
                    <a:lnTo>
                      <a:pt x="383" y="95"/>
                    </a:lnTo>
                    <a:lnTo>
                      <a:pt x="388" y="105"/>
                    </a:lnTo>
                    <a:lnTo>
                      <a:pt x="391" y="114"/>
                    </a:lnTo>
                    <a:lnTo>
                      <a:pt x="392" y="123"/>
                    </a:lnTo>
                    <a:lnTo>
                      <a:pt x="406" y="124"/>
                    </a:lnTo>
                    <a:lnTo>
                      <a:pt x="418" y="126"/>
                    </a:lnTo>
                    <a:lnTo>
                      <a:pt x="424" y="129"/>
                    </a:lnTo>
                    <a:lnTo>
                      <a:pt x="428" y="131"/>
                    </a:lnTo>
                    <a:lnTo>
                      <a:pt x="433" y="134"/>
                    </a:lnTo>
                    <a:lnTo>
                      <a:pt x="437" y="137"/>
                    </a:lnTo>
                    <a:lnTo>
                      <a:pt x="441" y="141"/>
                    </a:lnTo>
                    <a:lnTo>
                      <a:pt x="445" y="146"/>
                    </a:lnTo>
                    <a:lnTo>
                      <a:pt x="448" y="151"/>
                    </a:lnTo>
                    <a:lnTo>
                      <a:pt x="450" y="156"/>
                    </a:lnTo>
                    <a:lnTo>
                      <a:pt x="455" y="170"/>
                    </a:lnTo>
                    <a:lnTo>
                      <a:pt x="458" y="184"/>
                    </a:lnTo>
                    <a:lnTo>
                      <a:pt x="471" y="190"/>
                    </a:lnTo>
                    <a:lnTo>
                      <a:pt x="359" y="190"/>
                    </a:lnTo>
                    <a:lnTo>
                      <a:pt x="350" y="202"/>
                    </a:lnTo>
                    <a:lnTo>
                      <a:pt x="338" y="217"/>
                    </a:lnTo>
                    <a:lnTo>
                      <a:pt x="330" y="224"/>
                    </a:lnTo>
                    <a:lnTo>
                      <a:pt x="324" y="229"/>
                    </a:lnTo>
                    <a:lnTo>
                      <a:pt x="317" y="233"/>
                    </a:lnTo>
                    <a:lnTo>
                      <a:pt x="312" y="234"/>
                    </a:lnTo>
                    <a:lnTo>
                      <a:pt x="306" y="233"/>
                    </a:lnTo>
                    <a:lnTo>
                      <a:pt x="302" y="232"/>
                    </a:lnTo>
                    <a:lnTo>
                      <a:pt x="298" y="230"/>
                    </a:lnTo>
                    <a:lnTo>
                      <a:pt x="294" y="228"/>
                    </a:lnTo>
                    <a:lnTo>
                      <a:pt x="292" y="224"/>
                    </a:lnTo>
                    <a:lnTo>
                      <a:pt x="290" y="220"/>
                    </a:lnTo>
                    <a:lnTo>
                      <a:pt x="289" y="216"/>
                    </a:lnTo>
                    <a:lnTo>
                      <a:pt x="287" y="210"/>
                    </a:lnTo>
                    <a:lnTo>
                      <a:pt x="284" y="199"/>
                    </a:lnTo>
                    <a:lnTo>
                      <a:pt x="282" y="187"/>
                    </a:lnTo>
                    <a:lnTo>
                      <a:pt x="278" y="174"/>
                    </a:lnTo>
                    <a:lnTo>
                      <a:pt x="272" y="160"/>
                    </a:lnTo>
                    <a:lnTo>
                      <a:pt x="269" y="155"/>
                    </a:lnTo>
                    <a:lnTo>
                      <a:pt x="265" y="151"/>
                    </a:lnTo>
                    <a:lnTo>
                      <a:pt x="258" y="148"/>
                    </a:lnTo>
                    <a:lnTo>
                      <a:pt x="253" y="144"/>
                    </a:lnTo>
                    <a:lnTo>
                      <a:pt x="246" y="141"/>
                    </a:lnTo>
                    <a:lnTo>
                      <a:pt x="240" y="137"/>
                    </a:lnTo>
                    <a:lnTo>
                      <a:pt x="236" y="133"/>
                    </a:lnTo>
                    <a:lnTo>
                      <a:pt x="233" y="129"/>
                    </a:lnTo>
                    <a:lnTo>
                      <a:pt x="224" y="140"/>
                    </a:lnTo>
                    <a:lnTo>
                      <a:pt x="213" y="154"/>
                    </a:lnTo>
                    <a:lnTo>
                      <a:pt x="207" y="162"/>
                    </a:lnTo>
                    <a:lnTo>
                      <a:pt x="203" y="170"/>
                    </a:lnTo>
                    <a:lnTo>
                      <a:pt x="200" y="177"/>
                    </a:lnTo>
                    <a:lnTo>
                      <a:pt x="199" y="184"/>
                    </a:lnTo>
                    <a:lnTo>
                      <a:pt x="188" y="190"/>
                    </a:lnTo>
                    <a:lnTo>
                      <a:pt x="177" y="195"/>
                    </a:lnTo>
                    <a:lnTo>
                      <a:pt x="167" y="201"/>
                    </a:lnTo>
                    <a:lnTo>
                      <a:pt x="157" y="207"/>
                    </a:lnTo>
                    <a:lnTo>
                      <a:pt x="147" y="213"/>
                    </a:lnTo>
                    <a:lnTo>
                      <a:pt x="135" y="218"/>
                    </a:lnTo>
                    <a:lnTo>
                      <a:pt x="130" y="219"/>
                    </a:lnTo>
                    <a:lnTo>
                      <a:pt x="122" y="221"/>
                    </a:lnTo>
                    <a:lnTo>
                      <a:pt x="114" y="222"/>
                    </a:lnTo>
                    <a:lnTo>
                      <a:pt x="106" y="222"/>
                    </a:lnTo>
                    <a:lnTo>
                      <a:pt x="97" y="221"/>
                    </a:lnTo>
                    <a:lnTo>
                      <a:pt x="89" y="220"/>
                    </a:lnTo>
                    <a:lnTo>
                      <a:pt x="82" y="217"/>
                    </a:lnTo>
                    <a:lnTo>
                      <a:pt x="76" y="213"/>
                    </a:lnTo>
                    <a:lnTo>
                      <a:pt x="63" y="205"/>
                    </a:lnTo>
                    <a:lnTo>
                      <a:pt x="46" y="197"/>
                    </a:lnTo>
                    <a:lnTo>
                      <a:pt x="59" y="197"/>
                    </a:lnTo>
                    <a:lnTo>
                      <a:pt x="72" y="166"/>
                    </a:lnTo>
                    <a:lnTo>
                      <a:pt x="59" y="135"/>
                    </a:lnTo>
                    <a:lnTo>
                      <a:pt x="39" y="117"/>
                    </a:lnTo>
                    <a:lnTo>
                      <a:pt x="0" y="98"/>
                    </a:lnTo>
                    <a:lnTo>
                      <a:pt x="13" y="86"/>
                    </a:lnTo>
                    <a:lnTo>
                      <a:pt x="53" y="80"/>
                    </a:lnTo>
                    <a:lnTo>
                      <a:pt x="66" y="49"/>
                    </a:lnTo>
                    <a:lnTo>
                      <a:pt x="86" y="30"/>
                    </a:lnTo>
                    <a:lnTo>
                      <a:pt x="93" y="6"/>
                    </a:lnTo>
                    <a:lnTo>
                      <a:pt x="133" y="0"/>
                    </a:lnTo>
                    <a:lnTo>
                      <a:pt x="153" y="12"/>
                    </a:lnTo>
                    <a:lnTo>
                      <a:pt x="166" y="42"/>
                    </a:lnTo>
                    <a:lnTo>
                      <a:pt x="159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9" name="Freeform 351"/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11609655" y="2779285"/>
                <a:ext cx="225425" cy="125412"/>
              </a:xfrm>
              <a:custGeom>
                <a:avLst/>
                <a:gdLst>
                  <a:gd name="T0" fmla="*/ 2147483647 w 525"/>
                  <a:gd name="T1" fmla="*/ 2147483647 h 241"/>
                  <a:gd name="T2" fmla="*/ 2147483647 w 525"/>
                  <a:gd name="T3" fmla="*/ 2147483647 h 241"/>
                  <a:gd name="T4" fmla="*/ 2147483647 w 525"/>
                  <a:gd name="T5" fmla="*/ 2147483647 h 241"/>
                  <a:gd name="T6" fmla="*/ 2147483647 w 525"/>
                  <a:gd name="T7" fmla="*/ 2147483647 h 241"/>
                  <a:gd name="T8" fmla="*/ 2147483647 w 525"/>
                  <a:gd name="T9" fmla="*/ 2147483647 h 241"/>
                  <a:gd name="T10" fmla="*/ 2147483647 w 525"/>
                  <a:gd name="T11" fmla="*/ 2147483647 h 241"/>
                  <a:gd name="T12" fmla="*/ 2147483647 w 525"/>
                  <a:gd name="T13" fmla="*/ 2147483647 h 241"/>
                  <a:gd name="T14" fmla="*/ 2147483647 w 525"/>
                  <a:gd name="T15" fmla="*/ 0 h 241"/>
                  <a:gd name="T16" fmla="*/ 2147483647 w 525"/>
                  <a:gd name="T17" fmla="*/ 2147483647 h 241"/>
                  <a:gd name="T18" fmla="*/ 2147483647 w 525"/>
                  <a:gd name="T19" fmla="*/ 2147483647 h 241"/>
                  <a:gd name="T20" fmla="*/ 2147483647 w 525"/>
                  <a:gd name="T21" fmla="*/ 2147483647 h 241"/>
                  <a:gd name="T22" fmla="*/ 2147483647 w 525"/>
                  <a:gd name="T23" fmla="*/ 2147483647 h 241"/>
                  <a:gd name="T24" fmla="*/ 2147483647 w 525"/>
                  <a:gd name="T25" fmla="*/ 2147483647 h 241"/>
                  <a:gd name="T26" fmla="*/ 2147483647 w 525"/>
                  <a:gd name="T27" fmla="*/ 2147483647 h 241"/>
                  <a:gd name="T28" fmla="*/ 2147483647 w 525"/>
                  <a:gd name="T29" fmla="*/ 2147483647 h 241"/>
                  <a:gd name="T30" fmla="*/ 2147483647 w 525"/>
                  <a:gd name="T31" fmla="*/ 2147483647 h 241"/>
                  <a:gd name="T32" fmla="*/ 2147483647 w 525"/>
                  <a:gd name="T33" fmla="*/ 2147483647 h 241"/>
                  <a:gd name="T34" fmla="*/ 2147483647 w 525"/>
                  <a:gd name="T35" fmla="*/ 2147483647 h 241"/>
                  <a:gd name="T36" fmla="*/ 2147483647 w 525"/>
                  <a:gd name="T37" fmla="*/ 2147483647 h 241"/>
                  <a:gd name="T38" fmla="*/ 2147483647 w 525"/>
                  <a:gd name="T39" fmla="*/ 2147483647 h 241"/>
                  <a:gd name="T40" fmla="*/ 2147483647 w 525"/>
                  <a:gd name="T41" fmla="*/ 2147483647 h 241"/>
                  <a:gd name="T42" fmla="*/ 2147483647 w 525"/>
                  <a:gd name="T43" fmla="*/ 2147483647 h 241"/>
                  <a:gd name="T44" fmla="*/ 2147483647 w 525"/>
                  <a:gd name="T45" fmla="*/ 2147483647 h 241"/>
                  <a:gd name="T46" fmla="*/ 2147483647 w 525"/>
                  <a:gd name="T47" fmla="*/ 2147483647 h 241"/>
                  <a:gd name="T48" fmla="*/ 2147483647 w 525"/>
                  <a:gd name="T49" fmla="*/ 2147483647 h 241"/>
                  <a:gd name="T50" fmla="*/ 2147483647 w 525"/>
                  <a:gd name="T51" fmla="*/ 2147483647 h 241"/>
                  <a:gd name="T52" fmla="*/ 2147483647 w 525"/>
                  <a:gd name="T53" fmla="*/ 2147483647 h 241"/>
                  <a:gd name="T54" fmla="*/ 2147483647 w 525"/>
                  <a:gd name="T55" fmla="*/ 2147483647 h 241"/>
                  <a:gd name="T56" fmla="*/ 2147483647 w 525"/>
                  <a:gd name="T57" fmla="*/ 2147483647 h 241"/>
                  <a:gd name="T58" fmla="*/ 2147483647 w 525"/>
                  <a:gd name="T59" fmla="*/ 2147483647 h 241"/>
                  <a:gd name="T60" fmla="*/ 1583352567 w 525"/>
                  <a:gd name="T61" fmla="*/ 2147483647 h 241"/>
                  <a:gd name="T62" fmla="*/ 2147483647 w 525"/>
                  <a:gd name="T63" fmla="*/ 2147483647 h 24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525" h="241">
                    <a:moveTo>
                      <a:pt x="60" y="178"/>
                    </a:moveTo>
                    <a:lnTo>
                      <a:pt x="106" y="185"/>
                    </a:lnTo>
                    <a:lnTo>
                      <a:pt x="140" y="178"/>
                    </a:lnTo>
                    <a:lnTo>
                      <a:pt x="173" y="148"/>
                    </a:lnTo>
                    <a:lnTo>
                      <a:pt x="133" y="123"/>
                    </a:lnTo>
                    <a:lnTo>
                      <a:pt x="93" y="105"/>
                    </a:lnTo>
                    <a:lnTo>
                      <a:pt x="73" y="123"/>
                    </a:lnTo>
                    <a:lnTo>
                      <a:pt x="47" y="117"/>
                    </a:lnTo>
                    <a:lnTo>
                      <a:pt x="33" y="93"/>
                    </a:lnTo>
                    <a:lnTo>
                      <a:pt x="66" y="61"/>
                    </a:lnTo>
                    <a:lnTo>
                      <a:pt x="40" y="55"/>
                    </a:lnTo>
                    <a:lnTo>
                      <a:pt x="40" y="43"/>
                    </a:lnTo>
                    <a:lnTo>
                      <a:pt x="66" y="19"/>
                    </a:lnTo>
                    <a:lnTo>
                      <a:pt x="112" y="25"/>
                    </a:lnTo>
                    <a:lnTo>
                      <a:pt x="173" y="49"/>
                    </a:lnTo>
                    <a:lnTo>
                      <a:pt x="186" y="0"/>
                    </a:lnTo>
                    <a:lnTo>
                      <a:pt x="232" y="12"/>
                    </a:lnTo>
                    <a:lnTo>
                      <a:pt x="312" y="19"/>
                    </a:lnTo>
                    <a:lnTo>
                      <a:pt x="372" y="25"/>
                    </a:lnTo>
                    <a:lnTo>
                      <a:pt x="439" y="25"/>
                    </a:lnTo>
                    <a:lnTo>
                      <a:pt x="519" y="49"/>
                    </a:lnTo>
                    <a:lnTo>
                      <a:pt x="525" y="55"/>
                    </a:lnTo>
                    <a:lnTo>
                      <a:pt x="522" y="62"/>
                    </a:lnTo>
                    <a:lnTo>
                      <a:pt x="519" y="69"/>
                    </a:lnTo>
                    <a:lnTo>
                      <a:pt x="514" y="76"/>
                    </a:lnTo>
                    <a:lnTo>
                      <a:pt x="510" y="82"/>
                    </a:lnTo>
                    <a:lnTo>
                      <a:pt x="504" y="87"/>
                    </a:lnTo>
                    <a:lnTo>
                      <a:pt x="499" y="92"/>
                    </a:lnTo>
                    <a:lnTo>
                      <a:pt x="492" y="96"/>
                    </a:lnTo>
                    <a:lnTo>
                      <a:pt x="485" y="99"/>
                    </a:lnTo>
                    <a:lnTo>
                      <a:pt x="466" y="101"/>
                    </a:lnTo>
                    <a:lnTo>
                      <a:pt x="442" y="103"/>
                    </a:lnTo>
                    <a:lnTo>
                      <a:pt x="430" y="105"/>
                    </a:lnTo>
                    <a:lnTo>
                      <a:pt x="418" y="107"/>
                    </a:lnTo>
                    <a:lnTo>
                      <a:pt x="412" y="109"/>
                    </a:lnTo>
                    <a:lnTo>
                      <a:pt x="407" y="111"/>
                    </a:lnTo>
                    <a:lnTo>
                      <a:pt x="402" y="114"/>
                    </a:lnTo>
                    <a:lnTo>
                      <a:pt x="399" y="117"/>
                    </a:lnTo>
                    <a:lnTo>
                      <a:pt x="394" y="124"/>
                    </a:lnTo>
                    <a:lnTo>
                      <a:pt x="387" y="136"/>
                    </a:lnTo>
                    <a:lnTo>
                      <a:pt x="383" y="142"/>
                    </a:lnTo>
                    <a:lnTo>
                      <a:pt x="378" y="147"/>
                    </a:lnTo>
                    <a:lnTo>
                      <a:pt x="373" y="151"/>
                    </a:lnTo>
                    <a:lnTo>
                      <a:pt x="365" y="154"/>
                    </a:lnTo>
                    <a:lnTo>
                      <a:pt x="341" y="160"/>
                    </a:lnTo>
                    <a:lnTo>
                      <a:pt x="305" y="166"/>
                    </a:lnTo>
                    <a:lnTo>
                      <a:pt x="287" y="170"/>
                    </a:lnTo>
                    <a:lnTo>
                      <a:pt x="273" y="173"/>
                    </a:lnTo>
                    <a:lnTo>
                      <a:pt x="263" y="176"/>
                    </a:lnTo>
                    <a:lnTo>
                      <a:pt x="260" y="178"/>
                    </a:lnTo>
                    <a:lnTo>
                      <a:pt x="260" y="186"/>
                    </a:lnTo>
                    <a:lnTo>
                      <a:pt x="261" y="192"/>
                    </a:lnTo>
                    <a:lnTo>
                      <a:pt x="262" y="197"/>
                    </a:lnTo>
                    <a:lnTo>
                      <a:pt x="263" y="203"/>
                    </a:lnTo>
                    <a:lnTo>
                      <a:pt x="267" y="212"/>
                    </a:lnTo>
                    <a:lnTo>
                      <a:pt x="273" y="222"/>
                    </a:lnTo>
                    <a:lnTo>
                      <a:pt x="266" y="222"/>
                    </a:lnTo>
                    <a:lnTo>
                      <a:pt x="219" y="228"/>
                    </a:lnTo>
                    <a:lnTo>
                      <a:pt x="166" y="241"/>
                    </a:lnTo>
                    <a:lnTo>
                      <a:pt x="112" y="234"/>
                    </a:lnTo>
                    <a:lnTo>
                      <a:pt x="60" y="222"/>
                    </a:lnTo>
                    <a:lnTo>
                      <a:pt x="20" y="222"/>
                    </a:lnTo>
                    <a:lnTo>
                      <a:pt x="0" y="203"/>
                    </a:lnTo>
                    <a:lnTo>
                      <a:pt x="53" y="166"/>
                    </a:lnTo>
                    <a:lnTo>
                      <a:pt x="60" y="17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0" name="Freeform 352"/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11215955" y="2795160"/>
                <a:ext cx="342900" cy="227012"/>
              </a:xfrm>
              <a:custGeom>
                <a:avLst/>
                <a:gdLst>
                  <a:gd name="T0" fmla="*/ 2147483647 w 784"/>
                  <a:gd name="T1" fmla="*/ 2147483647 h 430"/>
                  <a:gd name="T2" fmla="*/ 2147483647 w 784"/>
                  <a:gd name="T3" fmla="*/ 2147483647 h 430"/>
                  <a:gd name="T4" fmla="*/ 2147483647 w 784"/>
                  <a:gd name="T5" fmla="*/ 2147483647 h 430"/>
                  <a:gd name="T6" fmla="*/ 2147483647 w 784"/>
                  <a:gd name="T7" fmla="*/ 2147483647 h 430"/>
                  <a:gd name="T8" fmla="*/ 2147483647 w 784"/>
                  <a:gd name="T9" fmla="*/ 2147483647 h 430"/>
                  <a:gd name="T10" fmla="*/ 2147483647 w 784"/>
                  <a:gd name="T11" fmla="*/ 2147483647 h 430"/>
                  <a:gd name="T12" fmla="*/ 2147483647 w 784"/>
                  <a:gd name="T13" fmla="*/ 2147483647 h 430"/>
                  <a:gd name="T14" fmla="*/ 2147483647 w 784"/>
                  <a:gd name="T15" fmla="*/ 2147483647 h 430"/>
                  <a:gd name="T16" fmla="*/ 2147483647 w 784"/>
                  <a:gd name="T17" fmla="*/ 2147483647 h 430"/>
                  <a:gd name="T18" fmla="*/ 2147483647 w 784"/>
                  <a:gd name="T19" fmla="*/ 2147483647 h 430"/>
                  <a:gd name="T20" fmla="*/ 2147483647 w 784"/>
                  <a:gd name="T21" fmla="*/ 2147483647 h 430"/>
                  <a:gd name="T22" fmla="*/ 2147483647 w 784"/>
                  <a:gd name="T23" fmla="*/ 2147483647 h 430"/>
                  <a:gd name="T24" fmla="*/ 2147483647 w 784"/>
                  <a:gd name="T25" fmla="*/ 2147483647 h 430"/>
                  <a:gd name="T26" fmla="*/ 2147483647 w 784"/>
                  <a:gd name="T27" fmla="*/ 2147483647 h 430"/>
                  <a:gd name="T28" fmla="*/ 2147483647 w 784"/>
                  <a:gd name="T29" fmla="*/ 2147483647 h 430"/>
                  <a:gd name="T30" fmla="*/ 2147483647 w 784"/>
                  <a:gd name="T31" fmla="*/ 2147483647 h 430"/>
                  <a:gd name="T32" fmla="*/ 2147483647 w 784"/>
                  <a:gd name="T33" fmla="*/ 2147483647 h 430"/>
                  <a:gd name="T34" fmla="*/ 2147483647 w 784"/>
                  <a:gd name="T35" fmla="*/ 2147483647 h 430"/>
                  <a:gd name="T36" fmla="*/ 2147483647 w 784"/>
                  <a:gd name="T37" fmla="*/ 2147483647 h 430"/>
                  <a:gd name="T38" fmla="*/ 2147483647 w 784"/>
                  <a:gd name="T39" fmla="*/ 2147483647 h 430"/>
                  <a:gd name="T40" fmla="*/ 2147483647 w 784"/>
                  <a:gd name="T41" fmla="*/ 2147483647 h 430"/>
                  <a:gd name="T42" fmla="*/ 2147483647 w 784"/>
                  <a:gd name="T43" fmla="*/ 2147483647 h 430"/>
                  <a:gd name="T44" fmla="*/ 2147483647 w 784"/>
                  <a:gd name="T45" fmla="*/ 2147483647 h 430"/>
                  <a:gd name="T46" fmla="*/ 2147483647 w 784"/>
                  <a:gd name="T47" fmla="*/ 2147483647 h 430"/>
                  <a:gd name="T48" fmla="*/ 2147483647 w 784"/>
                  <a:gd name="T49" fmla="*/ 2147483647 h 430"/>
                  <a:gd name="T50" fmla="*/ 2147483647 w 784"/>
                  <a:gd name="T51" fmla="*/ 2147483647 h 430"/>
                  <a:gd name="T52" fmla="*/ 2147483647 w 784"/>
                  <a:gd name="T53" fmla="*/ 2147483647 h 430"/>
                  <a:gd name="T54" fmla="*/ 2147483647 w 784"/>
                  <a:gd name="T55" fmla="*/ 2147483647 h 430"/>
                  <a:gd name="T56" fmla="*/ 2147483647 w 784"/>
                  <a:gd name="T57" fmla="*/ 2147483647 h 430"/>
                  <a:gd name="T58" fmla="*/ 2147483647 w 784"/>
                  <a:gd name="T59" fmla="*/ 2147483647 h 430"/>
                  <a:gd name="T60" fmla="*/ 2147483647 w 784"/>
                  <a:gd name="T61" fmla="*/ 2147483647 h 430"/>
                  <a:gd name="T62" fmla="*/ 2147483647 w 784"/>
                  <a:gd name="T63" fmla="*/ 2147483647 h 430"/>
                  <a:gd name="T64" fmla="*/ 2147483647 w 784"/>
                  <a:gd name="T65" fmla="*/ 2147483647 h 430"/>
                  <a:gd name="T66" fmla="*/ 585744054 w 784"/>
                  <a:gd name="T67" fmla="*/ 2147483647 h 430"/>
                  <a:gd name="T68" fmla="*/ 0 w 784"/>
                  <a:gd name="T69" fmla="*/ 2147483647 h 430"/>
                  <a:gd name="T70" fmla="*/ 250978745 w 784"/>
                  <a:gd name="T71" fmla="*/ 2147483647 h 430"/>
                  <a:gd name="T72" fmla="*/ 920318670 w 784"/>
                  <a:gd name="T73" fmla="*/ 2147483647 h 430"/>
                  <a:gd name="T74" fmla="*/ 2147483647 w 784"/>
                  <a:gd name="T75" fmla="*/ 2147483647 h 430"/>
                  <a:gd name="T76" fmla="*/ 2147483647 w 784"/>
                  <a:gd name="T77" fmla="*/ 2147483647 h 430"/>
                  <a:gd name="T78" fmla="*/ 2147483647 w 784"/>
                  <a:gd name="T79" fmla="*/ 2147483647 h 430"/>
                  <a:gd name="T80" fmla="*/ 2147483647 w 784"/>
                  <a:gd name="T81" fmla="*/ 2147483647 h 430"/>
                  <a:gd name="T82" fmla="*/ 2147483647 w 784"/>
                  <a:gd name="T83" fmla="*/ 2147483647 h 430"/>
                  <a:gd name="T84" fmla="*/ 2147483647 w 784"/>
                  <a:gd name="T85" fmla="*/ 2147483647 h 430"/>
                  <a:gd name="T86" fmla="*/ 2147483647 w 784"/>
                  <a:gd name="T87" fmla="*/ 2147483647 h 430"/>
                  <a:gd name="T88" fmla="*/ 2147483647 w 784"/>
                  <a:gd name="T89" fmla="*/ 2147483647 h 430"/>
                  <a:gd name="T90" fmla="*/ 2147483647 w 784"/>
                  <a:gd name="T91" fmla="*/ 2147483647 h 430"/>
                  <a:gd name="T92" fmla="*/ 2147483647 w 784"/>
                  <a:gd name="T93" fmla="*/ 2147483647 h 430"/>
                  <a:gd name="T94" fmla="*/ 2147483647 w 784"/>
                  <a:gd name="T95" fmla="*/ 2147483647 h 430"/>
                  <a:gd name="T96" fmla="*/ 2147483647 w 784"/>
                  <a:gd name="T97" fmla="*/ 2147483647 h 430"/>
                  <a:gd name="T98" fmla="*/ 2147483647 w 784"/>
                  <a:gd name="T99" fmla="*/ 0 h 430"/>
                  <a:gd name="T100" fmla="*/ 2147483647 w 784"/>
                  <a:gd name="T101" fmla="*/ 2147483647 h 430"/>
                  <a:gd name="T102" fmla="*/ 2147483647 w 784"/>
                  <a:gd name="T103" fmla="*/ 2147483647 h 430"/>
                  <a:gd name="T104" fmla="*/ 2147483647 w 784"/>
                  <a:gd name="T105" fmla="*/ 2147483647 h 430"/>
                  <a:gd name="T106" fmla="*/ 2147483647 w 784"/>
                  <a:gd name="T107" fmla="*/ 2147483647 h 430"/>
                  <a:gd name="T108" fmla="*/ 2147483647 w 784"/>
                  <a:gd name="T109" fmla="*/ 2147483647 h 43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84" h="430">
                    <a:moveTo>
                      <a:pt x="778" y="295"/>
                    </a:moveTo>
                    <a:lnTo>
                      <a:pt x="772" y="294"/>
                    </a:lnTo>
                    <a:lnTo>
                      <a:pt x="768" y="292"/>
                    </a:lnTo>
                    <a:lnTo>
                      <a:pt x="762" y="292"/>
                    </a:lnTo>
                    <a:lnTo>
                      <a:pt x="757" y="292"/>
                    </a:lnTo>
                    <a:lnTo>
                      <a:pt x="751" y="293"/>
                    </a:lnTo>
                    <a:lnTo>
                      <a:pt x="745" y="295"/>
                    </a:lnTo>
                    <a:lnTo>
                      <a:pt x="738" y="298"/>
                    </a:lnTo>
                    <a:lnTo>
                      <a:pt x="731" y="302"/>
                    </a:lnTo>
                    <a:lnTo>
                      <a:pt x="727" y="303"/>
                    </a:lnTo>
                    <a:lnTo>
                      <a:pt x="725" y="305"/>
                    </a:lnTo>
                    <a:lnTo>
                      <a:pt x="723" y="308"/>
                    </a:lnTo>
                    <a:lnTo>
                      <a:pt x="721" y="312"/>
                    </a:lnTo>
                    <a:lnTo>
                      <a:pt x="718" y="322"/>
                    </a:lnTo>
                    <a:lnTo>
                      <a:pt x="717" y="332"/>
                    </a:lnTo>
                    <a:lnTo>
                      <a:pt x="716" y="343"/>
                    </a:lnTo>
                    <a:lnTo>
                      <a:pt x="714" y="354"/>
                    </a:lnTo>
                    <a:lnTo>
                      <a:pt x="713" y="360"/>
                    </a:lnTo>
                    <a:lnTo>
                      <a:pt x="711" y="365"/>
                    </a:lnTo>
                    <a:lnTo>
                      <a:pt x="708" y="370"/>
                    </a:lnTo>
                    <a:lnTo>
                      <a:pt x="704" y="376"/>
                    </a:lnTo>
                    <a:lnTo>
                      <a:pt x="694" y="385"/>
                    </a:lnTo>
                    <a:lnTo>
                      <a:pt x="683" y="394"/>
                    </a:lnTo>
                    <a:lnTo>
                      <a:pt x="671" y="402"/>
                    </a:lnTo>
                    <a:lnTo>
                      <a:pt x="659" y="409"/>
                    </a:lnTo>
                    <a:lnTo>
                      <a:pt x="647" y="416"/>
                    </a:lnTo>
                    <a:lnTo>
                      <a:pt x="633" y="420"/>
                    </a:lnTo>
                    <a:lnTo>
                      <a:pt x="626" y="422"/>
                    </a:lnTo>
                    <a:lnTo>
                      <a:pt x="620" y="424"/>
                    </a:lnTo>
                    <a:lnTo>
                      <a:pt x="612" y="424"/>
                    </a:lnTo>
                    <a:lnTo>
                      <a:pt x="604" y="425"/>
                    </a:lnTo>
                    <a:lnTo>
                      <a:pt x="596" y="426"/>
                    </a:lnTo>
                    <a:lnTo>
                      <a:pt x="587" y="429"/>
                    </a:lnTo>
                    <a:lnTo>
                      <a:pt x="581" y="430"/>
                    </a:lnTo>
                    <a:lnTo>
                      <a:pt x="575" y="430"/>
                    </a:lnTo>
                    <a:lnTo>
                      <a:pt x="567" y="428"/>
                    </a:lnTo>
                    <a:lnTo>
                      <a:pt x="558" y="425"/>
                    </a:lnTo>
                    <a:lnTo>
                      <a:pt x="553" y="406"/>
                    </a:lnTo>
                    <a:lnTo>
                      <a:pt x="545" y="388"/>
                    </a:lnTo>
                    <a:lnTo>
                      <a:pt x="537" y="367"/>
                    </a:lnTo>
                    <a:lnTo>
                      <a:pt x="532" y="345"/>
                    </a:lnTo>
                    <a:lnTo>
                      <a:pt x="515" y="344"/>
                    </a:lnTo>
                    <a:lnTo>
                      <a:pt x="501" y="342"/>
                    </a:lnTo>
                    <a:lnTo>
                      <a:pt x="489" y="339"/>
                    </a:lnTo>
                    <a:lnTo>
                      <a:pt x="478" y="334"/>
                    </a:lnTo>
                    <a:lnTo>
                      <a:pt x="467" y="329"/>
                    </a:lnTo>
                    <a:lnTo>
                      <a:pt x="458" y="323"/>
                    </a:lnTo>
                    <a:lnTo>
                      <a:pt x="448" y="315"/>
                    </a:lnTo>
                    <a:lnTo>
                      <a:pt x="439" y="308"/>
                    </a:lnTo>
                    <a:lnTo>
                      <a:pt x="429" y="301"/>
                    </a:lnTo>
                    <a:lnTo>
                      <a:pt x="417" y="294"/>
                    </a:lnTo>
                    <a:lnTo>
                      <a:pt x="404" y="287"/>
                    </a:lnTo>
                    <a:lnTo>
                      <a:pt x="389" y="280"/>
                    </a:lnTo>
                    <a:lnTo>
                      <a:pt x="373" y="274"/>
                    </a:lnTo>
                    <a:lnTo>
                      <a:pt x="354" y="268"/>
                    </a:lnTo>
                    <a:lnTo>
                      <a:pt x="331" y="262"/>
                    </a:lnTo>
                    <a:lnTo>
                      <a:pt x="306" y="258"/>
                    </a:lnTo>
                    <a:lnTo>
                      <a:pt x="212" y="258"/>
                    </a:lnTo>
                    <a:lnTo>
                      <a:pt x="204" y="267"/>
                    </a:lnTo>
                    <a:lnTo>
                      <a:pt x="182" y="283"/>
                    </a:lnTo>
                    <a:lnTo>
                      <a:pt x="171" y="292"/>
                    </a:lnTo>
                    <a:lnTo>
                      <a:pt x="160" y="300"/>
                    </a:lnTo>
                    <a:lnTo>
                      <a:pt x="151" y="306"/>
                    </a:lnTo>
                    <a:lnTo>
                      <a:pt x="146" y="308"/>
                    </a:lnTo>
                    <a:lnTo>
                      <a:pt x="137" y="308"/>
                    </a:lnTo>
                    <a:lnTo>
                      <a:pt x="127" y="308"/>
                    </a:lnTo>
                    <a:lnTo>
                      <a:pt x="119" y="308"/>
                    </a:lnTo>
                    <a:lnTo>
                      <a:pt x="113" y="308"/>
                    </a:lnTo>
                    <a:lnTo>
                      <a:pt x="66" y="252"/>
                    </a:lnTo>
                    <a:lnTo>
                      <a:pt x="66" y="237"/>
                    </a:lnTo>
                    <a:lnTo>
                      <a:pt x="66" y="223"/>
                    </a:lnTo>
                    <a:lnTo>
                      <a:pt x="66" y="204"/>
                    </a:lnTo>
                    <a:lnTo>
                      <a:pt x="66" y="179"/>
                    </a:lnTo>
                    <a:lnTo>
                      <a:pt x="53" y="179"/>
                    </a:lnTo>
                    <a:lnTo>
                      <a:pt x="40" y="179"/>
                    </a:lnTo>
                    <a:lnTo>
                      <a:pt x="42" y="185"/>
                    </a:lnTo>
                    <a:lnTo>
                      <a:pt x="42" y="192"/>
                    </a:lnTo>
                    <a:lnTo>
                      <a:pt x="42" y="199"/>
                    </a:lnTo>
                    <a:lnTo>
                      <a:pt x="41" y="205"/>
                    </a:lnTo>
                    <a:lnTo>
                      <a:pt x="39" y="212"/>
                    </a:lnTo>
                    <a:lnTo>
                      <a:pt x="36" y="218"/>
                    </a:lnTo>
                    <a:lnTo>
                      <a:pt x="31" y="223"/>
                    </a:lnTo>
                    <a:lnTo>
                      <a:pt x="27" y="228"/>
                    </a:lnTo>
                    <a:lnTo>
                      <a:pt x="30" y="221"/>
                    </a:lnTo>
                    <a:lnTo>
                      <a:pt x="32" y="215"/>
                    </a:lnTo>
                    <a:lnTo>
                      <a:pt x="32" y="208"/>
                    </a:lnTo>
                    <a:lnTo>
                      <a:pt x="31" y="203"/>
                    </a:lnTo>
                    <a:lnTo>
                      <a:pt x="29" y="191"/>
                    </a:lnTo>
                    <a:lnTo>
                      <a:pt x="27" y="179"/>
                    </a:lnTo>
                    <a:lnTo>
                      <a:pt x="27" y="174"/>
                    </a:lnTo>
                    <a:lnTo>
                      <a:pt x="29" y="170"/>
                    </a:lnTo>
                    <a:lnTo>
                      <a:pt x="31" y="167"/>
                    </a:lnTo>
                    <a:lnTo>
                      <a:pt x="33" y="163"/>
                    </a:lnTo>
                    <a:lnTo>
                      <a:pt x="36" y="160"/>
                    </a:lnTo>
                    <a:lnTo>
                      <a:pt x="38" y="156"/>
                    </a:lnTo>
                    <a:lnTo>
                      <a:pt x="40" y="152"/>
                    </a:lnTo>
                    <a:lnTo>
                      <a:pt x="40" y="147"/>
                    </a:lnTo>
                    <a:lnTo>
                      <a:pt x="31" y="136"/>
                    </a:lnTo>
                    <a:lnTo>
                      <a:pt x="27" y="129"/>
                    </a:lnTo>
                    <a:lnTo>
                      <a:pt x="20" y="129"/>
                    </a:lnTo>
                    <a:lnTo>
                      <a:pt x="11" y="128"/>
                    </a:lnTo>
                    <a:lnTo>
                      <a:pt x="7" y="126"/>
                    </a:lnTo>
                    <a:lnTo>
                      <a:pt x="4" y="124"/>
                    </a:lnTo>
                    <a:lnTo>
                      <a:pt x="1" y="121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1" y="108"/>
                    </a:lnTo>
                    <a:lnTo>
                      <a:pt x="3" y="104"/>
                    </a:lnTo>
                    <a:lnTo>
                      <a:pt x="5" y="100"/>
                    </a:lnTo>
                    <a:lnTo>
                      <a:pt x="8" y="96"/>
                    </a:lnTo>
                    <a:lnTo>
                      <a:pt x="11" y="94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7" y="92"/>
                    </a:lnTo>
                    <a:lnTo>
                      <a:pt x="32" y="94"/>
                    </a:lnTo>
                    <a:lnTo>
                      <a:pt x="37" y="96"/>
                    </a:lnTo>
                    <a:lnTo>
                      <a:pt x="41" y="99"/>
                    </a:lnTo>
                    <a:lnTo>
                      <a:pt x="45" y="101"/>
                    </a:lnTo>
                    <a:lnTo>
                      <a:pt x="51" y="103"/>
                    </a:lnTo>
                    <a:lnTo>
                      <a:pt x="57" y="104"/>
                    </a:lnTo>
                    <a:lnTo>
                      <a:pt x="66" y="105"/>
                    </a:lnTo>
                    <a:lnTo>
                      <a:pt x="67" y="99"/>
                    </a:lnTo>
                    <a:lnTo>
                      <a:pt x="71" y="92"/>
                    </a:lnTo>
                    <a:lnTo>
                      <a:pt x="75" y="87"/>
                    </a:lnTo>
                    <a:lnTo>
                      <a:pt x="79" y="82"/>
                    </a:lnTo>
                    <a:lnTo>
                      <a:pt x="83" y="77"/>
                    </a:lnTo>
                    <a:lnTo>
                      <a:pt x="86" y="71"/>
                    </a:lnTo>
                    <a:lnTo>
                      <a:pt x="87" y="67"/>
                    </a:lnTo>
                    <a:lnTo>
                      <a:pt x="87" y="64"/>
                    </a:lnTo>
                    <a:lnTo>
                      <a:pt x="87" y="60"/>
                    </a:lnTo>
                    <a:lnTo>
                      <a:pt x="86" y="56"/>
                    </a:lnTo>
                    <a:lnTo>
                      <a:pt x="78" y="55"/>
                    </a:lnTo>
                    <a:lnTo>
                      <a:pt x="71" y="54"/>
                    </a:lnTo>
                    <a:lnTo>
                      <a:pt x="63" y="52"/>
                    </a:lnTo>
                    <a:lnTo>
                      <a:pt x="55" y="49"/>
                    </a:lnTo>
                    <a:lnTo>
                      <a:pt x="52" y="47"/>
                    </a:lnTo>
                    <a:lnTo>
                      <a:pt x="50" y="44"/>
                    </a:lnTo>
                    <a:lnTo>
                      <a:pt x="47" y="40"/>
                    </a:lnTo>
                    <a:lnTo>
                      <a:pt x="44" y="37"/>
                    </a:lnTo>
                    <a:lnTo>
                      <a:pt x="42" y="33"/>
                    </a:lnTo>
                    <a:lnTo>
                      <a:pt x="41" y="28"/>
                    </a:lnTo>
                    <a:lnTo>
                      <a:pt x="40" y="24"/>
                    </a:lnTo>
                    <a:lnTo>
                      <a:pt x="40" y="18"/>
                    </a:lnTo>
                    <a:lnTo>
                      <a:pt x="107" y="43"/>
                    </a:lnTo>
                    <a:lnTo>
                      <a:pt x="133" y="80"/>
                    </a:lnTo>
                    <a:lnTo>
                      <a:pt x="179" y="86"/>
                    </a:lnTo>
                    <a:lnTo>
                      <a:pt x="219" y="74"/>
                    </a:lnTo>
                    <a:lnTo>
                      <a:pt x="212" y="43"/>
                    </a:lnTo>
                    <a:lnTo>
                      <a:pt x="253" y="24"/>
                    </a:lnTo>
                    <a:lnTo>
                      <a:pt x="273" y="0"/>
                    </a:lnTo>
                    <a:lnTo>
                      <a:pt x="306" y="6"/>
                    </a:lnTo>
                    <a:lnTo>
                      <a:pt x="339" y="24"/>
                    </a:lnTo>
                    <a:lnTo>
                      <a:pt x="373" y="43"/>
                    </a:lnTo>
                    <a:lnTo>
                      <a:pt x="386" y="80"/>
                    </a:lnTo>
                    <a:lnTo>
                      <a:pt x="425" y="92"/>
                    </a:lnTo>
                    <a:lnTo>
                      <a:pt x="465" y="92"/>
                    </a:lnTo>
                    <a:lnTo>
                      <a:pt x="512" y="141"/>
                    </a:lnTo>
                    <a:lnTo>
                      <a:pt x="545" y="179"/>
                    </a:lnTo>
                    <a:lnTo>
                      <a:pt x="591" y="210"/>
                    </a:lnTo>
                    <a:lnTo>
                      <a:pt x="632" y="222"/>
                    </a:lnTo>
                    <a:lnTo>
                      <a:pt x="678" y="252"/>
                    </a:lnTo>
                    <a:lnTo>
                      <a:pt x="724" y="265"/>
                    </a:lnTo>
                    <a:lnTo>
                      <a:pt x="758" y="277"/>
                    </a:lnTo>
                    <a:lnTo>
                      <a:pt x="784" y="289"/>
                    </a:lnTo>
                    <a:lnTo>
                      <a:pt x="778" y="29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1" name="Freeform 353"/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10425380" y="2682447"/>
                <a:ext cx="107950" cy="149225"/>
              </a:xfrm>
              <a:custGeom>
                <a:avLst/>
                <a:gdLst>
                  <a:gd name="T0" fmla="*/ 2147483647 w 246"/>
                  <a:gd name="T1" fmla="*/ 2147483647 h 284"/>
                  <a:gd name="T2" fmla="*/ 2147483647 w 246"/>
                  <a:gd name="T3" fmla="*/ 2147483647 h 284"/>
                  <a:gd name="T4" fmla="*/ 2028083857 w 246"/>
                  <a:gd name="T5" fmla="*/ 2147483647 h 284"/>
                  <a:gd name="T6" fmla="*/ 2147483647 w 246"/>
                  <a:gd name="T7" fmla="*/ 725281315 h 284"/>
                  <a:gd name="T8" fmla="*/ 2147483647 w 246"/>
                  <a:gd name="T9" fmla="*/ 144945815 h 284"/>
                  <a:gd name="T10" fmla="*/ 2147483647 w 246"/>
                  <a:gd name="T11" fmla="*/ 1740730643 h 284"/>
                  <a:gd name="T12" fmla="*/ 2147483647 w 246"/>
                  <a:gd name="T13" fmla="*/ 2147483647 h 284"/>
                  <a:gd name="T14" fmla="*/ 2147483647 w 246"/>
                  <a:gd name="T15" fmla="*/ 2147483647 h 284"/>
                  <a:gd name="T16" fmla="*/ 2147483647 w 246"/>
                  <a:gd name="T17" fmla="*/ 2147483647 h 284"/>
                  <a:gd name="T18" fmla="*/ 2147483647 w 246"/>
                  <a:gd name="T19" fmla="*/ 2147483647 h 284"/>
                  <a:gd name="T20" fmla="*/ 2147483647 w 246"/>
                  <a:gd name="T21" fmla="*/ 2147483647 h 284"/>
                  <a:gd name="T22" fmla="*/ 2147483647 w 246"/>
                  <a:gd name="T23" fmla="*/ 2147483647 h 284"/>
                  <a:gd name="T24" fmla="*/ 2147483647 w 246"/>
                  <a:gd name="T25" fmla="*/ 2147483647 h 284"/>
                  <a:gd name="T26" fmla="*/ 2147483647 w 246"/>
                  <a:gd name="T27" fmla="*/ 2147483647 h 284"/>
                  <a:gd name="T28" fmla="*/ 2147483647 w 246"/>
                  <a:gd name="T29" fmla="*/ 2147483647 h 284"/>
                  <a:gd name="T30" fmla="*/ 2147483647 w 246"/>
                  <a:gd name="T31" fmla="*/ 2147483647 h 284"/>
                  <a:gd name="T32" fmla="*/ 2147483647 w 246"/>
                  <a:gd name="T33" fmla="*/ 2147483647 h 284"/>
                  <a:gd name="T34" fmla="*/ 2147483647 w 246"/>
                  <a:gd name="T35" fmla="*/ 2147483647 h 284"/>
                  <a:gd name="T36" fmla="*/ 2147483647 w 246"/>
                  <a:gd name="T37" fmla="*/ 2147483647 h 284"/>
                  <a:gd name="T38" fmla="*/ 2147483647 w 246"/>
                  <a:gd name="T39" fmla="*/ 2147483647 h 284"/>
                  <a:gd name="T40" fmla="*/ 2147483647 w 246"/>
                  <a:gd name="T41" fmla="*/ 2147483647 h 284"/>
                  <a:gd name="T42" fmla="*/ 2147483647 w 246"/>
                  <a:gd name="T43" fmla="*/ 2147483647 h 284"/>
                  <a:gd name="T44" fmla="*/ 2147483647 w 246"/>
                  <a:gd name="T45" fmla="*/ 2147483647 h 284"/>
                  <a:gd name="T46" fmla="*/ 2147483647 w 246"/>
                  <a:gd name="T47" fmla="*/ 2147483647 h 284"/>
                  <a:gd name="T48" fmla="*/ 2147483647 w 246"/>
                  <a:gd name="T49" fmla="*/ 2147483647 h 284"/>
                  <a:gd name="T50" fmla="*/ 2147483647 w 246"/>
                  <a:gd name="T51" fmla="*/ 2147483647 h 284"/>
                  <a:gd name="T52" fmla="*/ 2147483647 w 246"/>
                  <a:gd name="T53" fmla="*/ 2147483647 h 284"/>
                  <a:gd name="T54" fmla="*/ 2147483647 w 246"/>
                  <a:gd name="T55" fmla="*/ 2147483647 h 284"/>
                  <a:gd name="T56" fmla="*/ 2147483647 w 246"/>
                  <a:gd name="T57" fmla="*/ 2147483647 h 284"/>
                  <a:gd name="T58" fmla="*/ 2147483647 w 246"/>
                  <a:gd name="T59" fmla="*/ 2147483647 h 284"/>
                  <a:gd name="T60" fmla="*/ 2147483647 w 246"/>
                  <a:gd name="T61" fmla="*/ 2147483647 h 284"/>
                  <a:gd name="T62" fmla="*/ 2147483647 w 246"/>
                  <a:gd name="T63" fmla="*/ 2147483647 h 284"/>
                  <a:gd name="T64" fmla="*/ 2147483647 w 246"/>
                  <a:gd name="T65" fmla="*/ 2147483647 h 284"/>
                  <a:gd name="T66" fmla="*/ 2147483647 w 246"/>
                  <a:gd name="T67" fmla="*/ 2147483647 h 284"/>
                  <a:gd name="T68" fmla="*/ 2147483647 w 246"/>
                  <a:gd name="T69" fmla="*/ 2147483647 h 284"/>
                  <a:gd name="T70" fmla="*/ 2147483647 w 246"/>
                  <a:gd name="T71" fmla="*/ 2147483647 h 284"/>
                  <a:gd name="T72" fmla="*/ 2147483647 w 246"/>
                  <a:gd name="T73" fmla="*/ 2147483647 h 284"/>
                  <a:gd name="T74" fmla="*/ 2147483647 w 246"/>
                  <a:gd name="T75" fmla="*/ 2147483647 h 284"/>
                  <a:gd name="T76" fmla="*/ 1436527511 w 246"/>
                  <a:gd name="T77" fmla="*/ 2147483647 h 284"/>
                  <a:gd name="T78" fmla="*/ 929506547 w 246"/>
                  <a:gd name="T79" fmla="*/ 2147483647 h 284"/>
                  <a:gd name="T80" fmla="*/ 0 w 246"/>
                  <a:gd name="T81" fmla="*/ 2147483647 h 284"/>
                  <a:gd name="T82" fmla="*/ 84535382 w 246"/>
                  <a:gd name="T83" fmla="*/ 2147483647 h 284"/>
                  <a:gd name="T84" fmla="*/ 337949762 w 246"/>
                  <a:gd name="T85" fmla="*/ 2147483647 h 284"/>
                  <a:gd name="T86" fmla="*/ 1267456309 w 246"/>
                  <a:gd name="T87" fmla="*/ 2147483647 h 284"/>
                  <a:gd name="T88" fmla="*/ 2147483647 w 246"/>
                  <a:gd name="T89" fmla="*/ 2147483647 h 284"/>
                  <a:gd name="T90" fmla="*/ 2147483647 w 246"/>
                  <a:gd name="T91" fmla="*/ 2147483647 h 284"/>
                  <a:gd name="T92" fmla="*/ 2147483647 w 246"/>
                  <a:gd name="T93" fmla="*/ 2147483647 h 28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2" name="Freeform 354"/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10473005" y="2790397"/>
                <a:ext cx="68263" cy="60325"/>
              </a:xfrm>
              <a:custGeom>
                <a:avLst/>
                <a:gdLst>
                  <a:gd name="T0" fmla="*/ 2147483647 w 160"/>
                  <a:gd name="T1" fmla="*/ 0 h 117"/>
                  <a:gd name="T2" fmla="*/ 2147483647 w 160"/>
                  <a:gd name="T3" fmla="*/ 1233504976 h 117"/>
                  <a:gd name="T4" fmla="*/ 2147483647 w 160"/>
                  <a:gd name="T5" fmla="*/ 2147483647 h 117"/>
                  <a:gd name="T6" fmla="*/ 2147483647 w 160"/>
                  <a:gd name="T7" fmla="*/ 2147483647 h 117"/>
                  <a:gd name="T8" fmla="*/ 2147483647 w 160"/>
                  <a:gd name="T9" fmla="*/ 2147483647 h 117"/>
                  <a:gd name="T10" fmla="*/ 2147483647 w 160"/>
                  <a:gd name="T11" fmla="*/ 2147483647 h 117"/>
                  <a:gd name="T12" fmla="*/ 2147483647 w 160"/>
                  <a:gd name="T13" fmla="*/ 2147483647 h 117"/>
                  <a:gd name="T14" fmla="*/ 2147483647 w 160"/>
                  <a:gd name="T15" fmla="*/ 2147483647 h 117"/>
                  <a:gd name="T16" fmla="*/ 2147483647 w 160"/>
                  <a:gd name="T17" fmla="*/ 2147483647 h 117"/>
                  <a:gd name="T18" fmla="*/ 2147483647 w 160"/>
                  <a:gd name="T19" fmla="*/ 2147483647 h 117"/>
                  <a:gd name="T20" fmla="*/ 2147483647 w 160"/>
                  <a:gd name="T21" fmla="*/ 2147483647 h 117"/>
                  <a:gd name="T22" fmla="*/ 2147483647 w 160"/>
                  <a:gd name="T23" fmla="*/ 2147483647 h 117"/>
                  <a:gd name="T24" fmla="*/ 2147483647 w 160"/>
                  <a:gd name="T25" fmla="*/ 2147483647 h 117"/>
                  <a:gd name="T26" fmla="*/ 2147483647 w 160"/>
                  <a:gd name="T27" fmla="*/ 2147483647 h 117"/>
                  <a:gd name="T28" fmla="*/ 2147483647 w 160"/>
                  <a:gd name="T29" fmla="*/ 2147483647 h 117"/>
                  <a:gd name="T30" fmla="*/ 2147483647 w 160"/>
                  <a:gd name="T31" fmla="*/ 2147483647 h 117"/>
                  <a:gd name="T32" fmla="*/ 2147483647 w 160"/>
                  <a:gd name="T33" fmla="*/ 2147483647 h 117"/>
                  <a:gd name="T34" fmla="*/ 2147483647 w 160"/>
                  <a:gd name="T35" fmla="*/ 2147483647 h 117"/>
                  <a:gd name="T36" fmla="*/ 2147483647 w 160"/>
                  <a:gd name="T37" fmla="*/ 2147483647 h 117"/>
                  <a:gd name="T38" fmla="*/ 2147483647 w 160"/>
                  <a:gd name="T39" fmla="*/ 2147483647 h 117"/>
                  <a:gd name="T40" fmla="*/ 2147483647 w 160"/>
                  <a:gd name="T41" fmla="*/ 2147483647 h 117"/>
                  <a:gd name="T42" fmla="*/ 2147483647 w 160"/>
                  <a:gd name="T43" fmla="*/ 2147483647 h 117"/>
                  <a:gd name="T44" fmla="*/ 2147483647 w 160"/>
                  <a:gd name="T45" fmla="*/ 2147483647 h 117"/>
                  <a:gd name="T46" fmla="*/ 2147483647 w 160"/>
                  <a:gd name="T47" fmla="*/ 2147483647 h 117"/>
                  <a:gd name="T48" fmla="*/ 1630943009 w 160"/>
                  <a:gd name="T49" fmla="*/ 2147483647 h 117"/>
                  <a:gd name="T50" fmla="*/ 776518077 w 160"/>
                  <a:gd name="T51" fmla="*/ 2147483647 h 117"/>
                  <a:gd name="T52" fmla="*/ 0 w 160"/>
                  <a:gd name="T53" fmla="*/ 2147483647 h 117"/>
                  <a:gd name="T54" fmla="*/ 1009509935 w 160"/>
                  <a:gd name="T55" fmla="*/ 2147483647 h 117"/>
                  <a:gd name="T56" fmla="*/ 2147483647 w 160"/>
                  <a:gd name="T57" fmla="*/ 2147483647 h 117"/>
                  <a:gd name="T58" fmla="*/ 2147483647 w 160"/>
                  <a:gd name="T59" fmla="*/ 2147483647 h 117"/>
                  <a:gd name="T60" fmla="*/ 2147483647 w 160"/>
                  <a:gd name="T61" fmla="*/ 1918844411 h 117"/>
                  <a:gd name="T62" fmla="*/ 2147483647 w 160"/>
                  <a:gd name="T63" fmla="*/ 822513845 h 117"/>
                  <a:gd name="T64" fmla="*/ 2147483647 w 160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3" name="Freeform 355"/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10557143" y="3414285"/>
                <a:ext cx="411162" cy="611187"/>
              </a:xfrm>
              <a:custGeom>
                <a:avLst/>
                <a:gdLst>
                  <a:gd name="T0" fmla="*/ 2147483647 w 943"/>
                  <a:gd name="T1" fmla="*/ 708980049 h 1172"/>
                  <a:gd name="T2" fmla="*/ 2147483647 w 943"/>
                  <a:gd name="T3" fmla="*/ 2147483647 h 1172"/>
                  <a:gd name="T4" fmla="*/ 2147483647 w 943"/>
                  <a:gd name="T5" fmla="*/ 2147483647 h 1172"/>
                  <a:gd name="T6" fmla="*/ 2147483647 w 943"/>
                  <a:gd name="T7" fmla="*/ 2147483647 h 1172"/>
                  <a:gd name="T8" fmla="*/ 2147483647 w 943"/>
                  <a:gd name="T9" fmla="*/ 2147483647 h 1172"/>
                  <a:gd name="T10" fmla="*/ 2147483647 w 943"/>
                  <a:gd name="T11" fmla="*/ 2147483647 h 1172"/>
                  <a:gd name="T12" fmla="*/ 2147483647 w 943"/>
                  <a:gd name="T13" fmla="*/ 2147483647 h 1172"/>
                  <a:gd name="T14" fmla="*/ 2147483647 w 943"/>
                  <a:gd name="T15" fmla="*/ 2147483647 h 1172"/>
                  <a:gd name="T16" fmla="*/ 2147483647 w 943"/>
                  <a:gd name="T17" fmla="*/ 2147483647 h 1172"/>
                  <a:gd name="T18" fmla="*/ 2147483647 w 943"/>
                  <a:gd name="T19" fmla="*/ 2147483647 h 1172"/>
                  <a:gd name="T20" fmla="*/ 2147483647 w 943"/>
                  <a:gd name="T21" fmla="*/ 2147483647 h 1172"/>
                  <a:gd name="T22" fmla="*/ 2147483647 w 943"/>
                  <a:gd name="T23" fmla="*/ 2147483647 h 1172"/>
                  <a:gd name="T24" fmla="*/ 2147483647 w 943"/>
                  <a:gd name="T25" fmla="*/ 2147483647 h 1172"/>
                  <a:gd name="T26" fmla="*/ 2147483647 w 943"/>
                  <a:gd name="T27" fmla="*/ 2147483647 h 1172"/>
                  <a:gd name="T28" fmla="*/ 2147483647 w 943"/>
                  <a:gd name="T29" fmla="*/ 2147483647 h 1172"/>
                  <a:gd name="T30" fmla="*/ 2147483647 w 943"/>
                  <a:gd name="T31" fmla="*/ 2147483647 h 1172"/>
                  <a:gd name="T32" fmla="*/ 2147483647 w 943"/>
                  <a:gd name="T33" fmla="*/ 2147483647 h 1172"/>
                  <a:gd name="T34" fmla="*/ 2147483647 w 943"/>
                  <a:gd name="T35" fmla="*/ 2147483647 h 1172"/>
                  <a:gd name="T36" fmla="*/ 2147483647 w 943"/>
                  <a:gd name="T37" fmla="*/ 2147483647 h 1172"/>
                  <a:gd name="T38" fmla="*/ 2147483647 w 943"/>
                  <a:gd name="T39" fmla="*/ 2147483647 h 1172"/>
                  <a:gd name="T40" fmla="*/ 2147483647 w 943"/>
                  <a:gd name="T41" fmla="*/ 2147483647 h 1172"/>
                  <a:gd name="T42" fmla="*/ 2147483647 w 943"/>
                  <a:gd name="T43" fmla="*/ 2147483647 h 1172"/>
                  <a:gd name="T44" fmla="*/ 2147483647 w 943"/>
                  <a:gd name="T45" fmla="*/ 2147483647 h 1172"/>
                  <a:gd name="T46" fmla="*/ 2147483647 w 943"/>
                  <a:gd name="T47" fmla="*/ 2147483647 h 1172"/>
                  <a:gd name="T48" fmla="*/ 2147483647 w 943"/>
                  <a:gd name="T49" fmla="*/ 2147483647 h 1172"/>
                  <a:gd name="T50" fmla="*/ 2147483647 w 943"/>
                  <a:gd name="T51" fmla="*/ 2147483647 h 1172"/>
                  <a:gd name="T52" fmla="*/ 2147483647 w 943"/>
                  <a:gd name="T53" fmla="*/ 2147483647 h 1172"/>
                  <a:gd name="T54" fmla="*/ 2147483647 w 943"/>
                  <a:gd name="T55" fmla="*/ 2147483647 h 1172"/>
                  <a:gd name="T56" fmla="*/ 2147483647 w 943"/>
                  <a:gd name="T57" fmla="*/ 2147483647 h 1172"/>
                  <a:gd name="T58" fmla="*/ 2147483647 w 943"/>
                  <a:gd name="T59" fmla="*/ 2147483647 h 1172"/>
                  <a:gd name="T60" fmla="*/ 2147483647 w 943"/>
                  <a:gd name="T61" fmla="*/ 2147483647 h 1172"/>
                  <a:gd name="T62" fmla="*/ 2147483647 w 943"/>
                  <a:gd name="T63" fmla="*/ 2147483647 h 1172"/>
                  <a:gd name="T64" fmla="*/ 2147483647 w 943"/>
                  <a:gd name="T65" fmla="*/ 2147483647 h 1172"/>
                  <a:gd name="T66" fmla="*/ 2147483647 w 943"/>
                  <a:gd name="T67" fmla="*/ 2147483647 h 1172"/>
                  <a:gd name="T68" fmla="*/ 2147483647 w 943"/>
                  <a:gd name="T69" fmla="*/ 2147483647 h 1172"/>
                  <a:gd name="T70" fmla="*/ 2147483647 w 943"/>
                  <a:gd name="T71" fmla="*/ 2147483647 h 1172"/>
                  <a:gd name="T72" fmla="*/ 2147483647 w 943"/>
                  <a:gd name="T73" fmla="*/ 2147483647 h 1172"/>
                  <a:gd name="T74" fmla="*/ 2147483647 w 943"/>
                  <a:gd name="T75" fmla="*/ 2147483647 h 1172"/>
                  <a:gd name="T76" fmla="*/ 2147483647 w 943"/>
                  <a:gd name="T77" fmla="*/ 2147483647 h 1172"/>
                  <a:gd name="T78" fmla="*/ 2147483647 w 943"/>
                  <a:gd name="T79" fmla="*/ 2147483647 h 1172"/>
                  <a:gd name="T80" fmla="*/ 2147483647 w 943"/>
                  <a:gd name="T81" fmla="*/ 2147483647 h 1172"/>
                  <a:gd name="T82" fmla="*/ 2147483647 w 943"/>
                  <a:gd name="T83" fmla="*/ 2147483647 h 1172"/>
                  <a:gd name="T84" fmla="*/ 331550049 w 943"/>
                  <a:gd name="T85" fmla="*/ 2147483647 h 1172"/>
                  <a:gd name="T86" fmla="*/ 1491975222 w 943"/>
                  <a:gd name="T87" fmla="*/ 2147483647 h 1172"/>
                  <a:gd name="T88" fmla="*/ 2147483647 w 943"/>
                  <a:gd name="T89" fmla="*/ 2147483647 h 1172"/>
                  <a:gd name="T90" fmla="*/ 2147483647 w 943"/>
                  <a:gd name="T91" fmla="*/ 2147483647 h 1172"/>
                  <a:gd name="T92" fmla="*/ 2147483647 w 943"/>
                  <a:gd name="T93" fmla="*/ 2147483647 h 1172"/>
                  <a:gd name="T94" fmla="*/ 2147483647 w 943"/>
                  <a:gd name="T95" fmla="*/ 2147483647 h 1172"/>
                  <a:gd name="T96" fmla="*/ 2147483647 w 943"/>
                  <a:gd name="T97" fmla="*/ 2147483647 h 1172"/>
                  <a:gd name="T98" fmla="*/ 2147483647 w 943"/>
                  <a:gd name="T99" fmla="*/ 2147483647 h 1172"/>
                  <a:gd name="T100" fmla="*/ 2147483647 w 943"/>
                  <a:gd name="T101" fmla="*/ 2147483647 h 1172"/>
                  <a:gd name="T102" fmla="*/ 2147483647 w 943"/>
                  <a:gd name="T103" fmla="*/ 2147483647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4" name="Freeform 356"/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11041330" y="3754010"/>
                <a:ext cx="244475" cy="431800"/>
              </a:xfrm>
              <a:custGeom>
                <a:avLst/>
                <a:gdLst>
                  <a:gd name="T0" fmla="*/ 2147483647 w 556"/>
                  <a:gd name="T1" fmla="*/ 2147483647 h 819"/>
                  <a:gd name="T2" fmla="*/ 2147483647 w 556"/>
                  <a:gd name="T3" fmla="*/ 2147483647 h 819"/>
                  <a:gd name="T4" fmla="*/ 2147483647 w 556"/>
                  <a:gd name="T5" fmla="*/ 2147483647 h 819"/>
                  <a:gd name="T6" fmla="*/ 2147483647 w 556"/>
                  <a:gd name="T7" fmla="*/ 2147483647 h 819"/>
                  <a:gd name="T8" fmla="*/ 2147483647 w 556"/>
                  <a:gd name="T9" fmla="*/ 2147483647 h 819"/>
                  <a:gd name="T10" fmla="*/ 2147483647 w 556"/>
                  <a:gd name="T11" fmla="*/ 2147483647 h 819"/>
                  <a:gd name="T12" fmla="*/ 2147483647 w 556"/>
                  <a:gd name="T13" fmla="*/ 2147483647 h 819"/>
                  <a:gd name="T14" fmla="*/ 2147483647 w 556"/>
                  <a:gd name="T15" fmla="*/ 2147483647 h 819"/>
                  <a:gd name="T16" fmla="*/ 2147483647 w 556"/>
                  <a:gd name="T17" fmla="*/ 2147483647 h 819"/>
                  <a:gd name="T18" fmla="*/ 2147483647 w 556"/>
                  <a:gd name="T19" fmla="*/ 2147483647 h 819"/>
                  <a:gd name="T20" fmla="*/ 2147483647 w 556"/>
                  <a:gd name="T21" fmla="*/ 2147483647 h 819"/>
                  <a:gd name="T22" fmla="*/ 2147483647 w 556"/>
                  <a:gd name="T23" fmla="*/ 2147483647 h 819"/>
                  <a:gd name="T24" fmla="*/ 2147483647 w 556"/>
                  <a:gd name="T25" fmla="*/ 2147483647 h 819"/>
                  <a:gd name="T26" fmla="*/ 2147483647 w 556"/>
                  <a:gd name="T27" fmla="*/ 1172476188 h 819"/>
                  <a:gd name="T28" fmla="*/ 2147483647 w 556"/>
                  <a:gd name="T29" fmla="*/ 2147483647 h 819"/>
                  <a:gd name="T30" fmla="*/ 2147483647 w 556"/>
                  <a:gd name="T31" fmla="*/ 2147483647 h 819"/>
                  <a:gd name="T32" fmla="*/ 2147483647 w 556"/>
                  <a:gd name="T33" fmla="*/ 2147483647 h 819"/>
                  <a:gd name="T34" fmla="*/ 2147483647 w 556"/>
                  <a:gd name="T35" fmla="*/ 2147483647 h 819"/>
                  <a:gd name="T36" fmla="*/ 2147483647 w 556"/>
                  <a:gd name="T37" fmla="*/ 2147483647 h 819"/>
                  <a:gd name="T38" fmla="*/ 2147483647 w 556"/>
                  <a:gd name="T39" fmla="*/ 2147483647 h 819"/>
                  <a:gd name="T40" fmla="*/ 2147483647 w 556"/>
                  <a:gd name="T41" fmla="*/ 2147483647 h 819"/>
                  <a:gd name="T42" fmla="*/ 2147483647 w 556"/>
                  <a:gd name="T43" fmla="*/ 2147483647 h 819"/>
                  <a:gd name="T44" fmla="*/ 2147483647 w 556"/>
                  <a:gd name="T45" fmla="*/ 2147483647 h 819"/>
                  <a:gd name="T46" fmla="*/ 2147483647 w 556"/>
                  <a:gd name="T47" fmla="*/ 2147483647 h 819"/>
                  <a:gd name="T48" fmla="*/ 2147483647 w 556"/>
                  <a:gd name="T49" fmla="*/ 2147483647 h 819"/>
                  <a:gd name="T50" fmla="*/ 2147483647 w 556"/>
                  <a:gd name="T51" fmla="*/ 2147483647 h 819"/>
                  <a:gd name="T52" fmla="*/ 2147483647 w 556"/>
                  <a:gd name="T53" fmla="*/ 2147483647 h 819"/>
                  <a:gd name="T54" fmla="*/ 2147483647 w 556"/>
                  <a:gd name="T55" fmla="*/ 2147483647 h 819"/>
                  <a:gd name="T56" fmla="*/ 2147483647 w 556"/>
                  <a:gd name="T57" fmla="*/ 2147483647 h 819"/>
                  <a:gd name="T58" fmla="*/ 2147483647 w 556"/>
                  <a:gd name="T59" fmla="*/ 2147483647 h 819"/>
                  <a:gd name="T60" fmla="*/ 2147483647 w 556"/>
                  <a:gd name="T61" fmla="*/ 2147483647 h 819"/>
                  <a:gd name="T62" fmla="*/ 1615153548 w 556"/>
                  <a:gd name="T63" fmla="*/ 2147483647 h 819"/>
                  <a:gd name="T64" fmla="*/ 169944862 w 556"/>
                  <a:gd name="T65" fmla="*/ 2147483647 h 819"/>
                  <a:gd name="T66" fmla="*/ 255014247 w 556"/>
                  <a:gd name="T67" fmla="*/ 2147483647 h 819"/>
                  <a:gd name="T68" fmla="*/ 2147483647 w 556"/>
                  <a:gd name="T69" fmla="*/ 2147483647 h 819"/>
                  <a:gd name="T70" fmla="*/ 2147483647 w 556"/>
                  <a:gd name="T71" fmla="*/ 2147483647 h 819"/>
                  <a:gd name="T72" fmla="*/ 2147483647 w 556"/>
                  <a:gd name="T73" fmla="*/ 2147483647 h 819"/>
                  <a:gd name="T74" fmla="*/ 2147483647 w 556"/>
                  <a:gd name="T75" fmla="*/ 2147483647 h 819"/>
                  <a:gd name="T76" fmla="*/ 2147483647 w 556"/>
                  <a:gd name="T77" fmla="*/ 2147483647 h 819"/>
                  <a:gd name="T78" fmla="*/ 2147483647 w 556"/>
                  <a:gd name="T79" fmla="*/ 2147483647 h 819"/>
                  <a:gd name="T80" fmla="*/ 2147483647 w 556"/>
                  <a:gd name="T81" fmla="*/ 2147483647 h 819"/>
                  <a:gd name="T82" fmla="*/ 2147483647 w 556"/>
                  <a:gd name="T83" fmla="*/ 2147483647 h 819"/>
                  <a:gd name="T84" fmla="*/ 2147483647 w 556"/>
                  <a:gd name="T85" fmla="*/ 2147483647 h 819"/>
                  <a:gd name="T86" fmla="*/ 2147483647 w 556"/>
                  <a:gd name="T87" fmla="*/ 2147483647 h 819"/>
                  <a:gd name="T88" fmla="*/ 2147483647 w 556"/>
                  <a:gd name="T89" fmla="*/ 2147483647 h 819"/>
                  <a:gd name="T90" fmla="*/ 2147483647 w 556"/>
                  <a:gd name="T91" fmla="*/ 2147483647 h 819"/>
                  <a:gd name="T92" fmla="*/ 2147483647 w 556"/>
                  <a:gd name="T93" fmla="*/ 2147483647 h 819"/>
                  <a:gd name="T94" fmla="*/ 2147483647 w 556"/>
                  <a:gd name="T95" fmla="*/ 2147483647 h 819"/>
                  <a:gd name="T96" fmla="*/ 2147483647 w 556"/>
                  <a:gd name="T97" fmla="*/ 2147483647 h 819"/>
                  <a:gd name="T98" fmla="*/ 2147483647 w 556"/>
                  <a:gd name="T99" fmla="*/ 2147483647 h 819"/>
                  <a:gd name="T100" fmla="*/ 2147483647 w 556"/>
                  <a:gd name="T101" fmla="*/ 2147483647 h 819"/>
                  <a:gd name="T102" fmla="*/ 2147483647 w 556"/>
                  <a:gd name="T103" fmla="*/ 2147483647 h 819"/>
                  <a:gd name="T104" fmla="*/ 2147483647 w 556"/>
                  <a:gd name="T105" fmla="*/ 2147483647 h 819"/>
                  <a:gd name="T106" fmla="*/ 2147483647 w 556"/>
                  <a:gd name="T107" fmla="*/ 2147483647 h 819"/>
                  <a:gd name="T108" fmla="*/ 2147483647 w 556"/>
                  <a:gd name="T109" fmla="*/ 2147483647 h 819"/>
                  <a:gd name="T110" fmla="*/ 2147483647 w 556"/>
                  <a:gd name="T111" fmla="*/ 2147483647 h 819"/>
                  <a:gd name="T112" fmla="*/ 2147483647 w 556"/>
                  <a:gd name="T113" fmla="*/ 2147483647 h 819"/>
                  <a:gd name="T114" fmla="*/ 2147483647 w 556"/>
                  <a:gd name="T115" fmla="*/ 2147483647 h 81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5" name="Freeform 357"/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11049268" y="3741310"/>
                <a:ext cx="38100" cy="58737"/>
              </a:xfrm>
              <a:custGeom>
                <a:avLst/>
                <a:gdLst>
                  <a:gd name="T0" fmla="*/ 2147483647 w 86"/>
                  <a:gd name="T1" fmla="*/ 0 h 97"/>
                  <a:gd name="T2" fmla="*/ 2147483647 w 86"/>
                  <a:gd name="T3" fmla="*/ 444042031 h 97"/>
                  <a:gd name="T4" fmla="*/ 2147483647 w 86"/>
                  <a:gd name="T5" fmla="*/ 666246525 h 97"/>
                  <a:gd name="T6" fmla="*/ 2147483647 w 86"/>
                  <a:gd name="T7" fmla="*/ 666246525 h 97"/>
                  <a:gd name="T8" fmla="*/ 2147483647 w 86"/>
                  <a:gd name="T9" fmla="*/ 666246525 h 97"/>
                  <a:gd name="T10" fmla="*/ 2147483647 w 86"/>
                  <a:gd name="T11" fmla="*/ 666246525 h 97"/>
                  <a:gd name="T12" fmla="*/ 2147483647 w 86"/>
                  <a:gd name="T13" fmla="*/ 666246525 h 97"/>
                  <a:gd name="T14" fmla="*/ 1999987287 w 86"/>
                  <a:gd name="T15" fmla="*/ 888084063 h 97"/>
                  <a:gd name="T16" fmla="*/ 1738948681 w 86"/>
                  <a:gd name="T17" fmla="*/ 1332126700 h 97"/>
                  <a:gd name="T18" fmla="*/ 1391159034 w 86"/>
                  <a:gd name="T19" fmla="*/ 1998373224 h 97"/>
                  <a:gd name="T20" fmla="*/ 1130316687 w 86"/>
                  <a:gd name="T21" fmla="*/ 2147483647 h 97"/>
                  <a:gd name="T22" fmla="*/ 956421642 w 86"/>
                  <a:gd name="T23" fmla="*/ 2147483647 h 97"/>
                  <a:gd name="T24" fmla="*/ 695579295 w 86"/>
                  <a:gd name="T25" fmla="*/ 2147483647 h 97"/>
                  <a:gd name="T26" fmla="*/ 347789648 w 86"/>
                  <a:gd name="T27" fmla="*/ 2147483647 h 97"/>
                  <a:gd name="T28" fmla="*/ 173895045 w 86"/>
                  <a:gd name="T29" fmla="*/ 2147483647 h 97"/>
                  <a:gd name="T30" fmla="*/ 0 w 86"/>
                  <a:gd name="T31" fmla="*/ 2147483647 h 97"/>
                  <a:gd name="T32" fmla="*/ 0 w 86"/>
                  <a:gd name="T33" fmla="*/ 2147483647 h 97"/>
                  <a:gd name="T34" fmla="*/ 0 w 86"/>
                  <a:gd name="T35" fmla="*/ 2147483647 h 97"/>
                  <a:gd name="T36" fmla="*/ 86947301 w 86"/>
                  <a:gd name="T37" fmla="*/ 2147483647 h 97"/>
                  <a:gd name="T38" fmla="*/ 260842347 w 86"/>
                  <a:gd name="T39" fmla="*/ 2147483647 h 97"/>
                  <a:gd name="T40" fmla="*/ 608631994 w 86"/>
                  <a:gd name="T41" fmla="*/ 2147483647 h 97"/>
                  <a:gd name="T42" fmla="*/ 869474341 w 86"/>
                  <a:gd name="T43" fmla="*/ 2147483647 h 97"/>
                  <a:gd name="T44" fmla="*/ 1130316687 w 86"/>
                  <a:gd name="T45" fmla="*/ 2147483647 h 97"/>
                  <a:gd name="T46" fmla="*/ 1565053636 w 86"/>
                  <a:gd name="T47" fmla="*/ 2147483647 h 97"/>
                  <a:gd name="T48" fmla="*/ 1825895983 w 86"/>
                  <a:gd name="T49" fmla="*/ 2147483647 h 97"/>
                  <a:gd name="T50" fmla="*/ 2147483647 w 86"/>
                  <a:gd name="T51" fmla="*/ 2147483647 h 97"/>
                  <a:gd name="T52" fmla="*/ 2147483647 w 86"/>
                  <a:gd name="T53" fmla="*/ 2147483647 h 97"/>
                  <a:gd name="T54" fmla="*/ 2147483647 w 86"/>
                  <a:gd name="T55" fmla="*/ 2147483647 h 97"/>
                  <a:gd name="T56" fmla="*/ 2147483647 w 86"/>
                  <a:gd name="T57" fmla="*/ 0 h 9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6" name="Freeform 358"/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10847655" y="3652410"/>
                <a:ext cx="363538" cy="376237"/>
              </a:xfrm>
              <a:custGeom>
                <a:avLst/>
                <a:gdLst>
                  <a:gd name="T0" fmla="*/ 2147483647 w 845"/>
                  <a:gd name="T1" fmla="*/ 2147483647 h 720"/>
                  <a:gd name="T2" fmla="*/ 2147483647 w 845"/>
                  <a:gd name="T3" fmla="*/ 2147483647 h 720"/>
                  <a:gd name="T4" fmla="*/ 2147483647 w 845"/>
                  <a:gd name="T5" fmla="*/ 0 h 720"/>
                  <a:gd name="T6" fmla="*/ 2147483647 w 845"/>
                  <a:gd name="T7" fmla="*/ 1712359097 h 720"/>
                  <a:gd name="T8" fmla="*/ 2147483647 w 845"/>
                  <a:gd name="T9" fmla="*/ 2147483647 h 720"/>
                  <a:gd name="T10" fmla="*/ 2147483647 w 845"/>
                  <a:gd name="T11" fmla="*/ 2147483647 h 720"/>
                  <a:gd name="T12" fmla="*/ 2147483647 w 845"/>
                  <a:gd name="T13" fmla="*/ 2147483647 h 720"/>
                  <a:gd name="T14" fmla="*/ 2147483647 w 845"/>
                  <a:gd name="T15" fmla="*/ 2147483647 h 720"/>
                  <a:gd name="T16" fmla="*/ 2147483647 w 845"/>
                  <a:gd name="T17" fmla="*/ 2147483647 h 720"/>
                  <a:gd name="T18" fmla="*/ 2147483647 w 845"/>
                  <a:gd name="T19" fmla="*/ 2147483647 h 720"/>
                  <a:gd name="T20" fmla="*/ 2147483647 w 845"/>
                  <a:gd name="T21" fmla="*/ 2147483647 h 720"/>
                  <a:gd name="T22" fmla="*/ 2147483647 w 845"/>
                  <a:gd name="T23" fmla="*/ 2147483647 h 720"/>
                  <a:gd name="T24" fmla="*/ 2147483647 w 845"/>
                  <a:gd name="T25" fmla="*/ 2147483647 h 720"/>
                  <a:gd name="T26" fmla="*/ 2147483647 w 845"/>
                  <a:gd name="T27" fmla="*/ 2147483647 h 720"/>
                  <a:gd name="T28" fmla="*/ 2147483647 w 845"/>
                  <a:gd name="T29" fmla="*/ 2147483647 h 720"/>
                  <a:gd name="T30" fmla="*/ 2147483647 w 845"/>
                  <a:gd name="T31" fmla="*/ 2147483647 h 720"/>
                  <a:gd name="T32" fmla="*/ 2147483647 w 845"/>
                  <a:gd name="T33" fmla="*/ 2147483647 h 720"/>
                  <a:gd name="T34" fmla="*/ 2147483647 w 845"/>
                  <a:gd name="T35" fmla="*/ 2147483647 h 720"/>
                  <a:gd name="T36" fmla="*/ 2147483647 w 845"/>
                  <a:gd name="T37" fmla="*/ 2147483647 h 720"/>
                  <a:gd name="T38" fmla="*/ 2147483647 w 845"/>
                  <a:gd name="T39" fmla="*/ 2147483647 h 720"/>
                  <a:gd name="T40" fmla="*/ 2147483647 w 845"/>
                  <a:gd name="T41" fmla="*/ 2147483647 h 720"/>
                  <a:gd name="T42" fmla="*/ 2147483647 w 845"/>
                  <a:gd name="T43" fmla="*/ 2147483647 h 720"/>
                  <a:gd name="T44" fmla="*/ 2147483647 w 845"/>
                  <a:gd name="T45" fmla="*/ 2147483647 h 720"/>
                  <a:gd name="T46" fmla="*/ 2147483647 w 845"/>
                  <a:gd name="T47" fmla="*/ 2147483647 h 720"/>
                  <a:gd name="T48" fmla="*/ 2147483647 w 845"/>
                  <a:gd name="T49" fmla="*/ 2147483647 h 720"/>
                  <a:gd name="T50" fmla="*/ 2147483647 w 845"/>
                  <a:gd name="T51" fmla="*/ 2147483647 h 720"/>
                  <a:gd name="T52" fmla="*/ 2147483647 w 845"/>
                  <a:gd name="T53" fmla="*/ 2147483647 h 720"/>
                  <a:gd name="T54" fmla="*/ 2147483647 w 845"/>
                  <a:gd name="T55" fmla="*/ 2147483647 h 720"/>
                  <a:gd name="T56" fmla="*/ 2147483647 w 845"/>
                  <a:gd name="T57" fmla="*/ 2147483647 h 720"/>
                  <a:gd name="T58" fmla="*/ 2147483647 w 845"/>
                  <a:gd name="T59" fmla="*/ 2147483647 h 720"/>
                  <a:gd name="T60" fmla="*/ 2147483647 w 845"/>
                  <a:gd name="T61" fmla="*/ 2147483647 h 720"/>
                  <a:gd name="T62" fmla="*/ 2147483647 w 845"/>
                  <a:gd name="T63" fmla="*/ 2147483647 h 720"/>
                  <a:gd name="T64" fmla="*/ 2147483647 w 845"/>
                  <a:gd name="T65" fmla="*/ 2147483647 h 720"/>
                  <a:gd name="T66" fmla="*/ 2147483647 w 845"/>
                  <a:gd name="T67" fmla="*/ 2147483647 h 720"/>
                  <a:gd name="T68" fmla="*/ 2147483647 w 845"/>
                  <a:gd name="T69" fmla="*/ 2147483647 h 720"/>
                  <a:gd name="T70" fmla="*/ 2147483647 w 845"/>
                  <a:gd name="T71" fmla="*/ 2147483647 h 720"/>
                  <a:gd name="T72" fmla="*/ 2147483647 w 845"/>
                  <a:gd name="T73" fmla="*/ 2147483647 h 720"/>
                  <a:gd name="T74" fmla="*/ 2147483647 w 845"/>
                  <a:gd name="T75" fmla="*/ 2147483647 h 720"/>
                  <a:gd name="T76" fmla="*/ 2147483647 w 845"/>
                  <a:gd name="T77" fmla="*/ 2147483647 h 720"/>
                  <a:gd name="T78" fmla="*/ 2147483647 w 845"/>
                  <a:gd name="T79" fmla="*/ 2147483647 h 720"/>
                  <a:gd name="T80" fmla="*/ 2147483647 w 845"/>
                  <a:gd name="T81" fmla="*/ 2147483647 h 720"/>
                  <a:gd name="T82" fmla="*/ 2147483647 w 845"/>
                  <a:gd name="T83" fmla="*/ 2147483647 h 720"/>
                  <a:gd name="T84" fmla="*/ 2147483647 w 845"/>
                  <a:gd name="T85" fmla="*/ 2147483647 h 720"/>
                  <a:gd name="T86" fmla="*/ 2147483647 w 845"/>
                  <a:gd name="T87" fmla="*/ 2147483647 h 720"/>
                  <a:gd name="T88" fmla="*/ 2147483647 w 845"/>
                  <a:gd name="T89" fmla="*/ 2147483647 h 720"/>
                  <a:gd name="T90" fmla="*/ 2147483647 w 845"/>
                  <a:gd name="T91" fmla="*/ 2147483647 h 720"/>
                  <a:gd name="T92" fmla="*/ 2147483647 w 845"/>
                  <a:gd name="T93" fmla="*/ 2147483647 h 720"/>
                  <a:gd name="T94" fmla="*/ 1274169284 w 845"/>
                  <a:gd name="T95" fmla="*/ 2147483647 h 720"/>
                  <a:gd name="T96" fmla="*/ 398131760 w 845"/>
                  <a:gd name="T97" fmla="*/ 2147483647 h 720"/>
                  <a:gd name="T98" fmla="*/ 159178448 w 845"/>
                  <a:gd name="T99" fmla="*/ 2147483647 h 720"/>
                  <a:gd name="T100" fmla="*/ 1672300613 w 845"/>
                  <a:gd name="T101" fmla="*/ 2147483647 h 720"/>
                  <a:gd name="T102" fmla="*/ 2147483647 w 845"/>
                  <a:gd name="T103" fmla="*/ 2147483647 h 720"/>
                  <a:gd name="T104" fmla="*/ 2147483647 w 845"/>
                  <a:gd name="T105" fmla="*/ 2147483647 h 720"/>
                  <a:gd name="T106" fmla="*/ 2147483647 w 845"/>
                  <a:gd name="T107" fmla="*/ 2147483647 h 720"/>
                  <a:gd name="T108" fmla="*/ 2147483647 w 845"/>
                  <a:gd name="T109" fmla="*/ 2147483647 h 720"/>
                  <a:gd name="T110" fmla="*/ 2147483647 w 845"/>
                  <a:gd name="T111" fmla="*/ 2147483647 h 720"/>
                  <a:gd name="T112" fmla="*/ 2147483647 w 845"/>
                  <a:gd name="T113" fmla="*/ 2147483647 h 720"/>
                  <a:gd name="T114" fmla="*/ 2147483647 w 845"/>
                  <a:gd name="T115" fmla="*/ 2147483647 h 720"/>
                  <a:gd name="T116" fmla="*/ 2147483647 w 845"/>
                  <a:gd name="T117" fmla="*/ 2147483647 h 72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7" name="Freeform 366"/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11355655" y="4819222"/>
                <a:ext cx="19050" cy="58738"/>
              </a:xfrm>
              <a:custGeom>
                <a:avLst/>
                <a:gdLst>
                  <a:gd name="T0" fmla="*/ 865610518 w 47"/>
                  <a:gd name="T1" fmla="*/ 0 h 28"/>
                  <a:gd name="T2" fmla="*/ 1664685871 w 47"/>
                  <a:gd name="T3" fmla="*/ 0 h 28"/>
                  <a:gd name="T4" fmla="*/ 2064223548 w 47"/>
                  <a:gd name="T5" fmla="*/ 2147483647 h 28"/>
                  <a:gd name="T6" fmla="*/ 2147483647 w 47"/>
                  <a:gd name="T7" fmla="*/ 2147483647 h 28"/>
                  <a:gd name="T8" fmla="*/ 2147483647 w 47"/>
                  <a:gd name="T9" fmla="*/ 2147483647 h 28"/>
                  <a:gd name="T10" fmla="*/ 2130758307 w 47"/>
                  <a:gd name="T11" fmla="*/ 2147483647 h 28"/>
                  <a:gd name="T12" fmla="*/ 2147483647 w 47"/>
                  <a:gd name="T13" fmla="*/ 2147483647 h 28"/>
                  <a:gd name="T14" fmla="*/ 2147483647 w 47"/>
                  <a:gd name="T15" fmla="*/ 2147483647 h 28"/>
                  <a:gd name="T16" fmla="*/ 2147483647 w 47"/>
                  <a:gd name="T17" fmla="*/ 2147483647 h 28"/>
                  <a:gd name="T18" fmla="*/ 2147483647 w 47"/>
                  <a:gd name="T19" fmla="*/ 2147483647 h 28"/>
                  <a:gd name="T20" fmla="*/ 2147483647 w 47"/>
                  <a:gd name="T21" fmla="*/ 2147483647 h 28"/>
                  <a:gd name="T22" fmla="*/ 2147483647 w 47"/>
                  <a:gd name="T23" fmla="*/ 2147483647 h 28"/>
                  <a:gd name="T24" fmla="*/ 1864454710 w 47"/>
                  <a:gd name="T25" fmla="*/ 2147483647 h 28"/>
                  <a:gd name="T26" fmla="*/ 1065379356 w 47"/>
                  <a:gd name="T27" fmla="*/ 2147483647 h 28"/>
                  <a:gd name="T28" fmla="*/ 0 w 47"/>
                  <a:gd name="T29" fmla="*/ 2147483647 h 28"/>
                  <a:gd name="T30" fmla="*/ 66534760 w 47"/>
                  <a:gd name="T31" fmla="*/ 2147483647 h 28"/>
                  <a:gd name="T32" fmla="*/ 133234079 w 47"/>
                  <a:gd name="T33" fmla="*/ 2147483647 h 28"/>
                  <a:gd name="T34" fmla="*/ 266303598 w 47"/>
                  <a:gd name="T35" fmla="*/ 2147483647 h 28"/>
                  <a:gd name="T36" fmla="*/ 399537677 w 47"/>
                  <a:gd name="T37" fmla="*/ 2147483647 h 28"/>
                  <a:gd name="T38" fmla="*/ 599306515 w 47"/>
                  <a:gd name="T39" fmla="*/ 2147483647 h 28"/>
                  <a:gd name="T40" fmla="*/ 732540594 w 47"/>
                  <a:gd name="T41" fmla="*/ 2147483647 h 28"/>
                  <a:gd name="T42" fmla="*/ 865610518 w 47"/>
                  <a:gd name="T43" fmla="*/ 2147483647 h 28"/>
                  <a:gd name="T44" fmla="*/ 865610518 w 47"/>
                  <a:gd name="T45" fmla="*/ 0 h 2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8" name="Freeform 367"/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11327080" y="4846210"/>
                <a:ext cx="23813" cy="57150"/>
              </a:xfrm>
              <a:custGeom>
                <a:avLst/>
                <a:gdLst>
                  <a:gd name="T0" fmla="*/ 1179135291 w 53"/>
                  <a:gd name="T1" fmla="*/ 0 h 33"/>
                  <a:gd name="T2" fmla="*/ 2147483647 w 53"/>
                  <a:gd name="T3" fmla="*/ 2147483647 h 33"/>
                  <a:gd name="T4" fmla="*/ 2147483647 w 53"/>
                  <a:gd name="T5" fmla="*/ 2147483647 h 33"/>
                  <a:gd name="T6" fmla="*/ 2147483647 w 53"/>
                  <a:gd name="T7" fmla="*/ 2147483647 h 33"/>
                  <a:gd name="T8" fmla="*/ 2147483647 w 53"/>
                  <a:gd name="T9" fmla="*/ 2147483647 h 33"/>
                  <a:gd name="T10" fmla="*/ 2147483647 w 53"/>
                  <a:gd name="T11" fmla="*/ 2147483647 h 33"/>
                  <a:gd name="T12" fmla="*/ 2147483647 w 53"/>
                  <a:gd name="T13" fmla="*/ 2147483647 h 33"/>
                  <a:gd name="T14" fmla="*/ 2147483647 w 53"/>
                  <a:gd name="T15" fmla="*/ 2147483647 h 33"/>
                  <a:gd name="T16" fmla="*/ 2147483647 w 53"/>
                  <a:gd name="T17" fmla="*/ 2147483647 h 33"/>
                  <a:gd name="T18" fmla="*/ 2147483647 w 53"/>
                  <a:gd name="T19" fmla="*/ 2147483647 h 33"/>
                  <a:gd name="T20" fmla="*/ 2147483647 w 53"/>
                  <a:gd name="T21" fmla="*/ 2147483647 h 33"/>
                  <a:gd name="T22" fmla="*/ 2147483647 w 53"/>
                  <a:gd name="T23" fmla="*/ 2147483647 h 33"/>
                  <a:gd name="T24" fmla="*/ 2147483647 w 53"/>
                  <a:gd name="T25" fmla="*/ 2147483647 h 33"/>
                  <a:gd name="T26" fmla="*/ 2147483647 w 53"/>
                  <a:gd name="T27" fmla="*/ 2147483647 h 33"/>
                  <a:gd name="T28" fmla="*/ 2147483647 w 53"/>
                  <a:gd name="T29" fmla="*/ 2147483647 h 33"/>
                  <a:gd name="T30" fmla="*/ 1814023569 w 53"/>
                  <a:gd name="T31" fmla="*/ 2147483647 h 33"/>
                  <a:gd name="T32" fmla="*/ 0 w 53"/>
                  <a:gd name="T33" fmla="*/ 2147483647 h 33"/>
                  <a:gd name="T34" fmla="*/ 0 w 53"/>
                  <a:gd name="T35" fmla="*/ 2147483647 h 33"/>
                  <a:gd name="T36" fmla="*/ 181482917 w 53"/>
                  <a:gd name="T37" fmla="*/ 2147483647 h 33"/>
                  <a:gd name="T38" fmla="*/ 362764097 w 53"/>
                  <a:gd name="T39" fmla="*/ 2147483647 h 33"/>
                  <a:gd name="T40" fmla="*/ 634887828 w 53"/>
                  <a:gd name="T41" fmla="*/ 2147483647 h 33"/>
                  <a:gd name="T42" fmla="*/ 816371194 w 53"/>
                  <a:gd name="T43" fmla="*/ 2147483647 h 33"/>
                  <a:gd name="T44" fmla="*/ 997652375 w 53"/>
                  <a:gd name="T45" fmla="*/ 2147483647 h 33"/>
                  <a:gd name="T46" fmla="*/ 1088494926 w 53"/>
                  <a:gd name="T47" fmla="*/ 2147483647 h 33"/>
                  <a:gd name="T48" fmla="*/ 1179135291 w 53"/>
                  <a:gd name="T49" fmla="*/ 0 h 3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3" h="33">
                    <a:moveTo>
                      <a:pt x="13" y="0"/>
                    </a:moveTo>
                    <a:lnTo>
                      <a:pt x="26" y="1"/>
                    </a:lnTo>
                    <a:lnTo>
                      <a:pt x="34" y="1"/>
                    </a:lnTo>
                    <a:lnTo>
                      <a:pt x="37" y="3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4" y="10"/>
                    </a:lnTo>
                    <a:lnTo>
                      <a:pt x="53" y="12"/>
                    </a:lnTo>
                    <a:lnTo>
                      <a:pt x="48" y="22"/>
                    </a:lnTo>
                    <a:lnTo>
                      <a:pt x="44" y="28"/>
                    </a:lnTo>
                    <a:lnTo>
                      <a:pt x="42" y="31"/>
                    </a:lnTo>
                    <a:lnTo>
                      <a:pt x="38" y="32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2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2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199" name="Group 368"/>
              <p:cNvGrpSpPr>
                <a:grpSpLocks/>
              </p:cNvGrpSpPr>
              <p:nvPr>
                <p:custDataLst>
                  <p:tags r:id="rId195"/>
                </p:custDataLst>
              </p:nvPr>
            </p:nvGrpSpPr>
            <p:grpSpPr bwMode="auto">
              <a:xfrm>
                <a:off x="11168330" y="4338210"/>
                <a:ext cx="168275" cy="103187"/>
                <a:chOff x="3481" y="2773"/>
                <a:chExt cx="125" cy="65"/>
              </a:xfrm>
            </p:grpSpPr>
            <p:sp>
              <p:nvSpPr>
                <p:cNvPr id="321" name="Freeform 36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 w 13"/>
                    <a:gd name="T1" fmla="*/ 0 h 18"/>
                    <a:gd name="T2" fmla="*/ 1 w 13"/>
                    <a:gd name="T3" fmla="*/ 0 h 18"/>
                    <a:gd name="T4" fmla="*/ 0 w 13"/>
                    <a:gd name="T5" fmla="*/ 1 h 18"/>
                    <a:gd name="T6" fmla="*/ 0 w 13"/>
                    <a:gd name="T7" fmla="*/ 1 h 18"/>
                    <a:gd name="T8" fmla="*/ 0 w 13"/>
                    <a:gd name="T9" fmla="*/ 1 h 18"/>
                    <a:gd name="T10" fmla="*/ 0 w 13"/>
                    <a:gd name="T11" fmla="*/ 0 h 18"/>
                    <a:gd name="T12" fmla="*/ 0 w 13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2" name="Line 370"/>
                <p:cNvSpPr>
                  <a:spLocks noChangeShapeType="1"/>
                </p:cNvSpPr>
                <p:nvPr/>
              </p:nvSpPr>
              <p:spPr bwMode="auto">
                <a:xfrm>
                  <a:off x="3583" y="2800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3" name="Freeform 371"/>
                <p:cNvSpPr>
                  <a:spLocks/>
                </p:cNvSpPr>
                <p:nvPr/>
              </p:nvSpPr>
              <p:spPr bwMode="auto">
                <a:xfrm>
                  <a:off x="3554" y="2819"/>
                  <a:ext cx="5" cy="6"/>
                </a:xfrm>
                <a:custGeom>
                  <a:avLst/>
                  <a:gdLst>
                    <a:gd name="T0" fmla="*/ 1 w 14"/>
                    <a:gd name="T1" fmla="*/ 1 h 19"/>
                    <a:gd name="T2" fmla="*/ 0 w 14"/>
                    <a:gd name="T3" fmla="*/ 0 h 19"/>
                    <a:gd name="T4" fmla="*/ 1 w 14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" h="19">
                      <a:moveTo>
                        <a:pt x="14" y="19"/>
                      </a:moveTo>
                      <a:lnTo>
                        <a:pt x="0" y="0"/>
                      </a:lnTo>
                      <a:lnTo>
                        <a:pt x="14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4" name="Freeform 372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0 h 18"/>
                    <a:gd name="T2" fmla="*/ 0 w 7"/>
                    <a:gd name="T3" fmla="*/ 1 h 18"/>
                    <a:gd name="T4" fmla="*/ 0 w 7"/>
                    <a:gd name="T5" fmla="*/ 1 h 18"/>
                    <a:gd name="T6" fmla="*/ 0 w 7"/>
                    <a:gd name="T7" fmla="*/ 0 h 18"/>
                    <a:gd name="T8" fmla="*/ 0 w 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5" name="Freeform 373"/>
                <p:cNvSpPr>
                  <a:spLocks/>
                </p:cNvSpPr>
                <p:nvPr/>
              </p:nvSpPr>
              <p:spPr bwMode="auto">
                <a:xfrm>
                  <a:off x="3599" y="2773"/>
                  <a:ext cx="7" cy="4"/>
                </a:xfrm>
                <a:custGeom>
                  <a:avLst/>
                  <a:gdLst>
                    <a:gd name="T0" fmla="*/ 1 w 20"/>
                    <a:gd name="T1" fmla="*/ 0 h 12"/>
                    <a:gd name="T2" fmla="*/ 0 w 20"/>
                    <a:gd name="T3" fmla="*/ 0 h 12"/>
                    <a:gd name="T4" fmla="*/ 0 w 20"/>
                    <a:gd name="T5" fmla="*/ 0 h 12"/>
                    <a:gd name="T6" fmla="*/ 0 w 20"/>
                    <a:gd name="T7" fmla="*/ 0 h 12"/>
                    <a:gd name="T8" fmla="*/ 0 w 20"/>
                    <a:gd name="T9" fmla="*/ 0 h 12"/>
                    <a:gd name="T10" fmla="*/ 0 w 20"/>
                    <a:gd name="T11" fmla="*/ 0 h 12"/>
                    <a:gd name="T12" fmla="*/ 1 w 20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0" h="12">
                      <a:moveTo>
                        <a:pt x="20" y="12"/>
                      </a:moveTo>
                      <a:lnTo>
                        <a:pt x="1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8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6" name="Line 374"/>
                <p:cNvSpPr>
                  <a:spLocks noChangeShapeType="1"/>
                </p:cNvSpPr>
                <p:nvPr/>
              </p:nvSpPr>
              <p:spPr bwMode="auto">
                <a:xfrm>
                  <a:off x="3603" y="2773"/>
                  <a:ext cx="1" cy="2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7" name="Freeform 375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 h 18"/>
                    <a:gd name="T4" fmla="*/ 1 w 20"/>
                    <a:gd name="T5" fmla="*/ 1 h 1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8" name="Freeform 376"/>
                <p:cNvSpPr>
                  <a:spLocks/>
                </p:cNvSpPr>
                <p:nvPr/>
              </p:nvSpPr>
              <p:spPr bwMode="auto">
                <a:xfrm>
                  <a:off x="3485" y="2830"/>
                  <a:ext cx="3" cy="4"/>
                </a:xfrm>
                <a:custGeom>
                  <a:avLst/>
                  <a:gdLst>
                    <a:gd name="T0" fmla="*/ 0 w 7"/>
                    <a:gd name="T1" fmla="*/ 0 h 12"/>
                    <a:gd name="T2" fmla="*/ 0 w 7"/>
                    <a:gd name="T3" fmla="*/ 0 h 12"/>
                    <a:gd name="T4" fmla="*/ 0 w 7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7" h="12">
                      <a:moveTo>
                        <a:pt x="7" y="12"/>
                      </a:moveTo>
                      <a:lnTo>
                        <a:pt x="4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9" name="Freeform 377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 h 18"/>
                    <a:gd name="T4" fmla="*/ 1 w 20"/>
                    <a:gd name="T5" fmla="*/ 1 h 18"/>
                    <a:gd name="T6" fmla="*/ 1 w 20"/>
                    <a:gd name="T7" fmla="*/ 0 h 18"/>
                    <a:gd name="T8" fmla="*/ 1 w 20"/>
                    <a:gd name="T9" fmla="*/ 0 h 18"/>
                    <a:gd name="T10" fmla="*/ 0 w 20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  <a:lnTo>
                        <a:pt x="17" y="12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0" name="Freeform 378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0 h 18"/>
                    <a:gd name="T2" fmla="*/ 0 w 7"/>
                    <a:gd name="T3" fmla="*/ 1 h 18"/>
                    <a:gd name="T4" fmla="*/ 0 w 7"/>
                    <a:gd name="T5" fmla="*/ 1 h 18"/>
                    <a:gd name="T6" fmla="*/ 0 w 7"/>
                    <a:gd name="T7" fmla="*/ 0 h 18"/>
                    <a:gd name="T8" fmla="*/ 0 w 7"/>
                    <a:gd name="T9" fmla="*/ 0 h 18"/>
                    <a:gd name="T10" fmla="*/ 0 w 7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1" name="Freeform 37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 w 13"/>
                    <a:gd name="T1" fmla="*/ 0 h 18"/>
                    <a:gd name="T2" fmla="*/ 1 w 13"/>
                    <a:gd name="T3" fmla="*/ 0 h 18"/>
                    <a:gd name="T4" fmla="*/ 0 w 13"/>
                    <a:gd name="T5" fmla="*/ 1 h 18"/>
                    <a:gd name="T6" fmla="*/ 0 w 13"/>
                    <a:gd name="T7" fmla="*/ 1 h 18"/>
                    <a:gd name="T8" fmla="*/ 0 w 13"/>
                    <a:gd name="T9" fmla="*/ 1 h 18"/>
                    <a:gd name="T10" fmla="*/ 0 w 13"/>
                    <a:gd name="T11" fmla="*/ 0 h 18"/>
                    <a:gd name="T12" fmla="*/ 0 w 13"/>
                    <a:gd name="T13" fmla="*/ 0 h 18"/>
                    <a:gd name="T14" fmla="*/ 0 w 13"/>
                    <a:gd name="T15" fmla="*/ 0 h 18"/>
                    <a:gd name="T16" fmla="*/ 1 w 13"/>
                    <a:gd name="T17" fmla="*/ 0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200" name="Freeform 380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10296793" y="4330272"/>
                <a:ext cx="319087" cy="379413"/>
              </a:xfrm>
              <a:custGeom>
                <a:avLst/>
                <a:gdLst>
                  <a:gd name="T0" fmla="*/ 2147483647 w 736"/>
                  <a:gd name="T1" fmla="*/ 2147483647 h 721"/>
                  <a:gd name="T2" fmla="*/ 2147483647 w 736"/>
                  <a:gd name="T3" fmla="*/ 2147483647 h 721"/>
                  <a:gd name="T4" fmla="*/ 2147483647 w 736"/>
                  <a:gd name="T5" fmla="*/ 2147483647 h 721"/>
                  <a:gd name="T6" fmla="*/ 2147483647 w 736"/>
                  <a:gd name="T7" fmla="*/ 2147483647 h 721"/>
                  <a:gd name="T8" fmla="*/ 2147483647 w 736"/>
                  <a:gd name="T9" fmla="*/ 2147483647 h 721"/>
                  <a:gd name="T10" fmla="*/ 2147483647 w 736"/>
                  <a:gd name="T11" fmla="*/ 2147483647 h 721"/>
                  <a:gd name="T12" fmla="*/ 2147483647 w 736"/>
                  <a:gd name="T13" fmla="*/ 2147483647 h 721"/>
                  <a:gd name="T14" fmla="*/ 2147483647 w 736"/>
                  <a:gd name="T15" fmla="*/ 2147483647 h 721"/>
                  <a:gd name="T16" fmla="*/ 2147483647 w 736"/>
                  <a:gd name="T17" fmla="*/ 2147483647 h 721"/>
                  <a:gd name="T18" fmla="*/ 2147483647 w 736"/>
                  <a:gd name="T19" fmla="*/ 2147483647 h 721"/>
                  <a:gd name="T20" fmla="*/ 2147483647 w 736"/>
                  <a:gd name="T21" fmla="*/ 2147483647 h 721"/>
                  <a:gd name="T22" fmla="*/ 2147483647 w 736"/>
                  <a:gd name="T23" fmla="*/ 2147483647 h 721"/>
                  <a:gd name="T24" fmla="*/ 2147483647 w 736"/>
                  <a:gd name="T25" fmla="*/ 2147483647 h 721"/>
                  <a:gd name="T26" fmla="*/ 2147483647 w 736"/>
                  <a:gd name="T27" fmla="*/ 2147483647 h 721"/>
                  <a:gd name="T28" fmla="*/ 2147483647 w 736"/>
                  <a:gd name="T29" fmla="*/ 2147483647 h 721"/>
                  <a:gd name="T30" fmla="*/ 2147483647 w 736"/>
                  <a:gd name="T31" fmla="*/ 2147483647 h 721"/>
                  <a:gd name="T32" fmla="*/ 2147483647 w 736"/>
                  <a:gd name="T33" fmla="*/ 2147483647 h 721"/>
                  <a:gd name="T34" fmla="*/ 2147483647 w 736"/>
                  <a:gd name="T35" fmla="*/ 2147483647 h 721"/>
                  <a:gd name="T36" fmla="*/ 2147483647 w 736"/>
                  <a:gd name="T37" fmla="*/ 2147483647 h 721"/>
                  <a:gd name="T38" fmla="*/ 2147483647 w 736"/>
                  <a:gd name="T39" fmla="*/ 2147483647 h 721"/>
                  <a:gd name="T40" fmla="*/ 2147483647 w 736"/>
                  <a:gd name="T41" fmla="*/ 2147483647 h 721"/>
                  <a:gd name="T42" fmla="*/ 2147483647 w 736"/>
                  <a:gd name="T43" fmla="*/ 2147483647 h 721"/>
                  <a:gd name="T44" fmla="*/ 2147483647 w 736"/>
                  <a:gd name="T45" fmla="*/ 2147483647 h 721"/>
                  <a:gd name="T46" fmla="*/ 2147483647 w 736"/>
                  <a:gd name="T47" fmla="*/ 2147483647 h 721"/>
                  <a:gd name="T48" fmla="*/ 2147483647 w 736"/>
                  <a:gd name="T49" fmla="*/ 2147483647 h 721"/>
                  <a:gd name="T50" fmla="*/ 2147483647 w 736"/>
                  <a:gd name="T51" fmla="*/ 2147483647 h 721"/>
                  <a:gd name="T52" fmla="*/ 2147483647 w 736"/>
                  <a:gd name="T53" fmla="*/ 2147483647 h 721"/>
                  <a:gd name="T54" fmla="*/ 2147483647 w 736"/>
                  <a:gd name="T55" fmla="*/ 2147483647 h 721"/>
                  <a:gd name="T56" fmla="*/ 2147483647 w 736"/>
                  <a:gd name="T57" fmla="*/ 2147483647 h 721"/>
                  <a:gd name="T58" fmla="*/ 2147483647 w 736"/>
                  <a:gd name="T59" fmla="*/ 2147483647 h 721"/>
                  <a:gd name="T60" fmla="*/ 2147483647 w 736"/>
                  <a:gd name="T61" fmla="*/ 2147483647 h 721"/>
                  <a:gd name="T62" fmla="*/ 2147483647 w 736"/>
                  <a:gd name="T63" fmla="*/ 2147483647 h 721"/>
                  <a:gd name="T64" fmla="*/ 2147483647 w 736"/>
                  <a:gd name="T65" fmla="*/ 2147483647 h 721"/>
                  <a:gd name="T66" fmla="*/ 2147483647 w 736"/>
                  <a:gd name="T67" fmla="*/ 0 h 721"/>
                  <a:gd name="T68" fmla="*/ 2147483647 w 736"/>
                  <a:gd name="T69" fmla="*/ 2147483647 h 721"/>
                  <a:gd name="T70" fmla="*/ 2147483647 w 736"/>
                  <a:gd name="T71" fmla="*/ 2147483647 h 721"/>
                  <a:gd name="T72" fmla="*/ 2147483647 w 736"/>
                  <a:gd name="T73" fmla="*/ 2147483647 h 721"/>
                  <a:gd name="T74" fmla="*/ 2147483647 w 736"/>
                  <a:gd name="T75" fmla="*/ 2147483647 h 721"/>
                  <a:gd name="T76" fmla="*/ 2147483647 w 736"/>
                  <a:gd name="T77" fmla="*/ 2147483647 h 721"/>
                  <a:gd name="T78" fmla="*/ 2147483647 w 736"/>
                  <a:gd name="T79" fmla="*/ 2147483647 h 721"/>
                  <a:gd name="T80" fmla="*/ 2147483647 w 736"/>
                  <a:gd name="T81" fmla="*/ 2147483647 h 721"/>
                  <a:gd name="T82" fmla="*/ 2147483647 w 736"/>
                  <a:gd name="T83" fmla="*/ 2147483647 h 721"/>
                  <a:gd name="T84" fmla="*/ 2147483647 w 736"/>
                  <a:gd name="T85" fmla="*/ 2147483647 h 721"/>
                  <a:gd name="T86" fmla="*/ 2147483647 w 736"/>
                  <a:gd name="T87" fmla="*/ 2147483647 h 721"/>
                  <a:gd name="T88" fmla="*/ 2147483647 w 736"/>
                  <a:gd name="T89" fmla="*/ 2147483647 h 721"/>
                  <a:gd name="T90" fmla="*/ 2147483647 w 736"/>
                  <a:gd name="T91" fmla="*/ 2147483647 h 721"/>
                  <a:gd name="T92" fmla="*/ 2147483647 w 736"/>
                  <a:gd name="T93" fmla="*/ 2147483647 h 721"/>
                  <a:gd name="T94" fmla="*/ 2037285087 w 736"/>
                  <a:gd name="T95" fmla="*/ 2147483647 h 721"/>
                  <a:gd name="T96" fmla="*/ 896375212 w 736"/>
                  <a:gd name="T97" fmla="*/ 2147483647 h 72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1" name="Freeform 381"/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10307905" y="4303285"/>
                <a:ext cx="15875" cy="60325"/>
              </a:xfrm>
              <a:custGeom>
                <a:avLst/>
                <a:gdLst>
                  <a:gd name="T0" fmla="*/ 0 w 39"/>
                  <a:gd name="T1" fmla="*/ 2147483647 h 31"/>
                  <a:gd name="T2" fmla="*/ 809399494 w 39"/>
                  <a:gd name="T3" fmla="*/ 2147483647 h 31"/>
                  <a:gd name="T4" fmla="*/ 1483760538 w 39"/>
                  <a:gd name="T5" fmla="*/ 2147483647 h 31"/>
                  <a:gd name="T6" fmla="*/ 1753505282 w 39"/>
                  <a:gd name="T7" fmla="*/ 2147483647 h 31"/>
                  <a:gd name="T8" fmla="*/ 2023415288 w 39"/>
                  <a:gd name="T9" fmla="*/ 2147483647 h 31"/>
                  <a:gd name="T10" fmla="*/ 2147483647 w 39"/>
                  <a:gd name="T11" fmla="*/ 2147483647 h 31"/>
                  <a:gd name="T12" fmla="*/ 2147483647 w 39"/>
                  <a:gd name="T13" fmla="*/ 2147483647 h 31"/>
                  <a:gd name="T14" fmla="*/ 2147483647 w 39"/>
                  <a:gd name="T15" fmla="*/ 0 h 31"/>
                  <a:gd name="T16" fmla="*/ 1753505282 w 39"/>
                  <a:gd name="T17" fmla="*/ 0 h 31"/>
                  <a:gd name="T18" fmla="*/ 1146580016 w 39"/>
                  <a:gd name="T19" fmla="*/ 0 h 31"/>
                  <a:gd name="T20" fmla="*/ 539489080 w 39"/>
                  <a:gd name="T21" fmla="*/ 0 h 31"/>
                  <a:gd name="T22" fmla="*/ 0 w 39"/>
                  <a:gd name="T23" fmla="*/ 0 h 31"/>
                  <a:gd name="T24" fmla="*/ 0 w 39"/>
                  <a:gd name="T25" fmla="*/ 2147483647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2" name="Freeform 382"/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10409505" y="4846210"/>
                <a:ext cx="396875" cy="398462"/>
              </a:xfrm>
              <a:custGeom>
                <a:avLst/>
                <a:gdLst>
                  <a:gd name="T0" fmla="*/ 2147483647 w 903"/>
                  <a:gd name="T1" fmla="*/ 2147483647 h 759"/>
                  <a:gd name="T2" fmla="*/ 2147483647 w 903"/>
                  <a:gd name="T3" fmla="*/ 2147483647 h 759"/>
                  <a:gd name="T4" fmla="*/ 2147483647 w 903"/>
                  <a:gd name="T5" fmla="*/ 2147483647 h 759"/>
                  <a:gd name="T6" fmla="*/ 2147483647 w 903"/>
                  <a:gd name="T7" fmla="*/ 2147483647 h 759"/>
                  <a:gd name="T8" fmla="*/ 2147483647 w 903"/>
                  <a:gd name="T9" fmla="*/ 2147483647 h 759"/>
                  <a:gd name="T10" fmla="*/ 2147483647 w 903"/>
                  <a:gd name="T11" fmla="*/ 2147483647 h 759"/>
                  <a:gd name="T12" fmla="*/ 2147483647 w 903"/>
                  <a:gd name="T13" fmla="*/ 2147483647 h 759"/>
                  <a:gd name="T14" fmla="*/ 2147483647 w 903"/>
                  <a:gd name="T15" fmla="*/ 2147483647 h 759"/>
                  <a:gd name="T16" fmla="*/ 2147483647 w 903"/>
                  <a:gd name="T17" fmla="*/ 2147483647 h 759"/>
                  <a:gd name="T18" fmla="*/ 2147483647 w 903"/>
                  <a:gd name="T19" fmla="*/ 2147483647 h 759"/>
                  <a:gd name="T20" fmla="*/ 2147483647 w 903"/>
                  <a:gd name="T21" fmla="*/ 2147483647 h 759"/>
                  <a:gd name="T22" fmla="*/ 2147483647 w 903"/>
                  <a:gd name="T23" fmla="*/ 2147483647 h 759"/>
                  <a:gd name="T24" fmla="*/ 2147483647 w 903"/>
                  <a:gd name="T25" fmla="*/ 2147483647 h 759"/>
                  <a:gd name="T26" fmla="*/ 2147483647 w 903"/>
                  <a:gd name="T27" fmla="*/ 2147483647 h 759"/>
                  <a:gd name="T28" fmla="*/ 2147483647 w 903"/>
                  <a:gd name="T29" fmla="*/ 2147483647 h 759"/>
                  <a:gd name="T30" fmla="*/ 2147483647 w 903"/>
                  <a:gd name="T31" fmla="*/ 2147483647 h 759"/>
                  <a:gd name="T32" fmla="*/ 2147483647 w 903"/>
                  <a:gd name="T33" fmla="*/ 2147483647 h 759"/>
                  <a:gd name="T34" fmla="*/ 2147483647 w 903"/>
                  <a:gd name="T35" fmla="*/ 2147483647 h 759"/>
                  <a:gd name="T36" fmla="*/ 2147483647 w 903"/>
                  <a:gd name="T37" fmla="*/ 2147483647 h 759"/>
                  <a:gd name="T38" fmla="*/ 2147483647 w 903"/>
                  <a:gd name="T39" fmla="*/ 2147483647 h 759"/>
                  <a:gd name="T40" fmla="*/ 2147483647 w 903"/>
                  <a:gd name="T41" fmla="*/ 2147483647 h 759"/>
                  <a:gd name="T42" fmla="*/ 2147483647 w 903"/>
                  <a:gd name="T43" fmla="*/ 2147483647 h 759"/>
                  <a:gd name="T44" fmla="*/ 2147483647 w 903"/>
                  <a:gd name="T45" fmla="*/ 2147483647 h 759"/>
                  <a:gd name="T46" fmla="*/ 2147483647 w 903"/>
                  <a:gd name="T47" fmla="*/ 2147483647 h 759"/>
                  <a:gd name="T48" fmla="*/ 1867727592 w 903"/>
                  <a:gd name="T49" fmla="*/ 2147483647 h 759"/>
                  <a:gd name="T50" fmla="*/ 1018760545 w 903"/>
                  <a:gd name="T51" fmla="*/ 2147483647 h 759"/>
                  <a:gd name="T52" fmla="*/ 848967047 w 903"/>
                  <a:gd name="T53" fmla="*/ 2147483647 h 759"/>
                  <a:gd name="T54" fmla="*/ 0 w 903"/>
                  <a:gd name="T55" fmla="*/ 2147483647 h 759"/>
                  <a:gd name="T56" fmla="*/ 2147483647 w 903"/>
                  <a:gd name="T57" fmla="*/ 2147483647 h 759"/>
                  <a:gd name="T58" fmla="*/ 2147483647 w 903"/>
                  <a:gd name="T59" fmla="*/ 2147483647 h 759"/>
                  <a:gd name="T60" fmla="*/ 2147483647 w 903"/>
                  <a:gd name="T61" fmla="*/ 2147483647 h 759"/>
                  <a:gd name="T62" fmla="*/ 2147483647 w 903"/>
                  <a:gd name="T63" fmla="*/ 2147483647 h 759"/>
                  <a:gd name="T64" fmla="*/ 2147483647 w 903"/>
                  <a:gd name="T65" fmla="*/ 2147483647 h 759"/>
                  <a:gd name="T66" fmla="*/ 2147483647 w 903"/>
                  <a:gd name="T67" fmla="*/ 2147483647 h 759"/>
                  <a:gd name="T68" fmla="*/ 2147483647 w 903"/>
                  <a:gd name="T69" fmla="*/ 2147483647 h 759"/>
                  <a:gd name="T70" fmla="*/ 2147483647 w 903"/>
                  <a:gd name="T71" fmla="*/ 2147483647 h 759"/>
                  <a:gd name="T72" fmla="*/ 2147483647 w 903"/>
                  <a:gd name="T73" fmla="*/ 2147483647 h 759"/>
                  <a:gd name="T74" fmla="*/ 2147483647 w 903"/>
                  <a:gd name="T75" fmla="*/ 2147483647 h 759"/>
                  <a:gd name="T76" fmla="*/ 2147483647 w 903"/>
                  <a:gd name="T77" fmla="*/ 2147483647 h 759"/>
                  <a:gd name="T78" fmla="*/ 2147483647 w 903"/>
                  <a:gd name="T79" fmla="*/ 2147483647 h 759"/>
                  <a:gd name="T80" fmla="*/ 2147483647 w 903"/>
                  <a:gd name="T81" fmla="*/ 2147483647 h 759"/>
                  <a:gd name="T82" fmla="*/ 2147483647 w 903"/>
                  <a:gd name="T83" fmla="*/ 2147483647 h 759"/>
                  <a:gd name="T84" fmla="*/ 2147483647 w 903"/>
                  <a:gd name="T85" fmla="*/ 2147483647 h 759"/>
                  <a:gd name="T86" fmla="*/ 2147483647 w 903"/>
                  <a:gd name="T87" fmla="*/ 2147483647 h 759"/>
                  <a:gd name="T88" fmla="*/ 2147483647 w 903"/>
                  <a:gd name="T89" fmla="*/ 2147483647 h 759"/>
                  <a:gd name="T90" fmla="*/ 2147483647 w 903"/>
                  <a:gd name="T91" fmla="*/ 2147483647 h 759"/>
                  <a:gd name="T92" fmla="*/ 2147483647 w 903"/>
                  <a:gd name="T93" fmla="*/ 2147483647 h 759"/>
                  <a:gd name="T94" fmla="*/ 2147483647 w 903"/>
                  <a:gd name="T95" fmla="*/ 2147483647 h 759"/>
                  <a:gd name="T96" fmla="*/ 2147483647 w 903"/>
                  <a:gd name="T97" fmla="*/ 2147483647 h 759"/>
                  <a:gd name="T98" fmla="*/ 2147483647 w 903"/>
                  <a:gd name="T99" fmla="*/ 2147483647 h 759"/>
                  <a:gd name="T100" fmla="*/ 2147483647 w 903"/>
                  <a:gd name="T101" fmla="*/ 2147483647 h 759"/>
                  <a:gd name="T102" fmla="*/ 2147483647 w 903"/>
                  <a:gd name="T103" fmla="*/ 2147483647 h 759"/>
                  <a:gd name="T104" fmla="*/ 2147483647 w 903"/>
                  <a:gd name="T105" fmla="*/ 2147483647 h 759"/>
                  <a:gd name="T106" fmla="*/ 2147483647 w 903"/>
                  <a:gd name="T107" fmla="*/ 2147483647 h 759"/>
                  <a:gd name="T108" fmla="*/ 2147483647 w 903"/>
                  <a:gd name="T109" fmla="*/ 1591630472 h 759"/>
                  <a:gd name="T110" fmla="*/ 2147483647 w 903"/>
                  <a:gd name="T111" fmla="*/ 434081038 h 759"/>
                  <a:gd name="T112" fmla="*/ 2147483647 w 903"/>
                  <a:gd name="T113" fmla="*/ 868162076 h 759"/>
                  <a:gd name="T114" fmla="*/ 2147483647 w 903"/>
                  <a:gd name="T115" fmla="*/ 2147483647 h 759"/>
                  <a:gd name="T116" fmla="*/ 2147483647 w 903"/>
                  <a:gd name="T117" fmla="*/ 2147483647 h 759"/>
                  <a:gd name="T118" fmla="*/ 2147483647 w 903"/>
                  <a:gd name="T119" fmla="*/ 2147483647 h 759"/>
                  <a:gd name="T120" fmla="*/ 2147483647 w 903"/>
                  <a:gd name="T121" fmla="*/ 2147483647 h 759"/>
                  <a:gd name="T122" fmla="*/ 2147483647 w 903"/>
                  <a:gd name="T123" fmla="*/ 2147483647 h 759"/>
                  <a:gd name="T124" fmla="*/ 2147483647 w 903"/>
                  <a:gd name="T125" fmla="*/ 2147483647 h 75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3" name="Freeform 383"/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10557143" y="3414285"/>
                <a:ext cx="411162" cy="611187"/>
              </a:xfrm>
              <a:custGeom>
                <a:avLst/>
                <a:gdLst>
                  <a:gd name="T0" fmla="*/ 2147483647 w 943"/>
                  <a:gd name="T1" fmla="*/ 708980049 h 1172"/>
                  <a:gd name="T2" fmla="*/ 2147483647 w 943"/>
                  <a:gd name="T3" fmla="*/ 2147483647 h 1172"/>
                  <a:gd name="T4" fmla="*/ 2147483647 w 943"/>
                  <a:gd name="T5" fmla="*/ 2147483647 h 1172"/>
                  <a:gd name="T6" fmla="*/ 2147483647 w 943"/>
                  <a:gd name="T7" fmla="*/ 2147483647 h 1172"/>
                  <a:gd name="T8" fmla="*/ 2147483647 w 943"/>
                  <a:gd name="T9" fmla="*/ 2147483647 h 1172"/>
                  <a:gd name="T10" fmla="*/ 2147483647 w 943"/>
                  <a:gd name="T11" fmla="*/ 2147483647 h 1172"/>
                  <a:gd name="T12" fmla="*/ 2147483647 w 943"/>
                  <a:gd name="T13" fmla="*/ 2147483647 h 1172"/>
                  <a:gd name="T14" fmla="*/ 2147483647 w 943"/>
                  <a:gd name="T15" fmla="*/ 2147483647 h 1172"/>
                  <a:gd name="T16" fmla="*/ 2147483647 w 943"/>
                  <a:gd name="T17" fmla="*/ 2147483647 h 1172"/>
                  <a:gd name="T18" fmla="*/ 2147483647 w 943"/>
                  <a:gd name="T19" fmla="*/ 2147483647 h 1172"/>
                  <a:gd name="T20" fmla="*/ 2147483647 w 943"/>
                  <a:gd name="T21" fmla="*/ 2147483647 h 1172"/>
                  <a:gd name="T22" fmla="*/ 2147483647 w 943"/>
                  <a:gd name="T23" fmla="*/ 2147483647 h 1172"/>
                  <a:gd name="T24" fmla="*/ 2147483647 w 943"/>
                  <a:gd name="T25" fmla="*/ 2147483647 h 1172"/>
                  <a:gd name="T26" fmla="*/ 2147483647 w 943"/>
                  <a:gd name="T27" fmla="*/ 2147483647 h 1172"/>
                  <a:gd name="T28" fmla="*/ 2147483647 w 943"/>
                  <a:gd name="T29" fmla="*/ 2147483647 h 1172"/>
                  <a:gd name="T30" fmla="*/ 2147483647 w 943"/>
                  <a:gd name="T31" fmla="*/ 2147483647 h 1172"/>
                  <a:gd name="T32" fmla="*/ 2147483647 w 943"/>
                  <a:gd name="T33" fmla="*/ 2147483647 h 1172"/>
                  <a:gd name="T34" fmla="*/ 2147483647 w 943"/>
                  <a:gd name="T35" fmla="*/ 2147483647 h 1172"/>
                  <a:gd name="T36" fmla="*/ 2147483647 w 943"/>
                  <a:gd name="T37" fmla="*/ 2147483647 h 1172"/>
                  <a:gd name="T38" fmla="*/ 2147483647 w 943"/>
                  <a:gd name="T39" fmla="*/ 2147483647 h 1172"/>
                  <a:gd name="T40" fmla="*/ 2147483647 w 943"/>
                  <a:gd name="T41" fmla="*/ 2147483647 h 1172"/>
                  <a:gd name="T42" fmla="*/ 2147483647 w 943"/>
                  <a:gd name="T43" fmla="*/ 2147483647 h 1172"/>
                  <a:gd name="T44" fmla="*/ 2147483647 w 943"/>
                  <a:gd name="T45" fmla="*/ 2147483647 h 1172"/>
                  <a:gd name="T46" fmla="*/ 2147483647 w 943"/>
                  <a:gd name="T47" fmla="*/ 2147483647 h 1172"/>
                  <a:gd name="T48" fmla="*/ 2147483647 w 943"/>
                  <a:gd name="T49" fmla="*/ 2147483647 h 1172"/>
                  <a:gd name="T50" fmla="*/ 2147483647 w 943"/>
                  <a:gd name="T51" fmla="*/ 2147483647 h 1172"/>
                  <a:gd name="T52" fmla="*/ 2147483647 w 943"/>
                  <a:gd name="T53" fmla="*/ 2147483647 h 1172"/>
                  <a:gd name="T54" fmla="*/ 2147483647 w 943"/>
                  <a:gd name="T55" fmla="*/ 2147483647 h 1172"/>
                  <a:gd name="T56" fmla="*/ 2147483647 w 943"/>
                  <a:gd name="T57" fmla="*/ 2147483647 h 1172"/>
                  <a:gd name="T58" fmla="*/ 2147483647 w 943"/>
                  <a:gd name="T59" fmla="*/ 2147483647 h 1172"/>
                  <a:gd name="T60" fmla="*/ 2147483647 w 943"/>
                  <a:gd name="T61" fmla="*/ 2147483647 h 1172"/>
                  <a:gd name="T62" fmla="*/ 2147483647 w 943"/>
                  <a:gd name="T63" fmla="*/ 2147483647 h 1172"/>
                  <a:gd name="T64" fmla="*/ 2147483647 w 943"/>
                  <a:gd name="T65" fmla="*/ 2147483647 h 1172"/>
                  <a:gd name="T66" fmla="*/ 2147483647 w 943"/>
                  <a:gd name="T67" fmla="*/ 2147483647 h 1172"/>
                  <a:gd name="T68" fmla="*/ 2147483647 w 943"/>
                  <a:gd name="T69" fmla="*/ 2147483647 h 1172"/>
                  <a:gd name="T70" fmla="*/ 2147483647 w 943"/>
                  <a:gd name="T71" fmla="*/ 2147483647 h 1172"/>
                  <a:gd name="T72" fmla="*/ 2147483647 w 943"/>
                  <a:gd name="T73" fmla="*/ 2147483647 h 1172"/>
                  <a:gd name="T74" fmla="*/ 2147483647 w 943"/>
                  <a:gd name="T75" fmla="*/ 2147483647 h 1172"/>
                  <a:gd name="T76" fmla="*/ 2147483647 w 943"/>
                  <a:gd name="T77" fmla="*/ 2147483647 h 1172"/>
                  <a:gd name="T78" fmla="*/ 2147483647 w 943"/>
                  <a:gd name="T79" fmla="*/ 2147483647 h 1172"/>
                  <a:gd name="T80" fmla="*/ 2147483647 w 943"/>
                  <a:gd name="T81" fmla="*/ 2147483647 h 1172"/>
                  <a:gd name="T82" fmla="*/ 2147483647 w 943"/>
                  <a:gd name="T83" fmla="*/ 2147483647 h 1172"/>
                  <a:gd name="T84" fmla="*/ 331550049 w 943"/>
                  <a:gd name="T85" fmla="*/ 2147483647 h 1172"/>
                  <a:gd name="T86" fmla="*/ 1491975222 w 943"/>
                  <a:gd name="T87" fmla="*/ 2147483647 h 1172"/>
                  <a:gd name="T88" fmla="*/ 2147483647 w 943"/>
                  <a:gd name="T89" fmla="*/ 2147483647 h 1172"/>
                  <a:gd name="T90" fmla="*/ 2147483647 w 943"/>
                  <a:gd name="T91" fmla="*/ 2147483647 h 1172"/>
                  <a:gd name="T92" fmla="*/ 2147483647 w 943"/>
                  <a:gd name="T93" fmla="*/ 2147483647 h 1172"/>
                  <a:gd name="T94" fmla="*/ 2147483647 w 943"/>
                  <a:gd name="T95" fmla="*/ 2147483647 h 1172"/>
                  <a:gd name="T96" fmla="*/ 2147483647 w 943"/>
                  <a:gd name="T97" fmla="*/ 2147483647 h 1172"/>
                  <a:gd name="T98" fmla="*/ 2147483647 w 943"/>
                  <a:gd name="T99" fmla="*/ 2147483647 h 1172"/>
                  <a:gd name="T100" fmla="*/ 2147483647 w 943"/>
                  <a:gd name="T101" fmla="*/ 2147483647 h 1172"/>
                  <a:gd name="T102" fmla="*/ 2147483647 w 943"/>
                  <a:gd name="T103" fmla="*/ 2147483647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204" name="Group 384"/>
              <p:cNvGrpSpPr>
                <a:grpSpLocks/>
              </p:cNvGrpSpPr>
              <p:nvPr>
                <p:custDataLst>
                  <p:tags r:id="rId200"/>
                </p:custDataLst>
              </p:nvPr>
            </p:nvGrpSpPr>
            <p:grpSpPr bwMode="auto">
              <a:xfrm>
                <a:off x="9341118" y="3615897"/>
                <a:ext cx="80962" cy="82550"/>
                <a:chOff x="2352" y="2343"/>
                <a:chExt cx="65" cy="53"/>
              </a:xfrm>
            </p:grpSpPr>
            <p:sp>
              <p:nvSpPr>
                <p:cNvPr id="315" name="Freeform 385"/>
                <p:cNvSpPr>
                  <a:spLocks/>
                </p:cNvSpPr>
                <p:nvPr/>
              </p:nvSpPr>
              <p:spPr bwMode="auto">
                <a:xfrm>
                  <a:off x="2352" y="2343"/>
                  <a:ext cx="16" cy="11"/>
                </a:xfrm>
                <a:custGeom>
                  <a:avLst/>
                  <a:gdLst>
                    <a:gd name="T0" fmla="*/ 1 w 51"/>
                    <a:gd name="T1" fmla="*/ 0 h 33"/>
                    <a:gd name="T2" fmla="*/ 0 w 51"/>
                    <a:gd name="T3" fmla="*/ 0 h 33"/>
                    <a:gd name="T4" fmla="*/ 0 w 51"/>
                    <a:gd name="T5" fmla="*/ 1 h 33"/>
                    <a:gd name="T6" fmla="*/ 0 w 51"/>
                    <a:gd name="T7" fmla="*/ 1 h 33"/>
                    <a:gd name="T8" fmla="*/ 1 w 51"/>
                    <a:gd name="T9" fmla="*/ 1 h 33"/>
                    <a:gd name="T10" fmla="*/ 2 w 51"/>
                    <a:gd name="T11" fmla="*/ 1 h 33"/>
                    <a:gd name="T12" fmla="*/ 2 w 51"/>
                    <a:gd name="T13" fmla="*/ 0 h 33"/>
                    <a:gd name="T14" fmla="*/ 1 w 51"/>
                    <a:gd name="T15" fmla="*/ 0 h 3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51" h="33">
                      <a:moveTo>
                        <a:pt x="46" y="0"/>
                      </a:moveTo>
                      <a:lnTo>
                        <a:pt x="0" y="5"/>
                      </a:lnTo>
                      <a:lnTo>
                        <a:pt x="4" y="28"/>
                      </a:lnTo>
                      <a:lnTo>
                        <a:pt x="10" y="33"/>
                      </a:lnTo>
                      <a:lnTo>
                        <a:pt x="35" y="25"/>
                      </a:lnTo>
                      <a:lnTo>
                        <a:pt x="48" y="15"/>
                      </a:lnTo>
                      <a:lnTo>
                        <a:pt x="51" y="8"/>
                      </a:lnTo>
                      <a:lnTo>
                        <a:pt x="4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6" name="Freeform 386"/>
                <p:cNvSpPr>
                  <a:spLocks/>
                </p:cNvSpPr>
                <p:nvPr/>
              </p:nvSpPr>
              <p:spPr bwMode="auto">
                <a:xfrm>
                  <a:off x="2372" y="2354"/>
                  <a:ext cx="20" cy="7"/>
                </a:xfrm>
                <a:custGeom>
                  <a:avLst/>
                  <a:gdLst>
                    <a:gd name="T0" fmla="*/ 2 w 61"/>
                    <a:gd name="T1" fmla="*/ 0 h 20"/>
                    <a:gd name="T2" fmla="*/ 2 w 61"/>
                    <a:gd name="T3" fmla="*/ 0 h 20"/>
                    <a:gd name="T4" fmla="*/ 0 w 61"/>
                    <a:gd name="T5" fmla="*/ 0 h 20"/>
                    <a:gd name="T6" fmla="*/ 0 w 61"/>
                    <a:gd name="T7" fmla="*/ 1 h 20"/>
                    <a:gd name="T8" fmla="*/ 0 w 61"/>
                    <a:gd name="T9" fmla="*/ 1 h 20"/>
                    <a:gd name="T10" fmla="*/ 1 w 61"/>
                    <a:gd name="T11" fmla="*/ 1 h 20"/>
                    <a:gd name="T12" fmla="*/ 2 w 61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1" h="20">
                      <a:moveTo>
                        <a:pt x="61" y="6"/>
                      </a:moveTo>
                      <a:lnTo>
                        <a:pt x="53" y="2"/>
                      </a:lnTo>
                      <a:lnTo>
                        <a:pt x="0" y="0"/>
                      </a:lnTo>
                      <a:lnTo>
                        <a:pt x="2" y="14"/>
                      </a:lnTo>
                      <a:lnTo>
                        <a:pt x="7" y="20"/>
                      </a:lnTo>
                      <a:lnTo>
                        <a:pt x="18" y="13"/>
                      </a:lnTo>
                      <a:lnTo>
                        <a:pt x="61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7" name="Freeform 387"/>
                <p:cNvSpPr>
                  <a:spLocks/>
                </p:cNvSpPr>
                <p:nvPr/>
              </p:nvSpPr>
              <p:spPr bwMode="auto">
                <a:xfrm>
                  <a:off x="2407" y="2346"/>
                  <a:ext cx="5" cy="12"/>
                </a:xfrm>
                <a:custGeom>
                  <a:avLst/>
                  <a:gdLst>
                    <a:gd name="T0" fmla="*/ 0 w 15"/>
                    <a:gd name="T1" fmla="*/ 0 h 36"/>
                    <a:gd name="T2" fmla="*/ 0 w 15"/>
                    <a:gd name="T3" fmla="*/ 1 h 36"/>
                    <a:gd name="T4" fmla="*/ 0 w 15"/>
                    <a:gd name="T5" fmla="*/ 1 h 36"/>
                    <a:gd name="T6" fmla="*/ 0 w 15"/>
                    <a:gd name="T7" fmla="*/ 1 h 36"/>
                    <a:gd name="T8" fmla="*/ 1 w 15"/>
                    <a:gd name="T9" fmla="*/ 1 h 36"/>
                    <a:gd name="T10" fmla="*/ 0 w 15"/>
                    <a:gd name="T11" fmla="*/ 0 h 3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" h="36">
                      <a:moveTo>
                        <a:pt x="2" y="0"/>
                      </a:moveTo>
                      <a:lnTo>
                        <a:pt x="0" y="20"/>
                      </a:lnTo>
                      <a:lnTo>
                        <a:pt x="0" y="36"/>
                      </a:lnTo>
                      <a:lnTo>
                        <a:pt x="11" y="35"/>
                      </a:lnTo>
                      <a:lnTo>
                        <a:pt x="15" y="14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8" name="Freeform 388"/>
                <p:cNvSpPr>
                  <a:spLocks/>
                </p:cNvSpPr>
                <p:nvPr/>
              </p:nvSpPr>
              <p:spPr bwMode="auto">
                <a:xfrm>
                  <a:off x="2406" y="2361"/>
                  <a:ext cx="11" cy="11"/>
                </a:xfrm>
                <a:custGeom>
                  <a:avLst/>
                  <a:gdLst>
                    <a:gd name="T0" fmla="*/ 0 w 37"/>
                    <a:gd name="T1" fmla="*/ 0 h 33"/>
                    <a:gd name="T2" fmla="*/ 1 w 37"/>
                    <a:gd name="T3" fmla="*/ 0 h 33"/>
                    <a:gd name="T4" fmla="*/ 1 w 37"/>
                    <a:gd name="T5" fmla="*/ 0 h 33"/>
                    <a:gd name="T6" fmla="*/ 1 w 37"/>
                    <a:gd name="T7" fmla="*/ 1 h 33"/>
                    <a:gd name="T8" fmla="*/ 1 w 37"/>
                    <a:gd name="T9" fmla="*/ 1 h 33"/>
                    <a:gd name="T10" fmla="*/ 0 w 37"/>
                    <a:gd name="T11" fmla="*/ 1 h 33"/>
                    <a:gd name="T12" fmla="*/ 0 w 37"/>
                    <a:gd name="T13" fmla="*/ 1 h 33"/>
                    <a:gd name="T14" fmla="*/ 0 w 37"/>
                    <a:gd name="T15" fmla="*/ 1 h 33"/>
                    <a:gd name="T16" fmla="*/ 0 w 37"/>
                    <a:gd name="T17" fmla="*/ 0 h 3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7" h="33">
                      <a:moveTo>
                        <a:pt x="4" y="4"/>
                      </a:moveTo>
                      <a:lnTo>
                        <a:pt x="22" y="0"/>
                      </a:lnTo>
                      <a:lnTo>
                        <a:pt x="35" y="6"/>
                      </a:lnTo>
                      <a:lnTo>
                        <a:pt x="37" y="22"/>
                      </a:lnTo>
                      <a:lnTo>
                        <a:pt x="24" y="33"/>
                      </a:lnTo>
                      <a:lnTo>
                        <a:pt x="11" y="33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9" name="Freeform 389"/>
                <p:cNvSpPr>
                  <a:spLocks/>
                </p:cNvSpPr>
                <p:nvPr/>
              </p:nvSpPr>
              <p:spPr bwMode="auto">
                <a:xfrm>
                  <a:off x="2388" y="2378"/>
                  <a:ext cx="16" cy="18"/>
                </a:xfrm>
                <a:custGeom>
                  <a:avLst/>
                  <a:gdLst>
                    <a:gd name="T0" fmla="*/ 0 w 49"/>
                    <a:gd name="T1" fmla="*/ 0 h 54"/>
                    <a:gd name="T2" fmla="*/ 0 w 49"/>
                    <a:gd name="T3" fmla="*/ 0 h 54"/>
                    <a:gd name="T4" fmla="*/ 0 w 49"/>
                    <a:gd name="T5" fmla="*/ 2 h 54"/>
                    <a:gd name="T6" fmla="*/ 1 w 49"/>
                    <a:gd name="T7" fmla="*/ 2 h 54"/>
                    <a:gd name="T8" fmla="*/ 2 w 49"/>
                    <a:gd name="T9" fmla="*/ 2 h 54"/>
                    <a:gd name="T10" fmla="*/ 2 w 49"/>
                    <a:gd name="T11" fmla="*/ 1 h 54"/>
                    <a:gd name="T12" fmla="*/ 1 w 49"/>
                    <a:gd name="T13" fmla="*/ 1 h 54"/>
                    <a:gd name="T14" fmla="*/ 1 w 49"/>
                    <a:gd name="T15" fmla="*/ 0 h 54"/>
                    <a:gd name="T16" fmla="*/ 0 w 49"/>
                    <a:gd name="T17" fmla="*/ 0 h 5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" h="5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8" y="54"/>
                      </a:lnTo>
                      <a:lnTo>
                        <a:pt x="44" y="45"/>
                      </a:lnTo>
                      <a:lnTo>
                        <a:pt x="49" y="31"/>
                      </a:lnTo>
                      <a:lnTo>
                        <a:pt x="40" y="21"/>
                      </a:lnTo>
                      <a:lnTo>
                        <a:pt x="19" y="8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0" name="Freeform 390"/>
                <p:cNvSpPr>
                  <a:spLocks/>
                </p:cNvSpPr>
                <p:nvPr/>
              </p:nvSpPr>
              <p:spPr bwMode="auto">
                <a:xfrm>
                  <a:off x="2374" y="2388"/>
                  <a:ext cx="9" cy="7"/>
                </a:xfrm>
                <a:custGeom>
                  <a:avLst/>
                  <a:gdLst>
                    <a:gd name="T0" fmla="*/ 1 w 26"/>
                    <a:gd name="T1" fmla="*/ 0 h 22"/>
                    <a:gd name="T2" fmla="*/ 0 w 26"/>
                    <a:gd name="T3" fmla="*/ 0 h 22"/>
                    <a:gd name="T4" fmla="*/ 0 w 26"/>
                    <a:gd name="T5" fmla="*/ 1 h 22"/>
                    <a:gd name="T6" fmla="*/ 0 w 26"/>
                    <a:gd name="T7" fmla="*/ 1 h 22"/>
                    <a:gd name="T8" fmla="*/ 1 w 26"/>
                    <a:gd name="T9" fmla="*/ 1 h 22"/>
                    <a:gd name="T10" fmla="*/ 1 w 26"/>
                    <a:gd name="T11" fmla="*/ 0 h 22"/>
                    <a:gd name="T12" fmla="*/ 1 w 26"/>
                    <a:gd name="T13" fmla="*/ 0 h 2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6" h="22">
                      <a:moveTo>
                        <a:pt x="18" y="0"/>
                      </a:moveTo>
                      <a:lnTo>
                        <a:pt x="3" y="2"/>
                      </a:lnTo>
                      <a:lnTo>
                        <a:pt x="0" y="15"/>
                      </a:lnTo>
                      <a:lnTo>
                        <a:pt x="6" y="21"/>
                      </a:lnTo>
                      <a:lnTo>
                        <a:pt x="19" y="22"/>
                      </a:lnTo>
                      <a:lnTo>
                        <a:pt x="26" y="11"/>
                      </a:lnTo>
                      <a:lnTo>
                        <a:pt x="18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205" name="Freeform 434"/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10757168" y="4020710"/>
                <a:ext cx="127000" cy="158750"/>
              </a:xfrm>
              <a:custGeom>
                <a:avLst/>
                <a:gdLst>
                  <a:gd name="T0" fmla="*/ 2147483647 w 292"/>
                  <a:gd name="T1" fmla="*/ 1369211019 h 308"/>
                  <a:gd name="T2" fmla="*/ 2147483647 w 292"/>
                  <a:gd name="T3" fmla="*/ 2147483647 h 308"/>
                  <a:gd name="T4" fmla="*/ 2147483647 w 292"/>
                  <a:gd name="T5" fmla="*/ 2147483647 h 308"/>
                  <a:gd name="T6" fmla="*/ 2147483647 w 292"/>
                  <a:gd name="T7" fmla="*/ 2147483647 h 308"/>
                  <a:gd name="T8" fmla="*/ 2147483647 w 292"/>
                  <a:gd name="T9" fmla="*/ 2147483647 h 308"/>
                  <a:gd name="T10" fmla="*/ 2147483647 w 292"/>
                  <a:gd name="T11" fmla="*/ 2147483647 h 308"/>
                  <a:gd name="T12" fmla="*/ 2147483647 w 292"/>
                  <a:gd name="T13" fmla="*/ 2147483647 h 308"/>
                  <a:gd name="T14" fmla="*/ 2147483647 w 292"/>
                  <a:gd name="T15" fmla="*/ 2147483647 h 308"/>
                  <a:gd name="T16" fmla="*/ 2147483647 w 292"/>
                  <a:gd name="T17" fmla="*/ 2147483647 h 308"/>
                  <a:gd name="T18" fmla="*/ 2147483647 w 292"/>
                  <a:gd name="T19" fmla="*/ 2147483647 h 308"/>
                  <a:gd name="T20" fmla="*/ 2147483647 w 292"/>
                  <a:gd name="T21" fmla="*/ 2147483647 h 308"/>
                  <a:gd name="T22" fmla="*/ 2147483647 w 292"/>
                  <a:gd name="T23" fmla="*/ 2147483647 h 308"/>
                  <a:gd name="T24" fmla="*/ 493721634 w 292"/>
                  <a:gd name="T25" fmla="*/ 2147483647 h 308"/>
                  <a:gd name="T26" fmla="*/ 740393473 w 292"/>
                  <a:gd name="T27" fmla="*/ 2147483647 h 308"/>
                  <a:gd name="T28" fmla="*/ 904967205 w 292"/>
                  <a:gd name="T29" fmla="*/ 2147483647 h 308"/>
                  <a:gd name="T30" fmla="*/ 576008500 w 292"/>
                  <a:gd name="T31" fmla="*/ 2147483647 h 308"/>
                  <a:gd name="T32" fmla="*/ 164573733 w 292"/>
                  <a:gd name="T33" fmla="*/ 2147483647 h 308"/>
                  <a:gd name="T34" fmla="*/ 0 w 292"/>
                  <a:gd name="T35" fmla="*/ 2147483647 h 308"/>
                  <a:gd name="T36" fmla="*/ 246861034 w 292"/>
                  <a:gd name="T37" fmla="*/ 2147483647 h 308"/>
                  <a:gd name="T38" fmla="*/ 987254507 w 292"/>
                  <a:gd name="T39" fmla="*/ 2147483647 h 308"/>
                  <a:gd name="T40" fmla="*/ 2139082312 w 292"/>
                  <a:gd name="T41" fmla="*/ 2147483647 h 308"/>
                  <a:gd name="T42" fmla="*/ 2147483647 w 292"/>
                  <a:gd name="T43" fmla="*/ 2147483647 h 308"/>
                  <a:gd name="T44" fmla="*/ 2147483647 w 292"/>
                  <a:gd name="T45" fmla="*/ 2147483647 h 308"/>
                  <a:gd name="T46" fmla="*/ 2147483647 w 292"/>
                  <a:gd name="T47" fmla="*/ 2147483647 h 308"/>
                  <a:gd name="T48" fmla="*/ 2147483647 w 292"/>
                  <a:gd name="T49" fmla="*/ 2147483647 h 308"/>
                  <a:gd name="T50" fmla="*/ 2147483647 w 292"/>
                  <a:gd name="T51" fmla="*/ 2147483647 h 308"/>
                  <a:gd name="T52" fmla="*/ 2147483647 w 292"/>
                  <a:gd name="T53" fmla="*/ 2147483647 h 308"/>
                  <a:gd name="T54" fmla="*/ 2147483647 w 292"/>
                  <a:gd name="T55" fmla="*/ 2147483647 h 308"/>
                  <a:gd name="T56" fmla="*/ 2147483647 w 292"/>
                  <a:gd name="T57" fmla="*/ 2147483647 h 308"/>
                  <a:gd name="T58" fmla="*/ 2147483647 w 292"/>
                  <a:gd name="T59" fmla="*/ 2147483647 h 308"/>
                  <a:gd name="T60" fmla="*/ 2147483647 w 292"/>
                  <a:gd name="T61" fmla="*/ 2147483647 h 308"/>
                  <a:gd name="T62" fmla="*/ 2147483647 w 292"/>
                  <a:gd name="T63" fmla="*/ 2147483647 h 308"/>
                  <a:gd name="T64" fmla="*/ 2147483647 w 292"/>
                  <a:gd name="T65" fmla="*/ 2147483647 h 308"/>
                  <a:gd name="T66" fmla="*/ 2147483647 w 292"/>
                  <a:gd name="T67" fmla="*/ 2147483647 h 308"/>
                  <a:gd name="T68" fmla="*/ 2147483647 w 292"/>
                  <a:gd name="T69" fmla="*/ 1643106826 h 308"/>
                  <a:gd name="T70" fmla="*/ 2147483647 w 292"/>
                  <a:gd name="T71" fmla="*/ 0 h 30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6" name="Freeform 435"/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auto">
              <a:xfrm>
                <a:off x="10863530" y="4171522"/>
                <a:ext cx="6350" cy="57150"/>
              </a:xfrm>
              <a:custGeom>
                <a:avLst/>
                <a:gdLst>
                  <a:gd name="T0" fmla="*/ 1026372271 w 14"/>
                  <a:gd name="T1" fmla="*/ 0 h 7"/>
                  <a:gd name="T2" fmla="*/ 1212966568 w 14"/>
                  <a:gd name="T3" fmla="*/ 2147483647 h 7"/>
                  <a:gd name="T4" fmla="*/ 1306366904 w 14"/>
                  <a:gd name="T5" fmla="*/ 2147483647 h 7"/>
                  <a:gd name="T6" fmla="*/ 0 w 14"/>
                  <a:gd name="T7" fmla="*/ 2147483647 h 7"/>
                  <a:gd name="T8" fmla="*/ 1026372271 w 14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7" name="Freeform 436"/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10353943" y="3407935"/>
                <a:ext cx="249237" cy="500062"/>
              </a:xfrm>
              <a:custGeom>
                <a:avLst/>
                <a:gdLst>
                  <a:gd name="T0" fmla="*/ 2147483647 w 581"/>
                  <a:gd name="T1" fmla="*/ 2147483647 h 955"/>
                  <a:gd name="T2" fmla="*/ 2147483647 w 581"/>
                  <a:gd name="T3" fmla="*/ 2147483647 h 955"/>
                  <a:gd name="T4" fmla="*/ 2147483647 w 581"/>
                  <a:gd name="T5" fmla="*/ 2147483647 h 955"/>
                  <a:gd name="T6" fmla="*/ 2147483647 w 581"/>
                  <a:gd name="T7" fmla="*/ 2147483647 h 955"/>
                  <a:gd name="T8" fmla="*/ 2147483647 w 581"/>
                  <a:gd name="T9" fmla="*/ 2147483647 h 955"/>
                  <a:gd name="T10" fmla="*/ 2147483647 w 581"/>
                  <a:gd name="T11" fmla="*/ 2147483647 h 955"/>
                  <a:gd name="T12" fmla="*/ 2147483647 w 581"/>
                  <a:gd name="T13" fmla="*/ 2147483647 h 955"/>
                  <a:gd name="T14" fmla="*/ 2147483647 w 581"/>
                  <a:gd name="T15" fmla="*/ 2147483647 h 955"/>
                  <a:gd name="T16" fmla="*/ 2147483647 w 581"/>
                  <a:gd name="T17" fmla="*/ 2147483647 h 955"/>
                  <a:gd name="T18" fmla="*/ 1342081617 w 581"/>
                  <a:gd name="T19" fmla="*/ 2147483647 h 955"/>
                  <a:gd name="T20" fmla="*/ 157891854 w 581"/>
                  <a:gd name="T21" fmla="*/ 2147483647 h 955"/>
                  <a:gd name="T22" fmla="*/ 2147483647 w 581"/>
                  <a:gd name="T23" fmla="*/ 2147483647 h 955"/>
                  <a:gd name="T24" fmla="*/ 2147483647 w 581"/>
                  <a:gd name="T25" fmla="*/ 2147483647 h 955"/>
                  <a:gd name="T26" fmla="*/ 2147483647 w 581"/>
                  <a:gd name="T27" fmla="*/ 2147483647 h 955"/>
                  <a:gd name="T28" fmla="*/ 2147483647 w 581"/>
                  <a:gd name="T29" fmla="*/ 2147483647 h 955"/>
                  <a:gd name="T30" fmla="*/ 2147483647 w 581"/>
                  <a:gd name="T31" fmla="*/ 2147483647 h 955"/>
                  <a:gd name="T32" fmla="*/ 2147483647 w 581"/>
                  <a:gd name="T33" fmla="*/ 2147483647 h 955"/>
                  <a:gd name="T34" fmla="*/ 2147483647 w 581"/>
                  <a:gd name="T35" fmla="*/ 2147483647 h 955"/>
                  <a:gd name="T36" fmla="*/ 2147483647 w 581"/>
                  <a:gd name="T37" fmla="*/ 2147483647 h 955"/>
                  <a:gd name="T38" fmla="*/ 2147483647 w 581"/>
                  <a:gd name="T39" fmla="*/ 2147483647 h 955"/>
                  <a:gd name="T40" fmla="*/ 2147483647 w 581"/>
                  <a:gd name="T41" fmla="*/ 2147483647 h 955"/>
                  <a:gd name="T42" fmla="*/ 2147483647 w 581"/>
                  <a:gd name="T43" fmla="*/ 2147483647 h 955"/>
                  <a:gd name="T44" fmla="*/ 2147483647 w 581"/>
                  <a:gd name="T45" fmla="*/ 2147483647 h 955"/>
                  <a:gd name="T46" fmla="*/ 2147483647 w 581"/>
                  <a:gd name="T47" fmla="*/ 2147483647 h 955"/>
                  <a:gd name="T48" fmla="*/ 2147483647 w 581"/>
                  <a:gd name="T49" fmla="*/ 2147483647 h 955"/>
                  <a:gd name="T50" fmla="*/ 2147483647 w 581"/>
                  <a:gd name="T51" fmla="*/ 2147483647 h 955"/>
                  <a:gd name="T52" fmla="*/ 2147483647 w 581"/>
                  <a:gd name="T53" fmla="*/ 2147483647 h 955"/>
                  <a:gd name="T54" fmla="*/ 2147483647 w 581"/>
                  <a:gd name="T55" fmla="*/ 2147483647 h 955"/>
                  <a:gd name="T56" fmla="*/ 2147483647 w 581"/>
                  <a:gd name="T57" fmla="*/ 2147483647 h 955"/>
                  <a:gd name="T58" fmla="*/ 2147483647 w 581"/>
                  <a:gd name="T59" fmla="*/ 2147483647 h 955"/>
                  <a:gd name="T60" fmla="*/ 2147483647 w 581"/>
                  <a:gd name="T61" fmla="*/ 2147483647 h 955"/>
                  <a:gd name="T62" fmla="*/ 2147483647 w 581"/>
                  <a:gd name="T63" fmla="*/ 2147483647 h 955"/>
                  <a:gd name="T64" fmla="*/ 2147483647 w 581"/>
                  <a:gd name="T65" fmla="*/ 2147483647 h 955"/>
                  <a:gd name="T66" fmla="*/ 2147483647 w 581"/>
                  <a:gd name="T67" fmla="*/ 2147483647 h 955"/>
                  <a:gd name="T68" fmla="*/ 2147483647 w 581"/>
                  <a:gd name="T69" fmla="*/ 2147483647 h 955"/>
                  <a:gd name="T70" fmla="*/ 2147483647 w 581"/>
                  <a:gd name="T71" fmla="*/ 2147483647 h 955"/>
                  <a:gd name="T72" fmla="*/ 2147483647 w 581"/>
                  <a:gd name="T73" fmla="*/ 2147483647 h 955"/>
                  <a:gd name="T74" fmla="*/ 2147483647 w 581"/>
                  <a:gd name="T75" fmla="*/ 2147483647 h 955"/>
                  <a:gd name="T76" fmla="*/ 2147483647 w 581"/>
                  <a:gd name="T77" fmla="*/ 2147483647 h 955"/>
                  <a:gd name="T78" fmla="*/ 2147483647 w 581"/>
                  <a:gd name="T79" fmla="*/ 2147483647 h 955"/>
                  <a:gd name="T80" fmla="*/ 2147483647 w 581"/>
                  <a:gd name="T81" fmla="*/ 2147483647 h 955"/>
                  <a:gd name="T82" fmla="*/ 2147483647 w 581"/>
                  <a:gd name="T83" fmla="*/ 2147483647 h 955"/>
                  <a:gd name="T84" fmla="*/ 2147483647 w 581"/>
                  <a:gd name="T85" fmla="*/ 2147483647 h 955"/>
                  <a:gd name="T86" fmla="*/ 2147483647 w 581"/>
                  <a:gd name="T87" fmla="*/ 2147483647 h 955"/>
                  <a:gd name="T88" fmla="*/ 2147483647 w 581"/>
                  <a:gd name="T89" fmla="*/ 2147483647 h 955"/>
                  <a:gd name="T90" fmla="*/ 2147483647 w 581"/>
                  <a:gd name="T91" fmla="*/ 2147483647 h 955"/>
                  <a:gd name="T92" fmla="*/ 2147483647 w 581"/>
                  <a:gd name="T93" fmla="*/ 2147483647 h 955"/>
                  <a:gd name="T94" fmla="*/ 2147483647 w 581"/>
                  <a:gd name="T95" fmla="*/ 2147483647 h 955"/>
                  <a:gd name="T96" fmla="*/ 2147483647 w 581"/>
                  <a:gd name="T97" fmla="*/ 2147483647 h 955"/>
                  <a:gd name="T98" fmla="*/ 2147483647 w 581"/>
                  <a:gd name="T99" fmla="*/ 2147483647 h 955"/>
                  <a:gd name="T100" fmla="*/ 2147483647 w 581"/>
                  <a:gd name="T101" fmla="*/ 0 h 955"/>
                  <a:gd name="T102" fmla="*/ 2147483647 w 581"/>
                  <a:gd name="T103" fmla="*/ 717812034 h 955"/>
                  <a:gd name="T104" fmla="*/ 2147483647 w 581"/>
                  <a:gd name="T105" fmla="*/ 2147483647 h 95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8" name="Freeform 437"/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10030093" y="2790397"/>
                <a:ext cx="15875" cy="57150"/>
              </a:xfrm>
              <a:custGeom>
                <a:avLst/>
                <a:gdLst>
                  <a:gd name="T0" fmla="*/ 1141475294 w 45"/>
                  <a:gd name="T1" fmla="*/ 0 h 36"/>
                  <a:gd name="T2" fmla="*/ 0 w 45"/>
                  <a:gd name="T3" fmla="*/ 2147483647 h 36"/>
                  <a:gd name="T4" fmla="*/ 1009804869 w 45"/>
                  <a:gd name="T5" fmla="*/ 2147483647 h 36"/>
                  <a:gd name="T6" fmla="*/ 1975677969 w 45"/>
                  <a:gd name="T7" fmla="*/ 2147483647 h 36"/>
                  <a:gd name="T8" fmla="*/ 1141475294 w 45"/>
                  <a:gd name="T9" fmla="*/ 0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36">
                    <a:moveTo>
                      <a:pt x="26" y="0"/>
                    </a:moveTo>
                    <a:lnTo>
                      <a:pt x="0" y="18"/>
                    </a:lnTo>
                    <a:lnTo>
                      <a:pt x="23" y="36"/>
                    </a:lnTo>
                    <a:lnTo>
                      <a:pt x="45" y="1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9" name="Freeform 442"/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11039743" y="2803097"/>
                <a:ext cx="123825" cy="109538"/>
              </a:xfrm>
              <a:custGeom>
                <a:avLst/>
                <a:gdLst>
                  <a:gd name="T0" fmla="*/ 2147483647 w 279"/>
                  <a:gd name="T1" fmla="*/ 2147483647 h 204"/>
                  <a:gd name="T2" fmla="*/ 2147483647 w 279"/>
                  <a:gd name="T3" fmla="*/ 2147483647 h 204"/>
                  <a:gd name="T4" fmla="*/ 2147483647 w 279"/>
                  <a:gd name="T5" fmla="*/ 2147483647 h 204"/>
                  <a:gd name="T6" fmla="*/ 2147483647 w 279"/>
                  <a:gd name="T7" fmla="*/ 2147483647 h 204"/>
                  <a:gd name="T8" fmla="*/ 2147483647 w 279"/>
                  <a:gd name="T9" fmla="*/ 2147483647 h 204"/>
                  <a:gd name="T10" fmla="*/ 2147483647 w 279"/>
                  <a:gd name="T11" fmla="*/ 2147483647 h 204"/>
                  <a:gd name="T12" fmla="*/ 2147483647 w 279"/>
                  <a:gd name="T13" fmla="*/ 2147483647 h 204"/>
                  <a:gd name="T14" fmla="*/ 2147483647 w 279"/>
                  <a:gd name="T15" fmla="*/ 2147483647 h 204"/>
                  <a:gd name="T16" fmla="*/ 2147483647 w 279"/>
                  <a:gd name="T17" fmla="*/ 2147483647 h 204"/>
                  <a:gd name="T18" fmla="*/ 2147483647 w 279"/>
                  <a:gd name="T19" fmla="*/ 2147483647 h 204"/>
                  <a:gd name="T20" fmla="*/ 2147483647 w 279"/>
                  <a:gd name="T21" fmla="*/ 2147483647 h 204"/>
                  <a:gd name="T22" fmla="*/ 2147483647 w 279"/>
                  <a:gd name="T23" fmla="*/ 2147483647 h 204"/>
                  <a:gd name="T24" fmla="*/ 2147483647 w 279"/>
                  <a:gd name="T25" fmla="*/ 2147483647 h 204"/>
                  <a:gd name="T26" fmla="*/ 2147483647 w 279"/>
                  <a:gd name="T27" fmla="*/ 2147483647 h 204"/>
                  <a:gd name="T28" fmla="*/ 2147483647 w 279"/>
                  <a:gd name="T29" fmla="*/ 2147483647 h 204"/>
                  <a:gd name="T30" fmla="*/ 2147483647 w 279"/>
                  <a:gd name="T31" fmla="*/ 2147483647 h 204"/>
                  <a:gd name="T32" fmla="*/ 2147483647 w 279"/>
                  <a:gd name="T33" fmla="*/ 2147483647 h 204"/>
                  <a:gd name="T34" fmla="*/ 2147483647 w 279"/>
                  <a:gd name="T35" fmla="*/ 2147483647 h 204"/>
                  <a:gd name="T36" fmla="*/ 2147483647 w 279"/>
                  <a:gd name="T37" fmla="*/ 2147483647 h 204"/>
                  <a:gd name="T38" fmla="*/ 2147483647 w 279"/>
                  <a:gd name="T39" fmla="*/ 2147483647 h 204"/>
                  <a:gd name="T40" fmla="*/ 2147483647 w 279"/>
                  <a:gd name="T41" fmla="*/ 2147483647 h 204"/>
                  <a:gd name="T42" fmla="*/ 2147483647 w 279"/>
                  <a:gd name="T43" fmla="*/ 2147483647 h 204"/>
                  <a:gd name="T44" fmla="*/ 2147483647 w 279"/>
                  <a:gd name="T45" fmla="*/ 2147483647 h 204"/>
                  <a:gd name="T46" fmla="*/ 2147483647 w 279"/>
                  <a:gd name="T47" fmla="*/ 2147483647 h 204"/>
                  <a:gd name="T48" fmla="*/ 2147483647 w 279"/>
                  <a:gd name="T49" fmla="*/ 2147483647 h 204"/>
                  <a:gd name="T50" fmla="*/ 2147483647 w 279"/>
                  <a:gd name="T51" fmla="*/ 2147483647 h 204"/>
                  <a:gd name="T52" fmla="*/ 2147483647 w 279"/>
                  <a:gd name="T53" fmla="*/ 2147483647 h 204"/>
                  <a:gd name="T54" fmla="*/ 2147483647 w 279"/>
                  <a:gd name="T55" fmla="*/ 2147483647 h 204"/>
                  <a:gd name="T56" fmla="*/ 2147483647 w 279"/>
                  <a:gd name="T57" fmla="*/ 2147483647 h 204"/>
                  <a:gd name="T58" fmla="*/ 2147483647 w 279"/>
                  <a:gd name="T59" fmla="*/ 2147483647 h 204"/>
                  <a:gd name="T60" fmla="*/ 2147483647 w 279"/>
                  <a:gd name="T61" fmla="*/ 1857622188 h 204"/>
                  <a:gd name="T62" fmla="*/ 2147483647 w 279"/>
                  <a:gd name="T63" fmla="*/ 2147483647 h 204"/>
                  <a:gd name="T64" fmla="*/ 0 w 279"/>
                  <a:gd name="T65" fmla="*/ 2147483647 h 2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79" h="204">
                    <a:moveTo>
                      <a:pt x="0" y="56"/>
                    </a:moveTo>
                    <a:lnTo>
                      <a:pt x="33" y="87"/>
                    </a:lnTo>
                    <a:lnTo>
                      <a:pt x="46" y="123"/>
                    </a:lnTo>
                    <a:lnTo>
                      <a:pt x="59" y="142"/>
                    </a:lnTo>
                    <a:lnTo>
                      <a:pt x="59" y="173"/>
                    </a:lnTo>
                    <a:lnTo>
                      <a:pt x="59" y="179"/>
                    </a:lnTo>
                    <a:lnTo>
                      <a:pt x="80" y="188"/>
                    </a:lnTo>
                    <a:lnTo>
                      <a:pt x="102" y="196"/>
                    </a:lnTo>
                    <a:lnTo>
                      <a:pt x="112" y="199"/>
                    </a:lnTo>
                    <a:lnTo>
                      <a:pt x="122" y="202"/>
                    </a:lnTo>
                    <a:lnTo>
                      <a:pt x="130" y="203"/>
                    </a:lnTo>
                    <a:lnTo>
                      <a:pt x="139" y="204"/>
                    </a:lnTo>
                    <a:lnTo>
                      <a:pt x="142" y="203"/>
                    </a:lnTo>
                    <a:lnTo>
                      <a:pt x="146" y="201"/>
                    </a:lnTo>
                    <a:lnTo>
                      <a:pt x="148" y="198"/>
                    </a:lnTo>
                    <a:lnTo>
                      <a:pt x="151" y="194"/>
                    </a:lnTo>
                    <a:lnTo>
                      <a:pt x="156" y="183"/>
                    </a:lnTo>
                    <a:lnTo>
                      <a:pt x="160" y="172"/>
                    </a:lnTo>
                    <a:lnTo>
                      <a:pt x="165" y="160"/>
                    </a:lnTo>
                    <a:lnTo>
                      <a:pt x="172" y="149"/>
                    </a:lnTo>
                    <a:lnTo>
                      <a:pt x="176" y="145"/>
                    </a:lnTo>
                    <a:lnTo>
                      <a:pt x="181" y="141"/>
                    </a:lnTo>
                    <a:lnTo>
                      <a:pt x="186" y="138"/>
                    </a:lnTo>
                    <a:lnTo>
                      <a:pt x="192" y="136"/>
                    </a:lnTo>
                    <a:lnTo>
                      <a:pt x="201" y="137"/>
                    </a:lnTo>
                    <a:lnTo>
                      <a:pt x="209" y="138"/>
                    </a:lnTo>
                    <a:lnTo>
                      <a:pt x="215" y="140"/>
                    </a:lnTo>
                    <a:lnTo>
                      <a:pt x="220" y="142"/>
                    </a:lnTo>
                    <a:lnTo>
                      <a:pt x="225" y="145"/>
                    </a:lnTo>
                    <a:lnTo>
                      <a:pt x="228" y="148"/>
                    </a:lnTo>
                    <a:lnTo>
                      <a:pt x="230" y="151"/>
                    </a:lnTo>
                    <a:lnTo>
                      <a:pt x="231" y="154"/>
                    </a:lnTo>
                    <a:lnTo>
                      <a:pt x="234" y="160"/>
                    </a:lnTo>
                    <a:lnTo>
                      <a:pt x="234" y="164"/>
                    </a:lnTo>
                    <a:lnTo>
                      <a:pt x="232" y="167"/>
                    </a:lnTo>
                    <a:lnTo>
                      <a:pt x="231" y="167"/>
                    </a:lnTo>
                    <a:lnTo>
                      <a:pt x="232" y="160"/>
                    </a:lnTo>
                    <a:lnTo>
                      <a:pt x="234" y="153"/>
                    </a:lnTo>
                    <a:lnTo>
                      <a:pt x="236" y="147"/>
                    </a:lnTo>
                    <a:lnTo>
                      <a:pt x="238" y="140"/>
                    </a:lnTo>
                    <a:lnTo>
                      <a:pt x="243" y="127"/>
                    </a:lnTo>
                    <a:lnTo>
                      <a:pt x="245" y="117"/>
                    </a:lnTo>
                    <a:lnTo>
                      <a:pt x="250" y="117"/>
                    </a:lnTo>
                    <a:lnTo>
                      <a:pt x="254" y="115"/>
                    </a:lnTo>
                    <a:lnTo>
                      <a:pt x="260" y="113"/>
                    </a:lnTo>
                    <a:lnTo>
                      <a:pt x="264" y="110"/>
                    </a:lnTo>
                    <a:lnTo>
                      <a:pt x="272" y="104"/>
                    </a:lnTo>
                    <a:lnTo>
                      <a:pt x="279" y="99"/>
                    </a:lnTo>
                    <a:lnTo>
                      <a:pt x="265" y="87"/>
                    </a:lnTo>
                    <a:lnTo>
                      <a:pt x="252" y="75"/>
                    </a:lnTo>
                    <a:lnTo>
                      <a:pt x="239" y="66"/>
                    </a:lnTo>
                    <a:lnTo>
                      <a:pt x="227" y="58"/>
                    </a:lnTo>
                    <a:lnTo>
                      <a:pt x="215" y="51"/>
                    </a:lnTo>
                    <a:lnTo>
                      <a:pt x="204" y="44"/>
                    </a:lnTo>
                    <a:lnTo>
                      <a:pt x="194" y="38"/>
                    </a:lnTo>
                    <a:lnTo>
                      <a:pt x="185" y="31"/>
                    </a:lnTo>
                    <a:lnTo>
                      <a:pt x="172" y="31"/>
                    </a:lnTo>
                    <a:lnTo>
                      <a:pt x="146" y="68"/>
                    </a:lnTo>
                    <a:lnTo>
                      <a:pt x="112" y="50"/>
                    </a:lnTo>
                    <a:lnTo>
                      <a:pt x="79" y="25"/>
                    </a:lnTo>
                    <a:lnTo>
                      <a:pt x="33" y="0"/>
                    </a:lnTo>
                    <a:lnTo>
                      <a:pt x="52" y="12"/>
                    </a:lnTo>
                    <a:lnTo>
                      <a:pt x="72" y="74"/>
                    </a:lnTo>
                    <a:lnTo>
                      <a:pt x="46" y="62"/>
                    </a:lnTo>
                    <a:lnTo>
                      <a:pt x="19" y="50"/>
                    </a:lnTo>
                    <a:lnTo>
                      <a:pt x="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0" name="Freeform 443"/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10506343" y="2376060"/>
                <a:ext cx="209550" cy="150812"/>
              </a:xfrm>
              <a:custGeom>
                <a:avLst/>
                <a:gdLst>
                  <a:gd name="T0" fmla="*/ 2147483647 w 485"/>
                  <a:gd name="T1" fmla="*/ 2147483647 h 291"/>
                  <a:gd name="T2" fmla="*/ 2147483647 w 485"/>
                  <a:gd name="T3" fmla="*/ 2147483647 h 291"/>
                  <a:gd name="T4" fmla="*/ 2147483647 w 485"/>
                  <a:gd name="T5" fmla="*/ 2147483647 h 291"/>
                  <a:gd name="T6" fmla="*/ 2147483647 w 485"/>
                  <a:gd name="T7" fmla="*/ 2147483647 h 291"/>
                  <a:gd name="T8" fmla="*/ 2147483647 w 485"/>
                  <a:gd name="T9" fmla="*/ 2147483647 h 291"/>
                  <a:gd name="T10" fmla="*/ 2147483647 w 485"/>
                  <a:gd name="T11" fmla="*/ 2147483647 h 291"/>
                  <a:gd name="T12" fmla="*/ 2147483647 w 485"/>
                  <a:gd name="T13" fmla="*/ 2147483647 h 291"/>
                  <a:gd name="T14" fmla="*/ 2147483647 w 485"/>
                  <a:gd name="T15" fmla="*/ 2147483647 h 291"/>
                  <a:gd name="T16" fmla="*/ 2147483647 w 485"/>
                  <a:gd name="T17" fmla="*/ 2147483647 h 291"/>
                  <a:gd name="T18" fmla="*/ 2147483647 w 485"/>
                  <a:gd name="T19" fmla="*/ 2147483647 h 291"/>
                  <a:gd name="T20" fmla="*/ 2147483647 w 485"/>
                  <a:gd name="T21" fmla="*/ 2147483647 h 291"/>
                  <a:gd name="T22" fmla="*/ 2147483647 w 485"/>
                  <a:gd name="T23" fmla="*/ 2147483647 h 291"/>
                  <a:gd name="T24" fmla="*/ 1209856584 w 485"/>
                  <a:gd name="T25" fmla="*/ 2147483647 h 291"/>
                  <a:gd name="T26" fmla="*/ 645157355 w 485"/>
                  <a:gd name="T27" fmla="*/ 2147483647 h 291"/>
                  <a:gd name="T28" fmla="*/ 241933900 w 485"/>
                  <a:gd name="T29" fmla="*/ 2147483647 h 291"/>
                  <a:gd name="T30" fmla="*/ 0 w 485"/>
                  <a:gd name="T31" fmla="*/ 2147483647 h 291"/>
                  <a:gd name="T32" fmla="*/ 403223455 w 485"/>
                  <a:gd name="T33" fmla="*/ 2147483647 h 291"/>
                  <a:gd name="T34" fmla="*/ 1129211806 w 485"/>
                  <a:gd name="T35" fmla="*/ 2147483647 h 291"/>
                  <a:gd name="T36" fmla="*/ 1855013939 w 485"/>
                  <a:gd name="T37" fmla="*/ 2147483647 h 291"/>
                  <a:gd name="T38" fmla="*/ 2147483647 w 485"/>
                  <a:gd name="T39" fmla="*/ 2147483647 h 291"/>
                  <a:gd name="T40" fmla="*/ 2147483647 w 485"/>
                  <a:gd name="T41" fmla="*/ 2147483647 h 291"/>
                  <a:gd name="T42" fmla="*/ 2147483647 w 485"/>
                  <a:gd name="T43" fmla="*/ 2147483647 h 291"/>
                  <a:gd name="T44" fmla="*/ 2147483647 w 485"/>
                  <a:gd name="T45" fmla="*/ 2147483647 h 291"/>
                  <a:gd name="T46" fmla="*/ 2147483647 w 485"/>
                  <a:gd name="T47" fmla="*/ 2147483647 h 291"/>
                  <a:gd name="T48" fmla="*/ 2147483647 w 485"/>
                  <a:gd name="T49" fmla="*/ 2147483647 h 291"/>
                  <a:gd name="T50" fmla="*/ 2147483647 w 485"/>
                  <a:gd name="T51" fmla="*/ 2147483647 h 291"/>
                  <a:gd name="T52" fmla="*/ 2147483647 w 485"/>
                  <a:gd name="T53" fmla="*/ 2147483647 h 291"/>
                  <a:gd name="T54" fmla="*/ 2147483647 w 485"/>
                  <a:gd name="T55" fmla="*/ 2147483647 h 291"/>
                  <a:gd name="T56" fmla="*/ 2147483647 w 485"/>
                  <a:gd name="T57" fmla="*/ 2147483647 h 291"/>
                  <a:gd name="T58" fmla="*/ 2147483647 w 485"/>
                  <a:gd name="T59" fmla="*/ 2147483647 h 291"/>
                  <a:gd name="T60" fmla="*/ 2147483647 w 485"/>
                  <a:gd name="T61" fmla="*/ 2147483647 h 291"/>
                  <a:gd name="T62" fmla="*/ 2147483647 w 485"/>
                  <a:gd name="T63" fmla="*/ 2147483647 h 291"/>
                  <a:gd name="T64" fmla="*/ 2147483647 w 485"/>
                  <a:gd name="T65" fmla="*/ 2147483647 h 291"/>
                  <a:gd name="T66" fmla="*/ 2147483647 w 485"/>
                  <a:gd name="T67" fmla="*/ 2147483647 h 291"/>
                  <a:gd name="T68" fmla="*/ 2147483647 w 485"/>
                  <a:gd name="T69" fmla="*/ 2147483647 h 291"/>
                  <a:gd name="T70" fmla="*/ 2147483647 w 485"/>
                  <a:gd name="T71" fmla="*/ 2147483647 h 291"/>
                  <a:gd name="T72" fmla="*/ 2147483647 w 485"/>
                  <a:gd name="T73" fmla="*/ 2147483647 h 291"/>
                  <a:gd name="T74" fmla="*/ 2147483647 w 485"/>
                  <a:gd name="T75" fmla="*/ 0 h 29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1" name="Freeform 444"/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10363468" y="2707847"/>
                <a:ext cx="82550" cy="87313"/>
              </a:xfrm>
              <a:custGeom>
                <a:avLst/>
                <a:gdLst>
                  <a:gd name="T0" fmla="*/ 2147483647 w 186"/>
                  <a:gd name="T1" fmla="*/ 2147483647 h 166"/>
                  <a:gd name="T2" fmla="*/ 2147483647 w 186"/>
                  <a:gd name="T3" fmla="*/ 2147483647 h 166"/>
                  <a:gd name="T4" fmla="*/ 2147483647 w 186"/>
                  <a:gd name="T5" fmla="*/ 2147483647 h 166"/>
                  <a:gd name="T6" fmla="*/ 2147483647 w 186"/>
                  <a:gd name="T7" fmla="*/ 2147483647 h 166"/>
                  <a:gd name="T8" fmla="*/ 2147483647 w 186"/>
                  <a:gd name="T9" fmla="*/ 2147483647 h 166"/>
                  <a:gd name="T10" fmla="*/ 2147483647 w 186"/>
                  <a:gd name="T11" fmla="*/ 2147483647 h 166"/>
                  <a:gd name="T12" fmla="*/ 2147483647 w 186"/>
                  <a:gd name="T13" fmla="*/ 2147483647 h 166"/>
                  <a:gd name="T14" fmla="*/ 2147483647 w 186"/>
                  <a:gd name="T15" fmla="*/ 2147483647 h 166"/>
                  <a:gd name="T16" fmla="*/ 2147483647 w 186"/>
                  <a:gd name="T17" fmla="*/ 2147483647 h 166"/>
                  <a:gd name="T18" fmla="*/ 1136538192 w 186"/>
                  <a:gd name="T19" fmla="*/ 2147483647 h 166"/>
                  <a:gd name="T20" fmla="*/ 0 w 186"/>
                  <a:gd name="T21" fmla="*/ 2147483647 h 166"/>
                  <a:gd name="T22" fmla="*/ 0 w 186"/>
                  <a:gd name="T23" fmla="*/ 0 h 166"/>
                  <a:gd name="T24" fmla="*/ 611997296 w 186"/>
                  <a:gd name="T25" fmla="*/ 291043158 h 166"/>
                  <a:gd name="T26" fmla="*/ 1223797537 w 186"/>
                  <a:gd name="T27" fmla="*/ 436564474 h 166"/>
                  <a:gd name="T28" fmla="*/ 1748338877 w 186"/>
                  <a:gd name="T29" fmla="*/ 582086316 h 166"/>
                  <a:gd name="T30" fmla="*/ 2147483647 w 186"/>
                  <a:gd name="T31" fmla="*/ 582086316 h 166"/>
                  <a:gd name="T32" fmla="*/ 2147483647 w 186"/>
                  <a:gd name="T33" fmla="*/ 582086316 h 166"/>
                  <a:gd name="T34" fmla="*/ 2147483647 w 186"/>
                  <a:gd name="T35" fmla="*/ 436564474 h 166"/>
                  <a:gd name="T36" fmla="*/ 2147483647 w 186"/>
                  <a:gd name="T37" fmla="*/ 291043158 h 166"/>
                  <a:gd name="T38" fmla="*/ 2147483647 w 186"/>
                  <a:gd name="T39" fmla="*/ 0 h 166"/>
                  <a:gd name="T40" fmla="*/ 2147483647 w 186"/>
                  <a:gd name="T41" fmla="*/ 1746258948 h 166"/>
                  <a:gd name="T42" fmla="*/ 2147483647 w 186"/>
                  <a:gd name="T43" fmla="*/ 2147483647 h 166"/>
                  <a:gd name="T44" fmla="*/ 2147483647 w 186"/>
                  <a:gd name="T45" fmla="*/ 2147483647 h 166"/>
                  <a:gd name="T46" fmla="*/ 2147483647 w 186"/>
                  <a:gd name="T47" fmla="*/ 2147483647 h 166"/>
                  <a:gd name="T48" fmla="*/ 2147483647 w 186"/>
                  <a:gd name="T49" fmla="*/ 2147483647 h 166"/>
                  <a:gd name="T50" fmla="*/ 2147483647 w 186"/>
                  <a:gd name="T51" fmla="*/ 2147483647 h 166"/>
                  <a:gd name="T52" fmla="*/ 2147483647 w 186"/>
                  <a:gd name="T53" fmla="*/ 2147483647 h 166"/>
                  <a:gd name="T54" fmla="*/ 2147483647 w 186"/>
                  <a:gd name="T55" fmla="*/ 2147483647 h 166"/>
                  <a:gd name="T56" fmla="*/ 2147483647 w 186"/>
                  <a:gd name="T57" fmla="*/ 2147483647 h 166"/>
                  <a:gd name="T58" fmla="*/ 2147483647 w 186"/>
                  <a:gd name="T59" fmla="*/ 2147483647 h 166"/>
                  <a:gd name="T60" fmla="*/ 2147483647 w 186"/>
                  <a:gd name="T61" fmla="*/ 2147483647 h 1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2" name="Freeform 446"/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10522218" y="2742772"/>
                <a:ext cx="133350" cy="96838"/>
              </a:xfrm>
              <a:custGeom>
                <a:avLst/>
                <a:gdLst>
                  <a:gd name="T0" fmla="*/ 2147483647 w 311"/>
                  <a:gd name="T1" fmla="*/ 2147483647 h 179"/>
                  <a:gd name="T2" fmla="*/ 2147483647 w 311"/>
                  <a:gd name="T3" fmla="*/ 2147483647 h 179"/>
                  <a:gd name="T4" fmla="*/ 2147483647 w 311"/>
                  <a:gd name="T5" fmla="*/ 2147483647 h 179"/>
                  <a:gd name="T6" fmla="*/ 2147483647 w 311"/>
                  <a:gd name="T7" fmla="*/ 633348652 h 179"/>
                  <a:gd name="T8" fmla="*/ 2147483647 w 311"/>
                  <a:gd name="T9" fmla="*/ 0 h 179"/>
                  <a:gd name="T10" fmla="*/ 2147483647 w 311"/>
                  <a:gd name="T11" fmla="*/ 316674326 h 179"/>
                  <a:gd name="T12" fmla="*/ 2147483647 w 311"/>
                  <a:gd name="T13" fmla="*/ 950022978 h 179"/>
                  <a:gd name="T14" fmla="*/ 2147483647 w 311"/>
                  <a:gd name="T15" fmla="*/ 1900045955 h 179"/>
                  <a:gd name="T16" fmla="*/ 2147483647 w 311"/>
                  <a:gd name="T17" fmla="*/ 2147483647 h 179"/>
                  <a:gd name="T18" fmla="*/ 2147483647 w 311"/>
                  <a:gd name="T19" fmla="*/ 2147483647 h 179"/>
                  <a:gd name="T20" fmla="*/ 2147483647 w 311"/>
                  <a:gd name="T21" fmla="*/ 2147483647 h 179"/>
                  <a:gd name="T22" fmla="*/ 2147483647 w 311"/>
                  <a:gd name="T23" fmla="*/ 2147483647 h 179"/>
                  <a:gd name="T24" fmla="*/ 2147483647 w 311"/>
                  <a:gd name="T25" fmla="*/ 2147483647 h 179"/>
                  <a:gd name="T26" fmla="*/ 2147483647 w 311"/>
                  <a:gd name="T27" fmla="*/ 2147483647 h 179"/>
                  <a:gd name="T28" fmla="*/ 2147483647 w 311"/>
                  <a:gd name="T29" fmla="*/ 2147483647 h 179"/>
                  <a:gd name="T30" fmla="*/ 2147483647 w 311"/>
                  <a:gd name="T31" fmla="*/ 2147483647 h 179"/>
                  <a:gd name="T32" fmla="*/ 2147483647 w 311"/>
                  <a:gd name="T33" fmla="*/ 2147483647 h 179"/>
                  <a:gd name="T34" fmla="*/ 2147483647 w 311"/>
                  <a:gd name="T35" fmla="*/ 2147483647 h 179"/>
                  <a:gd name="T36" fmla="*/ 2147483647 w 311"/>
                  <a:gd name="T37" fmla="*/ 2147483647 h 179"/>
                  <a:gd name="T38" fmla="*/ 2147483647 w 311"/>
                  <a:gd name="T39" fmla="*/ 2147483647 h 179"/>
                  <a:gd name="T40" fmla="*/ 2147483647 w 311"/>
                  <a:gd name="T41" fmla="*/ 2147483647 h 179"/>
                  <a:gd name="T42" fmla="*/ 2147483647 w 311"/>
                  <a:gd name="T43" fmla="*/ 2147483647 h 179"/>
                  <a:gd name="T44" fmla="*/ 2147483647 w 311"/>
                  <a:gd name="T45" fmla="*/ 2147483647 h 179"/>
                  <a:gd name="T46" fmla="*/ 2147483647 w 311"/>
                  <a:gd name="T47" fmla="*/ 2147483647 h 179"/>
                  <a:gd name="T48" fmla="*/ 2147483647 w 311"/>
                  <a:gd name="T49" fmla="*/ 2147483647 h 179"/>
                  <a:gd name="T50" fmla="*/ 2147483647 w 311"/>
                  <a:gd name="T51" fmla="*/ 2147483647 h 179"/>
                  <a:gd name="T52" fmla="*/ 2147483647 w 311"/>
                  <a:gd name="T53" fmla="*/ 2147483647 h 179"/>
                  <a:gd name="T54" fmla="*/ 2147483647 w 311"/>
                  <a:gd name="T55" fmla="*/ 2147483647 h 179"/>
                  <a:gd name="T56" fmla="*/ 2147483647 w 311"/>
                  <a:gd name="T57" fmla="*/ 2147483647 h 179"/>
                  <a:gd name="T58" fmla="*/ 2147483647 w 311"/>
                  <a:gd name="T59" fmla="*/ 2147483647 h 179"/>
                  <a:gd name="T60" fmla="*/ 2147483647 w 311"/>
                  <a:gd name="T61" fmla="*/ 2147483647 h 179"/>
                  <a:gd name="T62" fmla="*/ 2147483647 w 311"/>
                  <a:gd name="T63" fmla="*/ 2147483647 h 179"/>
                  <a:gd name="T64" fmla="*/ 2147483647 w 311"/>
                  <a:gd name="T65" fmla="*/ 2147483647 h 179"/>
                  <a:gd name="T66" fmla="*/ 1655391464 w 311"/>
                  <a:gd name="T67" fmla="*/ 2147483647 h 179"/>
                  <a:gd name="T68" fmla="*/ 1024783602 w 311"/>
                  <a:gd name="T69" fmla="*/ 2147483647 h 179"/>
                  <a:gd name="T70" fmla="*/ 551735839 w 311"/>
                  <a:gd name="T71" fmla="*/ 2147483647 h 179"/>
                  <a:gd name="T72" fmla="*/ 236432123 w 311"/>
                  <a:gd name="T73" fmla="*/ 2147483647 h 179"/>
                  <a:gd name="T74" fmla="*/ 0 w 311"/>
                  <a:gd name="T75" fmla="*/ 2147483647 h 179"/>
                  <a:gd name="T76" fmla="*/ 0 w 311"/>
                  <a:gd name="T77" fmla="*/ 2147483647 h 179"/>
                  <a:gd name="T78" fmla="*/ 236432123 w 311"/>
                  <a:gd name="T79" fmla="*/ 2147483647 h 179"/>
                  <a:gd name="T80" fmla="*/ 1024783602 w 311"/>
                  <a:gd name="T81" fmla="*/ 2147483647 h 179"/>
                  <a:gd name="T82" fmla="*/ 1655391464 w 311"/>
                  <a:gd name="T83" fmla="*/ 2147483647 h 179"/>
                  <a:gd name="T84" fmla="*/ 1970695609 w 311"/>
                  <a:gd name="T85" fmla="*/ 2147483647 h 179"/>
                  <a:gd name="T86" fmla="*/ 2049567632 w 311"/>
                  <a:gd name="T87" fmla="*/ 2147483647 h 179"/>
                  <a:gd name="T88" fmla="*/ 1892007532 w 311"/>
                  <a:gd name="T89" fmla="*/ 2147483647 h 179"/>
                  <a:gd name="T90" fmla="*/ 1497831364 w 311"/>
                  <a:gd name="T91" fmla="*/ 2147483647 h 179"/>
                  <a:gd name="T92" fmla="*/ 630607862 w 311"/>
                  <a:gd name="T93" fmla="*/ 2147483647 h 179"/>
                  <a:gd name="T94" fmla="*/ 78872023 w 311"/>
                  <a:gd name="T95" fmla="*/ 2147483647 h 179"/>
                  <a:gd name="T96" fmla="*/ 78872023 w 311"/>
                  <a:gd name="T97" fmla="*/ 2058383118 h 179"/>
                  <a:gd name="T98" fmla="*/ 473047762 w 311"/>
                  <a:gd name="T99" fmla="*/ 950022978 h 179"/>
                  <a:gd name="T100" fmla="*/ 0 w 311"/>
                  <a:gd name="T101" fmla="*/ 950022978 h 1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3" name="Freeform 447"/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9877693" y="3669872"/>
                <a:ext cx="177800" cy="165100"/>
              </a:xfrm>
              <a:custGeom>
                <a:avLst/>
                <a:gdLst>
                  <a:gd name="T0" fmla="*/ 507655877 w 405"/>
                  <a:gd name="T1" fmla="*/ 2147483647 h 314"/>
                  <a:gd name="T2" fmla="*/ 1099920408 w 405"/>
                  <a:gd name="T3" fmla="*/ 2147483647 h 314"/>
                  <a:gd name="T4" fmla="*/ 1438357660 w 405"/>
                  <a:gd name="T5" fmla="*/ 2147483647 h 314"/>
                  <a:gd name="T6" fmla="*/ 1946013537 w 405"/>
                  <a:gd name="T7" fmla="*/ 2147483647 h 314"/>
                  <a:gd name="T8" fmla="*/ 2147483647 w 405"/>
                  <a:gd name="T9" fmla="*/ 2147483647 h 314"/>
                  <a:gd name="T10" fmla="*/ 2147483647 w 405"/>
                  <a:gd name="T11" fmla="*/ 2147483647 h 314"/>
                  <a:gd name="T12" fmla="*/ 2147483647 w 405"/>
                  <a:gd name="T13" fmla="*/ 2147483647 h 314"/>
                  <a:gd name="T14" fmla="*/ 2147483647 w 405"/>
                  <a:gd name="T15" fmla="*/ 2147483647 h 314"/>
                  <a:gd name="T16" fmla="*/ 2147483647 w 405"/>
                  <a:gd name="T17" fmla="*/ 2147483647 h 314"/>
                  <a:gd name="T18" fmla="*/ 2147483647 w 405"/>
                  <a:gd name="T19" fmla="*/ 2147483647 h 314"/>
                  <a:gd name="T20" fmla="*/ 2147483647 w 405"/>
                  <a:gd name="T21" fmla="*/ 2147483647 h 314"/>
                  <a:gd name="T22" fmla="*/ 2147483647 w 405"/>
                  <a:gd name="T23" fmla="*/ 2147483647 h 314"/>
                  <a:gd name="T24" fmla="*/ 2147483647 w 405"/>
                  <a:gd name="T25" fmla="*/ 2147483647 h 314"/>
                  <a:gd name="T26" fmla="*/ 2147483647 w 405"/>
                  <a:gd name="T27" fmla="*/ 2147483647 h 314"/>
                  <a:gd name="T28" fmla="*/ 2147483647 w 405"/>
                  <a:gd name="T29" fmla="*/ 2147483647 h 314"/>
                  <a:gd name="T30" fmla="*/ 2147483647 w 405"/>
                  <a:gd name="T31" fmla="*/ 2147483647 h 314"/>
                  <a:gd name="T32" fmla="*/ 2147483647 w 405"/>
                  <a:gd name="T33" fmla="*/ 2147483647 h 314"/>
                  <a:gd name="T34" fmla="*/ 2147483647 w 405"/>
                  <a:gd name="T35" fmla="*/ 2147483647 h 314"/>
                  <a:gd name="T36" fmla="*/ 2147483647 w 405"/>
                  <a:gd name="T37" fmla="*/ 1599053967 h 314"/>
                  <a:gd name="T38" fmla="*/ 2147483647 w 405"/>
                  <a:gd name="T39" fmla="*/ 581398598 h 314"/>
                  <a:gd name="T40" fmla="*/ 2147483647 w 405"/>
                  <a:gd name="T41" fmla="*/ 0 h 314"/>
                  <a:gd name="T42" fmla="*/ 2147483647 w 405"/>
                  <a:gd name="T43" fmla="*/ 2035034168 h 314"/>
                  <a:gd name="T44" fmla="*/ 2147483647 w 405"/>
                  <a:gd name="T45" fmla="*/ 2147483647 h 314"/>
                  <a:gd name="T46" fmla="*/ 2147483647 w 405"/>
                  <a:gd name="T47" fmla="*/ 2147483647 h 314"/>
                  <a:gd name="T48" fmla="*/ 2147483647 w 405"/>
                  <a:gd name="T49" fmla="*/ 2147483647 h 314"/>
                  <a:gd name="T50" fmla="*/ 2147483647 w 405"/>
                  <a:gd name="T51" fmla="*/ 2147483647 h 314"/>
                  <a:gd name="T52" fmla="*/ 2147483647 w 405"/>
                  <a:gd name="T53" fmla="*/ 2147483647 h 314"/>
                  <a:gd name="T54" fmla="*/ 2147483647 w 405"/>
                  <a:gd name="T55" fmla="*/ 2147483647 h 314"/>
                  <a:gd name="T56" fmla="*/ 2147483647 w 405"/>
                  <a:gd name="T57" fmla="*/ 2147483647 h 314"/>
                  <a:gd name="T58" fmla="*/ 2147483647 w 405"/>
                  <a:gd name="T59" fmla="*/ 2147483647 h 314"/>
                  <a:gd name="T60" fmla="*/ 2147483647 w 405"/>
                  <a:gd name="T61" fmla="*/ 2147483647 h 314"/>
                  <a:gd name="T62" fmla="*/ 2147483647 w 405"/>
                  <a:gd name="T63" fmla="*/ 2147483647 h 314"/>
                  <a:gd name="T64" fmla="*/ 2147483647 w 405"/>
                  <a:gd name="T65" fmla="*/ 2147483647 h 314"/>
                  <a:gd name="T66" fmla="*/ 2147483647 w 405"/>
                  <a:gd name="T67" fmla="*/ 2147483647 h 314"/>
                  <a:gd name="T68" fmla="*/ 2147483647 w 405"/>
                  <a:gd name="T69" fmla="*/ 2147483647 h 314"/>
                  <a:gd name="T70" fmla="*/ 2147483647 w 405"/>
                  <a:gd name="T71" fmla="*/ 2147483647 h 314"/>
                  <a:gd name="T72" fmla="*/ 2147483647 w 405"/>
                  <a:gd name="T73" fmla="*/ 2147483647 h 314"/>
                  <a:gd name="T74" fmla="*/ 2147483647 w 405"/>
                  <a:gd name="T75" fmla="*/ 2147483647 h 314"/>
                  <a:gd name="T76" fmla="*/ 2147483647 w 405"/>
                  <a:gd name="T77" fmla="*/ 2147483647 h 314"/>
                  <a:gd name="T78" fmla="*/ 2147483647 w 405"/>
                  <a:gd name="T79" fmla="*/ 2147483647 h 314"/>
                  <a:gd name="T80" fmla="*/ 2147483647 w 405"/>
                  <a:gd name="T81" fmla="*/ 2147483647 h 314"/>
                  <a:gd name="T82" fmla="*/ 2147483647 w 405"/>
                  <a:gd name="T83" fmla="*/ 2147483647 h 314"/>
                  <a:gd name="T84" fmla="*/ 2147483647 w 405"/>
                  <a:gd name="T85" fmla="*/ 2147483647 h 314"/>
                  <a:gd name="T86" fmla="*/ 2147483647 w 405"/>
                  <a:gd name="T87" fmla="*/ 2147483647 h 314"/>
                  <a:gd name="T88" fmla="*/ 2147483647 w 405"/>
                  <a:gd name="T89" fmla="*/ 2147483647 h 314"/>
                  <a:gd name="T90" fmla="*/ 2147483647 w 405"/>
                  <a:gd name="T91" fmla="*/ 2147483647 h 314"/>
                  <a:gd name="T92" fmla="*/ 2147483647 w 405"/>
                  <a:gd name="T93" fmla="*/ 2147483647 h 314"/>
                  <a:gd name="T94" fmla="*/ 2147483647 w 405"/>
                  <a:gd name="T95" fmla="*/ 2147483647 h 314"/>
                  <a:gd name="T96" fmla="*/ 2147483647 w 405"/>
                  <a:gd name="T97" fmla="*/ 2147483647 h 314"/>
                  <a:gd name="T98" fmla="*/ 2147483647 w 405"/>
                  <a:gd name="T99" fmla="*/ 2147483647 h 314"/>
                  <a:gd name="T100" fmla="*/ 2147483647 w 405"/>
                  <a:gd name="T101" fmla="*/ 2147483647 h 314"/>
                  <a:gd name="T102" fmla="*/ 2147483647 w 405"/>
                  <a:gd name="T103" fmla="*/ 2147483647 h 314"/>
                  <a:gd name="T104" fmla="*/ 0 w 405"/>
                  <a:gd name="T105" fmla="*/ 2147483647 h 31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4" name="Freeform 448"/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10225355" y="3738135"/>
                <a:ext cx="193675" cy="349250"/>
              </a:xfrm>
              <a:custGeom>
                <a:avLst/>
                <a:gdLst>
                  <a:gd name="T0" fmla="*/ 2147483647 w 453"/>
                  <a:gd name="T1" fmla="*/ 2147483647 h 661"/>
                  <a:gd name="T2" fmla="*/ 2147483647 w 453"/>
                  <a:gd name="T3" fmla="*/ 2147483647 h 661"/>
                  <a:gd name="T4" fmla="*/ 2147483647 w 453"/>
                  <a:gd name="T5" fmla="*/ 2147483647 h 661"/>
                  <a:gd name="T6" fmla="*/ 2147483647 w 453"/>
                  <a:gd name="T7" fmla="*/ 2147483647 h 661"/>
                  <a:gd name="T8" fmla="*/ 2147483647 w 453"/>
                  <a:gd name="T9" fmla="*/ 2147483647 h 661"/>
                  <a:gd name="T10" fmla="*/ 2147483647 w 453"/>
                  <a:gd name="T11" fmla="*/ 2147483647 h 661"/>
                  <a:gd name="T12" fmla="*/ 2147483647 w 453"/>
                  <a:gd name="T13" fmla="*/ 2147483647 h 661"/>
                  <a:gd name="T14" fmla="*/ 2147483647 w 453"/>
                  <a:gd name="T15" fmla="*/ 2147483647 h 661"/>
                  <a:gd name="T16" fmla="*/ 2147483647 w 453"/>
                  <a:gd name="T17" fmla="*/ 2147483647 h 661"/>
                  <a:gd name="T18" fmla="*/ 2147483647 w 453"/>
                  <a:gd name="T19" fmla="*/ 2147483647 h 661"/>
                  <a:gd name="T20" fmla="*/ 2147483647 w 453"/>
                  <a:gd name="T21" fmla="*/ 2147483647 h 661"/>
                  <a:gd name="T22" fmla="*/ 2147483647 w 453"/>
                  <a:gd name="T23" fmla="*/ 2147483647 h 661"/>
                  <a:gd name="T24" fmla="*/ 2147483647 w 453"/>
                  <a:gd name="T25" fmla="*/ 2147483647 h 661"/>
                  <a:gd name="T26" fmla="*/ 2147483647 w 453"/>
                  <a:gd name="T27" fmla="*/ 2147483647 h 661"/>
                  <a:gd name="T28" fmla="*/ 1641082239 w 453"/>
                  <a:gd name="T29" fmla="*/ 2147483647 h 661"/>
                  <a:gd name="T30" fmla="*/ 547088266 w 453"/>
                  <a:gd name="T31" fmla="*/ 2147483647 h 661"/>
                  <a:gd name="T32" fmla="*/ 78234012 w 453"/>
                  <a:gd name="T33" fmla="*/ 2147483647 h 661"/>
                  <a:gd name="T34" fmla="*/ 625139291 w 453"/>
                  <a:gd name="T35" fmla="*/ 2147483647 h 661"/>
                  <a:gd name="T36" fmla="*/ 1563031214 w 453"/>
                  <a:gd name="T37" fmla="*/ 2147483647 h 661"/>
                  <a:gd name="T38" fmla="*/ 2147483647 w 453"/>
                  <a:gd name="T39" fmla="*/ 2147483647 h 661"/>
                  <a:gd name="T40" fmla="*/ 2147483647 w 453"/>
                  <a:gd name="T41" fmla="*/ 2147483647 h 661"/>
                  <a:gd name="T42" fmla="*/ 2147483647 w 453"/>
                  <a:gd name="T43" fmla="*/ 2147483647 h 661"/>
                  <a:gd name="T44" fmla="*/ 2147483647 w 453"/>
                  <a:gd name="T45" fmla="*/ 2147483647 h 661"/>
                  <a:gd name="T46" fmla="*/ 2147483647 w 453"/>
                  <a:gd name="T47" fmla="*/ 2147483647 h 661"/>
                  <a:gd name="T48" fmla="*/ 2147483647 w 453"/>
                  <a:gd name="T49" fmla="*/ 2147483647 h 661"/>
                  <a:gd name="T50" fmla="*/ 2147483647 w 453"/>
                  <a:gd name="T51" fmla="*/ 2147483647 h 661"/>
                  <a:gd name="T52" fmla="*/ 2147483647 w 453"/>
                  <a:gd name="T53" fmla="*/ 2147483647 h 661"/>
                  <a:gd name="T54" fmla="*/ 2147483647 w 453"/>
                  <a:gd name="T55" fmla="*/ 2147483647 h 661"/>
                  <a:gd name="T56" fmla="*/ 2147483647 w 453"/>
                  <a:gd name="T57" fmla="*/ 2147483647 h 661"/>
                  <a:gd name="T58" fmla="*/ 2147483647 w 453"/>
                  <a:gd name="T59" fmla="*/ 2147483647 h 661"/>
                  <a:gd name="T60" fmla="*/ 2147483647 w 453"/>
                  <a:gd name="T61" fmla="*/ 2147483647 h 661"/>
                  <a:gd name="T62" fmla="*/ 2147483647 w 453"/>
                  <a:gd name="T63" fmla="*/ 2147483647 h 661"/>
                  <a:gd name="T64" fmla="*/ 2147483647 w 453"/>
                  <a:gd name="T65" fmla="*/ 2147483647 h 661"/>
                  <a:gd name="T66" fmla="*/ 2147483647 w 453"/>
                  <a:gd name="T67" fmla="*/ 2147483647 h 661"/>
                  <a:gd name="T68" fmla="*/ 2147483647 w 453"/>
                  <a:gd name="T69" fmla="*/ 2147483647 h 661"/>
                  <a:gd name="T70" fmla="*/ 2147483647 w 453"/>
                  <a:gd name="T71" fmla="*/ 2147483647 h 661"/>
                  <a:gd name="T72" fmla="*/ 2147483647 w 453"/>
                  <a:gd name="T73" fmla="*/ 2147483647 h 661"/>
                  <a:gd name="T74" fmla="*/ 2147483647 w 453"/>
                  <a:gd name="T75" fmla="*/ 2147483647 h 661"/>
                  <a:gd name="T76" fmla="*/ 2147483647 w 453"/>
                  <a:gd name="T77" fmla="*/ 2147483647 h 661"/>
                  <a:gd name="T78" fmla="*/ 2147483647 w 453"/>
                  <a:gd name="T79" fmla="*/ 2147483647 h 661"/>
                  <a:gd name="T80" fmla="*/ 2147483647 w 453"/>
                  <a:gd name="T81" fmla="*/ 2147483647 h 661"/>
                  <a:gd name="T82" fmla="*/ 2147483647 w 453"/>
                  <a:gd name="T83" fmla="*/ 2147483647 h 661"/>
                  <a:gd name="T84" fmla="*/ 2147483647 w 453"/>
                  <a:gd name="T85" fmla="*/ 2147483647 h 661"/>
                  <a:gd name="T86" fmla="*/ 2147483647 w 453"/>
                  <a:gd name="T87" fmla="*/ 2147483647 h 661"/>
                  <a:gd name="T88" fmla="*/ 2147483647 w 453"/>
                  <a:gd name="T89" fmla="*/ 2147483647 h 661"/>
                  <a:gd name="T90" fmla="*/ 2147483647 w 453"/>
                  <a:gd name="T91" fmla="*/ 2147483647 h 661"/>
                  <a:gd name="T92" fmla="*/ 2147483647 w 453"/>
                  <a:gd name="T93" fmla="*/ 2147483647 h 661"/>
                  <a:gd name="T94" fmla="*/ 2147483647 w 453"/>
                  <a:gd name="T95" fmla="*/ 1622540472 h 661"/>
                  <a:gd name="T96" fmla="*/ 2147483647 w 453"/>
                  <a:gd name="T97" fmla="*/ 0 h 6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5" name="Freeform 449"/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12676455" y="3496835"/>
                <a:ext cx="55563" cy="57150"/>
              </a:xfrm>
              <a:custGeom>
                <a:avLst/>
                <a:gdLst>
                  <a:gd name="T0" fmla="*/ 0 w 126"/>
                  <a:gd name="T1" fmla="*/ 2147483647 h 105"/>
                  <a:gd name="T2" fmla="*/ 343027441 w 126"/>
                  <a:gd name="T3" fmla="*/ 2147483647 h 105"/>
                  <a:gd name="T4" fmla="*/ 857568603 w 126"/>
                  <a:gd name="T5" fmla="*/ 2147483647 h 105"/>
                  <a:gd name="T6" fmla="*/ 1372109764 w 126"/>
                  <a:gd name="T7" fmla="*/ 2147483647 h 105"/>
                  <a:gd name="T8" fmla="*/ 2057970176 w 126"/>
                  <a:gd name="T9" fmla="*/ 2147483647 h 105"/>
                  <a:gd name="T10" fmla="*/ 2147483647 w 126"/>
                  <a:gd name="T11" fmla="*/ 1773630656 h 105"/>
                  <a:gd name="T12" fmla="*/ 2147483647 w 126"/>
                  <a:gd name="T13" fmla="*/ 0 h 105"/>
                  <a:gd name="T14" fmla="*/ 2147483647 w 126"/>
                  <a:gd name="T15" fmla="*/ 0 h 105"/>
                  <a:gd name="T16" fmla="*/ 2147483647 w 126"/>
                  <a:gd name="T17" fmla="*/ 644929586 h 105"/>
                  <a:gd name="T18" fmla="*/ 2147483647 w 126"/>
                  <a:gd name="T19" fmla="*/ 1289859171 h 105"/>
                  <a:gd name="T20" fmla="*/ 2147483647 w 126"/>
                  <a:gd name="T21" fmla="*/ 1934788757 h 105"/>
                  <a:gd name="T22" fmla="*/ 2147483647 w 126"/>
                  <a:gd name="T23" fmla="*/ 2147483647 h 105"/>
                  <a:gd name="T24" fmla="*/ 2147483647 w 126"/>
                  <a:gd name="T25" fmla="*/ 2147483647 h 105"/>
                  <a:gd name="T26" fmla="*/ 2147483647 w 126"/>
                  <a:gd name="T27" fmla="*/ 2147483647 h 105"/>
                  <a:gd name="T28" fmla="*/ 2147483647 w 126"/>
                  <a:gd name="T29" fmla="*/ 2147483647 h 105"/>
                  <a:gd name="T30" fmla="*/ 2147483647 w 126"/>
                  <a:gd name="T31" fmla="*/ 2147483647 h 105"/>
                  <a:gd name="T32" fmla="*/ 2147483647 w 126"/>
                  <a:gd name="T33" fmla="*/ 2147483647 h 105"/>
                  <a:gd name="T34" fmla="*/ 2147483647 w 126"/>
                  <a:gd name="T35" fmla="*/ 2147483647 h 105"/>
                  <a:gd name="T36" fmla="*/ 2147483647 w 126"/>
                  <a:gd name="T37" fmla="*/ 2147483647 h 105"/>
                  <a:gd name="T38" fmla="*/ 2147483647 w 126"/>
                  <a:gd name="T39" fmla="*/ 2147483647 h 105"/>
                  <a:gd name="T40" fmla="*/ 2147483647 w 126"/>
                  <a:gd name="T41" fmla="*/ 2147483647 h 105"/>
                  <a:gd name="T42" fmla="*/ 2147483647 w 126"/>
                  <a:gd name="T43" fmla="*/ 2147483647 h 105"/>
                  <a:gd name="T44" fmla="*/ 2147483647 w 126"/>
                  <a:gd name="T45" fmla="*/ 2147483647 h 105"/>
                  <a:gd name="T46" fmla="*/ 2147483647 w 126"/>
                  <a:gd name="T47" fmla="*/ 2147483647 h 105"/>
                  <a:gd name="T48" fmla="*/ 2147483647 w 126"/>
                  <a:gd name="T49" fmla="*/ 2147483647 h 105"/>
                  <a:gd name="T50" fmla="*/ 2147483647 w 126"/>
                  <a:gd name="T51" fmla="*/ 2147483647 h 105"/>
                  <a:gd name="T52" fmla="*/ 2147483647 w 126"/>
                  <a:gd name="T53" fmla="*/ 2147483647 h 105"/>
                  <a:gd name="T54" fmla="*/ 2147483647 w 126"/>
                  <a:gd name="T55" fmla="*/ 2147483647 h 105"/>
                  <a:gd name="T56" fmla="*/ 2147483647 w 126"/>
                  <a:gd name="T57" fmla="*/ 2147483647 h 105"/>
                  <a:gd name="T58" fmla="*/ 2147483647 w 126"/>
                  <a:gd name="T59" fmla="*/ 2147483647 h 105"/>
                  <a:gd name="T60" fmla="*/ 2147483647 w 126"/>
                  <a:gd name="T61" fmla="*/ 2147483647 h 105"/>
                  <a:gd name="T62" fmla="*/ 2147483647 w 126"/>
                  <a:gd name="T63" fmla="*/ 2147483647 h 105"/>
                  <a:gd name="T64" fmla="*/ 2147483647 w 126"/>
                  <a:gd name="T65" fmla="*/ 2147483647 h 105"/>
                  <a:gd name="T66" fmla="*/ 2057970176 w 126"/>
                  <a:gd name="T67" fmla="*/ 2147483647 h 105"/>
                  <a:gd name="T68" fmla="*/ 1715137205 w 126"/>
                  <a:gd name="T69" fmla="*/ 2147483647 h 105"/>
                  <a:gd name="T70" fmla="*/ 1372109764 w 126"/>
                  <a:gd name="T71" fmla="*/ 2147483647 h 105"/>
                  <a:gd name="T72" fmla="*/ 1200596044 w 126"/>
                  <a:gd name="T73" fmla="*/ 2147483647 h 105"/>
                  <a:gd name="T74" fmla="*/ 1114839404 w 126"/>
                  <a:gd name="T75" fmla="*/ 2147483647 h 105"/>
                  <a:gd name="T76" fmla="*/ 0 w 126"/>
                  <a:gd name="T77" fmla="*/ 2147483647 h 10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6" name="Freeform 451"/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10284093" y="4028647"/>
                <a:ext cx="187325" cy="274638"/>
              </a:xfrm>
              <a:custGeom>
                <a:avLst/>
                <a:gdLst>
                  <a:gd name="T0" fmla="*/ 2147483647 w 429"/>
                  <a:gd name="T1" fmla="*/ 2147483647 h 524"/>
                  <a:gd name="T2" fmla="*/ 2147483647 w 429"/>
                  <a:gd name="T3" fmla="*/ 2147483647 h 524"/>
                  <a:gd name="T4" fmla="*/ 2147483647 w 429"/>
                  <a:gd name="T5" fmla="*/ 2147483647 h 524"/>
                  <a:gd name="T6" fmla="*/ 2147483647 w 429"/>
                  <a:gd name="T7" fmla="*/ 2147483647 h 524"/>
                  <a:gd name="T8" fmla="*/ 2147483647 w 429"/>
                  <a:gd name="T9" fmla="*/ 2147483647 h 524"/>
                  <a:gd name="T10" fmla="*/ 2147483647 w 429"/>
                  <a:gd name="T11" fmla="*/ 2147483647 h 524"/>
                  <a:gd name="T12" fmla="*/ 2147483647 w 429"/>
                  <a:gd name="T13" fmla="*/ 2147483647 h 524"/>
                  <a:gd name="T14" fmla="*/ 2147483647 w 429"/>
                  <a:gd name="T15" fmla="*/ 2147483647 h 524"/>
                  <a:gd name="T16" fmla="*/ 2147483647 w 429"/>
                  <a:gd name="T17" fmla="*/ 2147483647 h 524"/>
                  <a:gd name="T18" fmla="*/ 2147483647 w 429"/>
                  <a:gd name="T19" fmla="*/ 2147483647 h 524"/>
                  <a:gd name="T20" fmla="*/ 2147483647 w 429"/>
                  <a:gd name="T21" fmla="*/ 2147483647 h 524"/>
                  <a:gd name="T22" fmla="*/ 2147483647 w 429"/>
                  <a:gd name="T23" fmla="*/ 2147483647 h 524"/>
                  <a:gd name="T24" fmla="*/ 2147483647 w 429"/>
                  <a:gd name="T25" fmla="*/ 2147483647 h 524"/>
                  <a:gd name="T26" fmla="*/ 2147483647 w 429"/>
                  <a:gd name="T27" fmla="*/ 2147483647 h 524"/>
                  <a:gd name="T28" fmla="*/ 2147483647 w 429"/>
                  <a:gd name="T29" fmla="*/ 2147483647 h 524"/>
                  <a:gd name="T30" fmla="*/ 2147483647 w 429"/>
                  <a:gd name="T31" fmla="*/ 2147483647 h 524"/>
                  <a:gd name="T32" fmla="*/ 2147483647 w 429"/>
                  <a:gd name="T33" fmla="*/ 2147483647 h 524"/>
                  <a:gd name="T34" fmla="*/ 2147483647 w 429"/>
                  <a:gd name="T35" fmla="*/ 2147483647 h 524"/>
                  <a:gd name="T36" fmla="*/ 2147483647 w 429"/>
                  <a:gd name="T37" fmla="*/ 2147483647 h 524"/>
                  <a:gd name="T38" fmla="*/ 2147483647 w 429"/>
                  <a:gd name="T39" fmla="*/ 2147483647 h 524"/>
                  <a:gd name="T40" fmla="*/ 2147483647 w 429"/>
                  <a:gd name="T41" fmla="*/ 2147483647 h 524"/>
                  <a:gd name="T42" fmla="*/ 2147483647 w 429"/>
                  <a:gd name="T43" fmla="*/ 2147483647 h 524"/>
                  <a:gd name="T44" fmla="*/ 2147483647 w 429"/>
                  <a:gd name="T45" fmla="*/ 2147483647 h 524"/>
                  <a:gd name="T46" fmla="*/ 2147483647 w 429"/>
                  <a:gd name="T47" fmla="*/ 2147483647 h 524"/>
                  <a:gd name="T48" fmla="*/ 2147483647 w 429"/>
                  <a:gd name="T49" fmla="*/ 2147483647 h 524"/>
                  <a:gd name="T50" fmla="*/ 2147483647 w 429"/>
                  <a:gd name="T51" fmla="*/ 2147483647 h 524"/>
                  <a:gd name="T52" fmla="*/ 2147483647 w 429"/>
                  <a:gd name="T53" fmla="*/ 2147483647 h 524"/>
                  <a:gd name="T54" fmla="*/ 499549053 w 429"/>
                  <a:gd name="T55" fmla="*/ 2147483647 h 524"/>
                  <a:gd name="T56" fmla="*/ 2081327466 w 429"/>
                  <a:gd name="T57" fmla="*/ 2147483647 h 524"/>
                  <a:gd name="T58" fmla="*/ 2147483647 w 429"/>
                  <a:gd name="T59" fmla="*/ 2147483647 h 524"/>
                  <a:gd name="T60" fmla="*/ 2147483647 w 429"/>
                  <a:gd name="T61" fmla="*/ 2147483647 h 524"/>
                  <a:gd name="T62" fmla="*/ 2147483647 w 429"/>
                  <a:gd name="T63" fmla="*/ 2147483647 h 524"/>
                  <a:gd name="T64" fmla="*/ 2147483647 w 429"/>
                  <a:gd name="T65" fmla="*/ 2147483647 h 524"/>
                  <a:gd name="T66" fmla="*/ 2147483647 w 429"/>
                  <a:gd name="T67" fmla="*/ 2147483647 h 524"/>
                  <a:gd name="T68" fmla="*/ 2147483647 w 429"/>
                  <a:gd name="T69" fmla="*/ 2147483647 h 524"/>
                  <a:gd name="T70" fmla="*/ 2147483647 w 429"/>
                  <a:gd name="T71" fmla="*/ 2147483647 h 524"/>
                  <a:gd name="T72" fmla="*/ 2147483647 w 429"/>
                  <a:gd name="T73" fmla="*/ 2147483647 h 524"/>
                  <a:gd name="T74" fmla="*/ 2147483647 w 429"/>
                  <a:gd name="T75" fmla="*/ 2147483647 h 524"/>
                  <a:gd name="T76" fmla="*/ 2147483647 w 429"/>
                  <a:gd name="T77" fmla="*/ 2147483647 h 524"/>
                  <a:gd name="T78" fmla="*/ 2147483647 w 429"/>
                  <a:gd name="T79" fmla="*/ 2147483647 h 524"/>
                  <a:gd name="T80" fmla="*/ 2147483647 w 429"/>
                  <a:gd name="T81" fmla="*/ 2147483647 h 524"/>
                  <a:gd name="T82" fmla="*/ 2147483647 w 429"/>
                  <a:gd name="T83" fmla="*/ 2147483647 h 524"/>
                  <a:gd name="T84" fmla="*/ 2147483647 w 429"/>
                  <a:gd name="T85" fmla="*/ 2147483647 h 524"/>
                  <a:gd name="T86" fmla="*/ 2147483647 w 429"/>
                  <a:gd name="T87" fmla="*/ 2147483647 h 524"/>
                  <a:gd name="T88" fmla="*/ 2147483647 w 429"/>
                  <a:gd name="T89" fmla="*/ 2147483647 h 524"/>
                  <a:gd name="T90" fmla="*/ 2147483647 w 429"/>
                  <a:gd name="T91" fmla="*/ 2147483647 h 524"/>
                  <a:gd name="T92" fmla="*/ 2147483647 w 429"/>
                  <a:gd name="T93" fmla="*/ 2147483647 h 524"/>
                  <a:gd name="T94" fmla="*/ 2147483647 w 429"/>
                  <a:gd name="T95" fmla="*/ 2147483647 h 524"/>
                  <a:gd name="T96" fmla="*/ 2147483647 w 429"/>
                  <a:gd name="T97" fmla="*/ 2147483647 h 524"/>
                  <a:gd name="T98" fmla="*/ 2147483647 w 429"/>
                  <a:gd name="T99" fmla="*/ 2147483647 h 524"/>
                  <a:gd name="T100" fmla="*/ 2147483647 w 429"/>
                  <a:gd name="T101" fmla="*/ 2147483647 h 524"/>
                  <a:gd name="T102" fmla="*/ 2147483647 w 429"/>
                  <a:gd name="T103" fmla="*/ 2147483647 h 524"/>
                  <a:gd name="T104" fmla="*/ 2147483647 w 429"/>
                  <a:gd name="T105" fmla="*/ 2147483647 h 524"/>
                  <a:gd name="T106" fmla="*/ 2147483647 w 429"/>
                  <a:gd name="T107" fmla="*/ 2147483647 h 524"/>
                  <a:gd name="T108" fmla="*/ 2147483647 w 429"/>
                  <a:gd name="T109" fmla="*/ 2147483647 h 524"/>
                  <a:gd name="T110" fmla="*/ 2147483647 w 429"/>
                  <a:gd name="T111" fmla="*/ 2147483647 h 524"/>
                  <a:gd name="T112" fmla="*/ 2147483647 w 429"/>
                  <a:gd name="T113" fmla="*/ 2147483647 h 524"/>
                  <a:gd name="T114" fmla="*/ 2147483647 w 429"/>
                  <a:gd name="T115" fmla="*/ 2147483647 h 524"/>
                  <a:gd name="T116" fmla="*/ 2147483647 w 429"/>
                  <a:gd name="T117" fmla="*/ 2147483647 h 524"/>
                  <a:gd name="T118" fmla="*/ 2147483647 w 429"/>
                  <a:gd name="T119" fmla="*/ 2147483647 h 524"/>
                  <a:gd name="T120" fmla="*/ 2147483647 w 429"/>
                  <a:gd name="T121" fmla="*/ 1007874289 h 524"/>
                  <a:gd name="T122" fmla="*/ 2147483647 w 429"/>
                  <a:gd name="T123" fmla="*/ 719988675 h 524"/>
                  <a:gd name="T124" fmla="*/ 2147483647 w 429"/>
                  <a:gd name="T125" fmla="*/ 575771229 h 52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7" name="Freeform 452"/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10315843" y="2671335"/>
                <a:ext cx="127000" cy="114300"/>
              </a:xfrm>
              <a:custGeom>
                <a:avLst/>
                <a:gdLst>
                  <a:gd name="T0" fmla="*/ 2147483647 w 292"/>
                  <a:gd name="T1" fmla="*/ 2147483647 h 223"/>
                  <a:gd name="T2" fmla="*/ 2147483647 w 292"/>
                  <a:gd name="T3" fmla="*/ 2147483647 h 223"/>
                  <a:gd name="T4" fmla="*/ 2147483647 w 292"/>
                  <a:gd name="T5" fmla="*/ 2147483647 h 223"/>
                  <a:gd name="T6" fmla="*/ 2147483647 w 292"/>
                  <a:gd name="T7" fmla="*/ 2147483647 h 223"/>
                  <a:gd name="T8" fmla="*/ 2147483647 w 292"/>
                  <a:gd name="T9" fmla="*/ 2147483647 h 223"/>
                  <a:gd name="T10" fmla="*/ 2147483647 w 292"/>
                  <a:gd name="T11" fmla="*/ 2147483647 h 223"/>
                  <a:gd name="T12" fmla="*/ 2147483647 w 292"/>
                  <a:gd name="T13" fmla="*/ 2147483647 h 223"/>
                  <a:gd name="T14" fmla="*/ 2147483647 w 292"/>
                  <a:gd name="T15" fmla="*/ 2147483647 h 223"/>
                  <a:gd name="T16" fmla="*/ 2147483647 w 292"/>
                  <a:gd name="T17" fmla="*/ 2147483647 h 223"/>
                  <a:gd name="T18" fmla="*/ 2147483647 w 292"/>
                  <a:gd name="T19" fmla="*/ 2147483647 h 223"/>
                  <a:gd name="T20" fmla="*/ 2147483647 w 292"/>
                  <a:gd name="T21" fmla="*/ 2147483647 h 223"/>
                  <a:gd name="T22" fmla="*/ 2147483647 w 292"/>
                  <a:gd name="T23" fmla="*/ 2147483647 h 223"/>
                  <a:gd name="T24" fmla="*/ 2147483647 w 292"/>
                  <a:gd name="T25" fmla="*/ 2147483647 h 223"/>
                  <a:gd name="T26" fmla="*/ 2147483647 w 292"/>
                  <a:gd name="T27" fmla="*/ 2147483647 h 223"/>
                  <a:gd name="T28" fmla="*/ 2147483647 w 292"/>
                  <a:gd name="T29" fmla="*/ 2147483647 h 223"/>
                  <a:gd name="T30" fmla="*/ 2147483647 w 292"/>
                  <a:gd name="T31" fmla="*/ 2147483647 h 223"/>
                  <a:gd name="T32" fmla="*/ 2147483647 w 292"/>
                  <a:gd name="T33" fmla="*/ 2147483647 h 223"/>
                  <a:gd name="T34" fmla="*/ 2147483647 w 292"/>
                  <a:gd name="T35" fmla="*/ 2147483647 h 223"/>
                  <a:gd name="T36" fmla="*/ 2147483647 w 292"/>
                  <a:gd name="T37" fmla="*/ 2147483647 h 223"/>
                  <a:gd name="T38" fmla="*/ 2147483647 w 292"/>
                  <a:gd name="T39" fmla="*/ 2147483647 h 223"/>
                  <a:gd name="T40" fmla="*/ 2147483647 w 292"/>
                  <a:gd name="T41" fmla="*/ 2147483647 h 223"/>
                  <a:gd name="T42" fmla="*/ 2147483647 w 292"/>
                  <a:gd name="T43" fmla="*/ 2147483647 h 223"/>
                  <a:gd name="T44" fmla="*/ 2147483647 w 292"/>
                  <a:gd name="T45" fmla="*/ 2147483647 h 223"/>
                  <a:gd name="T46" fmla="*/ 1069541373 w 292"/>
                  <a:gd name="T47" fmla="*/ 2147483647 h 223"/>
                  <a:gd name="T48" fmla="*/ 329147901 w 292"/>
                  <a:gd name="T49" fmla="*/ 2147483647 h 223"/>
                  <a:gd name="T50" fmla="*/ 82286866 w 292"/>
                  <a:gd name="T51" fmla="*/ 2147483647 h 223"/>
                  <a:gd name="T52" fmla="*/ 0 w 292"/>
                  <a:gd name="T53" fmla="*/ 2147483647 h 223"/>
                  <a:gd name="T54" fmla="*/ 2147483647 w 292"/>
                  <a:gd name="T55" fmla="*/ 2147483647 h 223"/>
                  <a:gd name="T56" fmla="*/ 2147483647 w 292"/>
                  <a:gd name="T57" fmla="*/ 2147483647 h 223"/>
                  <a:gd name="T58" fmla="*/ 2147483647 w 292"/>
                  <a:gd name="T59" fmla="*/ 2147483647 h 223"/>
                  <a:gd name="T60" fmla="*/ 2147483647 w 292"/>
                  <a:gd name="T61" fmla="*/ 2147483647 h 223"/>
                  <a:gd name="T62" fmla="*/ 2147483647 w 292"/>
                  <a:gd name="T63" fmla="*/ 2147483647 h 223"/>
                  <a:gd name="T64" fmla="*/ 2147483647 w 292"/>
                  <a:gd name="T65" fmla="*/ 1211898297 h 223"/>
                  <a:gd name="T66" fmla="*/ 2147483647 w 292"/>
                  <a:gd name="T67" fmla="*/ 0 h 223"/>
                  <a:gd name="T68" fmla="*/ 2147483647 w 292"/>
                  <a:gd name="T69" fmla="*/ 1885233447 h 223"/>
                  <a:gd name="T70" fmla="*/ 2147483647 w 292"/>
                  <a:gd name="T71" fmla="*/ 2147483647 h 223"/>
                  <a:gd name="T72" fmla="*/ 2147483647 w 292"/>
                  <a:gd name="T73" fmla="*/ 2147483647 h 223"/>
                  <a:gd name="T74" fmla="*/ 2147483647 w 292"/>
                  <a:gd name="T75" fmla="*/ 2147483647 h 223"/>
                  <a:gd name="T76" fmla="*/ 2147483647 w 292"/>
                  <a:gd name="T77" fmla="*/ 2147483647 h 223"/>
                  <a:gd name="T78" fmla="*/ 2147483647 w 292"/>
                  <a:gd name="T79" fmla="*/ 2147483647 h 223"/>
                  <a:gd name="T80" fmla="*/ 2147483647 w 292"/>
                  <a:gd name="T81" fmla="*/ 2147483647 h 223"/>
                  <a:gd name="T82" fmla="*/ 2147483647 w 292"/>
                  <a:gd name="T83" fmla="*/ 2147483647 h 223"/>
                  <a:gd name="T84" fmla="*/ 2147483647 w 292"/>
                  <a:gd name="T85" fmla="*/ 2147483647 h 22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8" name="Freeform 453"/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10266630" y="2530047"/>
                <a:ext cx="168275" cy="77788"/>
              </a:xfrm>
              <a:custGeom>
                <a:avLst/>
                <a:gdLst>
                  <a:gd name="T0" fmla="*/ 2147483647 w 379"/>
                  <a:gd name="T1" fmla="*/ 2147483647 h 147"/>
                  <a:gd name="T2" fmla="*/ 2147483647 w 379"/>
                  <a:gd name="T3" fmla="*/ 2147483647 h 147"/>
                  <a:gd name="T4" fmla="*/ 2147483647 w 379"/>
                  <a:gd name="T5" fmla="*/ 2147483647 h 147"/>
                  <a:gd name="T6" fmla="*/ 2147483647 w 379"/>
                  <a:gd name="T7" fmla="*/ 2147483647 h 147"/>
                  <a:gd name="T8" fmla="*/ 2147483647 w 379"/>
                  <a:gd name="T9" fmla="*/ 2147483647 h 147"/>
                  <a:gd name="T10" fmla="*/ 2147483647 w 379"/>
                  <a:gd name="T11" fmla="*/ 2147483647 h 147"/>
                  <a:gd name="T12" fmla="*/ 2147483647 w 379"/>
                  <a:gd name="T13" fmla="*/ 2147483647 h 147"/>
                  <a:gd name="T14" fmla="*/ 2147483647 w 379"/>
                  <a:gd name="T15" fmla="*/ 2147483647 h 147"/>
                  <a:gd name="T16" fmla="*/ 2147483647 w 379"/>
                  <a:gd name="T17" fmla="*/ 2147483647 h 147"/>
                  <a:gd name="T18" fmla="*/ 2147483647 w 379"/>
                  <a:gd name="T19" fmla="*/ 2147483647 h 147"/>
                  <a:gd name="T20" fmla="*/ 2147483647 w 379"/>
                  <a:gd name="T21" fmla="*/ 2147483647 h 147"/>
                  <a:gd name="T22" fmla="*/ 2147483647 w 379"/>
                  <a:gd name="T23" fmla="*/ 2147483647 h 147"/>
                  <a:gd name="T24" fmla="*/ 2147483647 w 379"/>
                  <a:gd name="T25" fmla="*/ 2147483647 h 147"/>
                  <a:gd name="T26" fmla="*/ 2147483647 w 379"/>
                  <a:gd name="T27" fmla="*/ 2147483647 h 147"/>
                  <a:gd name="T28" fmla="*/ 2147483647 w 379"/>
                  <a:gd name="T29" fmla="*/ 2147483647 h 147"/>
                  <a:gd name="T30" fmla="*/ 2147483647 w 379"/>
                  <a:gd name="T31" fmla="*/ 2147483647 h 147"/>
                  <a:gd name="T32" fmla="*/ 2147483647 w 379"/>
                  <a:gd name="T33" fmla="*/ 2147483647 h 147"/>
                  <a:gd name="T34" fmla="*/ 2147483647 w 379"/>
                  <a:gd name="T35" fmla="*/ 2147483647 h 147"/>
                  <a:gd name="T36" fmla="*/ 2147483647 w 379"/>
                  <a:gd name="T37" fmla="*/ 2147483647 h 147"/>
                  <a:gd name="T38" fmla="*/ 2147483647 w 379"/>
                  <a:gd name="T39" fmla="*/ 2147483647 h 147"/>
                  <a:gd name="T40" fmla="*/ 2147483647 w 379"/>
                  <a:gd name="T41" fmla="*/ 2147483647 h 147"/>
                  <a:gd name="T42" fmla="*/ 2147483647 w 379"/>
                  <a:gd name="T43" fmla="*/ 2147483647 h 147"/>
                  <a:gd name="T44" fmla="*/ 2147483647 w 379"/>
                  <a:gd name="T45" fmla="*/ 2147483647 h 147"/>
                  <a:gd name="T46" fmla="*/ 1400437386 w 379"/>
                  <a:gd name="T47" fmla="*/ 2147483647 h 147"/>
                  <a:gd name="T48" fmla="*/ 0 w 379"/>
                  <a:gd name="T49" fmla="*/ 2147483647 h 147"/>
                  <a:gd name="T50" fmla="*/ 2147483647 w 379"/>
                  <a:gd name="T51" fmla="*/ 2147483647 h 147"/>
                  <a:gd name="T52" fmla="*/ 2147483647 w 379"/>
                  <a:gd name="T53" fmla="*/ 2147483647 h 147"/>
                  <a:gd name="T54" fmla="*/ 2147483647 w 379"/>
                  <a:gd name="T55" fmla="*/ 2147483647 h 147"/>
                  <a:gd name="T56" fmla="*/ 2147483647 w 379"/>
                  <a:gd name="T57" fmla="*/ 2147483647 h 147"/>
                  <a:gd name="T58" fmla="*/ 2147483647 w 379"/>
                  <a:gd name="T59" fmla="*/ 1185328781 h 147"/>
                  <a:gd name="T60" fmla="*/ 2147483647 w 379"/>
                  <a:gd name="T61" fmla="*/ 296262213 h 147"/>
                  <a:gd name="T62" fmla="*/ 2147483647 w 379"/>
                  <a:gd name="T63" fmla="*/ 0 h 147"/>
                  <a:gd name="T64" fmla="*/ 2147483647 w 379"/>
                  <a:gd name="T65" fmla="*/ 2147483647 h 147"/>
                  <a:gd name="T66" fmla="*/ 2147483647 w 379"/>
                  <a:gd name="T67" fmla="*/ 2147483647 h 147"/>
                  <a:gd name="T68" fmla="*/ 2147483647 w 379"/>
                  <a:gd name="T69" fmla="*/ 2147483647 h 147"/>
                  <a:gd name="T70" fmla="*/ 2147483647 w 379"/>
                  <a:gd name="T71" fmla="*/ 2147483647 h 147"/>
                  <a:gd name="T72" fmla="*/ 2147483647 w 379"/>
                  <a:gd name="T73" fmla="*/ 2147483647 h 147"/>
                  <a:gd name="T74" fmla="*/ 2147483647 w 379"/>
                  <a:gd name="T75" fmla="*/ 2147483647 h 14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9" name="Freeform 454"/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10230118" y="2385585"/>
                <a:ext cx="30162" cy="60325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2147483647 h 67"/>
                  <a:gd name="T4" fmla="*/ 0 w 61"/>
                  <a:gd name="T5" fmla="*/ 2147483647 h 67"/>
                  <a:gd name="T6" fmla="*/ 120778043 w 61"/>
                  <a:gd name="T7" fmla="*/ 2147483647 h 67"/>
                  <a:gd name="T8" fmla="*/ 241800348 w 61"/>
                  <a:gd name="T9" fmla="*/ 2147483647 h 67"/>
                  <a:gd name="T10" fmla="*/ 362578391 w 61"/>
                  <a:gd name="T11" fmla="*/ 2147483647 h 67"/>
                  <a:gd name="T12" fmla="*/ 725401045 w 61"/>
                  <a:gd name="T13" fmla="*/ 2147483647 h 67"/>
                  <a:gd name="T14" fmla="*/ 1450802089 w 61"/>
                  <a:gd name="T15" fmla="*/ 2147483647 h 67"/>
                  <a:gd name="T16" fmla="*/ 2147483647 w 61"/>
                  <a:gd name="T17" fmla="*/ 2147483647 h 67"/>
                  <a:gd name="T18" fmla="*/ 2147483647 w 61"/>
                  <a:gd name="T19" fmla="*/ 2147483647 h 67"/>
                  <a:gd name="T20" fmla="*/ 2147483647 w 61"/>
                  <a:gd name="T21" fmla="*/ 2147483647 h 67"/>
                  <a:gd name="T22" fmla="*/ 2147483647 w 61"/>
                  <a:gd name="T23" fmla="*/ 2147483647 h 67"/>
                  <a:gd name="T24" fmla="*/ 2147483647 w 61"/>
                  <a:gd name="T25" fmla="*/ 2147483647 h 67"/>
                  <a:gd name="T26" fmla="*/ 2147483647 w 61"/>
                  <a:gd name="T27" fmla="*/ 2147483647 h 67"/>
                  <a:gd name="T28" fmla="*/ 2147483647 w 61"/>
                  <a:gd name="T29" fmla="*/ 2147483647 h 67"/>
                  <a:gd name="T30" fmla="*/ 2147483647 w 61"/>
                  <a:gd name="T31" fmla="*/ 2147483647 h 67"/>
                  <a:gd name="T32" fmla="*/ 2147483647 w 61"/>
                  <a:gd name="T33" fmla="*/ 2147483647 h 67"/>
                  <a:gd name="T34" fmla="*/ 2147483647 w 61"/>
                  <a:gd name="T35" fmla="*/ 2147483647 h 67"/>
                  <a:gd name="T36" fmla="*/ 2147483647 w 61"/>
                  <a:gd name="T37" fmla="*/ 0 h 67"/>
                  <a:gd name="T38" fmla="*/ 2147483647 w 61"/>
                  <a:gd name="T39" fmla="*/ 2147483647 h 67"/>
                  <a:gd name="T40" fmla="*/ 2147483647 w 61"/>
                  <a:gd name="T41" fmla="*/ 2147483647 h 67"/>
                  <a:gd name="T42" fmla="*/ 1571580132 w 61"/>
                  <a:gd name="T43" fmla="*/ 2147483647 h 67"/>
                  <a:gd name="T44" fmla="*/ 1209001741 w 61"/>
                  <a:gd name="T45" fmla="*/ 2147483647 h 67"/>
                  <a:gd name="T46" fmla="*/ 725401045 w 61"/>
                  <a:gd name="T47" fmla="*/ 1460019864 h 67"/>
                  <a:gd name="T48" fmla="*/ 0 w 61"/>
                  <a:gd name="T49" fmla="*/ 0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0" name="Freeform 455"/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10201543" y="2390347"/>
                <a:ext cx="25400" cy="58738"/>
              </a:xfrm>
              <a:custGeom>
                <a:avLst/>
                <a:gdLst>
                  <a:gd name="T0" fmla="*/ 0 w 60"/>
                  <a:gd name="T1" fmla="*/ 2147483647 h 55"/>
                  <a:gd name="T2" fmla="*/ 0 w 60"/>
                  <a:gd name="T3" fmla="*/ 2147483647 h 55"/>
                  <a:gd name="T4" fmla="*/ 379390063 w 60"/>
                  <a:gd name="T5" fmla="*/ 2147483647 h 55"/>
                  <a:gd name="T6" fmla="*/ 758600633 w 60"/>
                  <a:gd name="T7" fmla="*/ 2147483647 h 55"/>
                  <a:gd name="T8" fmla="*/ 1213796997 w 60"/>
                  <a:gd name="T9" fmla="*/ 2147483647 h 55"/>
                  <a:gd name="T10" fmla="*/ 1593186637 w 60"/>
                  <a:gd name="T11" fmla="*/ 2147483647 h 55"/>
                  <a:gd name="T12" fmla="*/ 2048383000 w 60"/>
                  <a:gd name="T13" fmla="*/ 2147483647 h 55"/>
                  <a:gd name="T14" fmla="*/ 2147483647 w 60"/>
                  <a:gd name="T15" fmla="*/ 2147483647 h 55"/>
                  <a:gd name="T16" fmla="*/ 2147483647 w 60"/>
                  <a:gd name="T17" fmla="*/ 2147483647 h 55"/>
                  <a:gd name="T18" fmla="*/ 2147483647 w 60"/>
                  <a:gd name="T19" fmla="*/ 2147483647 h 55"/>
                  <a:gd name="T20" fmla="*/ 2147483647 w 60"/>
                  <a:gd name="T21" fmla="*/ 2147483647 h 55"/>
                  <a:gd name="T22" fmla="*/ 2147483647 w 60"/>
                  <a:gd name="T23" fmla="*/ 2147483647 h 55"/>
                  <a:gd name="T24" fmla="*/ 2147483647 w 60"/>
                  <a:gd name="T25" fmla="*/ 2147483647 h 55"/>
                  <a:gd name="T26" fmla="*/ 2147483647 w 60"/>
                  <a:gd name="T27" fmla="*/ 2147483647 h 55"/>
                  <a:gd name="T28" fmla="*/ 2147483647 w 60"/>
                  <a:gd name="T29" fmla="*/ 2147483647 h 55"/>
                  <a:gd name="T30" fmla="*/ 2147483647 w 60"/>
                  <a:gd name="T31" fmla="*/ 2147483647 h 55"/>
                  <a:gd name="T32" fmla="*/ 2147483647 w 60"/>
                  <a:gd name="T33" fmla="*/ 2147483647 h 55"/>
                  <a:gd name="T34" fmla="*/ 2147483647 w 60"/>
                  <a:gd name="T35" fmla="*/ 0 h 55"/>
                  <a:gd name="T36" fmla="*/ 1744978730 w 60"/>
                  <a:gd name="T37" fmla="*/ 1218103304 h 55"/>
                  <a:gd name="T38" fmla="*/ 1137990697 w 60"/>
                  <a:gd name="T39" fmla="*/ 2147483647 h 55"/>
                  <a:gd name="T40" fmla="*/ 531002663 w 60"/>
                  <a:gd name="T41" fmla="*/ 2147483647 h 55"/>
                  <a:gd name="T42" fmla="*/ 0 w 60"/>
                  <a:gd name="T43" fmla="*/ 2147483647 h 5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1" name="Freeform 456"/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10171380" y="2336372"/>
                <a:ext cx="52388" cy="77788"/>
              </a:xfrm>
              <a:custGeom>
                <a:avLst/>
                <a:gdLst>
                  <a:gd name="T0" fmla="*/ 2147483647 w 120"/>
                  <a:gd name="T1" fmla="*/ 2147483647 h 148"/>
                  <a:gd name="T2" fmla="*/ 2147483647 w 120"/>
                  <a:gd name="T3" fmla="*/ 2147483647 h 148"/>
                  <a:gd name="T4" fmla="*/ 2147483647 w 120"/>
                  <a:gd name="T5" fmla="*/ 2147483647 h 148"/>
                  <a:gd name="T6" fmla="*/ 2147483647 w 120"/>
                  <a:gd name="T7" fmla="*/ 2147483647 h 148"/>
                  <a:gd name="T8" fmla="*/ 2147483647 w 120"/>
                  <a:gd name="T9" fmla="*/ 2147483647 h 148"/>
                  <a:gd name="T10" fmla="*/ 2147483647 w 120"/>
                  <a:gd name="T11" fmla="*/ 2147483647 h 148"/>
                  <a:gd name="T12" fmla="*/ 2147483647 w 120"/>
                  <a:gd name="T13" fmla="*/ 2147483647 h 148"/>
                  <a:gd name="T14" fmla="*/ 2147483647 w 120"/>
                  <a:gd name="T15" fmla="*/ 2147483647 h 148"/>
                  <a:gd name="T16" fmla="*/ 2147483647 w 120"/>
                  <a:gd name="T17" fmla="*/ 2147483647 h 148"/>
                  <a:gd name="T18" fmla="*/ 2147483647 w 120"/>
                  <a:gd name="T19" fmla="*/ 2147483647 h 148"/>
                  <a:gd name="T20" fmla="*/ 2147483647 w 120"/>
                  <a:gd name="T21" fmla="*/ 2147483647 h 148"/>
                  <a:gd name="T22" fmla="*/ 2147483647 w 120"/>
                  <a:gd name="T23" fmla="*/ 2147483647 h 148"/>
                  <a:gd name="T24" fmla="*/ 1580948038 w 120"/>
                  <a:gd name="T25" fmla="*/ 2147483647 h 148"/>
                  <a:gd name="T26" fmla="*/ 915215304 w 120"/>
                  <a:gd name="T27" fmla="*/ 2147483647 h 148"/>
                  <a:gd name="T28" fmla="*/ 499156357 w 120"/>
                  <a:gd name="T29" fmla="*/ 2147483647 h 148"/>
                  <a:gd name="T30" fmla="*/ 249673350 w 120"/>
                  <a:gd name="T31" fmla="*/ 2147483647 h 148"/>
                  <a:gd name="T32" fmla="*/ 166385598 w 120"/>
                  <a:gd name="T33" fmla="*/ 2147483647 h 148"/>
                  <a:gd name="T34" fmla="*/ 83288189 w 120"/>
                  <a:gd name="T35" fmla="*/ 2147483647 h 148"/>
                  <a:gd name="T36" fmla="*/ 0 w 120"/>
                  <a:gd name="T37" fmla="*/ 2147483647 h 148"/>
                  <a:gd name="T38" fmla="*/ 166385598 w 120"/>
                  <a:gd name="T39" fmla="*/ 2147483647 h 148"/>
                  <a:gd name="T40" fmla="*/ 665732297 w 120"/>
                  <a:gd name="T41" fmla="*/ 2147483647 h 148"/>
                  <a:gd name="T42" fmla="*/ 1164888654 w 120"/>
                  <a:gd name="T43" fmla="*/ 2147483647 h 148"/>
                  <a:gd name="T44" fmla="*/ 1664045447 w 120"/>
                  <a:gd name="T45" fmla="*/ 2147483647 h 148"/>
                  <a:gd name="T46" fmla="*/ 2147483647 w 120"/>
                  <a:gd name="T47" fmla="*/ 2147483647 h 148"/>
                  <a:gd name="T48" fmla="*/ 2147483647 w 120"/>
                  <a:gd name="T49" fmla="*/ 2147483647 h 148"/>
                  <a:gd name="T50" fmla="*/ 2147483647 w 120"/>
                  <a:gd name="T51" fmla="*/ 2032645116 h 148"/>
                  <a:gd name="T52" fmla="*/ 2147483647 w 120"/>
                  <a:gd name="T53" fmla="*/ 1597275666 h 148"/>
                  <a:gd name="T54" fmla="*/ 2147483647 w 120"/>
                  <a:gd name="T55" fmla="*/ 725984367 h 148"/>
                  <a:gd name="T56" fmla="*/ 2147483647 w 120"/>
                  <a:gd name="T57" fmla="*/ 0 h 148"/>
                  <a:gd name="T58" fmla="*/ 2147483647 w 120"/>
                  <a:gd name="T59" fmla="*/ 290338454 h 148"/>
                  <a:gd name="T60" fmla="*/ 2147483647 w 120"/>
                  <a:gd name="T61" fmla="*/ 1016322821 h 148"/>
                  <a:gd name="T62" fmla="*/ 2147483647 w 120"/>
                  <a:gd name="T63" fmla="*/ 1451968207 h 148"/>
                  <a:gd name="T64" fmla="*/ 2147483647 w 120"/>
                  <a:gd name="T65" fmla="*/ 1887614120 h 148"/>
                  <a:gd name="T66" fmla="*/ 2147483647 w 120"/>
                  <a:gd name="T67" fmla="*/ 2147483647 h 148"/>
                  <a:gd name="T68" fmla="*/ 2147483647 w 120"/>
                  <a:gd name="T69" fmla="*/ 2147483647 h 148"/>
                  <a:gd name="T70" fmla="*/ 2147483647 w 120"/>
                  <a:gd name="T71" fmla="*/ 2147483647 h 148"/>
                  <a:gd name="T72" fmla="*/ 2147483647 w 120"/>
                  <a:gd name="T73" fmla="*/ 2147483647 h 148"/>
                  <a:gd name="T74" fmla="*/ 2147483647 w 120"/>
                  <a:gd name="T75" fmla="*/ 2147483647 h 148"/>
                  <a:gd name="T76" fmla="*/ 2147483647 w 120"/>
                  <a:gd name="T77" fmla="*/ 2147483647 h 148"/>
                  <a:gd name="T78" fmla="*/ 2147483647 w 120"/>
                  <a:gd name="T79" fmla="*/ 2147483647 h 148"/>
                  <a:gd name="T80" fmla="*/ 2147483647 w 120"/>
                  <a:gd name="T81" fmla="*/ 2147483647 h 148"/>
                  <a:gd name="T82" fmla="*/ 2147483647 w 120"/>
                  <a:gd name="T83" fmla="*/ 2147483647 h 148"/>
                  <a:gd name="T84" fmla="*/ 2147483647 w 120"/>
                  <a:gd name="T85" fmla="*/ 2147483647 h 148"/>
                  <a:gd name="T86" fmla="*/ 2147483647 w 120"/>
                  <a:gd name="T87" fmla="*/ 2147483647 h 148"/>
                  <a:gd name="T88" fmla="*/ 2147483647 w 120"/>
                  <a:gd name="T89" fmla="*/ 2147483647 h 148"/>
                  <a:gd name="T90" fmla="*/ 2147483647 w 120"/>
                  <a:gd name="T91" fmla="*/ 2147483647 h 148"/>
                  <a:gd name="T92" fmla="*/ 2147483647 w 120"/>
                  <a:gd name="T93" fmla="*/ 2147483647 h 148"/>
                  <a:gd name="T94" fmla="*/ 2147483647 w 120"/>
                  <a:gd name="T95" fmla="*/ 2147483647 h 148"/>
                  <a:gd name="T96" fmla="*/ 2147483647 w 120"/>
                  <a:gd name="T97" fmla="*/ 2147483647 h 148"/>
                  <a:gd name="T98" fmla="*/ 2147483647 w 120"/>
                  <a:gd name="T99" fmla="*/ 2147483647 h 148"/>
                  <a:gd name="T100" fmla="*/ 2147483647 w 120"/>
                  <a:gd name="T101" fmla="*/ 2147483647 h 148"/>
                  <a:gd name="T102" fmla="*/ 2147483647 w 120"/>
                  <a:gd name="T103" fmla="*/ 2147483647 h 148"/>
                  <a:gd name="T104" fmla="*/ 2147483647 w 120"/>
                  <a:gd name="T105" fmla="*/ 2147483647 h 148"/>
                  <a:gd name="T106" fmla="*/ 2147483647 w 120"/>
                  <a:gd name="T107" fmla="*/ 2147483647 h 148"/>
                  <a:gd name="T108" fmla="*/ 2147483647 w 120"/>
                  <a:gd name="T109" fmla="*/ 2147483647 h 148"/>
                  <a:gd name="T110" fmla="*/ 2147483647 w 120"/>
                  <a:gd name="T111" fmla="*/ 2147483647 h 148"/>
                  <a:gd name="T112" fmla="*/ 2147483647 w 120"/>
                  <a:gd name="T113" fmla="*/ 2147483647 h 148"/>
                  <a:gd name="T114" fmla="*/ 2147483647 w 120"/>
                  <a:gd name="T115" fmla="*/ 2147483647 h 148"/>
                  <a:gd name="T116" fmla="*/ 2147483647 w 120"/>
                  <a:gd name="T117" fmla="*/ 2147483647 h 148"/>
                  <a:gd name="T118" fmla="*/ 2147483647 w 120"/>
                  <a:gd name="T119" fmla="*/ 2147483647 h 14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2" name="Freeform 457"/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10603180" y="3141235"/>
                <a:ext cx="273050" cy="307975"/>
              </a:xfrm>
              <a:custGeom>
                <a:avLst/>
                <a:gdLst>
                  <a:gd name="T0" fmla="*/ 1701555862 w 631"/>
                  <a:gd name="T1" fmla="*/ 281462618 h 592"/>
                  <a:gd name="T2" fmla="*/ 2147483647 w 631"/>
                  <a:gd name="T3" fmla="*/ 563196276 h 592"/>
                  <a:gd name="T4" fmla="*/ 2147483647 w 631"/>
                  <a:gd name="T5" fmla="*/ 1126392031 h 592"/>
                  <a:gd name="T6" fmla="*/ 2147483647 w 631"/>
                  <a:gd name="T7" fmla="*/ 1548856737 h 592"/>
                  <a:gd name="T8" fmla="*/ 2147483647 w 631"/>
                  <a:gd name="T9" fmla="*/ 2147483647 h 592"/>
                  <a:gd name="T10" fmla="*/ 2147483647 w 631"/>
                  <a:gd name="T11" fmla="*/ 2147483647 h 592"/>
                  <a:gd name="T12" fmla="*/ 2147483647 w 631"/>
                  <a:gd name="T13" fmla="*/ 2147483647 h 592"/>
                  <a:gd name="T14" fmla="*/ 2147483647 w 631"/>
                  <a:gd name="T15" fmla="*/ 2147483647 h 592"/>
                  <a:gd name="T16" fmla="*/ 2147483647 w 631"/>
                  <a:gd name="T17" fmla="*/ 2147483647 h 592"/>
                  <a:gd name="T18" fmla="*/ 2147483647 w 631"/>
                  <a:gd name="T19" fmla="*/ 2147483647 h 592"/>
                  <a:gd name="T20" fmla="*/ 2147483647 w 631"/>
                  <a:gd name="T21" fmla="*/ 2147483647 h 592"/>
                  <a:gd name="T22" fmla="*/ 2147483647 w 631"/>
                  <a:gd name="T23" fmla="*/ 2147483647 h 592"/>
                  <a:gd name="T24" fmla="*/ 2147483647 w 631"/>
                  <a:gd name="T25" fmla="*/ 2147483647 h 592"/>
                  <a:gd name="T26" fmla="*/ 2147483647 w 631"/>
                  <a:gd name="T27" fmla="*/ 2147483647 h 592"/>
                  <a:gd name="T28" fmla="*/ 2147483647 w 631"/>
                  <a:gd name="T29" fmla="*/ 2147483647 h 592"/>
                  <a:gd name="T30" fmla="*/ 2147483647 w 631"/>
                  <a:gd name="T31" fmla="*/ 2147483647 h 592"/>
                  <a:gd name="T32" fmla="*/ 2147483647 w 631"/>
                  <a:gd name="T33" fmla="*/ 2147483647 h 592"/>
                  <a:gd name="T34" fmla="*/ 2147483647 w 631"/>
                  <a:gd name="T35" fmla="*/ 2147483647 h 592"/>
                  <a:gd name="T36" fmla="*/ 2147483647 w 631"/>
                  <a:gd name="T37" fmla="*/ 2147483647 h 592"/>
                  <a:gd name="T38" fmla="*/ 2147483647 w 631"/>
                  <a:gd name="T39" fmla="*/ 2147483647 h 592"/>
                  <a:gd name="T40" fmla="*/ 2147483647 w 631"/>
                  <a:gd name="T41" fmla="*/ 2147483647 h 592"/>
                  <a:gd name="T42" fmla="*/ 2147483647 w 631"/>
                  <a:gd name="T43" fmla="*/ 2147483647 h 592"/>
                  <a:gd name="T44" fmla="*/ 2147483647 w 631"/>
                  <a:gd name="T45" fmla="*/ 2147483647 h 592"/>
                  <a:gd name="T46" fmla="*/ 2147483647 w 631"/>
                  <a:gd name="T47" fmla="*/ 2147483647 h 592"/>
                  <a:gd name="T48" fmla="*/ 2147483647 w 631"/>
                  <a:gd name="T49" fmla="*/ 2147483647 h 592"/>
                  <a:gd name="T50" fmla="*/ 2147483647 w 631"/>
                  <a:gd name="T51" fmla="*/ 2147483647 h 592"/>
                  <a:gd name="T52" fmla="*/ 2147483647 w 631"/>
                  <a:gd name="T53" fmla="*/ 2147483647 h 592"/>
                  <a:gd name="T54" fmla="*/ 2147483647 w 631"/>
                  <a:gd name="T55" fmla="*/ 2147483647 h 592"/>
                  <a:gd name="T56" fmla="*/ 2147483647 w 631"/>
                  <a:gd name="T57" fmla="*/ 2147483647 h 592"/>
                  <a:gd name="T58" fmla="*/ 2147483647 w 631"/>
                  <a:gd name="T59" fmla="*/ 2147483647 h 592"/>
                  <a:gd name="T60" fmla="*/ 2147483647 w 631"/>
                  <a:gd name="T61" fmla="*/ 2147483647 h 592"/>
                  <a:gd name="T62" fmla="*/ 2147483647 w 631"/>
                  <a:gd name="T63" fmla="*/ 2147483647 h 592"/>
                  <a:gd name="T64" fmla="*/ 2147483647 w 631"/>
                  <a:gd name="T65" fmla="*/ 2147483647 h 592"/>
                  <a:gd name="T66" fmla="*/ 2147483647 w 631"/>
                  <a:gd name="T67" fmla="*/ 2147483647 h 592"/>
                  <a:gd name="T68" fmla="*/ 2147483647 w 631"/>
                  <a:gd name="T69" fmla="*/ 2147483647 h 592"/>
                  <a:gd name="T70" fmla="*/ 2147483647 w 631"/>
                  <a:gd name="T71" fmla="*/ 2147483647 h 592"/>
                  <a:gd name="T72" fmla="*/ 2147483647 w 631"/>
                  <a:gd name="T73" fmla="*/ 2147483647 h 592"/>
                  <a:gd name="T74" fmla="*/ 2147483647 w 631"/>
                  <a:gd name="T75" fmla="*/ 2147483647 h 592"/>
                  <a:gd name="T76" fmla="*/ 2147483647 w 631"/>
                  <a:gd name="T77" fmla="*/ 2147483647 h 592"/>
                  <a:gd name="T78" fmla="*/ 2147483647 w 631"/>
                  <a:gd name="T79" fmla="*/ 2147483647 h 592"/>
                  <a:gd name="T80" fmla="*/ 2147483647 w 631"/>
                  <a:gd name="T81" fmla="*/ 2147483647 h 592"/>
                  <a:gd name="T82" fmla="*/ 2147483647 w 631"/>
                  <a:gd name="T83" fmla="*/ 2147483647 h 592"/>
                  <a:gd name="T84" fmla="*/ 2147483647 w 631"/>
                  <a:gd name="T85" fmla="*/ 2147483647 h 592"/>
                  <a:gd name="T86" fmla="*/ 2025688281 w 631"/>
                  <a:gd name="T87" fmla="*/ 2147483647 h 592"/>
                  <a:gd name="T88" fmla="*/ 891317851 w 631"/>
                  <a:gd name="T89" fmla="*/ 2147483647 h 592"/>
                  <a:gd name="T90" fmla="*/ 161972741 w 631"/>
                  <a:gd name="T91" fmla="*/ 2147483647 h 592"/>
                  <a:gd name="T92" fmla="*/ 0 w 631"/>
                  <a:gd name="T93" fmla="*/ 2147483647 h 592"/>
                  <a:gd name="T94" fmla="*/ 243052580 w 631"/>
                  <a:gd name="T95" fmla="*/ 2147483647 h 592"/>
                  <a:gd name="T96" fmla="*/ 810238011 w 631"/>
                  <a:gd name="T97" fmla="*/ 2147483647 h 592"/>
                  <a:gd name="T98" fmla="*/ 1377423010 w 631"/>
                  <a:gd name="T99" fmla="*/ 2147483647 h 592"/>
                  <a:gd name="T100" fmla="*/ 1620662961 w 631"/>
                  <a:gd name="T101" fmla="*/ 2147483647 h 592"/>
                  <a:gd name="T102" fmla="*/ 1458503282 w 631"/>
                  <a:gd name="T103" fmla="*/ 2147483647 h 592"/>
                  <a:gd name="T104" fmla="*/ 1053290591 w 631"/>
                  <a:gd name="T105" fmla="*/ 2147483647 h 592"/>
                  <a:gd name="T106" fmla="*/ 729345110 w 631"/>
                  <a:gd name="T107" fmla="*/ 2147483647 h 592"/>
                  <a:gd name="T108" fmla="*/ 567185432 w 631"/>
                  <a:gd name="T109" fmla="*/ 2147483647 h 592"/>
                  <a:gd name="T110" fmla="*/ 1053290591 w 631"/>
                  <a:gd name="T111" fmla="*/ 0 h 5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3" name="Freeform 458"/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10198368" y="2776110"/>
                <a:ext cx="17462" cy="57150"/>
              </a:xfrm>
              <a:custGeom>
                <a:avLst/>
                <a:gdLst>
                  <a:gd name="T0" fmla="*/ 582400045 w 40"/>
                  <a:gd name="T1" fmla="*/ 2147483647 h 93"/>
                  <a:gd name="T2" fmla="*/ 832054259 w 40"/>
                  <a:gd name="T3" fmla="*/ 2147483647 h 93"/>
                  <a:gd name="T4" fmla="*/ 1164800091 w 40"/>
                  <a:gd name="T5" fmla="*/ 2147483647 h 93"/>
                  <a:gd name="T6" fmla="*/ 1663918183 w 40"/>
                  <a:gd name="T7" fmla="*/ 2147483647 h 93"/>
                  <a:gd name="T8" fmla="*/ 2079945531 w 40"/>
                  <a:gd name="T9" fmla="*/ 2147483647 h 93"/>
                  <a:gd name="T10" fmla="*/ 2147483647 w 40"/>
                  <a:gd name="T11" fmla="*/ 928214937 h 93"/>
                  <a:gd name="T12" fmla="*/ 2147483647 w 40"/>
                  <a:gd name="T13" fmla="*/ 0 h 93"/>
                  <a:gd name="T14" fmla="*/ 2147483647 w 40"/>
                  <a:gd name="T15" fmla="*/ 2147483647 h 93"/>
                  <a:gd name="T16" fmla="*/ 2147483647 w 40"/>
                  <a:gd name="T17" fmla="*/ 2147483647 h 93"/>
                  <a:gd name="T18" fmla="*/ 2147483647 w 40"/>
                  <a:gd name="T19" fmla="*/ 2147483647 h 93"/>
                  <a:gd name="T20" fmla="*/ 2147483647 w 40"/>
                  <a:gd name="T21" fmla="*/ 2147483647 h 93"/>
                  <a:gd name="T22" fmla="*/ 2147483647 w 40"/>
                  <a:gd name="T23" fmla="*/ 2147483647 h 93"/>
                  <a:gd name="T24" fmla="*/ 2147483647 w 40"/>
                  <a:gd name="T25" fmla="*/ 2147483647 h 93"/>
                  <a:gd name="T26" fmla="*/ 2147483647 w 40"/>
                  <a:gd name="T27" fmla="*/ 2147483647 h 93"/>
                  <a:gd name="T28" fmla="*/ 2147483647 w 40"/>
                  <a:gd name="T29" fmla="*/ 2147483647 h 93"/>
                  <a:gd name="T30" fmla="*/ 2147483647 w 40"/>
                  <a:gd name="T31" fmla="*/ 2147483647 h 93"/>
                  <a:gd name="T32" fmla="*/ 1081518138 w 40"/>
                  <a:gd name="T33" fmla="*/ 2147483647 h 93"/>
                  <a:gd name="T34" fmla="*/ 915145440 w 40"/>
                  <a:gd name="T35" fmla="*/ 2147483647 h 93"/>
                  <a:gd name="T36" fmla="*/ 665491226 w 40"/>
                  <a:gd name="T37" fmla="*/ 2147483647 h 93"/>
                  <a:gd name="T38" fmla="*/ 499118092 w 40"/>
                  <a:gd name="T39" fmla="*/ 2147483647 h 93"/>
                  <a:gd name="T40" fmla="*/ 332745395 w 40"/>
                  <a:gd name="T41" fmla="*/ 2147483647 h 93"/>
                  <a:gd name="T42" fmla="*/ 83281517 w 40"/>
                  <a:gd name="T43" fmla="*/ 2147483647 h 93"/>
                  <a:gd name="T44" fmla="*/ 0 w 40"/>
                  <a:gd name="T45" fmla="*/ 2147483647 h 93"/>
                  <a:gd name="T46" fmla="*/ 83281517 w 40"/>
                  <a:gd name="T47" fmla="*/ 2147483647 h 93"/>
                  <a:gd name="T48" fmla="*/ 249654651 w 40"/>
                  <a:gd name="T49" fmla="*/ 2147483647 h 93"/>
                  <a:gd name="T50" fmla="*/ 499118092 w 40"/>
                  <a:gd name="T51" fmla="*/ 2147483647 h 93"/>
                  <a:gd name="T52" fmla="*/ 582400045 w 40"/>
                  <a:gd name="T53" fmla="*/ 2147483647 h 9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4" name="Freeform 459"/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9838005" y="2526872"/>
                <a:ext cx="295275" cy="273050"/>
              </a:xfrm>
              <a:custGeom>
                <a:avLst/>
                <a:gdLst>
                  <a:gd name="T0" fmla="*/ 2147483647 w 664"/>
                  <a:gd name="T1" fmla="*/ 2147483647 h 518"/>
                  <a:gd name="T2" fmla="*/ 2147483647 w 664"/>
                  <a:gd name="T3" fmla="*/ 2147483647 h 518"/>
                  <a:gd name="T4" fmla="*/ 2147483647 w 664"/>
                  <a:gd name="T5" fmla="*/ 2147483647 h 518"/>
                  <a:gd name="T6" fmla="*/ 2147483647 w 664"/>
                  <a:gd name="T7" fmla="*/ 2147483647 h 518"/>
                  <a:gd name="T8" fmla="*/ 2147483647 w 664"/>
                  <a:gd name="T9" fmla="*/ 2147483647 h 518"/>
                  <a:gd name="T10" fmla="*/ 2147483647 w 664"/>
                  <a:gd name="T11" fmla="*/ 2147483647 h 518"/>
                  <a:gd name="T12" fmla="*/ 2147483647 w 664"/>
                  <a:gd name="T13" fmla="*/ 2147483647 h 518"/>
                  <a:gd name="T14" fmla="*/ 1758791307 w 664"/>
                  <a:gd name="T15" fmla="*/ 2147483647 h 518"/>
                  <a:gd name="T16" fmla="*/ 2110589235 w 664"/>
                  <a:gd name="T17" fmla="*/ 2147483647 h 518"/>
                  <a:gd name="T18" fmla="*/ 2147483647 w 664"/>
                  <a:gd name="T19" fmla="*/ 2147483647 h 518"/>
                  <a:gd name="T20" fmla="*/ 2147483647 w 664"/>
                  <a:gd name="T21" fmla="*/ 2147483647 h 518"/>
                  <a:gd name="T22" fmla="*/ 2147483647 w 664"/>
                  <a:gd name="T23" fmla="*/ 2147483647 h 518"/>
                  <a:gd name="T24" fmla="*/ 2147483647 w 664"/>
                  <a:gd name="T25" fmla="*/ 2147483647 h 518"/>
                  <a:gd name="T26" fmla="*/ 2147483647 w 664"/>
                  <a:gd name="T27" fmla="*/ 2147483647 h 518"/>
                  <a:gd name="T28" fmla="*/ 2147483647 w 664"/>
                  <a:gd name="T29" fmla="*/ 2147483647 h 518"/>
                  <a:gd name="T30" fmla="*/ 2147483647 w 664"/>
                  <a:gd name="T31" fmla="*/ 2147483647 h 518"/>
                  <a:gd name="T32" fmla="*/ 2147483647 w 664"/>
                  <a:gd name="T33" fmla="*/ 2147483647 h 518"/>
                  <a:gd name="T34" fmla="*/ 2147483647 w 664"/>
                  <a:gd name="T35" fmla="*/ 2147483647 h 518"/>
                  <a:gd name="T36" fmla="*/ 2147483647 w 664"/>
                  <a:gd name="T37" fmla="*/ 2147483647 h 518"/>
                  <a:gd name="T38" fmla="*/ 2147483647 w 664"/>
                  <a:gd name="T39" fmla="*/ 2147483647 h 518"/>
                  <a:gd name="T40" fmla="*/ 2147483647 w 664"/>
                  <a:gd name="T41" fmla="*/ 2147483647 h 518"/>
                  <a:gd name="T42" fmla="*/ 2147483647 w 664"/>
                  <a:gd name="T43" fmla="*/ 1757459442 h 518"/>
                  <a:gd name="T44" fmla="*/ 2147483647 w 664"/>
                  <a:gd name="T45" fmla="*/ 585727040 h 518"/>
                  <a:gd name="T46" fmla="*/ 2147483647 w 664"/>
                  <a:gd name="T47" fmla="*/ 2147483647 h 518"/>
                  <a:gd name="T48" fmla="*/ 2147483647 w 664"/>
                  <a:gd name="T49" fmla="*/ 2147483647 h 518"/>
                  <a:gd name="T50" fmla="*/ 2147483647 w 664"/>
                  <a:gd name="T51" fmla="*/ 2147483647 h 518"/>
                  <a:gd name="T52" fmla="*/ 2147483647 w 664"/>
                  <a:gd name="T53" fmla="*/ 2147483647 h 518"/>
                  <a:gd name="T54" fmla="*/ 2147483647 w 664"/>
                  <a:gd name="T55" fmla="*/ 2147483647 h 518"/>
                  <a:gd name="T56" fmla="*/ 2147483647 w 664"/>
                  <a:gd name="T57" fmla="*/ 2147483647 h 518"/>
                  <a:gd name="T58" fmla="*/ 2147483647 w 664"/>
                  <a:gd name="T59" fmla="*/ 2147483647 h 518"/>
                  <a:gd name="T60" fmla="*/ 2147483647 w 664"/>
                  <a:gd name="T61" fmla="*/ 2147483647 h 518"/>
                  <a:gd name="T62" fmla="*/ 2147483647 w 664"/>
                  <a:gd name="T63" fmla="*/ 2147483647 h 518"/>
                  <a:gd name="T64" fmla="*/ 2147483647 w 664"/>
                  <a:gd name="T65" fmla="*/ 2147483647 h 518"/>
                  <a:gd name="T66" fmla="*/ 2147483647 w 664"/>
                  <a:gd name="T67" fmla="*/ 2147483647 h 518"/>
                  <a:gd name="T68" fmla="*/ 2147483647 w 664"/>
                  <a:gd name="T69" fmla="*/ 2147483647 h 518"/>
                  <a:gd name="T70" fmla="*/ 2147483647 w 664"/>
                  <a:gd name="T71" fmla="*/ 2147483647 h 518"/>
                  <a:gd name="T72" fmla="*/ 2147483647 w 664"/>
                  <a:gd name="T73" fmla="*/ 2147483647 h 518"/>
                  <a:gd name="T74" fmla="*/ 2147483647 w 664"/>
                  <a:gd name="T75" fmla="*/ 2147483647 h 518"/>
                  <a:gd name="T76" fmla="*/ 2147483647 w 664"/>
                  <a:gd name="T77" fmla="*/ 2147483647 h 518"/>
                  <a:gd name="T78" fmla="*/ 2147483647 w 664"/>
                  <a:gd name="T79" fmla="*/ 2147483647 h 518"/>
                  <a:gd name="T80" fmla="*/ 2147483647 w 664"/>
                  <a:gd name="T81" fmla="*/ 2147483647 h 518"/>
                  <a:gd name="T82" fmla="*/ 2147483647 w 664"/>
                  <a:gd name="T83" fmla="*/ 2147483647 h 518"/>
                  <a:gd name="T84" fmla="*/ 2147483647 w 664"/>
                  <a:gd name="T85" fmla="*/ 2147483647 h 518"/>
                  <a:gd name="T86" fmla="*/ 2147483647 w 664"/>
                  <a:gd name="T87" fmla="*/ 2147483647 h 518"/>
                  <a:gd name="T88" fmla="*/ 2147483647 w 664"/>
                  <a:gd name="T89" fmla="*/ 2147483647 h 518"/>
                  <a:gd name="T90" fmla="*/ 2147483647 w 664"/>
                  <a:gd name="T91" fmla="*/ 2147483647 h 518"/>
                  <a:gd name="T92" fmla="*/ 2147483647 w 664"/>
                  <a:gd name="T93" fmla="*/ 2147483647 h 518"/>
                  <a:gd name="T94" fmla="*/ 2147483647 w 664"/>
                  <a:gd name="T95" fmla="*/ 2147483647 h 518"/>
                  <a:gd name="T96" fmla="*/ 2147483647 w 664"/>
                  <a:gd name="T97" fmla="*/ 2147483647 h 518"/>
                  <a:gd name="T98" fmla="*/ 2147483647 w 664"/>
                  <a:gd name="T99" fmla="*/ 2147483647 h 518"/>
                  <a:gd name="T100" fmla="*/ 2147483647 w 664"/>
                  <a:gd name="T101" fmla="*/ 2147483647 h 518"/>
                  <a:gd name="T102" fmla="*/ 2147483647 w 664"/>
                  <a:gd name="T103" fmla="*/ 2147483647 h 518"/>
                  <a:gd name="T104" fmla="*/ 2147483647 w 664"/>
                  <a:gd name="T105" fmla="*/ 2147483647 h 518"/>
                  <a:gd name="T106" fmla="*/ 2147483647 w 664"/>
                  <a:gd name="T107" fmla="*/ 2147483647 h 518"/>
                  <a:gd name="T108" fmla="*/ 2147483647 w 664"/>
                  <a:gd name="T109" fmla="*/ 2147483647 h 518"/>
                  <a:gd name="T110" fmla="*/ 2147483647 w 664"/>
                  <a:gd name="T111" fmla="*/ 2147483647 h 518"/>
                  <a:gd name="T112" fmla="*/ 2147483647 w 664"/>
                  <a:gd name="T113" fmla="*/ 2147483647 h 518"/>
                  <a:gd name="T114" fmla="*/ 2147483647 w 664"/>
                  <a:gd name="T115" fmla="*/ 2147483647 h 518"/>
                  <a:gd name="T116" fmla="*/ 2147483647 w 664"/>
                  <a:gd name="T117" fmla="*/ 2147483647 h 518"/>
                  <a:gd name="T118" fmla="*/ 2147483647 w 664"/>
                  <a:gd name="T119" fmla="*/ 2147483647 h 518"/>
                  <a:gd name="T120" fmla="*/ 2147483647 w 664"/>
                  <a:gd name="T121" fmla="*/ 2147483647 h 518"/>
                  <a:gd name="T122" fmla="*/ 2147483647 w 664"/>
                  <a:gd name="T123" fmla="*/ 2147483647 h 5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5" name="Freeform 460"/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10919093" y="2761822"/>
                <a:ext cx="150812" cy="82550"/>
              </a:xfrm>
              <a:custGeom>
                <a:avLst/>
                <a:gdLst>
                  <a:gd name="T0" fmla="*/ 2147483647 w 352"/>
                  <a:gd name="T1" fmla="*/ 2147483647 h 153"/>
                  <a:gd name="T2" fmla="*/ 2147483647 w 352"/>
                  <a:gd name="T3" fmla="*/ 2147483647 h 153"/>
                  <a:gd name="T4" fmla="*/ 2147483647 w 352"/>
                  <a:gd name="T5" fmla="*/ 2147483647 h 153"/>
                  <a:gd name="T6" fmla="*/ 2147483647 w 352"/>
                  <a:gd name="T7" fmla="*/ 2147483647 h 153"/>
                  <a:gd name="T8" fmla="*/ 2147483647 w 352"/>
                  <a:gd name="T9" fmla="*/ 2147483647 h 153"/>
                  <a:gd name="T10" fmla="*/ 2147483647 w 352"/>
                  <a:gd name="T11" fmla="*/ 2147483647 h 153"/>
                  <a:gd name="T12" fmla="*/ 2147483647 w 352"/>
                  <a:gd name="T13" fmla="*/ 2147483647 h 153"/>
                  <a:gd name="T14" fmla="*/ 2147483647 w 352"/>
                  <a:gd name="T15" fmla="*/ 2147483647 h 153"/>
                  <a:gd name="T16" fmla="*/ 2147483647 w 352"/>
                  <a:gd name="T17" fmla="*/ 2147483647 h 153"/>
                  <a:gd name="T18" fmla="*/ 2147483647 w 352"/>
                  <a:gd name="T19" fmla="*/ 2147483647 h 153"/>
                  <a:gd name="T20" fmla="*/ 2147483647 w 352"/>
                  <a:gd name="T21" fmla="*/ 2147483647 h 153"/>
                  <a:gd name="T22" fmla="*/ 2147483647 w 352"/>
                  <a:gd name="T23" fmla="*/ 2147483647 h 153"/>
                  <a:gd name="T24" fmla="*/ 2147483647 w 352"/>
                  <a:gd name="T25" fmla="*/ 2147483647 h 153"/>
                  <a:gd name="T26" fmla="*/ 2147483647 w 352"/>
                  <a:gd name="T27" fmla="*/ 2147483647 h 153"/>
                  <a:gd name="T28" fmla="*/ 2147483647 w 352"/>
                  <a:gd name="T29" fmla="*/ 2147483647 h 153"/>
                  <a:gd name="T30" fmla="*/ 2147483647 w 352"/>
                  <a:gd name="T31" fmla="*/ 2147483647 h 153"/>
                  <a:gd name="T32" fmla="*/ 2147483647 w 352"/>
                  <a:gd name="T33" fmla="*/ 2147483647 h 153"/>
                  <a:gd name="T34" fmla="*/ 2147483647 w 352"/>
                  <a:gd name="T35" fmla="*/ 2147483647 h 153"/>
                  <a:gd name="T36" fmla="*/ 2147483647 w 352"/>
                  <a:gd name="T37" fmla="*/ 2147483647 h 153"/>
                  <a:gd name="T38" fmla="*/ 2147483647 w 352"/>
                  <a:gd name="T39" fmla="*/ 2147483647 h 153"/>
                  <a:gd name="T40" fmla="*/ 2147483647 w 352"/>
                  <a:gd name="T41" fmla="*/ 2147483647 h 153"/>
                  <a:gd name="T42" fmla="*/ 2147483647 w 352"/>
                  <a:gd name="T43" fmla="*/ 2147483647 h 153"/>
                  <a:gd name="T44" fmla="*/ 2147483647 w 352"/>
                  <a:gd name="T45" fmla="*/ 2147483647 h 153"/>
                  <a:gd name="T46" fmla="*/ 2147483647 w 352"/>
                  <a:gd name="T47" fmla="*/ 2147483647 h 153"/>
                  <a:gd name="T48" fmla="*/ 2147483647 w 352"/>
                  <a:gd name="T49" fmla="*/ 2147483647 h 153"/>
                  <a:gd name="T50" fmla="*/ 2147483647 w 352"/>
                  <a:gd name="T51" fmla="*/ 2147483647 h 153"/>
                  <a:gd name="T52" fmla="*/ 1179762859 w 352"/>
                  <a:gd name="T53" fmla="*/ 1099507729 h 153"/>
                  <a:gd name="T54" fmla="*/ 0 w 352"/>
                  <a:gd name="T55" fmla="*/ 0 h 153"/>
                  <a:gd name="T56" fmla="*/ 550507073 w 352"/>
                  <a:gd name="T57" fmla="*/ 0 h 153"/>
                  <a:gd name="T58" fmla="*/ 2147483647 w 352"/>
                  <a:gd name="T59" fmla="*/ 2147483647 h 153"/>
                  <a:gd name="T60" fmla="*/ 2147483647 w 352"/>
                  <a:gd name="T61" fmla="*/ 2147483647 h 153"/>
                  <a:gd name="T62" fmla="*/ 2147483647 w 352"/>
                  <a:gd name="T63" fmla="*/ 2147483647 h 153"/>
                  <a:gd name="T64" fmla="*/ 2147483647 w 352"/>
                  <a:gd name="T65" fmla="*/ 2147483647 h 153"/>
                  <a:gd name="T66" fmla="*/ 2147483647 w 352"/>
                  <a:gd name="T67" fmla="*/ 2147483647 h 153"/>
                  <a:gd name="T68" fmla="*/ 2147483647 w 352"/>
                  <a:gd name="T69" fmla="*/ 2147483647 h 153"/>
                  <a:gd name="T70" fmla="*/ 2147483647 w 352"/>
                  <a:gd name="T71" fmla="*/ 2147483647 h 153"/>
                  <a:gd name="T72" fmla="*/ 2147483647 w 352"/>
                  <a:gd name="T73" fmla="*/ 2147483647 h 153"/>
                  <a:gd name="T74" fmla="*/ 2147483647 w 352"/>
                  <a:gd name="T75" fmla="*/ 2147483647 h 15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52" h="153">
                    <a:moveTo>
                      <a:pt x="332" y="91"/>
                    </a:moveTo>
                    <a:lnTo>
                      <a:pt x="352" y="153"/>
                    </a:lnTo>
                    <a:lnTo>
                      <a:pt x="326" y="141"/>
                    </a:lnTo>
                    <a:lnTo>
                      <a:pt x="299" y="129"/>
                    </a:lnTo>
                    <a:lnTo>
                      <a:pt x="266" y="141"/>
                    </a:lnTo>
                    <a:lnTo>
                      <a:pt x="232" y="141"/>
                    </a:lnTo>
                    <a:lnTo>
                      <a:pt x="227" y="135"/>
                    </a:lnTo>
                    <a:lnTo>
                      <a:pt x="226" y="135"/>
                    </a:lnTo>
                    <a:lnTo>
                      <a:pt x="219" y="129"/>
                    </a:lnTo>
                    <a:lnTo>
                      <a:pt x="213" y="125"/>
                    </a:lnTo>
                    <a:lnTo>
                      <a:pt x="205" y="121"/>
                    </a:lnTo>
                    <a:lnTo>
                      <a:pt x="197" y="118"/>
                    </a:lnTo>
                    <a:lnTo>
                      <a:pt x="181" y="113"/>
                    </a:lnTo>
                    <a:lnTo>
                      <a:pt x="163" y="110"/>
                    </a:lnTo>
                    <a:lnTo>
                      <a:pt x="126" y="107"/>
                    </a:lnTo>
                    <a:lnTo>
                      <a:pt x="86" y="104"/>
                    </a:lnTo>
                    <a:lnTo>
                      <a:pt x="85" y="94"/>
                    </a:lnTo>
                    <a:lnTo>
                      <a:pt x="82" y="84"/>
                    </a:lnTo>
                    <a:lnTo>
                      <a:pt x="80" y="75"/>
                    </a:lnTo>
                    <a:lnTo>
                      <a:pt x="75" y="67"/>
                    </a:lnTo>
                    <a:lnTo>
                      <a:pt x="71" y="59"/>
                    </a:lnTo>
                    <a:lnTo>
                      <a:pt x="67" y="52"/>
                    </a:lnTo>
                    <a:lnTo>
                      <a:pt x="61" y="44"/>
                    </a:lnTo>
                    <a:lnTo>
                      <a:pt x="56" y="37"/>
                    </a:lnTo>
                    <a:lnTo>
                      <a:pt x="44" y="26"/>
                    </a:lnTo>
                    <a:lnTo>
                      <a:pt x="29" y="16"/>
                    </a:lnTo>
                    <a:lnTo>
                      <a:pt x="15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60" y="18"/>
                    </a:lnTo>
                    <a:lnTo>
                      <a:pt x="106" y="30"/>
                    </a:lnTo>
                    <a:lnTo>
                      <a:pt x="134" y="18"/>
                    </a:lnTo>
                    <a:lnTo>
                      <a:pt x="180" y="36"/>
                    </a:lnTo>
                    <a:lnTo>
                      <a:pt x="206" y="55"/>
                    </a:lnTo>
                    <a:lnTo>
                      <a:pt x="246" y="49"/>
                    </a:lnTo>
                    <a:lnTo>
                      <a:pt x="286" y="61"/>
                    </a:lnTo>
                    <a:lnTo>
                      <a:pt x="313" y="79"/>
                    </a:lnTo>
                    <a:lnTo>
                      <a:pt x="332" y="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6" name="Freeform 461"/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10468243" y="2822147"/>
                <a:ext cx="147637" cy="173038"/>
              </a:xfrm>
              <a:custGeom>
                <a:avLst/>
                <a:gdLst>
                  <a:gd name="T0" fmla="*/ 2147483647 w 331"/>
                  <a:gd name="T1" fmla="*/ 2147483647 h 327"/>
                  <a:gd name="T2" fmla="*/ 2147483647 w 331"/>
                  <a:gd name="T3" fmla="*/ 2147483647 h 327"/>
                  <a:gd name="T4" fmla="*/ 2147483647 w 331"/>
                  <a:gd name="T5" fmla="*/ 2147483647 h 327"/>
                  <a:gd name="T6" fmla="*/ 2147483647 w 331"/>
                  <a:gd name="T7" fmla="*/ 2147483647 h 327"/>
                  <a:gd name="T8" fmla="*/ 2147483647 w 331"/>
                  <a:gd name="T9" fmla="*/ 2147483647 h 327"/>
                  <a:gd name="T10" fmla="*/ 2147483647 w 331"/>
                  <a:gd name="T11" fmla="*/ 2147483647 h 327"/>
                  <a:gd name="T12" fmla="*/ 2147483647 w 331"/>
                  <a:gd name="T13" fmla="*/ 2147483647 h 327"/>
                  <a:gd name="T14" fmla="*/ 2147483647 w 331"/>
                  <a:gd name="T15" fmla="*/ 2147483647 h 327"/>
                  <a:gd name="T16" fmla="*/ 2147483647 w 331"/>
                  <a:gd name="T17" fmla="*/ 2147483647 h 327"/>
                  <a:gd name="T18" fmla="*/ 2147483647 w 331"/>
                  <a:gd name="T19" fmla="*/ 2147483647 h 327"/>
                  <a:gd name="T20" fmla="*/ 2147483647 w 331"/>
                  <a:gd name="T21" fmla="*/ 2147483647 h 327"/>
                  <a:gd name="T22" fmla="*/ 2147483647 w 331"/>
                  <a:gd name="T23" fmla="*/ 2147483647 h 327"/>
                  <a:gd name="T24" fmla="*/ 2147483647 w 331"/>
                  <a:gd name="T25" fmla="*/ 2147483647 h 327"/>
                  <a:gd name="T26" fmla="*/ 2147483647 w 331"/>
                  <a:gd name="T27" fmla="*/ 2147483647 h 327"/>
                  <a:gd name="T28" fmla="*/ 2147483647 w 331"/>
                  <a:gd name="T29" fmla="*/ 2147483647 h 327"/>
                  <a:gd name="T30" fmla="*/ 2147483647 w 331"/>
                  <a:gd name="T31" fmla="*/ 2147483647 h 327"/>
                  <a:gd name="T32" fmla="*/ 2147483647 w 331"/>
                  <a:gd name="T33" fmla="*/ 2147483647 h 327"/>
                  <a:gd name="T34" fmla="*/ 2147483647 w 331"/>
                  <a:gd name="T35" fmla="*/ 2147483647 h 327"/>
                  <a:gd name="T36" fmla="*/ 2147483647 w 331"/>
                  <a:gd name="T37" fmla="*/ 2147483647 h 327"/>
                  <a:gd name="T38" fmla="*/ 2147483647 w 331"/>
                  <a:gd name="T39" fmla="*/ 2147483647 h 327"/>
                  <a:gd name="T40" fmla="*/ 2147483647 w 331"/>
                  <a:gd name="T41" fmla="*/ 2147483647 h 327"/>
                  <a:gd name="T42" fmla="*/ 2147483647 w 331"/>
                  <a:gd name="T43" fmla="*/ 2147483647 h 327"/>
                  <a:gd name="T44" fmla="*/ 2147483647 w 331"/>
                  <a:gd name="T45" fmla="*/ 2147483647 h 327"/>
                  <a:gd name="T46" fmla="*/ 2147483647 w 331"/>
                  <a:gd name="T47" fmla="*/ 2147483647 h 327"/>
                  <a:gd name="T48" fmla="*/ 2147483647 w 331"/>
                  <a:gd name="T49" fmla="*/ 2147483647 h 327"/>
                  <a:gd name="T50" fmla="*/ 2147483647 w 331"/>
                  <a:gd name="T51" fmla="*/ 2147483647 h 327"/>
                  <a:gd name="T52" fmla="*/ 2147483647 w 331"/>
                  <a:gd name="T53" fmla="*/ 2147483647 h 327"/>
                  <a:gd name="T54" fmla="*/ 2147483647 w 331"/>
                  <a:gd name="T55" fmla="*/ 2147483647 h 327"/>
                  <a:gd name="T56" fmla="*/ 2147483647 w 331"/>
                  <a:gd name="T57" fmla="*/ 2147483647 h 327"/>
                  <a:gd name="T58" fmla="*/ 2147483647 w 331"/>
                  <a:gd name="T59" fmla="*/ 2147483647 h 327"/>
                  <a:gd name="T60" fmla="*/ 2147483647 w 331"/>
                  <a:gd name="T61" fmla="*/ 2147483647 h 327"/>
                  <a:gd name="T62" fmla="*/ 2147483647 w 331"/>
                  <a:gd name="T63" fmla="*/ 2147483647 h 327"/>
                  <a:gd name="T64" fmla="*/ 2147483647 w 331"/>
                  <a:gd name="T65" fmla="*/ 2147483647 h 327"/>
                  <a:gd name="T66" fmla="*/ 2147483647 w 331"/>
                  <a:gd name="T67" fmla="*/ 2147483647 h 327"/>
                  <a:gd name="T68" fmla="*/ 1153486989 w 331"/>
                  <a:gd name="T69" fmla="*/ 2147483647 h 327"/>
                  <a:gd name="T70" fmla="*/ 0 w 331"/>
                  <a:gd name="T71" fmla="*/ 2147483647 h 327"/>
                  <a:gd name="T72" fmla="*/ 2147483647 w 331"/>
                  <a:gd name="T73" fmla="*/ 2147483647 h 327"/>
                  <a:gd name="T74" fmla="*/ 2147483647 w 331"/>
                  <a:gd name="T75" fmla="*/ 2147483647 h 327"/>
                  <a:gd name="T76" fmla="*/ 2147483647 w 331"/>
                  <a:gd name="T77" fmla="*/ 2147483647 h 327"/>
                  <a:gd name="T78" fmla="*/ 2147483647 w 331"/>
                  <a:gd name="T79" fmla="*/ 2147483647 h 327"/>
                  <a:gd name="T80" fmla="*/ 2147483647 w 331"/>
                  <a:gd name="T81" fmla="*/ 2074380602 h 327"/>
                  <a:gd name="T82" fmla="*/ 2147483647 w 331"/>
                  <a:gd name="T83" fmla="*/ 1037190301 h 327"/>
                  <a:gd name="T84" fmla="*/ 2147483647 w 331"/>
                  <a:gd name="T85" fmla="*/ 2074380602 h 327"/>
                  <a:gd name="T86" fmla="*/ 2147483647 w 331"/>
                  <a:gd name="T87" fmla="*/ 2147483647 h 327"/>
                  <a:gd name="T88" fmla="*/ 2147483647 w 331"/>
                  <a:gd name="T89" fmla="*/ 2147483647 h 327"/>
                  <a:gd name="T90" fmla="*/ 2147483647 w 331"/>
                  <a:gd name="T91" fmla="*/ 2147483647 h 327"/>
                  <a:gd name="T92" fmla="*/ 2147483647 w 331"/>
                  <a:gd name="T93" fmla="*/ 889060248 h 327"/>
                  <a:gd name="T94" fmla="*/ 2147483647 w 331"/>
                  <a:gd name="T95" fmla="*/ 2147483647 h 3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7" name="Freeform 462"/>
              <p:cNvSpPr>
                <a:spLocks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10552380" y="3014235"/>
                <a:ext cx="69850" cy="57150"/>
              </a:xfrm>
              <a:custGeom>
                <a:avLst/>
                <a:gdLst>
                  <a:gd name="T0" fmla="*/ 0 w 153"/>
                  <a:gd name="T1" fmla="*/ 0 h 49"/>
                  <a:gd name="T2" fmla="*/ 2147483647 w 153"/>
                  <a:gd name="T3" fmla="*/ 2147483647 h 49"/>
                  <a:gd name="T4" fmla="*/ 2147483647 w 153"/>
                  <a:gd name="T5" fmla="*/ 2147483647 h 49"/>
                  <a:gd name="T6" fmla="*/ 2147483647 w 153"/>
                  <a:gd name="T7" fmla="*/ 2147483647 h 49"/>
                  <a:gd name="T8" fmla="*/ 2147483647 w 153"/>
                  <a:gd name="T9" fmla="*/ 2147483647 h 49"/>
                  <a:gd name="T10" fmla="*/ 2147483647 w 153"/>
                  <a:gd name="T11" fmla="*/ 2147483647 h 49"/>
                  <a:gd name="T12" fmla="*/ 2147483647 w 153"/>
                  <a:gd name="T13" fmla="*/ 2147483647 h 49"/>
                  <a:gd name="T14" fmla="*/ 2147483647 w 153"/>
                  <a:gd name="T15" fmla="*/ 2147483647 h 49"/>
                  <a:gd name="T16" fmla="*/ 2147483647 w 153"/>
                  <a:gd name="T17" fmla="*/ 0 h 49"/>
                  <a:gd name="T18" fmla="*/ 2147483647 w 153"/>
                  <a:gd name="T19" fmla="*/ 2147483647 h 49"/>
                  <a:gd name="T20" fmla="*/ 2147483647 w 153"/>
                  <a:gd name="T21" fmla="*/ 2147483647 h 49"/>
                  <a:gd name="T22" fmla="*/ 2147483647 w 153"/>
                  <a:gd name="T23" fmla="*/ 2147483647 h 49"/>
                  <a:gd name="T24" fmla="*/ 2147483647 w 153"/>
                  <a:gd name="T25" fmla="*/ 2147483647 h 49"/>
                  <a:gd name="T26" fmla="*/ 2147483647 w 153"/>
                  <a:gd name="T27" fmla="*/ 2147483647 h 49"/>
                  <a:gd name="T28" fmla="*/ 2147483647 w 153"/>
                  <a:gd name="T29" fmla="*/ 2147483647 h 49"/>
                  <a:gd name="T30" fmla="*/ 2147483647 w 153"/>
                  <a:gd name="T31" fmla="*/ 2147483647 h 49"/>
                  <a:gd name="T32" fmla="*/ 2147483647 w 153"/>
                  <a:gd name="T33" fmla="*/ 2147483647 h 49"/>
                  <a:gd name="T34" fmla="*/ 2147483647 w 153"/>
                  <a:gd name="T35" fmla="*/ 2147483647 h 49"/>
                  <a:gd name="T36" fmla="*/ 2147483647 w 153"/>
                  <a:gd name="T37" fmla="*/ 2147483647 h 49"/>
                  <a:gd name="T38" fmla="*/ 2147483647 w 153"/>
                  <a:gd name="T39" fmla="*/ 2147483647 h 49"/>
                  <a:gd name="T40" fmla="*/ 2147483647 w 153"/>
                  <a:gd name="T41" fmla="*/ 2147483647 h 49"/>
                  <a:gd name="T42" fmla="*/ 2147483647 w 153"/>
                  <a:gd name="T43" fmla="*/ 2147483647 h 49"/>
                  <a:gd name="T44" fmla="*/ 2147483647 w 153"/>
                  <a:gd name="T45" fmla="*/ 2147483647 h 49"/>
                  <a:gd name="T46" fmla="*/ 2093421392 w 153"/>
                  <a:gd name="T47" fmla="*/ 2147483647 h 49"/>
                  <a:gd name="T48" fmla="*/ 0 w 153"/>
                  <a:gd name="T49" fmla="*/ 2147483647 h 49"/>
                  <a:gd name="T50" fmla="*/ 0 w 153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8" name="Freeform 463"/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9631630" y="3746072"/>
                <a:ext cx="187325" cy="158750"/>
              </a:xfrm>
              <a:custGeom>
                <a:avLst/>
                <a:gdLst>
                  <a:gd name="T0" fmla="*/ 2147483647 w 426"/>
                  <a:gd name="T1" fmla="*/ 2147483647 h 299"/>
                  <a:gd name="T2" fmla="*/ 2147483647 w 426"/>
                  <a:gd name="T3" fmla="*/ 2147483647 h 299"/>
                  <a:gd name="T4" fmla="*/ 2147483647 w 426"/>
                  <a:gd name="T5" fmla="*/ 2147483647 h 299"/>
                  <a:gd name="T6" fmla="*/ 2147483647 w 426"/>
                  <a:gd name="T7" fmla="*/ 2147483647 h 299"/>
                  <a:gd name="T8" fmla="*/ 2147483647 w 426"/>
                  <a:gd name="T9" fmla="*/ 2147483647 h 299"/>
                  <a:gd name="T10" fmla="*/ 2147483647 w 426"/>
                  <a:gd name="T11" fmla="*/ 2147483647 h 299"/>
                  <a:gd name="T12" fmla="*/ 2147483647 w 426"/>
                  <a:gd name="T13" fmla="*/ 2147483647 h 299"/>
                  <a:gd name="T14" fmla="*/ 2147483647 w 426"/>
                  <a:gd name="T15" fmla="*/ 2147483647 h 299"/>
                  <a:gd name="T16" fmla="*/ 2147483647 w 426"/>
                  <a:gd name="T17" fmla="*/ 2147483647 h 299"/>
                  <a:gd name="T18" fmla="*/ 2147483647 w 426"/>
                  <a:gd name="T19" fmla="*/ 2147483647 h 299"/>
                  <a:gd name="T20" fmla="*/ 2147483647 w 426"/>
                  <a:gd name="T21" fmla="*/ 2147483647 h 299"/>
                  <a:gd name="T22" fmla="*/ 2147483647 w 426"/>
                  <a:gd name="T23" fmla="*/ 2147483647 h 299"/>
                  <a:gd name="T24" fmla="*/ 2147483647 w 426"/>
                  <a:gd name="T25" fmla="*/ 2147483647 h 299"/>
                  <a:gd name="T26" fmla="*/ 2147483647 w 426"/>
                  <a:gd name="T27" fmla="*/ 2147483647 h 299"/>
                  <a:gd name="T28" fmla="*/ 2147483647 w 426"/>
                  <a:gd name="T29" fmla="*/ 2147483647 h 299"/>
                  <a:gd name="T30" fmla="*/ 2147483647 w 426"/>
                  <a:gd name="T31" fmla="*/ 2147483647 h 299"/>
                  <a:gd name="T32" fmla="*/ 2147483647 w 426"/>
                  <a:gd name="T33" fmla="*/ 2147483647 h 299"/>
                  <a:gd name="T34" fmla="*/ 2147483647 w 426"/>
                  <a:gd name="T35" fmla="*/ 2147483647 h 299"/>
                  <a:gd name="T36" fmla="*/ 2147483647 w 426"/>
                  <a:gd name="T37" fmla="*/ 2147483647 h 299"/>
                  <a:gd name="T38" fmla="*/ 2147483647 w 426"/>
                  <a:gd name="T39" fmla="*/ 2147483647 h 299"/>
                  <a:gd name="T40" fmla="*/ 2147483647 w 426"/>
                  <a:gd name="T41" fmla="*/ 2147483647 h 299"/>
                  <a:gd name="T42" fmla="*/ 2147483647 w 426"/>
                  <a:gd name="T43" fmla="*/ 2147483647 h 299"/>
                  <a:gd name="T44" fmla="*/ 2147483647 w 426"/>
                  <a:gd name="T45" fmla="*/ 2147483647 h 299"/>
                  <a:gd name="T46" fmla="*/ 2147483647 w 426"/>
                  <a:gd name="T47" fmla="*/ 2147483647 h 299"/>
                  <a:gd name="T48" fmla="*/ 2147483647 w 426"/>
                  <a:gd name="T49" fmla="*/ 2147483647 h 299"/>
                  <a:gd name="T50" fmla="*/ 2147483647 w 426"/>
                  <a:gd name="T51" fmla="*/ 2147483647 h 299"/>
                  <a:gd name="T52" fmla="*/ 2147483647 w 426"/>
                  <a:gd name="T53" fmla="*/ 2147483647 h 299"/>
                  <a:gd name="T54" fmla="*/ 2147483647 w 426"/>
                  <a:gd name="T55" fmla="*/ 2147483647 h 299"/>
                  <a:gd name="T56" fmla="*/ 2147483647 w 426"/>
                  <a:gd name="T57" fmla="*/ 2147483647 h 299"/>
                  <a:gd name="T58" fmla="*/ 2147483647 w 426"/>
                  <a:gd name="T59" fmla="*/ 2147483647 h 299"/>
                  <a:gd name="T60" fmla="*/ 2147483647 w 426"/>
                  <a:gd name="T61" fmla="*/ 2147483647 h 299"/>
                  <a:gd name="T62" fmla="*/ 2147483647 w 426"/>
                  <a:gd name="T63" fmla="*/ 2147483647 h 299"/>
                  <a:gd name="T64" fmla="*/ 2147483647 w 426"/>
                  <a:gd name="T65" fmla="*/ 2147483647 h 299"/>
                  <a:gd name="T66" fmla="*/ 2147483647 w 426"/>
                  <a:gd name="T67" fmla="*/ 2147483647 h 299"/>
                  <a:gd name="T68" fmla="*/ 2147483647 w 426"/>
                  <a:gd name="T69" fmla="*/ 2147483647 h 299"/>
                  <a:gd name="T70" fmla="*/ 2147483647 w 426"/>
                  <a:gd name="T71" fmla="*/ 2147483647 h 299"/>
                  <a:gd name="T72" fmla="*/ 2147483647 w 426"/>
                  <a:gd name="T73" fmla="*/ 2147483647 h 299"/>
                  <a:gd name="T74" fmla="*/ 2147483647 w 426"/>
                  <a:gd name="T75" fmla="*/ 2147483647 h 299"/>
                  <a:gd name="T76" fmla="*/ 2147483647 w 426"/>
                  <a:gd name="T77" fmla="*/ 2147483647 h 299"/>
                  <a:gd name="T78" fmla="*/ 2147483647 w 426"/>
                  <a:gd name="T79" fmla="*/ 2147483647 h 299"/>
                  <a:gd name="T80" fmla="*/ 2147483647 w 426"/>
                  <a:gd name="T81" fmla="*/ 2147483647 h 299"/>
                  <a:gd name="T82" fmla="*/ 2147483647 w 426"/>
                  <a:gd name="T83" fmla="*/ 2147483647 h 299"/>
                  <a:gd name="T84" fmla="*/ 2147483647 w 426"/>
                  <a:gd name="T85" fmla="*/ 2147483647 h 299"/>
                  <a:gd name="T86" fmla="*/ 2147483647 w 426"/>
                  <a:gd name="T87" fmla="*/ 2147483647 h 299"/>
                  <a:gd name="T88" fmla="*/ 2147483647 w 426"/>
                  <a:gd name="T89" fmla="*/ 2147483647 h 299"/>
                  <a:gd name="T90" fmla="*/ 2147483647 w 426"/>
                  <a:gd name="T91" fmla="*/ 2147483647 h 299"/>
                  <a:gd name="T92" fmla="*/ 2147483647 w 426"/>
                  <a:gd name="T93" fmla="*/ 2147483647 h 299"/>
                  <a:gd name="T94" fmla="*/ 2147483647 w 426"/>
                  <a:gd name="T95" fmla="*/ 2147483647 h 299"/>
                  <a:gd name="T96" fmla="*/ 2147483647 w 426"/>
                  <a:gd name="T97" fmla="*/ 2147483647 h 299"/>
                  <a:gd name="T98" fmla="*/ 2147483647 w 426"/>
                  <a:gd name="T99" fmla="*/ 2147483647 h 299"/>
                  <a:gd name="T100" fmla="*/ 2147483647 w 426"/>
                  <a:gd name="T101" fmla="*/ 2147483647 h 299"/>
                  <a:gd name="T102" fmla="*/ 2147483647 w 426"/>
                  <a:gd name="T103" fmla="*/ 2147483647 h 299"/>
                  <a:gd name="T104" fmla="*/ 2147483647 w 426"/>
                  <a:gd name="T105" fmla="*/ 2147483647 h 299"/>
                  <a:gd name="T106" fmla="*/ 2040748012 w 426"/>
                  <a:gd name="T107" fmla="*/ 2147483647 h 299"/>
                  <a:gd name="T108" fmla="*/ 680249191 w 426"/>
                  <a:gd name="T109" fmla="*/ 2147483647 h 299"/>
                  <a:gd name="T110" fmla="*/ 1275418972 w 426"/>
                  <a:gd name="T111" fmla="*/ 2147483647 h 299"/>
                  <a:gd name="T112" fmla="*/ 2147483647 w 426"/>
                  <a:gd name="T113" fmla="*/ 2147483647 h 299"/>
                  <a:gd name="T114" fmla="*/ 2147483647 w 426"/>
                  <a:gd name="T115" fmla="*/ 2147483647 h 299"/>
                  <a:gd name="T116" fmla="*/ 2147483647 w 426"/>
                  <a:gd name="T117" fmla="*/ 2147483647 h 299"/>
                  <a:gd name="T118" fmla="*/ 2147483647 w 426"/>
                  <a:gd name="T119" fmla="*/ 1945628850 h 29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9" name="Freeform 464"/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11676330" y="3009472"/>
                <a:ext cx="692150" cy="874713"/>
              </a:xfrm>
              <a:custGeom>
                <a:avLst/>
                <a:gdLst>
                  <a:gd name="T0" fmla="*/ 2147483647 w 1594"/>
                  <a:gd name="T1" fmla="*/ 2147483647 h 1670"/>
                  <a:gd name="T2" fmla="*/ 2147483647 w 1594"/>
                  <a:gd name="T3" fmla="*/ 2147483647 h 1670"/>
                  <a:gd name="T4" fmla="*/ 2147483647 w 1594"/>
                  <a:gd name="T5" fmla="*/ 2147483647 h 1670"/>
                  <a:gd name="T6" fmla="*/ 2147483647 w 1594"/>
                  <a:gd name="T7" fmla="*/ 2147483647 h 1670"/>
                  <a:gd name="T8" fmla="*/ 2147483647 w 1594"/>
                  <a:gd name="T9" fmla="*/ 2147483647 h 1670"/>
                  <a:gd name="T10" fmla="*/ 2147483647 w 1594"/>
                  <a:gd name="T11" fmla="*/ 2147483647 h 1670"/>
                  <a:gd name="T12" fmla="*/ 2147483647 w 1594"/>
                  <a:gd name="T13" fmla="*/ 2147483647 h 1670"/>
                  <a:gd name="T14" fmla="*/ 2147483647 w 1594"/>
                  <a:gd name="T15" fmla="*/ 2147483647 h 1670"/>
                  <a:gd name="T16" fmla="*/ 2147483647 w 1594"/>
                  <a:gd name="T17" fmla="*/ 2147483647 h 1670"/>
                  <a:gd name="T18" fmla="*/ 2147483647 w 1594"/>
                  <a:gd name="T19" fmla="*/ 2147483647 h 1670"/>
                  <a:gd name="T20" fmla="*/ 2147483647 w 1594"/>
                  <a:gd name="T21" fmla="*/ 2147483647 h 1670"/>
                  <a:gd name="T22" fmla="*/ 2147483647 w 1594"/>
                  <a:gd name="T23" fmla="*/ 2147483647 h 1670"/>
                  <a:gd name="T24" fmla="*/ 2147483647 w 1594"/>
                  <a:gd name="T25" fmla="*/ 2147483647 h 1670"/>
                  <a:gd name="T26" fmla="*/ 2147483647 w 1594"/>
                  <a:gd name="T27" fmla="*/ 2147483647 h 1670"/>
                  <a:gd name="T28" fmla="*/ 2147483647 w 1594"/>
                  <a:gd name="T29" fmla="*/ 2147483647 h 1670"/>
                  <a:gd name="T30" fmla="*/ 2147483647 w 1594"/>
                  <a:gd name="T31" fmla="*/ 2147483647 h 1670"/>
                  <a:gd name="T32" fmla="*/ 2147483647 w 1594"/>
                  <a:gd name="T33" fmla="*/ 2147483647 h 1670"/>
                  <a:gd name="T34" fmla="*/ 2147483647 w 1594"/>
                  <a:gd name="T35" fmla="*/ 2147483647 h 1670"/>
                  <a:gd name="T36" fmla="*/ 2147483647 w 1594"/>
                  <a:gd name="T37" fmla="*/ 2147483647 h 1670"/>
                  <a:gd name="T38" fmla="*/ 2147483647 w 1594"/>
                  <a:gd name="T39" fmla="*/ 2147483647 h 1670"/>
                  <a:gd name="T40" fmla="*/ 2147483647 w 1594"/>
                  <a:gd name="T41" fmla="*/ 2147483647 h 1670"/>
                  <a:gd name="T42" fmla="*/ 2147483647 w 1594"/>
                  <a:gd name="T43" fmla="*/ 2147483647 h 1670"/>
                  <a:gd name="T44" fmla="*/ 2147483647 w 1594"/>
                  <a:gd name="T45" fmla="*/ 2147483647 h 1670"/>
                  <a:gd name="T46" fmla="*/ 2147483647 w 1594"/>
                  <a:gd name="T47" fmla="*/ 2147483647 h 1670"/>
                  <a:gd name="T48" fmla="*/ 2147483647 w 1594"/>
                  <a:gd name="T49" fmla="*/ 2147483647 h 1670"/>
                  <a:gd name="T50" fmla="*/ 2147483647 w 1594"/>
                  <a:gd name="T51" fmla="*/ 2147483647 h 1670"/>
                  <a:gd name="T52" fmla="*/ 2147483647 w 1594"/>
                  <a:gd name="T53" fmla="*/ 2147483647 h 1670"/>
                  <a:gd name="T54" fmla="*/ 2147483647 w 1594"/>
                  <a:gd name="T55" fmla="*/ 2147483647 h 1670"/>
                  <a:gd name="T56" fmla="*/ 2147483647 w 1594"/>
                  <a:gd name="T57" fmla="*/ 2147483647 h 1670"/>
                  <a:gd name="T58" fmla="*/ 2147483647 w 1594"/>
                  <a:gd name="T59" fmla="*/ 2147483647 h 1670"/>
                  <a:gd name="T60" fmla="*/ 2147483647 w 1594"/>
                  <a:gd name="T61" fmla="*/ 2147483647 h 1670"/>
                  <a:gd name="T62" fmla="*/ 2147483647 w 1594"/>
                  <a:gd name="T63" fmla="*/ 2147483647 h 1670"/>
                  <a:gd name="T64" fmla="*/ 2147483647 w 1594"/>
                  <a:gd name="T65" fmla="*/ 2147483647 h 1670"/>
                  <a:gd name="T66" fmla="*/ 2147483647 w 1594"/>
                  <a:gd name="T67" fmla="*/ 2147483647 h 1670"/>
                  <a:gd name="T68" fmla="*/ 2147483647 w 1594"/>
                  <a:gd name="T69" fmla="*/ 2147483647 h 1670"/>
                  <a:gd name="T70" fmla="*/ 2147483647 w 1594"/>
                  <a:gd name="T71" fmla="*/ 2147483647 h 1670"/>
                  <a:gd name="T72" fmla="*/ 2147483647 w 1594"/>
                  <a:gd name="T73" fmla="*/ 2147483647 h 1670"/>
                  <a:gd name="T74" fmla="*/ 2147483647 w 1594"/>
                  <a:gd name="T75" fmla="*/ 2147483647 h 1670"/>
                  <a:gd name="T76" fmla="*/ 2147483647 w 1594"/>
                  <a:gd name="T77" fmla="*/ 2147483647 h 1670"/>
                  <a:gd name="T78" fmla="*/ 2147483647 w 1594"/>
                  <a:gd name="T79" fmla="*/ 2147483647 h 1670"/>
                  <a:gd name="T80" fmla="*/ 2147483647 w 1594"/>
                  <a:gd name="T81" fmla="*/ 2147483647 h 1670"/>
                  <a:gd name="T82" fmla="*/ 2147483647 w 1594"/>
                  <a:gd name="T83" fmla="*/ 2147483647 h 1670"/>
                  <a:gd name="T84" fmla="*/ 2147483647 w 1594"/>
                  <a:gd name="T85" fmla="*/ 2147483647 h 1670"/>
                  <a:gd name="T86" fmla="*/ 2147483647 w 1594"/>
                  <a:gd name="T87" fmla="*/ 2147483647 h 1670"/>
                  <a:gd name="T88" fmla="*/ 2147483647 w 1594"/>
                  <a:gd name="T89" fmla="*/ 2147483647 h 1670"/>
                  <a:gd name="T90" fmla="*/ 2147483647 w 1594"/>
                  <a:gd name="T91" fmla="*/ 2147483647 h 1670"/>
                  <a:gd name="T92" fmla="*/ 2147483647 w 1594"/>
                  <a:gd name="T93" fmla="*/ 2147483647 h 1670"/>
                  <a:gd name="T94" fmla="*/ 2147483647 w 1594"/>
                  <a:gd name="T95" fmla="*/ 2147483647 h 1670"/>
                  <a:gd name="T96" fmla="*/ 2147483647 w 1594"/>
                  <a:gd name="T97" fmla="*/ 2147483647 h 1670"/>
                  <a:gd name="T98" fmla="*/ 2147483647 w 1594"/>
                  <a:gd name="T99" fmla="*/ 2147483647 h 1670"/>
                  <a:gd name="T100" fmla="*/ 2147483647 w 1594"/>
                  <a:gd name="T101" fmla="*/ 2147483647 h 1670"/>
                  <a:gd name="T102" fmla="*/ 2147483647 w 1594"/>
                  <a:gd name="T103" fmla="*/ 2147483647 h 1670"/>
                  <a:gd name="T104" fmla="*/ 2147483647 w 1594"/>
                  <a:gd name="T105" fmla="*/ 2147483647 h 1670"/>
                  <a:gd name="T106" fmla="*/ 2147483647 w 1594"/>
                  <a:gd name="T107" fmla="*/ 2147483647 h 1670"/>
                  <a:gd name="T108" fmla="*/ 2147483647 w 1594"/>
                  <a:gd name="T109" fmla="*/ 2147483647 h 1670"/>
                  <a:gd name="T110" fmla="*/ 2147483647 w 1594"/>
                  <a:gd name="T111" fmla="*/ 2147483647 h 1670"/>
                  <a:gd name="T112" fmla="*/ 2147483647 w 1594"/>
                  <a:gd name="T113" fmla="*/ 2147483647 h 16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594" h="1670">
                    <a:moveTo>
                      <a:pt x="385" y="0"/>
                    </a:moveTo>
                    <a:lnTo>
                      <a:pt x="400" y="16"/>
                    </a:lnTo>
                    <a:lnTo>
                      <a:pt x="415" y="33"/>
                    </a:lnTo>
                    <a:lnTo>
                      <a:pt x="427" y="48"/>
                    </a:lnTo>
                    <a:lnTo>
                      <a:pt x="437" y="63"/>
                    </a:lnTo>
                    <a:lnTo>
                      <a:pt x="448" y="76"/>
                    </a:lnTo>
                    <a:lnTo>
                      <a:pt x="459" y="90"/>
                    </a:lnTo>
                    <a:lnTo>
                      <a:pt x="464" y="96"/>
                    </a:lnTo>
                    <a:lnTo>
                      <a:pt x="471" y="101"/>
                    </a:lnTo>
                    <a:lnTo>
                      <a:pt x="477" y="107"/>
                    </a:lnTo>
                    <a:lnTo>
                      <a:pt x="485" y="111"/>
                    </a:lnTo>
                    <a:lnTo>
                      <a:pt x="492" y="118"/>
                    </a:lnTo>
                    <a:lnTo>
                      <a:pt x="499" y="126"/>
                    </a:lnTo>
                    <a:lnTo>
                      <a:pt x="506" y="134"/>
                    </a:lnTo>
                    <a:lnTo>
                      <a:pt x="512" y="144"/>
                    </a:lnTo>
                    <a:lnTo>
                      <a:pt x="519" y="153"/>
                    </a:lnTo>
                    <a:lnTo>
                      <a:pt x="523" y="163"/>
                    </a:lnTo>
                    <a:lnTo>
                      <a:pt x="528" y="174"/>
                    </a:lnTo>
                    <a:lnTo>
                      <a:pt x="531" y="185"/>
                    </a:lnTo>
                    <a:lnTo>
                      <a:pt x="485" y="185"/>
                    </a:lnTo>
                    <a:lnTo>
                      <a:pt x="485" y="216"/>
                    </a:lnTo>
                    <a:lnTo>
                      <a:pt x="490" y="229"/>
                    </a:lnTo>
                    <a:lnTo>
                      <a:pt x="497" y="240"/>
                    </a:lnTo>
                    <a:lnTo>
                      <a:pt x="505" y="250"/>
                    </a:lnTo>
                    <a:lnTo>
                      <a:pt x="514" y="257"/>
                    </a:lnTo>
                    <a:lnTo>
                      <a:pt x="523" y="264"/>
                    </a:lnTo>
                    <a:lnTo>
                      <a:pt x="534" y="269"/>
                    </a:lnTo>
                    <a:lnTo>
                      <a:pt x="544" y="274"/>
                    </a:lnTo>
                    <a:lnTo>
                      <a:pt x="556" y="278"/>
                    </a:lnTo>
                    <a:lnTo>
                      <a:pt x="578" y="287"/>
                    </a:lnTo>
                    <a:lnTo>
                      <a:pt x="600" y="296"/>
                    </a:lnTo>
                    <a:lnTo>
                      <a:pt x="610" y="302"/>
                    </a:lnTo>
                    <a:lnTo>
                      <a:pt x="620" y="310"/>
                    </a:lnTo>
                    <a:lnTo>
                      <a:pt x="629" y="318"/>
                    </a:lnTo>
                    <a:lnTo>
                      <a:pt x="638" y="327"/>
                    </a:lnTo>
                    <a:lnTo>
                      <a:pt x="631" y="420"/>
                    </a:lnTo>
                    <a:lnTo>
                      <a:pt x="643" y="429"/>
                    </a:lnTo>
                    <a:lnTo>
                      <a:pt x="660" y="440"/>
                    </a:lnTo>
                    <a:lnTo>
                      <a:pt x="679" y="450"/>
                    </a:lnTo>
                    <a:lnTo>
                      <a:pt x="701" y="459"/>
                    </a:lnTo>
                    <a:lnTo>
                      <a:pt x="723" y="468"/>
                    </a:lnTo>
                    <a:lnTo>
                      <a:pt x="744" y="475"/>
                    </a:lnTo>
                    <a:lnTo>
                      <a:pt x="753" y="478"/>
                    </a:lnTo>
                    <a:lnTo>
                      <a:pt x="762" y="480"/>
                    </a:lnTo>
                    <a:lnTo>
                      <a:pt x="770" y="481"/>
                    </a:lnTo>
                    <a:lnTo>
                      <a:pt x="777" y="481"/>
                    </a:lnTo>
                    <a:lnTo>
                      <a:pt x="779" y="488"/>
                    </a:lnTo>
                    <a:lnTo>
                      <a:pt x="784" y="494"/>
                    </a:lnTo>
                    <a:lnTo>
                      <a:pt x="789" y="497"/>
                    </a:lnTo>
                    <a:lnTo>
                      <a:pt x="795" y="499"/>
                    </a:lnTo>
                    <a:lnTo>
                      <a:pt x="800" y="501"/>
                    </a:lnTo>
                    <a:lnTo>
                      <a:pt x="807" y="501"/>
                    </a:lnTo>
                    <a:lnTo>
                      <a:pt x="814" y="500"/>
                    </a:lnTo>
                    <a:lnTo>
                      <a:pt x="822" y="499"/>
                    </a:lnTo>
                    <a:lnTo>
                      <a:pt x="836" y="496"/>
                    </a:lnTo>
                    <a:lnTo>
                      <a:pt x="852" y="492"/>
                    </a:lnTo>
                    <a:lnTo>
                      <a:pt x="858" y="492"/>
                    </a:lnTo>
                    <a:lnTo>
                      <a:pt x="865" y="491"/>
                    </a:lnTo>
                    <a:lnTo>
                      <a:pt x="871" y="492"/>
                    </a:lnTo>
                    <a:lnTo>
                      <a:pt x="877" y="493"/>
                    </a:lnTo>
                    <a:lnTo>
                      <a:pt x="886" y="499"/>
                    </a:lnTo>
                    <a:lnTo>
                      <a:pt x="892" y="504"/>
                    </a:lnTo>
                    <a:lnTo>
                      <a:pt x="898" y="511"/>
                    </a:lnTo>
                    <a:lnTo>
                      <a:pt x="903" y="517"/>
                    </a:lnTo>
                    <a:lnTo>
                      <a:pt x="908" y="523"/>
                    </a:lnTo>
                    <a:lnTo>
                      <a:pt x="914" y="529"/>
                    </a:lnTo>
                    <a:lnTo>
                      <a:pt x="918" y="532"/>
                    </a:lnTo>
                    <a:lnTo>
                      <a:pt x="921" y="534"/>
                    </a:lnTo>
                    <a:lnTo>
                      <a:pt x="925" y="536"/>
                    </a:lnTo>
                    <a:lnTo>
                      <a:pt x="930" y="537"/>
                    </a:lnTo>
                    <a:lnTo>
                      <a:pt x="946" y="540"/>
                    </a:lnTo>
                    <a:lnTo>
                      <a:pt x="968" y="546"/>
                    </a:lnTo>
                    <a:lnTo>
                      <a:pt x="993" y="552"/>
                    </a:lnTo>
                    <a:lnTo>
                      <a:pt x="1021" y="559"/>
                    </a:lnTo>
                    <a:lnTo>
                      <a:pt x="1047" y="564"/>
                    </a:lnTo>
                    <a:lnTo>
                      <a:pt x="1071" y="568"/>
                    </a:lnTo>
                    <a:lnTo>
                      <a:pt x="1082" y="569"/>
                    </a:lnTo>
                    <a:lnTo>
                      <a:pt x="1090" y="570"/>
                    </a:lnTo>
                    <a:lnTo>
                      <a:pt x="1098" y="569"/>
                    </a:lnTo>
                    <a:lnTo>
                      <a:pt x="1102" y="567"/>
                    </a:lnTo>
                    <a:lnTo>
                      <a:pt x="1098" y="560"/>
                    </a:lnTo>
                    <a:lnTo>
                      <a:pt x="1093" y="552"/>
                    </a:lnTo>
                    <a:lnTo>
                      <a:pt x="1090" y="544"/>
                    </a:lnTo>
                    <a:lnTo>
                      <a:pt x="1088" y="535"/>
                    </a:lnTo>
                    <a:lnTo>
                      <a:pt x="1083" y="520"/>
                    </a:lnTo>
                    <a:lnTo>
                      <a:pt x="1082" y="512"/>
                    </a:lnTo>
                    <a:lnTo>
                      <a:pt x="1082" y="481"/>
                    </a:lnTo>
                    <a:lnTo>
                      <a:pt x="1082" y="450"/>
                    </a:lnTo>
                    <a:lnTo>
                      <a:pt x="1115" y="450"/>
                    </a:lnTo>
                    <a:lnTo>
                      <a:pt x="1121" y="461"/>
                    </a:lnTo>
                    <a:lnTo>
                      <a:pt x="1125" y="468"/>
                    </a:lnTo>
                    <a:lnTo>
                      <a:pt x="1131" y="474"/>
                    </a:lnTo>
                    <a:lnTo>
                      <a:pt x="1136" y="481"/>
                    </a:lnTo>
                    <a:lnTo>
                      <a:pt x="1135" y="497"/>
                    </a:lnTo>
                    <a:lnTo>
                      <a:pt x="1132" y="507"/>
                    </a:lnTo>
                    <a:lnTo>
                      <a:pt x="1130" y="515"/>
                    </a:lnTo>
                    <a:lnTo>
                      <a:pt x="1128" y="524"/>
                    </a:lnTo>
                    <a:lnTo>
                      <a:pt x="1149" y="530"/>
                    </a:lnTo>
                    <a:lnTo>
                      <a:pt x="1169" y="536"/>
                    </a:lnTo>
                    <a:lnTo>
                      <a:pt x="1179" y="539"/>
                    </a:lnTo>
                    <a:lnTo>
                      <a:pt x="1189" y="541"/>
                    </a:lnTo>
                    <a:lnTo>
                      <a:pt x="1199" y="542"/>
                    </a:lnTo>
                    <a:lnTo>
                      <a:pt x="1209" y="543"/>
                    </a:lnTo>
                    <a:lnTo>
                      <a:pt x="1210" y="547"/>
                    </a:lnTo>
                    <a:lnTo>
                      <a:pt x="1212" y="551"/>
                    </a:lnTo>
                    <a:lnTo>
                      <a:pt x="1215" y="554"/>
                    </a:lnTo>
                    <a:lnTo>
                      <a:pt x="1220" y="557"/>
                    </a:lnTo>
                    <a:lnTo>
                      <a:pt x="1228" y="560"/>
                    </a:lnTo>
                    <a:lnTo>
                      <a:pt x="1235" y="561"/>
                    </a:lnTo>
                    <a:lnTo>
                      <a:pt x="1243" y="561"/>
                    </a:lnTo>
                    <a:lnTo>
                      <a:pt x="1249" y="559"/>
                    </a:lnTo>
                    <a:lnTo>
                      <a:pt x="1256" y="556"/>
                    </a:lnTo>
                    <a:lnTo>
                      <a:pt x="1261" y="553"/>
                    </a:lnTo>
                    <a:lnTo>
                      <a:pt x="1267" y="549"/>
                    </a:lnTo>
                    <a:lnTo>
                      <a:pt x="1272" y="544"/>
                    </a:lnTo>
                    <a:lnTo>
                      <a:pt x="1277" y="539"/>
                    </a:lnTo>
                    <a:lnTo>
                      <a:pt x="1281" y="534"/>
                    </a:lnTo>
                    <a:lnTo>
                      <a:pt x="1289" y="521"/>
                    </a:lnTo>
                    <a:lnTo>
                      <a:pt x="1294" y="509"/>
                    </a:lnTo>
                    <a:lnTo>
                      <a:pt x="1299" y="498"/>
                    </a:lnTo>
                    <a:lnTo>
                      <a:pt x="1302" y="487"/>
                    </a:lnTo>
                    <a:lnTo>
                      <a:pt x="1312" y="476"/>
                    </a:lnTo>
                    <a:lnTo>
                      <a:pt x="1322" y="465"/>
                    </a:lnTo>
                    <a:lnTo>
                      <a:pt x="1333" y="456"/>
                    </a:lnTo>
                    <a:lnTo>
                      <a:pt x="1344" y="446"/>
                    </a:lnTo>
                    <a:lnTo>
                      <a:pt x="1356" y="438"/>
                    </a:lnTo>
                    <a:lnTo>
                      <a:pt x="1367" y="430"/>
                    </a:lnTo>
                    <a:lnTo>
                      <a:pt x="1379" y="423"/>
                    </a:lnTo>
                    <a:lnTo>
                      <a:pt x="1391" y="416"/>
                    </a:lnTo>
                    <a:lnTo>
                      <a:pt x="1404" y="409"/>
                    </a:lnTo>
                    <a:lnTo>
                      <a:pt x="1417" y="403"/>
                    </a:lnTo>
                    <a:lnTo>
                      <a:pt x="1430" y="398"/>
                    </a:lnTo>
                    <a:lnTo>
                      <a:pt x="1444" y="393"/>
                    </a:lnTo>
                    <a:lnTo>
                      <a:pt x="1472" y="384"/>
                    </a:lnTo>
                    <a:lnTo>
                      <a:pt x="1501" y="377"/>
                    </a:lnTo>
                    <a:lnTo>
                      <a:pt x="1507" y="385"/>
                    </a:lnTo>
                    <a:lnTo>
                      <a:pt x="1515" y="395"/>
                    </a:lnTo>
                    <a:lnTo>
                      <a:pt x="1526" y="406"/>
                    </a:lnTo>
                    <a:lnTo>
                      <a:pt x="1537" y="418"/>
                    </a:lnTo>
                    <a:lnTo>
                      <a:pt x="1549" y="428"/>
                    </a:lnTo>
                    <a:lnTo>
                      <a:pt x="1562" y="436"/>
                    </a:lnTo>
                    <a:lnTo>
                      <a:pt x="1568" y="440"/>
                    </a:lnTo>
                    <a:lnTo>
                      <a:pt x="1574" y="442"/>
                    </a:lnTo>
                    <a:lnTo>
                      <a:pt x="1581" y="444"/>
                    </a:lnTo>
                    <a:lnTo>
                      <a:pt x="1587" y="444"/>
                    </a:lnTo>
                    <a:lnTo>
                      <a:pt x="1594" y="432"/>
                    </a:lnTo>
                    <a:lnTo>
                      <a:pt x="1590" y="453"/>
                    </a:lnTo>
                    <a:lnTo>
                      <a:pt x="1585" y="477"/>
                    </a:lnTo>
                    <a:lnTo>
                      <a:pt x="1583" y="488"/>
                    </a:lnTo>
                    <a:lnTo>
                      <a:pt x="1579" y="498"/>
                    </a:lnTo>
                    <a:lnTo>
                      <a:pt x="1576" y="502"/>
                    </a:lnTo>
                    <a:lnTo>
                      <a:pt x="1574" y="506"/>
                    </a:lnTo>
                    <a:lnTo>
                      <a:pt x="1571" y="509"/>
                    </a:lnTo>
                    <a:lnTo>
                      <a:pt x="1568" y="512"/>
                    </a:lnTo>
                    <a:lnTo>
                      <a:pt x="1554" y="515"/>
                    </a:lnTo>
                    <a:lnTo>
                      <a:pt x="1531" y="523"/>
                    </a:lnTo>
                    <a:lnTo>
                      <a:pt x="1520" y="530"/>
                    </a:lnTo>
                    <a:lnTo>
                      <a:pt x="1511" y="536"/>
                    </a:lnTo>
                    <a:lnTo>
                      <a:pt x="1506" y="539"/>
                    </a:lnTo>
                    <a:lnTo>
                      <a:pt x="1504" y="542"/>
                    </a:lnTo>
                    <a:lnTo>
                      <a:pt x="1502" y="546"/>
                    </a:lnTo>
                    <a:lnTo>
                      <a:pt x="1501" y="549"/>
                    </a:lnTo>
                    <a:lnTo>
                      <a:pt x="1502" y="584"/>
                    </a:lnTo>
                    <a:lnTo>
                      <a:pt x="1501" y="624"/>
                    </a:lnTo>
                    <a:lnTo>
                      <a:pt x="1498" y="634"/>
                    </a:lnTo>
                    <a:lnTo>
                      <a:pt x="1497" y="645"/>
                    </a:lnTo>
                    <a:lnTo>
                      <a:pt x="1495" y="654"/>
                    </a:lnTo>
                    <a:lnTo>
                      <a:pt x="1493" y="663"/>
                    </a:lnTo>
                    <a:lnTo>
                      <a:pt x="1490" y="671"/>
                    </a:lnTo>
                    <a:lnTo>
                      <a:pt x="1485" y="679"/>
                    </a:lnTo>
                    <a:lnTo>
                      <a:pt x="1480" y="685"/>
                    </a:lnTo>
                    <a:lnTo>
                      <a:pt x="1474" y="690"/>
                    </a:lnTo>
                    <a:lnTo>
                      <a:pt x="1471" y="693"/>
                    </a:lnTo>
                    <a:lnTo>
                      <a:pt x="1464" y="694"/>
                    </a:lnTo>
                    <a:lnTo>
                      <a:pt x="1457" y="695"/>
                    </a:lnTo>
                    <a:lnTo>
                      <a:pt x="1449" y="696"/>
                    </a:lnTo>
                    <a:lnTo>
                      <a:pt x="1441" y="697"/>
                    </a:lnTo>
                    <a:lnTo>
                      <a:pt x="1434" y="700"/>
                    </a:lnTo>
                    <a:lnTo>
                      <a:pt x="1431" y="701"/>
                    </a:lnTo>
                    <a:lnTo>
                      <a:pt x="1429" y="704"/>
                    </a:lnTo>
                    <a:lnTo>
                      <a:pt x="1428" y="706"/>
                    </a:lnTo>
                    <a:lnTo>
                      <a:pt x="1428" y="709"/>
                    </a:lnTo>
                    <a:lnTo>
                      <a:pt x="1427" y="721"/>
                    </a:lnTo>
                    <a:lnTo>
                      <a:pt x="1427" y="735"/>
                    </a:lnTo>
                    <a:lnTo>
                      <a:pt x="1425" y="750"/>
                    </a:lnTo>
                    <a:lnTo>
                      <a:pt x="1423" y="764"/>
                    </a:lnTo>
                    <a:lnTo>
                      <a:pt x="1420" y="778"/>
                    </a:lnTo>
                    <a:lnTo>
                      <a:pt x="1417" y="791"/>
                    </a:lnTo>
                    <a:lnTo>
                      <a:pt x="1413" y="803"/>
                    </a:lnTo>
                    <a:lnTo>
                      <a:pt x="1408" y="814"/>
                    </a:lnTo>
                    <a:lnTo>
                      <a:pt x="1361" y="733"/>
                    </a:lnTo>
                    <a:lnTo>
                      <a:pt x="1359" y="737"/>
                    </a:lnTo>
                    <a:lnTo>
                      <a:pt x="1354" y="746"/>
                    </a:lnTo>
                    <a:lnTo>
                      <a:pt x="1349" y="751"/>
                    </a:lnTo>
                    <a:lnTo>
                      <a:pt x="1345" y="755"/>
                    </a:lnTo>
                    <a:lnTo>
                      <a:pt x="1340" y="758"/>
                    </a:lnTo>
                    <a:lnTo>
                      <a:pt x="1335" y="759"/>
                    </a:lnTo>
                    <a:lnTo>
                      <a:pt x="1329" y="758"/>
                    </a:lnTo>
                    <a:lnTo>
                      <a:pt x="1325" y="757"/>
                    </a:lnTo>
                    <a:lnTo>
                      <a:pt x="1321" y="754"/>
                    </a:lnTo>
                    <a:lnTo>
                      <a:pt x="1316" y="751"/>
                    </a:lnTo>
                    <a:lnTo>
                      <a:pt x="1313" y="746"/>
                    </a:lnTo>
                    <a:lnTo>
                      <a:pt x="1311" y="742"/>
                    </a:lnTo>
                    <a:lnTo>
                      <a:pt x="1308" y="738"/>
                    </a:lnTo>
                    <a:lnTo>
                      <a:pt x="1308" y="733"/>
                    </a:lnTo>
                    <a:lnTo>
                      <a:pt x="1308" y="727"/>
                    </a:lnTo>
                    <a:lnTo>
                      <a:pt x="1311" y="721"/>
                    </a:lnTo>
                    <a:lnTo>
                      <a:pt x="1313" y="715"/>
                    </a:lnTo>
                    <a:lnTo>
                      <a:pt x="1315" y="709"/>
                    </a:lnTo>
                    <a:lnTo>
                      <a:pt x="1323" y="698"/>
                    </a:lnTo>
                    <a:lnTo>
                      <a:pt x="1332" y="687"/>
                    </a:lnTo>
                    <a:lnTo>
                      <a:pt x="1340" y="677"/>
                    </a:lnTo>
                    <a:lnTo>
                      <a:pt x="1348" y="666"/>
                    </a:lnTo>
                    <a:lnTo>
                      <a:pt x="1350" y="660"/>
                    </a:lnTo>
                    <a:lnTo>
                      <a:pt x="1352" y="655"/>
                    </a:lnTo>
                    <a:lnTo>
                      <a:pt x="1355" y="648"/>
                    </a:lnTo>
                    <a:lnTo>
                      <a:pt x="1355" y="642"/>
                    </a:lnTo>
                    <a:lnTo>
                      <a:pt x="1235" y="642"/>
                    </a:lnTo>
                    <a:lnTo>
                      <a:pt x="1231" y="641"/>
                    </a:lnTo>
                    <a:lnTo>
                      <a:pt x="1225" y="638"/>
                    </a:lnTo>
                    <a:lnTo>
                      <a:pt x="1221" y="632"/>
                    </a:lnTo>
                    <a:lnTo>
                      <a:pt x="1217" y="626"/>
                    </a:lnTo>
                    <a:lnTo>
                      <a:pt x="1214" y="618"/>
                    </a:lnTo>
                    <a:lnTo>
                      <a:pt x="1211" y="610"/>
                    </a:lnTo>
                    <a:lnTo>
                      <a:pt x="1210" y="601"/>
                    </a:lnTo>
                    <a:lnTo>
                      <a:pt x="1209" y="592"/>
                    </a:lnTo>
                    <a:lnTo>
                      <a:pt x="1203" y="592"/>
                    </a:lnTo>
                    <a:lnTo>
                      <a:pt x="1198" y="591"/>
                    </a:lnTo>
                    <a:lnTo>
                      <a:pt x="1192" y="590"/>
                    </a:lnTo>
                    <a:lnTo>
                      <a:pt x="1187" y="588"/>
                    </a:lnTo>
                    <a:lnTo>
                      <a:pt x="1182" y="585"/>
                    </a:lnTo>
                    <a:lnTo>
                      <a:pt x="1179" y="582"/>
                    </a:lnTo>
                    <a:lnTo>
                      <a:pt x="1177" y="577"/>
                    </a:lnTo>
                    <a:lnTo>
                      <a:pt x="1176" y="573"/>
                    </a:lnTo>
                    <a:lnTo>
                      <a:pt x="1167" y="573"/>
                    </a:lnTo>
                    <a:lnTo>
                      <a:pt x="1159" y="573"/>
                    </a:lnTo>
                    <a:lnTo>
                      <a:pt x="1151" y="573"/>
                    </a:lnTo>
                    <a:lnTo>
                      <a:pt x="1143" y="573"/>
                    </a:lnTo>
                    <a:lnTo>
                      <a:pt x="1136" y="574"/>
                    </a:lnTo>
                    <a:lnTo>
                      <a:pt x="1131" y="575"/>
                    </a:lnTo>
                    <a:lnTo>
                      <a:pt x="1124" y="578"/>
                    </a:lnTo>
                    <a:lnTo>
                      <a:pt x="1117" y="582"/>
                    </a:lnTo>
                    <a:lnTo>
                      <a:pt x="1112" y="587"/>
                    </a:lnTo>
                    <a:lnTo>
                      <a:pt x="1106" y="592"/>
                    </a:lnTo>
                    <a:lnTo>
                      <a:pt x="1103" y="598"/>
                    </a:lnTo>
                    <a:lnTo>
                      <a:pt x="1102" y="604"/>
                    </a:lnTo>
                    <a:lnTo>
                      <a:pt x="1104" y="608"/>
                    </a:lnTo>
                    <a:lnTo>
                      <a:pt x="1110" y="613"/>
                    </a:lnTo>
                    <a:lnTo>
                      <a:pt x="1117" y="619"/>
                    </a:lnTo>
                    <a:lnTo>
                      <a:pt x="1127" y="625"/>
                    </a:lnTo>
                    <a:lnTo>
                      <a:pt x="1137" y="631"/>
                    </a:lnTo>
                    <a:lnTo>
                      <a:pt x="1147" y="636"/>
                    </a:lnTo>
                    <a:lnTo>
                      <a:pt x="1156" y="640"/>
                    </a:lnTo>
                    <a:lnTo>
                      <a:pt x="1162" y="642"/>
                    </a:lnTo>
                    <a:lnTo>
                      <a:pt x="1149" y="652"/>
                    </a:lnTo>
                    <a:lnTo>
                      <a:pt x="1134" y="664"/>
                    </a:lnTo>
                    <a:lnTo>
                      <a:pt x="1127" y="670"/>
                    </a:lnTo>
                    <a:lnTo>
                      <a:pt x="1121" y="677"/>
                    </a:lnTo>
                    <a:lnTo>
                      <a:pt x="1119" y="680"/>
                    </a:lnTo>
                    <a:lnTo>
                      <a:pt x="1117" y="683"/>
                    </a:lnTo>
                    <a:lnTo>
                      <a:pt x="1116" y="687"/>
                    </a:lnTo>
                    <a:lnTo>
                      <a:pt x="1115" y="690"/>
                    </a:lnTo>
                    <a:lnTo>
                      <a:pt x="1116" y="695"/>
                    </a:lnTo>
                    <a:lnTo>
                      <a:pt x="1117" y="698"/>
                    </a:lnTo>
                    <a:lnTo>
                      <a:pt x="1120" y="702"/>
                    </a:lnTo>
                    <a:lnTo>
                      <a:pt x="1122" y="706"/>
                    </a:lnTo>
                    <a:lnTo>
                      <a:pt x="1130" y="714"/>
                    </a:lnTo>
                    <a:lnTo>
                      <a:pt x="1139" y="722"/>
                    </a:lnTo>
                    <a:lnTo>
                      <a:pt x="1149" y="729"/>
                    </a:lnTo>
                    <a:lnTo>
                      <a:pt x="1160" y="735"/>
                    </a:lnTo>
                    <a:lnTo>
                      <a:pt x="1166" y="737"/>
                    </a:lnTo>
                    <a:lnTo>
                      <a:pt x="1171" y="738"/>
                    </a:lnTo>
                    <a:lnTo>
                      <a:pt x="1177" y="739"/>
                    </a:lnTo>
                    <a:lnTo>
                      <a:pt x="1182" y="740"/>
                    </a:lnTo>
                    <a:lnTo>
                      <a:pt x="1209" y="844"/>
                    </a:lnTo>
                    <a:lnTo>
                      <a:pt x="1194" y="844"/>
                    </a:lnTo>
                    <a:lnTo>
                      <a:pt x="1180" y="844"/>
                    </a:lnTo>
                    <a:lnTo>
                      <a:pt x="1167" y="844"/>
                    </a:lnTo>
                    <a:lnTo>
                      <a:pt x="1156" y="844"/>
                    </a:lnTo>
                    <a:lnTo>
                      <a:pt x="1149" y="843"/>
                    </a:lnTo>
                    <a:lnTo>
                      <a:pt x="1142" y="838"/>
                    </a:lnTo>
                    <a:lnTo>
                      <a:pt x="1137" y="836"/>
                    </a:lnTo>
                    <a:lnTo>
                      <a:pt x="1132" y="834"/>
                    </a:lnTo>
                    <a:lnTo>
                      <a:pt x="1127" y="833"/>
                    </a:lnTo>
                    <a:lnTo>
                      <a:pt x="1122" y="832"/>
                    </a:lnTo>
                    <a:lnTo>
                      <a:pt x="1117" y="834"/>
                    </a:lnTo>
                    <a:lnTo>
                      <a:pt x="1109" y="839"/>
                    </a:lnTo>
                    <a:lnTo>
                      <a:pt x="1099" y="846"/>
                    </a:lnTo>
                    <a:lnTo>
                      <a:pt x="1087" y="854"/>
                    </a:lnTo>
                    <a:lnTo>
                      <a:pt x="1075" y="864"/>
                    </a:lnTo>
                    <a:lnTo>
                      <a:pt x="1065" y="872"/>
                    </a:lnTo>
                    <a:lnTo>
                      <a:pt x="1058" y="878"/>
                    </a:lnTo>
                    <a:lnTo>
                      <a:pt x="1056" y="882"/>
                    </a:lnTo>
                    <a:lnTo>
                      <a:pt x="1076" y="894"/>
                    </a:lnTo>
                    <a:lnTo>
                      <a:pt x="1075" y="900"/>
                    </a:lnTo>
                    <a:lnTo>
                      <a:pt x="1072" y="907"/>
                    </a:lnTo>
                    <a:lnTo>
                      <a:pt x="1069" y="912"/>
                    </a:lnTo>
                    <a:lnTo>
                      <a:pt x="1066" y="919"/>
                    </a:lnTo>
                    <a:lnTo>
                      <a:pt x="1058" y="928"/>
                    </a:lnTo>
                    <a:lnTo>
                      <a:pt x="1049" y="937"/>
                    </a:lnTo>
                    <a:lnTo>
                      <a:pt x="1039" y="945"/>
                    </a:lnTo>
                    <a:lnTo>
                      <a:pt x="1027" y="952"/>
                    </a:lnTo>
                    <a:lnTo>
                      <a:pt x="1016" y="958"/>
                    </a:lnTo>
                    <a:lnTo>
                      <a:pt x="1004" y="964"/>
                    </a:lnTo>
                    <a:lnTo>
                      <a:pt x="992" y="972"/>
                    </a:lnTo>
                    <a:lnTo>
                      <a:pt x="981" y="978"/>
                    </a:lnTo>
                    <a:lnTo>
                      <a:pt x="971" y="985"/>
                    </a:lnTo>
                    <a:lnTo>
                      <a:pt x="962" y="993"/>
                    </a:lnTo>
                    <a:lnTo>
                      <a:pt x="957" y="997"/>
                    </a:lnTo>
                    <a:lnTo>
                      <a:pt x="954" y="1001"/>
                    </a:lnTo>
                    <a:lnTo>
                      <a:pt x="951" y="1006"/>
                    </a:lnTo>
                    <a:lnTo>
                      <a:pt x="948" y="1011"/>
                    </a:lnTo>
                    <a:lnTo>
                      <a:pt x="946" y="1017"/>
                    </a:lnTo>
                    <a:lnTo>
                      <a:pt x="944" y="1022"/>
                    </a:lnTo>
                    <a:lnTo>
                      <a:pt x="943" y="1029"/>
                    </a:lnTo>
                    <a:lnTo>
                      <a:pt x="943" y="1036"/>
                    </a:lnTo>
                    <a:lnTo>
                      <a:pt x="934" y="1039"/>
                    </a:lnTo>
                    <a:lnTo>
                      <a:pt x="926" y="1042"/>
                    </a:lnTo>
                    <a:lnTo>
                      <a:pt x="919" y="1046"/>
                    </a:lnTo>
                    <a:lnTo>
                      <a:pt x="912" y="1050"/>
                    </a:lnTo>
                    <a:lnTo>
                      <a:pt x="898" y="1060"/>
                    </a:lnTo>
                    <a:lnTo>
                      <a:pt x="886" y="1072"/>
                    </a:lnTo>
                    <a:lnTo>
                      <a:pt x="864" y="1099"/>
                    </a:lnTo>
                    <a:lnTo>
                      <a:pt x="843" y="1128"/>
                    </a:lnTo>
                    <a:lnTo>
                      <a:pt x="832" y="1143"/>
                    </a:lnTo>
                    <a:lnTo>
                      <a:pt x="821" y="1156"/>
                    </a:lnTo>
                    <a:lnTo>
                      <a:pt x="809" y="1168"/>
                    </a:lnTo>
                    <a:lnTo>
                      <a:pt x="796" y="1179"/>
                    </a:lnTo>
                    <a:lnTo>
                      <a:pt x="788" y="1184"/>
                    </a:lnTo>
                    <a:lnTo>
                      <a:pt x="780" y="1188"/>
                    </a:lnTo>
                    <a:lnTo>
                      <a:pt x="773" y="1192"/>
                    </a:lnTo>
                    <a:lnTo>
                      <a:pt x="764" y="1196"/>
                    </a:lnTo>
                    <a:lnTo>
                      <a:pt x="754" y="1199"/>
                    </a:lnTo>
                    <a:lnTo>
                      <a:pt x="745" y="1201"/>
                    </a:lnTo>
                    <a:lnTo>
                      <a:pt x="734" y="1202"/>
                    </a:lnTo>
                    <a:lnTo>
                      <a:pt x="723" y="1202"/>
                    </a:lnTo>
                    <a:lnTo>
                      <a:pt x="723" y="1211"/>
                    </a:lnTo>
                    <a:lnTo>
                      <a:pt x="723" y="1220"/>
                    </a:lnTo>
                    <a:lnTo>
                      <a:pt x="723" y="1227"/>
                    </a:lnTo>
                    <a:lnTo>
                      <a:pt x="723" y="1233"/>
                    </a:lnTo>
                    <a:lnTo>
                      <a:pt x="723" y="1244"/>
                    </a:lnTo>
                    <a:lnTo>
                      <a:pt x="723" y="1261"/>
                    </a:lnTo>
                    <a:lnTo>
                      <a:pt x="723" y="1279"/>
                    </a:lnTo>
                    <a:lnTo>
                      <a:pt x="725" y="1298"/>
                    </a:lnTo>
                    <a:lnTo>
                      <a:pt x="727" y="1308"/>
                    </a:lnTo>
                    <a:lnTo>
                      <a:pt x="729" y="1317"/>
                    </a:lnTo>
                    <a:lnTo>
                      <a:pt x="731" y="1325"/>
                    </a:lnTo>
                    <a:lnTo>
                      <a:pt x="735" y="1332"/>
                    </a:lnTo>
                    <a:lnTo>
                      <a:pt x="739" y="1339"/>
                    </a:lnTo>
                    <a:lnTo>
                      <a:pt x="744" y="1344"/>
                    </a:lnTo>
                    <a:lnTo>
                      <a:pt x="750" y="1348"/>
                    </a:lnTo>
                    <a:lnTo>
                      <a:pt x="757" y="1350"/>
                    </a:lnTo>
                    <a:lnTo>
                      <a:pt x="751" y="1366"/>
                    </a:lnTo>
                    <a:lnTo>
                      <a:pt x="744" y="1380"/>
                    </a:lnTo>
                    <a:lnTo>
                      <a:pt x="736" y="1393"/>
                    </a:lnTo>
                    <a:lnTo>
                      <a:pt x="729" y="1405"/>
                    </a:lnTo>
                    <a:lnTo>
                      <a:pt x="721" y="1419"/>
                    </a:lnTo>
                    <a:lnTo>
                      <a:pt x="716" y="1432"/>
                    </a:lnTo>
                    <a:lnTo>
                      <a:pt x="713" y="1438"/>
                    </a:lnTo>
                    <a:lnTo>
                      <a:pt x="712" y="1445"/>
                    </a:lnTo>
                    <a:lnTo>
                      <a:pt x="711" y="1453"/>
                    </a:lnTo>
                    <a:lnTo>
                      <a:pt x="710" y="1460"/>
                    </a:lnTo>
                    <a:lnTo>
                      <a:pt x="711" y="1463"/>
                    </a:lnTo>
                    <a:lnTo>
                      <a:pt x="712" y="1465"/>
                    </a:lnTo>
                    <a:lnTo>
                      <a:pt x="714" y="1467"/>
                    </a:lnTo>
                    <a:lnTo>
                      <a:pt x="718" y="1469"/>
                    </a:lnTo>
                    <a:lnTo>
                      <a:pt x="724" y="1473"/>
                    </a:lnTo>
                    <a:lnTo>
                      <a:pt x="730" y="1474"/>
                    </a:lnTo>
                    <a:lnTo>
                      <a:pt x="730" y="1510"/>
                    </a:lnTo>
                    <a:lnTo>
                      <a:pt x="722" y="1524"/>
                    </a:lnTo>
                    <a:lnTo>
                      <a:pt x="716" y="1539"/>
                    </a:lnTo>
                    <a:lnTo>
                      <a:pt x="711" y="1545"/>
                    </a:lnTo>
                    <a:lnTo>
                      <a:pt x="706" y="1549"/>
                    </a:lnTo>
                    <a:lnTo>
                      <a:pt x="702" y="1551"/>
                    </a:lnTo>
                    <a:lnTo>
                      <a:pt x="699" y="1552"/>
                    </a:lnTo>
                    <a:lnTo>
                      <a:pt x="695" y="1553"/>
                    </a:lnTo>
                    <a:lnTo>
                      <a:pt x="690" y="1553"/>
                    </a:lnTo>
                    <a:lnTo>
                      <a:pt x="690" y="1561"/>
                    </a:lnTo>
                    <a:lnTo>
                      <a:pt x="691" y="1571"/>
                    </a:lnTo>
                    <a:lnTo>
                      <a:pt x="693" y="1576"/>
                    </a:lnTo>
                    <a:lnTo>
                      <a:pt x="694" y="1580"/>
                    </a:lnTo>
                    <a:lnTo>
                      <a:pt x="695" y="1583"/>
                    </a:lnTo>
                    <a:lnTo>
                      <a:pt x="697" y="1584"/>
                    </a:lnTo>
                    <a:lnTo>
                      <a:pt x="671" y="1605"/>
                    </a:lnTo>
                    <a:lnTo>
                      <a:pt x="649" y="1622"/>
                    </a:lnTo>
                    <a:lnTo>
                      <a:pt x="639" y="1632"/>
                    </a:lnTo>
                    <a:lnTo>
                      <a:pt x="630" y="1643"/>
                    </a:lnTo>
                    <a:lnTo>
                      <a:pt x="620" y="1656"/>
                    </a:lnTo>
                    <a:lnTo>
                      <a:pt x="611" y="1670"/>
                    </a:lnTo>
                    <a:lnTo>
                      <a:pt x="595" y="1663"/>
                    </a:lnTo>
                    <a:lnTo>
                      <a:pt x="584" y="1656"/>
                    </a:lnTo>
                    <a:lnTo>
                      <a:pt x="575" y="1649"/>
                    </a:lnTo>
                    <a:lnTo>
                      <a:pt x="568" y="1641"/>
                    </a:lnTo>
                    <a:lnTo>
                      <a:pt x="563" y="1631"/>
                    </a:lnTo>
                    <a:lnTo>
                      <a:pt x="560" y="1621"/>
                    </a:lnTo>
                    <a:lnTo>
                      <a:pt x="555" y="1609"/>
                    </a:lnTo>
                    <a:lnTo>
                      <a:pt x="551" y="1597"/>
                    </a:lnTo>
                    <a:lnTo>
                      <a:pt x="542" y="1574"/>
                    </a:lnTo>
                    <a:lnTo>
                      <a:pt x="530" y="1552"/>
                    </a:lnTo>
                    <a:lnTo>
                      <a:pt x="516" y="1529"/>
                    </a:lnTo>
                    <a:lnTo>
                      <a:pt x="501" y="1505"/>
                    </a:lnTo>
                    <a:lnTo>
                      <a:pt x="486" y="1483"/>
                    </a:lnTo>
                    <a:lnTo>
                      <a:pt x="473" y="1461"/>
                    </a:lnTo>
                    <a:lnTo>
                      <a:pt x="461" y="1441"/>
                    </a:lnTo>
                    <a:lnTo>
                      <a:pt x="451" y="1424"/>
                    </a:lnTo>
                    <a:lnTo>
                      <a:pt x="442" y="1405"/>
                    </a:lnTo>
                    <a:lnTo>
                      <a:pt x="436" y="1388"/>
                    </a:lnTo>
                    <a:lnTo>
                      <a:pt x="430" y="1370"/>
                    </a:lnTo>
                    <a:lnTo>
                      <a:pt x="425" y="1352"/>
                    </a:lnTo>
                    <a:lnTo>
                      <a:pt x="419" y="1334"/>
                    </a:lnTo>
                    <a:lnTo>
                      <a:pt x="414" y="1316"/>
                    </a:lnTo>
                    <a:lnTo>
                      <a:pt x="407" y="1296"/>
                    </a:lnTo>
                    <a:lnTo>
                      <a:pt x="398" y="1276"/>
                    </a:lnTo>
                    <a:lnTo>
                      <a:pt x="376" y="1244"/>
                    </a:lnTo>
                    <a:lnTo>
                      <a:pt x="352" y="1214"/>
                    </a:lnTo>
                    <a:lnTo>
                      <a:pt x="341" y="1200"/>
                    </a:lnTo>
                    <a:lnTo>
                      <a:pt x="330" y="1184"/>
                    </a:lnTo>
                    <a:lnTo>
                      <a:pt x="320" y="1169"/>
                    </a:lnTo>
                    <a:lnTo>
                      <a:pt x="312" y="1153"/>
                    </a:lnTo>
                    <a:lnTo>
                      <a:pt x="301" y="1114"/>
                    </a:lnTo>
                    <a:lnTo>
                      <a:pt x="292" y="1078"/>
                    </a:lnTo>
                    <a:lnTo>
                      <a:pt x="284" y="1043"/>
                    </a:lnTo>
                    <a:lnTo>
                      <a:pt x="280" y="1008"/>
                    </a:lnTo>
                    <a:lnTo>
                      <a:pt x="275" y="974"/>
                    </a:lnTo>
                    <a:lnTo>
                      <a:pt x="273" y="938"/>
                    </a:lnTo>
                    <a:lnTo>
                      <a:pt x="272" y="901"/>
                    </a:lnTo>
                    <a:lnTo>
                      <a:pt x="272" y="864"/>
                    </a:lnTo>
                    <a:lnTo>
                      <a:pt x="268" y="863"/>
                    </a:lnTo>
                    <a:lnTo>
                      <a:pt x="263" y="862"/>
                    </a:lnTo>
                    <a:lnTo>
                      <a:pt x="259" y="861"/>
                    </a:lnTo>
                    <a:lnTo>
                      <a:pt x="256" y="857"/>
                    </a:lnTo>
                    <a:lnTo>
                      <a:pt x="252" y="855"/>
                    </a:lnTo>
                    <a:lnTo>
                      <a:pt x="250" y="852"/>
                    </a:lnTo>
                    <a:lnTo>
                      <a:pt x="247" y="848"/>
                    </a:lnTo>
                    <a:lnTo>
                      <a:pt x="246" y="844"/>
                    </a:lnTo>
                    <a:lnTo>
                      <a:pt x="242" y="836"/>
                    </a:lnTo>
                    <a:lnTo>
                      <a:pt x="240" y="827"/>
                    </a:lnTo>
                    <a:lnTo>
                      <a:pt x="239" y="817"/>
                    </a:lnTo>
                    <a:lnTo>
                      <a:pt x="239" y="808"/>
                    </a:lnTo>
                    <a:lnTo>
                      <a:pt x="230" y="814"/>
                    </a:lnTo>
                    <a:lnTo>
                      <a:pt x="224" y="821"/>
                    </a:lnTo>
                    <a:lnTo>
                      <a:pt x="217" y="828"/>
                    </a:lnTo>
                    <a:lnTo>
                      <a:pt x="210" y="836"/>
                    </a:lnTo>
                    <a:lnTo>
                      <a:pt x="201" y="852"/>
                    </a:lnTo>
                    <a:lnTo>
                      <a:pt x="192" y="869"/>
                    </a:lnTo>
                    <a:lnTo>
                      <a:pt x="186" y="876"/>
                    </a:lnTo>
                    <a:lnTo>
                      <a:pt x="182" y="883"/>
                    </a:lnTo>
                    <a:lnTo>
                      <a:pt x="176" y="890"/>
                    </a:lnTo>
                    <a:lnTo>
                      <a:pt x="171" y="895"/>
                    </a:lnTo>
                    <a:lnTo>
                      <a:pt x="164" y="900"/>
                    </a:lnTo>
                    <a:lnTo>
                      <a:pt x="157" y="903"/>
                    </a:lnTo>
                    <a:lnTo>
                      <a:pt x="148" y="905"/>
                    </a:lnTo>
                    <a:lnTo>
                      <a:pt x="139" y="906"/>
                    </a:lnTo>
                    <a:lnTo>
                      <a:pt x="134" y="905"/>
                    </a:lnTo>
                    <a:lnTo>
                      <a:pt x="127" y="903"/>
                    </a:lnTo>
                    <a:lnTo>
                      <a:pt x="120" y="900"/>
                    </a:lnTo>
                    <a:lnTo>
                      <a:pt x="113" y="895"/>
                    </a:lnTo>
                    <a:lnTo>
                      <a:pt x="105" y="889"/>
                    </a:lnTo>
                    <a:lnTo>
                      <a:pt x="97" y="883"/>
                    </a:lnTo>
                    <a:lnTo>
                      <a:pt x="90" y="876"/>
                    </a:lnTo>
                    <a:lnTo>
                      <a:pt x="82" y="868"/>
                    </a:lnTo>
                    <a:lnTo>
                      <a:pt x="75" y="860"/>
                    </a:lnTo>
                    <a:lnTo>
                      <a:pt x="69" y="851"/>
                    </a:lnTo>
                    <a:lnTo>
                      <a:pt x="62" y="842"/>
                    </a:lnTo>
                    <a:lnTo>
                      <a:pt x="57" y="833"/>
                    </a:lnTo>
                    <a:lnTo>
                      <a:pt x="52" y="825"/>
                    </a:lnTo>
                    <a:lnTo>
                      <a:pt x="49" y="817"/>
                    </a:lnTo>
                    <a:lnTo>
                      <a:pt x="47" y="809"/>
                    </a:lnTo>
                    <a:lnTo>
                      <a:pt x="46" y="801"/>
                    </a:lnTo>
                    <a:lnTo>
                      <a:pt x="51" y="798"/>
                    </a:lnTo>
                    <a:lnTo>
                      <a:pt x="63" y="792"/>
                    </a:lnTo>
                    <a:lnTo>
                      <a:pt x="77" y="786"/>
                    </a:lnTo>
                    <a:lnTo>
                      <a:pt x="85" y="783"/>
                    </a:lnTo>
                    <a:lnTo>
                      <a:pt x="77" y="783"/>
                    </a:lnTo>
                    <a:lnTo>
                      <a:pt x="67" y="782"/>
                    </a:lnTo>
                    <a:lnTo>
                      <a:pt x="59" y="780"/>
                    </a:lnTo>
                    <a:lnTo>
                      <a:pt x="51" y="779"/>
                    </a:lnTo>
                    <a:lnTo>
                      <a:pt x="44" y="776"/>
                    </a:lnTo>
                    <a:lnTo>
                      <a:pt x="37" y="774"/>
                    </a:lnTo>
                    <a:lnTo>
                      <a:pt x="30" y="771"/>
                    </a:lnTo>
                    <a:lnTo>
                      <a:pt x="25" y="767"/>
                    </a:lnTo>
                    <a:lnTo>
                      <a:pt x="21" y="763"/>
                    </a:lnTo>
                    <a:lnTo>
                      <a:pt x="16" y="759"/>
                    </a:lnTo>
                    <a:lnTo>
                      <a:pt x="12" y="754"/>
                    </a:lnTo>
                    <a:lnTo>
                      <a:pt x="8" y="750"/>
                    </a:lnTo>
                    <a:lnTo>
                      <a:pt x="3" y="738"/>
                    </a:lnTo>
                    <a:lnTo>
                      <a:pt x="0" y="727"/>
                    </a:lnTo>
                    <a:lnTo>
                      <a:pt x="10" y="719"/>
                    </a:lnTo>
                    <a:lnTo>
                      <a:pt x="21" y="713"/>
                    </a:lnTo>
                    <a:lnTo>
                      <a:pt x="32" y="708"/>
                    </a:lnTo>
                    <a:lnTo>
                      <a:pt x="44" y="704"/>
                    </a:lnTo>
                    <a:lnTo>
                      <a:pt x="67" y="699"/>
                    </a:lnTo>
                    <a:lnTo>
                      <a:pt x="90" y="695"/>
                    </a:lnTo>
                    <a:lnTo>
                      <a:pt x="102" y="693"/>
                    </a:lnTo>
                    <a:lnTo>
                      <a:pt x="113" y="689"/>
                    </a:lnTo>
                    <a:lnTo>
                      <a:pt x="123" y="686"/>
                    </a:lnTo>
                    <a:lnTo>
                      <a:pt x="133" y="681"/>
                    </a:lnTo>
                    <a:lnTo>
                      <a:pt x="142" y="676"/>
                    </a:lnTo>
                    <a:lnTo>
                      <a:pt x="151" y="668"/>
                    </a:lnTo>
                    <a:lnTo>
                      <a:pt x="159" y="659"/>
                    </a:lnTo>
                    <a:lnTo>
                      <a:pt x="165" y="648"/>
                    </a:lnTo>
                    <a:lnTo>
                      <a:pt x="161" y="646"/>
                    </a:lnTo>
                    <a:lnTo>
                      <a:pt x="157" y="643"/>
                    </a:lnTo>
                    <a:lnTo>
                      <a:pt x="151" y="639"/>
                    </a:lnTo>
                    <a:lnTo>
                      <a:pt x="145" y="633"/>
                    </a:lnTo>
                    <a:lnTo>
                      <a:pt x="131" y="621"/>
                    </a:lnTo>
                    <a:lnTo>
                      <a:pt x="118" y="607"/>
                    </a:lnTo>
                    <a:lnTo>
                      <a:pt x="106" y="592"/>
                    </a:lnTo>
                    <a:lnTo>
                      <a:pt x="95" y="576"/>
                    </a:lnTo>
                    <a:lnTo>
                      <a:pt x="92" y="569"/>
                    </a:lnTo>
                    <a:lnTo>
                      <a:pt x="89" y="562"/>
                    </a:lnTo>
                    <a:lnTo>
                      <a:pt x="86" y="555"/>
                    </a:lnTo>
                    <a:lnTo>
                      <a:pt x="85" y="549"/>
                    </a:lnTo>
                    <a:lnTo>
                      <a:pt x="81" y="548"/>
                    </a:lnTo>
                    <a:lnTo>
                      <a:pt x="77" y="547"/>
                    </a:lnTo>
                    <a:lnTo>
                      <a:pt x="73" y="545"/>
                    </a:lnTo>
                    <a:lnTo>
                      <a:pt x="70" y="541"/>
                    </a:lnTo>
                    <a:lnTo>
                      <a:pt x="64" y="534"/>
                    </a:lnTo>
                    <a:lnTo>
                      <a:pt x="59" y="524"/>
                    </a:lnTo>
                    <a:lnTo>
                      <a:pt x="59" y="500"/>
                    </a:lnTo>
                    <a:lnTo>
                      <a:pt x="73" y="499"/>
                    </a:lnTo>
                    <a:lnTo>
                      <a:pt x="86" y="498"/>
                    </a:lnTo>
                    <a:lnTo>
                      <a:pt x="98" y="496"/>
                    </a:lnTo>
                    <a:lnTo>
                      <a:pt x="109" y="492"/>
                    </a:lnTo>
                    <a:lnTo>
                      <a:pt x="119" y="489"/>
                    </a:lnTo>
                    <a:lnTo>
                      <a:pt x="129" y="484"/>
                    </a:lnTo>
                    <a:lnTo>
                      <a:pt x="138" y="479"/>
                    </a:lnTo>
                    <a:lnTo>
                      <a:pt x="147" y="473"/>
                    </a:lnTo>
                    <a:lnTo>
                      <a:pt x="154" y="466"/>
                    </a:lnTo>
                    <a:lnTo>
                      <a:pt x="162" y="459"/>
                    </a:lnTo>
                    <a:lnTo>
                      <a:pt x="169" y="452"/>
                    </a:lnTo>
                    <a:lnTo>
                      <a:pt x="175" y="444"/>
                    </a:lnTo>
                    <a:lnTo>
                      <a:pt x="186" y="428"/>
                    </a:lnTo>
                    <a:lnTo>
                      <a:pt x="197" y="410"/>
                    </a:lnTo>
                    <a:lnTo>
                      <a:pt x="216" y="374"/>
                    </a:lnTo>
                    <a:lnTo>
                      <a:pt x="235" y="338"/>
                    </a:lnTo>
                    <a:lnTo>
                      <a:pt x="246" y="322"/>
                    </a:lnTo>
                    <a:lnTo>
                      <a:pt x="257" y="308"/>
                    </a:lnTo>
                    <a:lnTo>
                      <a:pt x="263" y="300"/>
                    </a:lnTo>
                    <a:lnTo>
                      <a:pt x="270" y="294"/>
                    </a:lnTo>
                    <a:lnTo>
                      <a:pt x="277" y="289"/>
                    </a:lnTo>
                    <a:lnTo>
                      <a:pt x="285" y="284"/>
                    </a:lnTo>
                    <a:lnTo>
                      <a:pt x="279" y="272"/>
                    </a:lnTo>
                    <a:lnTo>
                      <a:pt x="274" y="261"/>
                    </a:lnTo>
                    <a:lnTo>
                      <a:pt x="273" y="256"/>
                    </a:lnTo>
                    <a:lnTo>
                      <a:pt x="272" y="251"/>
                    </a:lnTo>
                    <a:lnTo>
                      <a:pt x="272" y="245"/>
                    </a:lnTo>
                    <a:lnTo>
                      <a:pt x="272" y="240"/>
                    </a:lnTo>
                    <a:lnTo>
                      <a:pt x="273" y="235"/>
                    </a:lnTo>
                    <a:lnTo>
                      <a:pt x="274" y="230"/>
                    </a:lnTo>
                    <a:lnTo>
                      <a:pt x="276" y="226"/>
                    </a:lnTo>
                    <a:lnTo>
                      <a:pt x="280" y="222"/>
                    </a:lnTo>
                    <a:lnTo>
                      <a:pt x="283" y="219"/>
                    </a:lnTo>
                    <a:lnTo>
                      <a:pt x="287" y="216"/>
                    </a:lnTo>
                    <a:lnTo>
                      <a:pt x="293" y="213"/>
                    </a:lnTo>
                    <a:lnTo>
                      <a:pt x="298" y="210"/>
                    </a:lnTo>
                    <a:lnTo>
                      <a:pt x="269" y="183"/>
                    </a:lnTo>
                    <a:lnTo>
                      <a:pt x="247" y="163"/>
                    </a:lnTo>
                    <a:lnTo>
                      <a:pt x="237" y="153"/>
                    </a:lnTo>
                    <a:lnTo>
                      <a:pt x="227" y="142"/>
                    </a:lnTo>
                    <a:lnTo>
                      <a:pt x="217" y="128"/>
                    </a:lnTo>
                    <a:lnTo>
                      <a:pt x="205" y="111"/>
                    </a:lnTo>
                    <a:lnTo>
                      <a:pt x="205" y="68"/>
                    </a:lnTo>
                    <a:lnTo>
                      <a:pt x="229" y="68"/>
                    </a:lnTo>
                    <a:lnTo>
                      <a:pt x="256" y="66"/>
                    </a:lnTo>
                    <a:lnTo>
                      <a:pt x="270" y="65"/>
                    </a:lnTo>
                    <a:lnTo>
                      <a:pt x="283" y="63"/>
                    </a:lnTo>
                    <a:lnTo>
                      <a:pt x="297" y="60"/>
                    </a:lnTo>
                    <a:lnTo>
                      <a:pt x="310" y="57"/>
                    </a:lnTo>
                    <a:lnTo>
                      <a:pt x="322" y="54"/>
                    </a:lnTo>
                    <a:lnTo>
                      <a:pt x="335" y="49"/>
                    </a:lnTo>
                    <a:lnTo>
                      <a:pt x="347" y="44"/>
                    </a:lnTo>
                    <a:lnTo>
                      <a:pt x="357" y="37"/>
                    </a:lnTo>
                    <a:lnTo>
                      <a:pt x="366" y="30"/>
                    </a:lnTo>
                    <a:lnTo>
                      <a:pt x="374" y="21"/>
                    </a:lnTo>
                    <a:lnTo>
                      <a:pt x="381" y="11"/>
                    </a:lnTo>
                    <a:lnTo>
                      <a:pt x="38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0" name="Freeform 465"/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9798318" y="3804810"/>
                <a:ext cx="158750" cy="206375"/>
              </a:xfrm>
              <a:custGeom>
                <a:avLst/>
                <a:gdLst>
                  <a:gd name="T0" fmla="*/ 2147483647 w 359"/>
                  <a:gd name="T1" fmla="*/ 2147483647 h 394"/>
                  <a:gd name="T2" fmla="*/ 2147483647 w 359"/>
                  <a:gd name="T3" fmla="*/ 2147483647 h 394"/>
                  <a:gd name="T4" fmla="*/ 2147483647 w 359"/>
                  <a:gd name="T5" fmla="*/ 2147483647 h 394"/>
                  <a:gd name="T6" fmla="*/ 2147483647 w 359"/>
                  <a:gd name="T7" fmla="*/ 2147483647 h 394"/>
                  <a:gd name="T8" fmla="*/ 2147483647 w 359"/>
                  <a:gd name="T9" fmla="*/ 2147483647 h 394"/>
                  <a:gd name="T10" fmla="*/ 2147483647 w 359"/>
                  <a:gd name="T11" fmla="*/ 2147483647 h 394"/>
                  <a:gd name="T12" fmla="*/ 1124167120 w 359"/>
                  <a:gd name="T13" fmla="*/ 2147483647 h 394"/>
                  <a:gd name="T14" fmla="*/ 0 w 359"/>
                  <a:gd name="T15" fmla="*/ 2147483647 h 394"/>
                  <a:gd name="T16" fmla="*/ 2147483647 w 359"/>
                  <a:gd name="T17" fmla="*/ 2147483647 h 394"/>
                  <a:gd name="T18" fmla="*/ 2147483647 w 359"/>
                  <a:gd name="T19" fmla="*/ 2147483647 h 394"/>
                  <a:gd name="T20" fmla="*/ 2147483647 w 359"/>
                  <a:gd name="T21" fmla="*/ 2147483647 h 394"/>
                  <a:gd name="T22" fmla="*/ 2147483647 w 359"/>
                  <a:gd name="T23" fmla="*/ 2147483647 h 394"/>
                  <a:gd name="T24" fmla="*/ 2147483647 w 359"/>
                  <a:gd name="T25" fmla="*/ 2147483647 h 394"/>
                  <a:gd name="T26" fmla="*/ 2147483647 w 359"/>
                  <a:gd name="T27" fmla="*/ 2147483647 h 394"/>
                  <a:gd name="T28" fmla="*/ 2147483647 w 359"/>
                  <a:gd name="T29" fmla="*/ 2147483647 h 394"/>
                  <a:gd name="T30" fmla="*/ 2147483647 w 359"/>
                  <a:gd name="T31" fmla="*/ 2147483647 h 394"/>
                  <a:gd name="T32" fmla="*/ 2147483647 w 359"/>
                  <a:gd name="T33" fmla="*/ 2147483647 h 394"/>
                  <a:gd name="T34" fmla="*/ 2147483647 w 359"/>
                  <a:gd name="T35" fmla="*/ 2011885972 h 394"/>
                  <a:gd name="T36" fmla="*/ 2147483647 w 359"/>
                  <a:gd name="T37" fmla="*/ 0 h 394"/>
                  <a:gd name="T38" fmla="*/ 2147483647 w 359"/>
                  <a:gd name="T39" fmla="*/ 2147483647 h 394"/>
                  <a:gd name="T40" fmla="*/ 2147483647 w 359"/>
                  <a:gd name="T41" fmla="*/ 2147483647 h 394"/>
                  <a:gd name="T42" fmla="*/ 2147483647 w 359"/>
                  <a:gd name="T43" fmla="*/ 2147483647 h 394"/>
                  <a:gd name="T44" fmla="*/ 2147483647 w 359"/>
                  <a:gd name="T45" fmla="*/ 2147483647 h 394"/>
                  <a:gd name="T46" fmla="*/ 2147483647 w 359"/>
                  <a:gd name="T47" fmla="*/ 2147483647 h 394"/>
                  <a:gd name="T48" fmla="*/ 2147483647 w 359"/>
                  <a:gd name="T49" fmla="*/ 2147483647 h 394"/>
                  <a:gd name="T50" fmla="*/ 2147483647 w 359"/>
                  <a:gd name="T51" fmla="*/ 2147483647 h 394"/>
                  <a:gd name="T52" fmla="*/ 2147483647 w 359"/>
                  <a:gd name="T53" fmla="*/ 2147483647 h 394"/>
                  <a:gd name="T54" fmla="*/ 2147483647 w 359"/>
                  <a:gd name="T55" fmla="*/ 2147483647 h 394"/>
                  <a:gd name="T56" fmla="*/ 2147483647 w 359"/>
                  <a:gd name="T57" fmla="*/ 2147483647 h 394"/>
                  <a:gd name="T58" fmla="*/ 2147483647 w 359"/>
                  <a:gd name="T59" fmla="*/ 2147483647 h 394"/>
                  <a:gd name="T60" fmla="*/ 2147483647 w 359"/>
                  <a:gd name="T61" fmla="*/ 2147483647 h 394"/>
                  <a:gd name="T62" fmla="*/ 2147483647 w 359"/>
                  <a:gd name="T63" fmla="*/ 2147483647 h 394"/>
                  <a:gd name="T64" fmla="*/ 2147483647 w 359"/>
                  <a:gd name="T65" fmla="*/ 2147483647 h 394"/>
                  <a:gd name="T66" fmla="*/ 2147483647 w 359"/>
                  <a:gd name="T67" fmla="*/ 2147483647 h 394"/>
                  <a:gd name="T68" fmla="*/ 2147483647 w 359"/>
                  <a:gd name="T69" fmla="*/ 2147483647 h 394"/>
                  <a:gd name="T70" fmla="*/ 2147483647 w 359"/>
                  <a:gd name="T71" fmla="*/ 2147483647 h 394"/>
                  <a:gd name="T72" fmla="*/ 2147483647 w 359"/>
                  <a:gd name="T73" fmla="*/ 2147483647 h 394"/>
                  <a:gd name="T74" fmla="*/ 2147483647 w 359"/>
                  <a:gd name="T75" fmla="*/ 2147483647 h 394"/>
                  <a:gd name="T76" fmla="*/ 2147483647 w 359"/>
                  <a:gd name="T77" fmla="*/ 2147483647 h 394"/>
                  <a:gd name="T78" fmla="*/ 2147483647 w 359"/>
                  <a:gd name="T79" fmla="*/ 2147483647 h 394"/>
                  <a:gd name="T80" fmla="*/ 2147483647 w 359"/>
                  <a:gd name="T81" fmla="*/ 2147483647 h 394"/>
                  <a:gd name="T82" fmla="*/ 2147483647 w 359"/>
                  <a:gd name="T83" fmla="*/ 2147483647 h 394"/>
                  <a:gd name="T84" fmla="*/ 2147483647 w 359"/>
                  <a:gd name="T85" fmla="*/ 2147483647 h 394"/>
                  <a:gd name="T86" fmla="*/ 2147483647 w 359"/>
                  <a:gd name="T87" fmla="*/ 2147483647 h 394"/>
                  <a:gd name="T88" fmla="*/ 2147483647 w 359"/>
                  <a:gd name="T89" fmla="*/ 2147483647 h 394"/>
                  <a:gd name="T90" fmla="*/ 2147483647 w 359"/>
                  <a:gd name="T91" fmla="*/ 2147483647 h 394"/>
                  <a:gd name="T92" fmla="*/ 2147483647 w 359"/>
                  <a:gd name="T93" fmla="*/ 2147483647 h 394"/>
                  <a:gd name="T94" fmla="*/ 2147483647 w 359"/>
                  <a:gd name="T95" fmla="*/ 2147483647 h 394"/>
                  <a:gd name="T96" fmla="*/ 2147483647 w 359"/>
                  <a:gd name="T97" fmla="*/ 2147483647 h 394"/>
                  <a:gd name="T98" fmla="*/ 2147483647 w 359"/>
                  <a:gd name="T99" fmla="*/ 2147483647 h 394"/>
                  <a:gd name="T100" fmla="*/ 2147483647 w 359"/>
                  <a:gd name="T101" fmla="*/ 2147483647 h 394"/>
                  <a:gd name="T102" fmla="*/ 2147483647 w 359"/>
                  <a:gd name="T103" fmla="*/ 2147483647 h 394"/>
                  <a:gd name="T104" fmla="*/ 2147483647 w 359"/>
                  <a:gd name="T105" fmla="*/ 2147483647 h 394"/>
                  <a:gd name="T106" fmla="*/ 2147483647 w 359"/>
                  <a:gd name="T107" fmla="*/ 2147483647 h 394"/>
                  <a:gd name="T108" fmla="*/ 2147483647 w 359"/>
                  <a:gd name="T109" fmla="*/ 2147483647 h 394"/>
                  <a:gd name="T110" fmla="*/ 2147483647 w 359"/>
                  <a:gd name="T111" fmla="*/ 2147483647 h 394"/>
                  <a:gd name="T112" fmla="*/ 2147483647 w 359"/>
                  <a:gd name="T113" fmla="*/ 2147483647 h 394"/>
                  <a:gd name="T114" fmla="*/ 2147483647 w 359"/>
                  <a:gd name="T115" fmla="*/ 2147483647 h 39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1" name="Freeform 466"/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10866705" y="4000072"/>
                <a:ext cx="192088" cy="271463"/>
              </a:xfrm>
              <a:custGeom>
                <a:avLst/>
                <a:gdLst>
                  <a:gd name="T0" fmla="*/ 2147483647 w 449"/>
                  <a:gd name="T1" fmla="*/ 2147483647 h 523"/>
                  <a:gd name="T2" fmla="*/ 2147483647 w 449"/>
                  <a:gd name="T3" fmla="*/ 2147483647 h 523"/>
                  <a:gd name="T4" fmla="*/ 2147483647 w 449"/>
                  <a:gd name="T5" fmla="*/ 2147483647 h 523"/>
                  <a:gd name="T6" fmla="*/ 2147483647 w 449"/>
                  <a:gd name="T7" fmla="*/ 2147483647 h 523"/>
                  <a:gd name="T8" fmla="*/ 2147483647 w 449"/>
                  <a:gd name="T9" fmla="*/ 2147483647 h 523"/>
                  <a:gd name="T10" fmla="*/ 2147483647 w 449"/>
                  <a:gd name="T11" fmla="*/ 2147483647 h 523"/>
                  <a:gd name="T12" fmla="*/ 2147483647 w 449"/>
                  <a:gd name="T13" fmla="*/ 2147483647 h 523"/>
                  <a:gd name="T14" fmla="*/ 2147483647 w 449"/>
                  <a:gd name="T15" fmla="*/ 2147483647 h 523"/>
                  <a:gd name="T16" fmla="*/ 2147483647 w 449"/>
                  <a:gd name="T17" fmla="*/ 2147483647 h 523"/>
                  <a:gd name="T18" fmla="*/ 2147483647 w 449"/>
                  <a:gd name="T19" fmla="*/ 2147483647 h 523"/>
                  <a:gd name="T20" fmla="*/ 2147483647 w 449"/>
                  <a:gd name="T21" fmla="*/ 2147483647 h 523"/>
                  <a:gd name="T22" fmla="*/ 2147483647 w 449"/>
                  <a:gd name="T23" fmla="*/ 2147483647 h 523"/>
                  <a:gd name="T24" fmla="*/ 2147483647 w 449"/>
                  <a:gd name="T25" fmla="*/ 2147483647 h 523"/>
                  <a:gd name="T26" fmla="*/ 2147483647 w 449"/>
                  <a:gd name="T27" fmla="*/ 2147483647 h 523"/>
                  <a:gd name="T28" fmla="*/ 2147483647 w 449"/>
                  <a:gd name="T29" fmla="*/ 2147483647 h 523"/>
                  <a:gd name="T30" fmla="*/ 2147483647 w 449"/>
                  <a:gd name="T31" fmla="*/ 2147483647 h 523"/>
                  <a:gd name="T32" fmla="*/ 2147483647 w 449"/>
                  <a:gd name="T33" fmla="*/ 2147483647 h 523"/>
                  <a:gd name="T34" fmla="*/ 2147483647 w 449"/>
                  <a:gd name="T35" fmla="*/ 2147483647 h 523"/>
                  <a:gd name="T36" fmla="*/ 2147483647 w 449"/>
                  <a:gd name="T37" fmla="*/ 2147483647 h 523"/>
                  <a:gd name="T38" fmla="*/ 2147483647 w 449"/>
                  <a:gd name="T39" fmla="*/ 2147483647 h 523"/>
                  <a:gd name="T40" fmla="*/ 2147483647 w 449"/>
                  <a:gd name="T41" fmla="*/ 2147483647 h 523"/>
                  <a:gd name="T42" fmla="*/ 2147483647 w 449"/>
                  <a:gd name="T43" fmla="*/ 1678171290 h 523"/>
                  <a:gd name="T44" fmla="*/ 2147483647 w 449"/>
                  <a:gd name="T45" fmla="*/ 838950951 h 523"/>
                  <a:gd name="T46" fmla="*/ 2147483647 w 449"/>
                  <a:gd name="T47" fmla="*/ 1118600923 h 523"/>
                  <a:gd name="T48" fmla="*/ 2147483647 w 449"/>
                  <a:gd name="T49" fmla="*/ 838950951 h 523"/>
                  <a:gd name="T50" fmla="*/ 2147483647 w 449"/>
                  <a:gd name="T51" fmla="*/ 0 h 523"/>
                  <a:gd name="T52" fmla="*/ 2147483647 w 449"/>
                  <a:gd name="T53" fmla="*/ 0 h 523"/>
                  <a:gd name="T54" fmla="*/ 391488178 w 449"/>
                  <a:gd name="T55" fmla="*/ 0 h 523"/>
                  <a:gd name="T56" fmla="*/ 391488178 w 449"/>
                  <a:gd name="T57" fmla="*/ 2147483647 h 523"/>
                  <a:gd name="T58" fmla="*/ 391488178 w 449"/>
                  <a:gd name="T59" fmla="*/ 2147483647 h 523"/>
                  <a:gd name="T60" fmla="*/ 1174464107 w 449"/>
                  <a:gd name="T61" fmla="*/ 2147483647 h 523"/>
                  <a:gd name="T62" fmla="*/ 1800955055 w 449"/>
                  <a:gd name="T63" fmla="*/ 2147483647 h 523"/>
                  <a:gd name="T64" fmla="*/ 2147483647 w 449"/>
                  <a:gd name="T65" fmla="*/ 2147483647 h 523"/>
                  <a:gd name="T66" fmla="*/ 2147483647 w 449"/>
                  <a:gd name="T67" fmla="*/ 2147483647 h 523"/>
                  <a:gd name="T68" fmla="*/ 2147483647 w 449"/>
                  <a:gd name="T69" fmla="*/ 2147483647 h 523"/>
                  <a:gd name="T70" fmla="*/ 2147483647 w 449"/>
                  <a:gd name="T71" fmla="*/ 2147483647 h 523"/>
                  <a:gd name="T72" fmla="*/ 548156691 w 449"/>
                  <a:gd name="T73" fmla="*/ 2147483647 h 523"/>
                  <a:gd name="T74" fmla="*/ 782976357 w 449"/>
                  <a:gd name="T75" fmla="*/ 2147483647 h 523"/>
                  <a:gd name="T76" fmla="*/ 2147483647 w 449"/>
                  <a:gd name="T77" fmla="*/ 2147483647 h 523"/>
                  <a:gd name="T78" fmla="*/ 2147483647 w 449"/>
                  <a:gd name="T79" fmla="*/ 2147483647 h 523"/>
                  <a:gd name="T80" fmla="*/ 2147483647 w 449"/>
                  <a:gd name="T81" fmla="*/ 2147483647 h 523"/>
                  <a:gd name="T82" fmla="*/ 2147483647 w 449"/>
                  <a:gd name="T83" fmla="*/ 2147483647 h 523"/>
                  <a:gd name="T84" fmla="*/ 2147483647 w 449"/>
                  <a:gd name="T85" fmla="*/ 2147483647 h 523"/>
                  <a:gd name="T86" fmla="*/ 2147483647 w 449"/>
                  <a:gd name="T87" fmla="*/ 2147483647 h 523"/>
                  <a:gd name="T88" fmla="*/ 2147483647 w 449"/>
                  <a:gd name="T89" fmla="*/ 2147483647 h 523"/>
                  <a:gd name="T90" fmla="*/ 2147483647 w 449"/>
                  <a:gd name="T91" fmla="*/ 2147483647 h 523"/>
                  <a:gd name="T92" fmla="*/ 2147483647 w 449"/>
                  <a:gd name="T93" fmla="*/ 2147483647 h 523"/>
                  <a:gd name="T94" fmla="*/ 2147483647 w 449"/>
                  <a:gd name="T95" fmla="*/ 2147483647 h 523"/>
                  <a:gd name="T96" fmla="*/ 2147483647 w 449"/>
                  <a:gd name="T97" fmla="*/ 2147483647 h 523"/>
                  <a:gd name="T98" fmla="*/ 2147483647 w 449"/>
                  <a:gd name="T99" fmla="*/ 2147483647 h 523"/>
                  <a:gd name="T100" fmla="*/ 2147483647 w 449"/>
                  <a:gd name="T101" fmla="*/ 2147483647 h 523"/>
                  <a:gd name="T102" fmla="*/ 2147483647 w 449"/>
                  <a:gd name="T103" fmla="*/ 2147483647 h 523"/>
                  <a:gd name="T104" fmla="*/ 2147483647 w 449"/>
                  <a:gd name="T105" fmla="*/ 2147483647 h 523"/>
                  <a:gd name="T106" fmla="*/ 2147483647 w 449"/>
                  <a:gd name="T107" fmla="*/ 2147483647 h 523"/>
                  <a:gd name="T108" fmla="*/ 2147483647 w 449"/>
                  <a:gd name="T109" fmla="*/ 2147483647 h 52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2" name="Freeform 467"/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10849243" y="3085672"/>
                <a:ext cx="101600" cy="130175"/>
              </a:xfrm>
              <a:custGeom>
                <a:avLst/>
                <a:gdLst>
                  <a:gd name="T0" fmla="*/ 1090340181 w 226"/>
                  <a:gd name="T1" fmla="*/ 2147483647 h 246"/>
                  <a:gd name="T2" fmla="*/ 2147483647 w 226"/>
                  <a:gd name="T3" fmla="*/ 2147483647 h 246"/>
                  <a:gd name="T4" fmla="*/ 2147483647 w 226"/>
                  <a:gd name="T5" fmla="*/ 2147483647 h 246"/>
                  <a:gd name="T6" fmla="*/ 2147483647 w 226"/>
                  <a:gd name="T7" fmla="*/ 2147483647 h 246"/>
                  <a:gd name="T8" fmla="*/ 2147483647 w 226"/>
                  <a:gd name="T9" fmla="*/ 2147483647 h 246"/>
                  <a:gd name="T10" fmla="*/ 2147483647 w 226"/>
                  <a:gd name="T11" fmla="*/ 2147483647 h 246"/>
                  <a:gd name="T12" fmla="*/ 2147483647 w 226"/>
                  <a:gd name="T13" fmla="*/ 2147483647 h 246"/>
                  <a:gd name="T14" fmla="*/ 2147483647 w 226"/>
                  <a:gd name="T15" fmla="*/ 2147483647 h 246"/>
                  <a:gd name="T16" fmla="*/ 2147483647 w 226"/>
                  <a:gd name="T17" fmla="*/ 2147483647 h 246"/>
                  <a:gd name="T18" fmla="*/ 2147483647 w 226"/>
                  <a:gd name="T19" fmla="*/ 2147483647 h 246"/>
                  <a:gd name="T20" fmla="*/ 2147483647 w 226"/>
                  <a:gd name="T21" fmla="*/ 2147483647 h 246"/>
                  <a:gd name="T22" fmla="*/ 2147483647 w 226"/>
                  <a:gd name="T23" fmla="*/ 2147483647 h 246"/>
                  <a:gd name="T24" fmla="*/ 2147483647 w 226"/>
                  <a:gd name="T25" fmla="*/ 2147483647 h 246"/>
                  <a:gd name="T26" fmla="*/ 2147483647 w 226"/>
                  <a:gd name="T27" fmla="*/ 2147483647 h 246"/>
                  <a:gd name="T28" fmla="*/ 2147483647 w 226"/>
                  <a:gd name="T29" fmla="*/ 2147483647 h 246"/>
                  <a:gd name="T30" fmla="*/ 2147483647 w 226"/>
                  <a:gd name="T31" fmla="*/ 2147483647 h 246"/>
                  <a:gd name="T32" fmla="*/ 2147483647 w 226"/>
                  <a:gd name="T33" fmla="*/ 2147483647 h 246"/>
                  <a:gd name="T34" fmla="*/ 2147483647 w 226"/>
                  <a:gd name="T35" fmla="*/ 2147483647 h 246"/>
                  <a:gd name="T36" fmla="*/ 2147483647 w 226"/>
                  <a:gd name="T37" fmla="*/ 2147483647 h 246"/>
                  <a:gd name="T38" fmla="*/ 2147483647 w 226"/>
                  <a:gd name="T39" fmla="*/ 2147483647 h 246"/>
                  <a:gd name="T40" fmla="*/ 2147483647 w 226"/>
                  <a:gd name="T41" fmla="*/ 889055033 h 246"/>
                  <a:gd name="T42" fmla="*/ 2147483647 w 226"/>
                  <a:gd name="T43" fmla="*/ 148129096 h 246"/>
                  <a:gd name="T44" fmla="*/ 2147483647 w 226"/>
                  <a:gd name="T45" fmla="*/ 1037184129 h 246"/>
                  <a:gd name="T46" fmla="*/ 2147483647 w 226"/>
                  <a:gd name="T47" fmla="*/ 2147483647 h 246"/>
                  <a:gd name="T48" fmla="*/ 2147483647 w 226"/>
                  <a:gd name="T49" fmla="*/ 2147483647 h 246"/>
                  <a:gd name="T50" fmla="*/ 2147483647 w 226"/>
                  <a:gd name="T51" fmla="*/ 2147483647 h 246"/>
                  <a:gd name="T52" fmla="*/ 2147483647 w 226"/>
                  <a:gd name="T53" fmla="*/ 2147483647 h 246"/>
                  <a:gd name="T54" fmla="*/ 2147483647 w 226"/>
                  <a:gd name="T55" fmla="*/ 2147483647 h 246"/>
                  <a:gd name="T56" fmla="*/ 2147483647 w 226"/>
                  <a:gd name="T57" fmla="*/ 2147483647 h 246"/>
                  <a:gd name="T58" fmla="*/ 2147483647 w 226"/>
                  <a:gd name="T59" fmla="*/ 2147483647 h 246"/>
                  <a:gd name="T60" fmla="*/ 2147483647 w 226"/>
                  <a:gd name="T61" fmla="*/ 2147483647 h 246"/>
                  <a:gd name="T62" fmla="*/ 1635408896 w 226"/>
                  <a:gd name="T63" fmla="*/ 2147483647 h 246"/>
                  <a:gd name="T64" fmla="*/ 908650609 w 226"/>
                  <a:gd name="T65" fmla="*/ 2147483647 h 246"/>
                  <a:gd name="T66" fmla="*/ 272635508 w 226"/>
                  <a:gd name="T67" fmla="*/ 2147483647 h 24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26" h="246">
                    <a:moveTo>
                      <a:pt x="0" y="221"/>
                    </a:moveTo>
                    <a:lnTo>
                      <a:pt x="12" y="228"/>
                    </a:lnTo>
                    <a:lnTo>
                      <a:pt x="27" y="236"/>
                    </a:lnTo>
                    <a:lnTo>
                      <a:pt x="36" y="240"/>
                    </a:lnTo>
                    <a:lnTo>
                      <a:pt x="44" y="243"/>
                    </a:lnTo>
                    <a:lnTo>
                      <a:pt x="53" y="245"/>
                    </a:lnTo>
                    <a:lnTo>
                      <a:pt x="60" y="246"/>
                    </a:lnTo>
                    <a:lnTo>
                      <a:pt x="68" y="245"/>
                    </a:lnTo>
                    <a:lnTo>
                      <a:pt x="76" y="243"/>
                    </a:lnTo>
                    <a:lnTo>
                      <a:pt x="85" y="241"/>
                    </a:lnTo>
                    <a:lnTo>
                      <a:pt x="92" y="237"/>
                    </a:lnTo>
                    <a:lnTo>
                      <a:pt x="110" y="228"/>
                    </a:lnTo>
                    <a:lnTo>
                      <a:pt x="126" y="217"/>
                    </a:lnTo>
                    <a:lnTo>
                      <a:pt x="141" y="205"/>
                    </a:lnTo>
                    <a:lnTo>
                      <a:pt x="153" y="194"/>
                    </a:lnTo>
                    <a:lnTo>
                      <a:pt x="161" y="184"/>
                    </a:lnTo>
                    <a:lnTo>
                      <a:pt x="167" y="178"/>
                    </a:lnTo>
                    <a:lnTo>
                      <a:pt x="159" y="173"/>
                    </a:lnTo>
                    <a:lnTo>
                      <a:pt x="154" y="167"/>
                    </a:lnTo>
                    <a:lnTo>
                      <a:pt x="149" y="160"/>
                    </a:lnTo>
                    <a:lnTo>
                      <a:pt x="146" y="152"/>
                    </a:lnTo>
                    <a:lnTo>
                      <a:pt x="143" y="145"/>
                    </a:lnTo>
                    <a:lnTo>
                      <a:pt x="142" y="137"/>
                    </a:lnTo>
                    <a:lnTo>
                      <a:pt x="141" y="130"/>
                    </a:lnTo>
                    <a:lnTo>
                      <a:pt x="139" y="123"/>
                    </a:lnTo>
                    <a:lnTo>
                      <a:pt x="141" y="116"/>
                    </a:lnTo>
                    <a:lnTo>
                      <a:pt x="143" y="110"/>
                    </a:lnTo>
                    <a:lnTo>
                      <a:pt x="146" y="105"/>
                    </a:lnTo>
                    <a:lnTo>
                      <a:pt x="150" y="100"/>
                    </a:lnTo>
                    <a:lnTo>
                      <a:pt x="156" y="94"/>
                    </a:lnTo>
                    <a:lnTo>
                      <a:pt x="161" y="90"/>
                    </a:lnTo>
                    <a:lnTo>
                      <a:pt x="168" y="86"/>
                    </a:lnTo>
                    <a:lnTo>
                      <a:pt x="176" y="82"/>
                    </a:lnTo>
                    <a:lnTo>
                      <a:pt x="204" y="71"/>
                    </a:lnTo>
                    <a:lnTo>
                      <a:pt x="226" y="61"/>
                    </a:lnTo>
                    <a:lnTo>
                      <a:pt x="225" y="49"/>
                    </a:lnTo>
                    <a:lnTo>
                      <a:pt x="223" y="38"/>
                    </a:lnTo>
                    <a:lnTo>
                      <a:pt x="221" y="30"/>
                    </a:lnTo>
                    <a:lnTo>
                      <a:pt x="217" y="23"/>
                    </a:lnTo>
                    <a:lnTo>
                      <a:pt x="214" y="17"/>
                    </a:lnTo>
                    <a:lnTo>
                      <a:pt x="212" y="12"/>
                    </a:lnTo>
                    <a:lnTo>
                      <a:pt x="212" y="6"/>
                    </a:lnTo>
                    <a:lnTo>
                      <a:pt x="213" y="0"/>
                    </a:lnTo>
                    <a:lnTo>
                      <a:pt x="202" y="1"/>
                    </a:lnTo>
                    <a:lnTo>
                      <a:pt x="191" y="4"/>
                    </a:lnTo>
                    <a:lnTo>
                      <a:pt x="181" y="7"/>
                    </a:lnTo>
                    <a:lnTo>
                      <a:pt x="171" y="11"/>
                    </a:lnTo>
                    <a:lnTo>
                      <a:pt x="154" y="20"/>
                    </a:lnTo>
                    <a:lnTo>
                      <a:pt x="136" y="29"/>
                    </a:lnTo>
                    <a:lnTo>
                      <a:pt x="121" y="38"/>
                    </a:lnTo>
                    <a:lnTo>
                      <a:pt x="107" y="47"/>
                    </a:lnTo>
                    <a:lnTo>
                      <a:pt x="100" y="51"/>
                    </a:lnTo>
                    <a:lnTo>
                      <a:pt x="93" y="53"/>
                    </a:lnTo>
                    <a:lnTo>
                      <a:pt x="87" y="55"/>
                    </a:lnTo>
                    <a:lnTo>
                      <a:pt x="80" y="55"/>
                    </a:lnTo>
                    <a:lnTo>
                      <a:pt x="75" y="54"/>
                    </a:lnTo>
                    <a:lnTo>
                      <a:pt x="67" y="51"/>
                    </a:lnTo>
                    <a:lnTo>
                      <a:pt x="59" y="47"/>
                    </a:lnTo>
                    <a:lnTo>
                      <a:pt x="51" y="41"/>
                    </a:lnTo>
                    <a:lnTo>
                      <a:pt x="36" y="31"/>
                    </a:lnTo>
                    <a:lnTo>
                      <a:pt x="27" y="24"/>
                    </a:lnTo>
                    <a:lnTo>
                      <a:pt x="24" y="39"/>
                    </a:lnTo>
                    <a:lnTo>
                      <a:pt x="21" y="64"/>
                    </a:lnTo>
                    <a:lnTo>
                      <a:pt x="18" y="95"/>
                    </a:lnTo>
                    <a:lnTo>
                      <a:pt x="13" y="129"/>
                    </a:lnTo>
                    <a:lnTo>
                      <a:pt x="10" y="163"/>
                    </a:lnTo>
                    <a:lnTo>
                      <a:pt x="7" y="191"/>
                    </a:lnTo>
                    <a:lnTo>
                      <a:pt x="3" y="212"/>
                    </a:lnTo>
                    <a:lnTo>
                      <a:pt x="0" y="22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3" name="Freeform 468"/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11147693" y="3188860"/>
                <a:ext cx="22225" cy="55562"/>
              </a:xfrm>
              <a:custGeom>
                <a:avLst/>
                <a:gdLst>
                  <a:gd name="T0" fmla="*/ 1372222247 w 60"/>
                  <a:gd name="T1" fmla="*/ 0 h 81"/>
                  <a:gd name="T2" fmla="*/ 1473893843 w 60"/>
                  <a:gd name="T3" fmla="*/ 645564589 h 81"/>
                  <a:gd name="T4" fmla="*/ 1626332525 w 60"/>
                  <a:gd name="T5" fmla="*/ 968346883 h 81"/>
                  <a:gd name="T6" fmla="*/ 1829675348 w 60"/>
                  <a:gd name="T7" fmla="*/ 968346883 h 81"/>
                  <a:gd name="T8" fmla="*/ 2033018540 w 60"/>
                  <a:gd name="T9" fmla="*/ 645564589 h 81"/>
                  <a:gd name="T10" fmla="*/ 2147483647 w 60"/>
                  <a:gd name="T11" fmla="*/ 322782294 h 81"/>
                  <a:gd name="T12" fmla="*/ 2147483647 w 60"/>
                  <a:gd name="T13" fmla="*/ 0 h 81"/>
                  <a:gd name="T14" fmla="*/ 2147483647 w 60"/>
                  <a:gd name="T15" fmla="*/ 2147483647 h 81"/>
                  <a:gd name="T16" fmla="*/ 2147483647 w 60"/>
                  <a:gd name="T17" fmla="*/ 2147483647 h 81"/>
                  <a:gd name="T18" fmla="*/ 2147483647 w 60"/>
                  <a:gd name="T19" fmla="*/ 2147483647 h 81"/>
                  <a:gd name="T20" fmla="*/ 2147483647 w 60"/>
                  <a:gd name="T21" fmla="*/ 2147483647 h 81"/>
                  <a:gd name="T22" fmla="*/ 2147483647 w 60"/>
                  <a:gd name="T23" fmla="*/ 2147483647 h 81"/>
                  <a:gd name="T24" fmla="*/ 2147483647 w 60"/>
                  <a:gd name="T25" fmla="*/ 2147483647 h 81"/>
                  <a:gd name="T26" fmla="*/ 1016440743 w 60"/>
                  <a:gd name="T27" fmla="*/ 2147483647 h 81"/>
                  <a:gd name="T28" fmla="*/ 711563379 w 60"/>
                  <a:gd name="T29" fmla="*/ 2147483647 h 81"/>
                  <a:gd name="T30" fmla="*/ 355781504 w 60"/>
                  <a:gd name="T31" fmla="*/ 2147483647 h 81"/>
                  <a:gd name="T32" fmla="*/ 254110278 w 60"/>
                  <a:gd name="T33" fmla="*/ 2147483647 h 81"/>
                  <a:gd name="T34" fmla="*/ 101671596 w 60"/>
                  <a:gd name="T35" fmla="*/ 2147483647 h 81"/>
                  <a:gd name="T36" fmla="*/ 50767086 w 60"/>
                  <a:gd name="T37" fmla="*/ 2147483647 h 81"/>
                  <a:gd name="T38" fmla="*/ 0 w 60"/>
                  <a:gd name="T39" fmla="*/ 2147483647 h 81"/>
                  <a:gd name="T40" fmla="*/ 355781504 w 60"/>
                  <a:gd name="T41" fmla="*/ 2147483647 h 81"/>
                  <a:gd name="T42" fmla="*/ 1016440743 w 60"/>
                  <a:gd name="T43" fmla="*/ 1936694452 h 81"/>
                  <a:gd name="T44" fmla="*/ 1728004122 w 60"/>
                  <a:gd name="T45" fmla="*/ 0 h 81"/>
                  <a:gd name="T46" fmla="*/ 1372222247 w 60"/>
                  <a:gd name="T47" fmla="*/ 0 h 8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60" h="81">
                    <a:moveTo>
                      <a:pt x="27" y="0"/>
                    </a:moveTo>
                    <a:lnTo>
                      <a:pt x="29" y="2"/>
                    </a:lnTo>
                    <a:lnTo>
                      <a:pt x="32" y="3"/>
                    </a:lnTo>
                    <a:lnTo>
                      <a:pt x="36" y="3"/>
                    </a:lnTo>
                    <a:lnTo>
                      <a:pt x="40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3" y="26"/>
                    </a:lnTo>
                    <a:lnTo>
                      <a:pt x="54" y="47"/>
                    </a:lnTo>
                    <a:lnTo>
                      <a:pt x="54" y="57"/>
                    </a:lnTo>
                    <a:lnTo>
                      <a:pt x="56" y="65"/>
                    </a:lnTo>
                    <a:lnTo>
                      <a:pt x="58" y="73"/>
                    </a:lnTo>
                    <a:lnTo>
                      <a:pt x="60" y="81"/>
                    </a:lnTo>
                    <a:lnTo>
                      <a:pt x="20" y="81"/>
                    </a:lnTo>
                    <a:lnTo>
                      <a:pt x="14" y="80"/>
                    </a:lnTo>
                    <a:lnTo>
                      <a:pt x="7" y="77"/>
                    </a:lnTo>
                    <a:lnTo>
                      <a:pt x="5" y="74"/>
                    </a:lnTo>
                    <a:lnTo>
                      <a:pt x="2" y="72"/>
                    </a:lnTo>
                    <a:lnTo>
                      <a:pt x="1" y="70"/>
                    </a:lnTo>
                    <a:lnTo>
                      <a:pt x="0" y="68"/>
                    </a:lnTo>
                    <a:lnTo>
                      <a:pt x="7" y="12"/>
                    </a:lnTo>
                    <a:lnTo>
                      <a:pt x="20" y="6"/>
                    </a:lnTo>
                    <a:lnTo>
                      <a:pt x="34" y="0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4" name="Freeform 469"/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10434905" y="2323672"/>
                <a:ext cx="161925" cy="66675"/>
              </a:xfrm>
              <a:custGeom>
                <a:avLst/>
                <a:gdLst>
                  <a:gd name="T0" fmla="*/ 2147483647 w 370"/>
                  <a:gd name="T1" fmla="*/ 2147483647 h 129"/>
                  <a:gd name="T2" fmla="*/ 2147483647 w 370"/>
                  <a:gd name="T3" fmla="*/ 2147483647 h 129"/>
                  <a:gd name="T4" fmla="*/ 2147483647 w 370"/>
                  <a:gd name="T5" fmla="*/ 2147483647 h 129"/>
                  <a:gd name="T6" fmla="*/ 2147483647 w 370"/>
                  <a:gd name="T7" fmla="*/ 2147483647 h 129"/>
                  <a:gd name="T8" fmla="*/ 2147483647 w 370"/>
                  <a:gd name="T9" fmla="*/ 2147483647 h 129"/>
                  <a:gd name="T10" fmla="*/ 2147483647 w 370"/>
                  <a:gd name="T11" fmla="*/ 2147483647 h 129"/>
                  <a:gd name="T12" fmla="*/ 2147483647 w 370"/>
                  <a:gd name="T13" fmla="*/ 2147483647 h 129"/>
                  <a:gd name="T14" fmla="*/ 2147483647 w 370"/>
                  <a:gd name="T15" fmla="*/ 2147483647 h 129"/>
                  <a:gd name="T16" fmla="*/ 2147483647 w 370"/>
                  <a:gd name="T17" fmla="*/ 2147483647 h 129"/>
                  <a:gd name="T18" fmla="*/ 2147483647 w 370"/>
                  <a:gd name="T19" fmla="*/ 2147483647 h 129"/>
                  <a:gd name="T20" fmla="*/ 2147483647 w 370"/>
                  <a:gd name="T21" fmla="*/ 2071173076 h 129"/>
                  <a:gd name="T22" fmla="*/ 2147483647 w 370"/>
                  <a:gd name="T23" fmla="*/ 1242757392 h 129"/>
                  <a:gd name="T24" fmla="*/ 2147483647 w 370"/>
                  <a:gd name="T25" fmla="*/ 276227806 h 129"/>
                  <a:gd name="T26" fmla="*/ 2147483647 w 370"/>
                  <a:gd name="T27" fmla="*/ 0 h 129"/>
                  <a:gd name="T28" fmla="*/ 2147483647 w 370"/>
                  <a:gd name="T29" fmla="*/ 0 h 129"/>
                  <a:gd name="T30" fmla="*/ 2147483647 w 370"/>
                  <a:gd name="T31" fmla="*/ 138113903 h 129"/>
                  <a:gd name="T32" fmla="*/ 2147483647 w 370"/>
                  <a:gd name="T33" fmla="*/ 276227806 h 129"/>
                  <a:gd name="T34" fmla="*/ 2147483647 w 370"/>
                  <a:gd name="T35" fmla="*/ 414341709 h 129"/>
                  <a:gd name="T36" fmla="*/ 2147483647 w 370"/>
                  <a:gd name="T37" fmla="*/ 966529587 h 129"/>
                  <a:gd name="T38" fmla="*/ 2147483647 w 370"/>
                  <a:gd name="T39" fmla="*/ 1656831884 h 129"/>
                  <a:gd name="T40" fmla="*/ 2147483647 w 370"/>
                  <a:gd name="T41" fmla="*/ 2147483647 h 129"/>
                  <a:gd name="T42" fmla="*/ 2147483647 w 370"/>
                  <a:gd name="T43" fmla="*/ 2147483647 h 129"/>
                  <a:gd name="T44" fmla="*/ 2147483647 w 370"/>
                  <a:gd name="T45" fmla="*/ 2147483647 h 129"/>
                  <a:gd name="T46" fmla="*/ 2147483647 w 370"/>
                  <a:gd name="T47" fmla="*/ 2147483647 h 129"/>
                  <a:gd name="T48" fmla="*/ 2147483647 w 370"/>
                  <a:gd name="T49" fmla="*/ 2147483647 h 129"/>
                  <a:gd name="T50" fmla="*/ 2147483647 w 370"/>
                  <a:gd name="T51" fmla="*/ 2147483647 h 129"/>
                  <a:gd name="T52" fmla="*/ 2147483647 w 370"/>
                  <a:gd name="T53" fmla="*/ 2147483647 h 129"/>
                  <a:gd name="T54" fmla="*/ 2147483647 w 370"/>
                  <a:gd name="T55" fmla="*/ 2147483647 h 129"/>
                  <a:gd name="T56" fmla="*/ 2147483647 w 370"/>
                  <a:gd name="T57" fmla="*/ 2147483647 h 129"/>
                  <a:gd name="T58" fmla="*/ 2147483647 w 370"/>
                  <a:gd name="T59" fmla="*/ 2147483647 h 129"/>
                  <a:gd name="T60" fmla="*/ 2147483647 w 370"/>
                  <a:gd name="T61" fmla="*/ 2147483647 h 129"/>
                  <a:gd name="T62" fmla="*/ 1760110308 w 370"/>
                  <a:gd name="T63" fmla="*/ 2147483647 h 129"/>
                  <a:gd name="T64" fmla="*/ 1341054535 w 370"/>
                  <a:gd name="T65" fmla="*/ 2147483647 h 129"/>
                  <a:gd name="T66" fmla="*/ 1005886853 w 370"/>
                  <a:gd name="T67" fmla="*/ 2147483647 h 129"/>
                  <a:gd name="T68" fmla="*/ 754415140 w 370"/>
                  <a:gd name="T69" fmla="*/ 2147483647 h 129"/>
                  <a:gd name="T70" fmla="*/ 419055773 w 370"/>
                  <a:gd name="T71" fmla="*/ 2147483647 h 129"/>
                  <a:gd name="T72" fmla="*/ 251471713 w 370"/>
                  <a:gd name="T73" fmla="*/ 2147483647 h 129"/>
                  <a:gd name="T74" fmla="*/ 83887653 w 370"/>
                  <a:gd name="T75" fmla="*/ 2147483647 h 129"/>
                  <a:gd name="T76" fmla="*/ 0 w 370"/>
                  <a:gd name="T77" fmla="*/ 2147483647 h 129"/>
                  <a:gd name="T78" fmla="*/ 0 w 370"/>
                  <a:gd name="T79" fmla="*/ 2147483647 h 129"/>
                  <a:gd name="T80" fmla="*/ 83887653 w 370"/>
                  <a:gd name="T81" fmla="*/ 2147483647 h 129"/>
                  <a:gd name="T82" fmla="*/ 251471713 w 370"/>
                  <a:gd name="T83" fmla="*/ 2147483647 h 129"/>
                  <a:gd name="T84" fmla="*/ 502943426 w 370"/>
                  <a:gd name="T85" fmla="*/ 2147483647 h 129"/>
                  <a:gd name="T86" fmla="*/ 921999199 w 370"/>
                  <a:gd name="T87" fmla="*/ 2147483647 h 129"/>
                  <a:gd name="T88" fmla="*/ 1676413901 w 370"/>
                  <a:gd name="T89" fmla="*/ 2147483647 h 129"/>
                  <a:gd name="T90" fmla="*/ 2147483647 w 370"/>
                  <a:gd name="T91" fmla="*/ 2147483647 h 129"/>
                  <a:gd name="T92" fmla="*/ 2147483647 w 370"/>
                  <a:gd name="T93" fmla="*/ 2147483647 h 129"/>
                  <a:gd name="T94" fmla="*/ 2147483647 w 370"/>
                  <a:gd name="T95" fmla="*/ 2147483647 h 129"/>
                  <a:gd name="T96" fmla="*/ 2147483647 w 370"/>
                  <a:gd name="T97" fmla="*/ 2147483647 h 129"/>
                  <a:gd name="T98" fmla="*/ 2147483647 w 370"/>
                  <a:gd name="T99" fmla="*/ 2147483647 h 129"/>
                  <a:gd name="T100" fmla="*/ 2147483647 w 370"/>
                  <a:gd name="T101" fmla="*/ 2147483647 h 129"/>
                  <a:gd name="T102" fmla="*/ 2147483647 w 370"/>
                  <a:gd name="T103" fmla="*/ 2147483647 h 129"/>
                  <a:gd name="T104" fmla="*/ 2147483647 w 370"/>
                  <a:gd name="T105" fmla="*/ 2147483647 h 129"/>
                  <a:gd name="T106" fmla="*/ 2147483647 w 370"/>
                  <a:gd name="T107" fmla="*/ 2147483647 h 129"/>
                  <a:gd name="T108" fmla="*/ 2147483647 w 370"/>
                  <a:gd name="T109" fmla="*/ 2147483647 h 129"/>
                  <a:gd name="T110" fmla="*/ 2147483647 w 370"/>
                  <a:gd name="T111" fmla="*/ 2147483647 h 129"/>
                  <a:gd name="T112" fmla="*/ 2147483647 w 370"/>
                  <a:gd name="T113" fmla="*/ 2147483647 h 129"/>
                  <a:gd name="T114" fmla="*/ 2147483647 w 370"/>
                  <a:gd name="T115" fmla="*/ 2147483647 h 129"/>
                  <a:gd name="T116" fmla="*/ 2147483647 w 370"/>
                  <a:gd name="T117" fmla="*/ 2147483647 h 129"/>
                  <a:gd name="T118" fmla="*/ 2147483647 w 370"/>
                  <a:gd name="T119" fmla="*/ 2147483647 h 12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5" name="Freeform 470"/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10846068" y="3044397"/>
                <a:ext cx="30162" cy="57150"/>
              </a:xfrm>
              <a:custGeom>
                <a:avLst/>
                <a:gdLst>
                  <a:gd name="T0" fmla="*/ 1447065308 w 80"/>
                  <a:gd name="T1" fmla="*/ 224739943 h 94"/>
                  <a:gd name="T2" fmla="*/ 1822193118 w 80"/>
                  <a:gd name="T3" fmla="*/ 0 h 94"/>
                  <a:gd name="T4" fmla="*/ 2147483647 w 80"/>
                  <a:gd name="T5" fmla="*/ 0 h 94"/>
                  <a:gd name="T6" fmla="*/ 2147483647 w 80"/>
                  <a:gd name="T7" fmla="*/ 449479886 h 94"/>
                  <a:gd name="T8" fmla="*/ 2147483647 w 80"/>
                  <a:gd name="T9" fmla="*/ 898959772 h 94"/>
                  <a:gd name="T10" fmla="*/ 2147483647 w 80"/>
                  <a:gd name="T11" fmla="*/ 1348439659 h 94"/>
                  <a:gd name="T12" fmla="*/ 2147483647 w 80"/>
                  <a:gd name="T13" fmla="*/ 1797920153 h 94"/>
                  <a:gd name="T14" fmla="*/ 2147483647 w 80"/>
                  <a:gd name="T15" fmla="*/ 1797920153 h 94"/>
                  <a:gd name="T16" fmla="*/ 2147483647 w 80"/>
                  <a:gd name="T17" fmla="*/ 1573179602 h 94"/>
                  <a:gd name="T18" fmla="*/ 2147483647 w 80"/>
                  <a:gd name="T19" fmla="*/ 2147483647 h 94"/>
                  <a:gd name="T20" fmla="*/ 2147483647 w 80"/>
                  <a:gd name="T21" fmla="*/ 2147483647 h 94"/>
                  <a:gd name="T22" fmla="*/ 2147483647 w 80"/>
                  <a:gd name="T23" fmla="*/ 2147483647 h 94"/>
                  <a:gd name="T24" fmla="*/ 2147483647 w 80"/>
                  <a:gd name="T25" fmla="*/ 2147483647 h 94"/>
                  <a:gd name="T26" fmla="*/ 2147483647 w 80"/>
                  <a:gd name="T27" fmla="*/ 2147483647 h 94"/>
                  <a:gd name="T28" fmla="*/ 2147483647 w 80"/>
                  <a:gd name="T29" fmla="*/ 2147483647 h 94"/>
                  <a:gd name="T30" fmla="*/ 2147483647 w 80"/>
                  <a:gd name="T31" fmla="*/ 2147483647 h 94"/>
                  <a:gd name="T32" fmla="*/ 2147483647 w 80"/>
                  <a:gd name="T33" fmla="*/ 2147483647 h 94"/>
                  <a:gd name="T34" fmla="*/ 2143731726 w 80"/>
                  <a:gd name="T35" fmla="*/ 2147483647 h 94"/>
                  <a:gd name="T36" fmla="*/ 1982962610 w 80"/>
                  <a:gd name="T37" fmla="*/ 2147483647 h 94"/>
                  <a:gd name="T38" fmla="*/ 1822193118 w 80"/>
                  <a:gd name="T39" fmla="*/ 2147483647 h 94"/>
                  <a:gd name="T40" fmla="*/ 1554244467 w 80"/>
                  <a:gd name="T41" fmla="*/ 2147483647 h 94"/>
                  <a:gd name="T42" fmla="*/ 1232706236 w 80"/>
                  <a:gd name="T43" fmla="*/ 2147483647 h 94"/>
                  <a:gd name="T44" fmla="*/ 1018205026 w 80"/>
                  <a:gd name="T45" fmla="*/ 2147483647 h 94"/>
                  <a:gd name="T46" fmla="*/ 696666795 w 80"/>
                  <a:gd name="T47" fmla="*/ 2147483647 h 94"/>
                  <a:gd name="T48" fmla="*/ 375128187 w 80"/>
                  <a:gd name="T49" fmla="*/ 2147483647 h 94"/>
                  <a:gd name="T50" fmla="*/ 0 w 80"/>
                  <a:gd name="T51" fmla="*/ 2147483647 h 94"/>
                  <a:gd name="T52" fmla="*/ 428717767 w 80"/>
                  <a:gd name="T53" fmla="*/ 2147483647 h 94"/>
                  <a:gd name="T54" fmla="*/ 696666795 w 80"/>
                  <a:gd name="T55" fmla="*/ 2147483647 h 94"/>
                  <a:gd name="T56" fmla="*/ 1018205026 w 80"/>
                  <a:gd name="T57" fmla="*/ 2147483647 h 94"/>
                  <a:gd name="T58" fmla="*/ 1447065308 w 80"/>
                  <a:gd name="T59" fmla="*/ 224739943 h 9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80" h="94">
                    <a:moveTo>
                      <a:pt x="27" y="1"/>
                    </a:moveTo>
                    <a:lnTo>
                      <a:pt x="34" y="0"/>
                    </a:lnTo>
                    <a:lnTo>
                      <a:pt x="41" y="0"/>
                    </a:lnTo>
                    <a:lnTo>
                      <a:pt x="47" y="2"/>
                    </a:lnTo>
                    <a:lnTo>
                      <a:pt x="54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3" y="8"/>
                    </a:lnTo>
                    <a:lnTo>
                      <a:pt x="80" y="7"/>
                    </a:lnTo>
                    <a:lnTo>
                      <a:pt x="80" y="38"/>
                    </a:lnTo>
                    <a:lnTo>
                      <a:pt x="75" y="44"/>
                    </a:lnTo>
                    <a:lnTo>
                      <a:pt x="69" y="51"/>
                    </a:lnTo>
                    <a:lnTo>
                      <a:pt x="64" y="59"/>
                    </a:lnTo>
                    <a:lnTo>
                      <a:pt x="58" y="68"/>
                    </a:lnTo>
                    <a:lnTo>
                      <a:pt x="51" y="84"/>
                    </a:lnTo>
                    <a:lnTo>
                      <a:pt x="47" y="94"/>
                    </a:lnTo>
                    <a:lnTo>
                      <a:pt x="43" y="93"/>
                    </a:lnTo>
                    <a:lnTo>
                      <a:pt x="40" y="92"/>
                    </a:lnTo>
                    <a:lnTo>
                      <a:pt x="37" y="91"/>
                    </a:lnTo>
                    <a:lnTo>
                      <a:pt x="34" y="89"/>
                    </a:lnTo>
                    <a:lnTo>
                      <a:pt x="29" y="84"/>
                    </a:lnTo>
                    <a:lnTo>
                      <a:pt x="23" y="78"/>
                    </a:lnTo>
                    <a:lnTo>
                      <a:pt x="19" y="72"/>
                    </a:lnTo>
                    <a:lnTo>
                      <a:pt x="13" y="65"/>
                    </a:lnTo>
                    <a:lnTo>
                      <a:pt x="7" y="60"/>
                    </a:lnTo>
                    <a:lnTo>
                      <a:pt x="0" y="56"/>
                    </a:lnTo>
                    <a:lnTo>
                      <a:pt x="8" y="41"/>
                    </a:lnTo>
                    <a:lnTo>
                      <a:pt x="13" y="29"/>
                    </a:lnTo>
                    <a:lnTo>
                      <a:pt x="19" y="17"/>
                    </a:lnTo>
                    <a:lnTo>
                      <a:pt x="27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6" name="Freeform 471"/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10661918" y="5055760"/>
                <a:ext cx="61912" cy="57150"/>
              </a:xfrm>
              <a:custGeom>
                <a:avLst/>
                <a:gdLst>
                  <a:gd name="T0" fmla="*/ 289401453 w 135"/>
                  <a:gd name="T1" fmla="*/ 2147483647 h 98"/>
                  <a:gd name="T2" fmla="*/ 1061068035 w 135"/>
                  <a:gd name="T3" fmla="*/ 2147483647 h 98"/>
                  <a:gd name="T4" fmla="*/ 1736197757 w 135"/>
                  <a:gd name="T5" fmla="*/ 2147483647 h 98"/>
                  <a:gd name="T6" fmla="*/ 2147483647 w 135"/>
                  <a:gd name="T7" fmla="*/ 2147483647 h 98"/>
                  <a:gd name="T8" fmla="*/ 2147483647 w 135"/>
                  <a:gd name="T9" fmla="*/ 2147483647 h 98"/>
                  <a:gd name="T10" fmla="*/ 2147483647 w 135"/>
                  <a:gd name="T11" fmla="*/ 2147483647 h 98"/>
                  <a:gd name="T12" fmla="*/ 2147483647 w 135"/>
                  <a:gd name="T13" fmla="*/ 2147483647 h 98"/>
                  <a:gd name="T14" fmla="*/ 2147483647 w 135"/>
                  <a:gd name="T15" fmla="*/ 2147483647 h 98"/>
                  <a:gd name="T16" fmla="*/ 2147483647 w 135"/>
                  <a:gd name="T17" fmla="*/ 1586470587 h 98"/>
                  <a:gd name="T18" fmla="*/ 2147483647 w 135"/>
                  <a:gd name="T19" fmla="*/ 991671465 h 98"/>
                  <a:gd name="T20" fmla="*/ 2147483647 w 135"/>
                  <a:gd name="T21" fmla="*/ 396532359 h 98"/>
                  <a:gd name="T22" fmla="*/ 2147483647 w 135"/>
                  <a:gd name="T23" fmla="*/ 0 h 98"/>
                  <a:gd name="T24" fmla="*/ 2147483647 w 135"/>
                  <a:gd name="T25" fmla="*/ 0 h 98"/>
                  <a:gd name="T26" fmla="*/ 2147483647 w 135"/>
                  <a:gd name="T27" fmla="*/ 0 h 98"/>
                  <a:gd name="T28" fmla="*/ 2147483647 w 135"/>
                  <a:gd name="T29" fmla="*/ 594799122 h 98"/>
                  <a:gd name="T30" fmla="*/ 2147483647 w 135"/>
                  <a:gd name="T31" fmla="*/ 1189937645 h 98"/>
                  <a:gd name="T32" fmla="*/ 2147483647 w 135"/>
                  <a:gd name="T33" fmla="*/ 2147483647 h 98"/>
                  <a:gd name="T34" fmla="*/ 2147483647 w 135"/>
                  <a:gd name="T35" fmla="*/ 2147483647 h 98"/>
                  <a:gd name="T36" fmla="*/ 2147483647 w 135"/>
                  <a:gd name="T37" fmla="*/ 2147483647 h 98"/>
                  <a:gd name="T38" fmla="*/ 2147483647 w 135"/>
                  <a:gd name="T39" fmla="*/ 2147483647 h 98"/>
                  <a:gd name="T40" fmla="*/ 2147483647 w 135"/>
                  <a:gd name="T41" fmla="*/ 2147483647 h 98"/>
                  <a:gd name="T42" fmla="*/ 2147483647 w 135"/>
                  <a:gd name="T43" fmla="*/ 2147483647 h 98"/>
                  <a:gd name="T44" fmla="*/ 2147483647 w 135"/>
                  <a:gd name="T45" fmla="*/ 2147483647 h 98"/>
                  <a:gd name="T46" fmla="*/ 2147483647 w 135"/>
                  <a:gd name="T47" fmla="*/ 2147483647 h 98"/>
                  <a:gd name="T48" fmla="*/ 2147483647 w 135"/>
                  <a:gd name="T49" fmla="*/ 2147483647 h 98"/>
                  <a:gd name="T50" fmla="*/ 2147483647 w 135"/>
                  <a:gd name="T51" fmla="*/ 2147483647 h 98"/>
                  <a:gd name="T52" fmla="*/ 2147483647 w 135"/>
                  <a:gd name="T53" fmla="*/ 2147483647 h 98"/>
                  <a:gd name="T54" fmla="*/ 2147483647 w 135"/>
                  <a:gd name="T55" fmla="*/ 2147483647 h 98"/>
                  <a:gd name="T56" fmla="*/ 2147483647 w 135"/>
                  <a:gd name="T57" fmla="*/ 2147483647 h 98"/>
                  <a:gd name="T58" fmla="*/ 2147483647 w 135"/>
                  <a:gd name="T59" fmla="*/ 2147483647 h 98"/>
                  <a:gd name="T60" fmla="*/ 2147483647 w 135"/>
                  <a:gd name="T61" fmla="*/ 2147483647 h 98"/>
                  <a:gd name="T62" fmla="*/ 2147483647 w 135"/>
                  <a:gd name="T63" fmla="*/ 2147483647 h 98"/>
                  <a:gd name="T64" fmla="*/ 2147483647 w 135"/>
                  <a:gd name="T65" fmla="*/ 2147483647 h 98"/>
                  <a:gd name="T66" fmla="*/ 2147483647 w 135"/>
                  <a:gd name="T67" fmla="*/ 2147483647 h 98"/>
                  <a:gd name="T68" fmla="*/ 2025599210 w 135"/>
                  <a:gd name="T69" fmla="*/ 2147483647 h 98"/>
                  <a:gd name="T70" fmla="*/ 1061068035 w 135"/>
                  <a:gd name="T71" fmla="*/ 2147483647 h 98"/>
                  <a:gd name="T72" fmla="*/ 482265588 w 135"/>
                  <a:gd name="T73" fmla="*/ 2147483647 h 98"/>
                  <a:gd name="T74" fmla="*/ 96537318 w 135"/>
                  <a:gd name="T75" fmla="*/ 2147483647 h 98"/>
                  <a:gd name="T76" fmla="*/ 0 w 135"/>
                  <a:gd name="T77" fmla="*/ 2147483647 h 98"/>
                  <a:gd name="T78" fmla="*/ 0 w 135"/>
                  <a:gd name="T79" fmla="*/ 2147483647 h 98"/>
                  <a:gd name="T80" fmla="*/ 289401453 w 135"/>
                  <a:gd name="T81" fmla="*/ 2147483647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7" name="Freeform 472"/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10433318" y="2371297"/>
                <a:ext cx="131762" cy="84138"/>
              </a:xfrm>
              <a:custGeom>
                <a:avLst/>
                <a:gdLst>
                  <a:gd name="T0" fmla="*/ 2147483647 w 312"/>
                  <a:gd name="T1" fmla="*/ 2147483647 h 155"/>
                  <a:gd name="T2" fmla="*/ 2147483647 w 312"/>
                  <a:gd name="T3" fmla="*/ 2147483647 h 155"/>
                  <a:gd name="T4" fmla="*/ 2147483647 w 312"/>
                  <a:gd name="T5" fmla="*/ 2147483647 h 155"/>
                  <a:gd name="T6" fmla="*/ 2147483647 w 312"/>
                  <a:gd name="T7" fmla="*/ 2147483647 h 155"/>
                  <a:gd name="T8" fmla="*/ 2147483647 w 312"/>
                  <a:gd name="T9" fmla="*/ 2147483647 h 155"/>
                  <a:gd name="T10" fmla="*/ 2147483647 w 312"/>
                  <a:gd name="T11" fmla="*/ 2147483647 h 155"/>
                  <a:gd name="T12" fmla="*/ 2147483647 w 312"/>
                  <a:gd name="T13" fmla="*/ 2147483647 h 155"/>
                  <a:gd name="T14" fmla="*/ 2147483647 w 312"/>
                  <a:gd name="T15" fmla="*/ 2147483647 h 155"/>
                  <a:gd name="T16" fmla="*/ 2147483647 w 312"/>
                  <a:gd name="T17" fmla="*/ 2147483647 h 155"/>
                  <a:gd name="T18" fmla="*/ 2147483647 w 312"/>
                  <a:gd name="T19" fmla="*/ 2147483647 h 155"/>
                  <a:gd name="T20" fmla="*/ 2147483647 w 312"/>
                  <a:gd name="T21" fmla="*/ 2147483647 h 155"/>
                  <a:gd name="T22" fmla="*/ 2147483647 w 312"/>
                  <a:gd name="T23" fmla="*/ 2147483647 h 155"/>
                  <a:gd name="T24" fmla="*/ 2147483647 w 312"/>
                  <a:gd name="T25" fmla="*/ 2147483647 h 155"/>
                  <a:gd name="T26" fmla="*/ 2147483647 w 312"/>
                  <a:gd name="T27" fmla="*/ 2147483647 h 155"/>
                  <a:gd name="T28" fmla="*/ 2147483647 w 312"/>
                  <a:gd name="T29" fmla="*/ 2147483647 h 155"/>
                  <a:gd name="T30" fmla="*/ 2147483647 w 312"/>
                  <a:gd name="T31" fmla="*/ 2147483647 h 155"/>
                  <a:gd name="T32" fmla="*/ 2147483647 w 312"/>
                  <a:gd name="T33" fmla="*/ 2147483647 h 155"/>
                  <a:gd name="T34" fmla="*/ 2147483647 w 312"/>
                  <a:gd name="T35" fmla="*/ 2147483647 h 155"/>
                  <a:gd name="T36" fmla="*/ 2147483647 w 312"/>
                  <a:gd name="T37" fmla="*/ 2147483647 h 155"/>
                  <a:gd name="T38" fmla="*/ 2147483647 w 312"/>
                  <a:gd name="T39" fmla="*/ 2147483647 h 155"/>
                  <a:gd name="T40" fmla="*/ 2147483647 w 312"/>
                  <a:gd name="T41" fmla="*/ 2147483647 h 155"/>
                  <a:gd name="T42" fmla="*/ 2147483647 w 312"/>
                  <a:gd name="T43" fmla="*/ 2147483647 h 155"/>
                  <a:gd name="T44" fmla="*/ 2147483647 w 312"/>
                  <a:gd name="T45" fmla="*/ 2147483647 h 155"/>
                  <a:gd name="T46" fmla="*/ 2147483647 w 312"/>
                  <a:gd name="T47" fmla="*/ 2147483647 h 155"/>
                  <a:gd name="T48" fmla="*/ 2147483647 w 312"/>
                  <a:gd name="T49" fmla="*/ 2147483647 h 155"/>
                  <a:gd name="T50" fmla="*/ 2147483647 w 312"/>
                  <a:gd name="T51" fmla="*/ 2147483647 h 155"/>
                  <a:gd name="T52" fmla="*/ 2147483647 w 312"/>
                  <a:gd name="T53" fmla="*/ 2147483647 h 155"/>
                  <a:gd name="T54" fmla="*/ 2147483647 w 312"/>
                  <a:gd name="T55" fmla="*/ 2147483647 h 155"/>
                  <a:gd name="T56" fmla="*/ 2147483647 w 312"/>
                  <a:gd name="T57" fmla="*/ 2147483647 h 155"/>
                  <a:gd name="T58" fmla="*/ 2147483647 w 312"/>
                  <a:gd name="T59" fmla="*/ 2147483647 h 155"/>
                  <a:gd name="T60" fmla="*/ 2147483647 w 312"/>
                  <a:gd name="T61" fmla="*/ 2079414759 h 155"/>
                  <a:gd name="T62" fmla="*/ 2147483647 w 312"/>
                  <a:gd name="T63" fmla="*/ 1439413362 h 155"/>
                  <a:gd name="T64" fmla="*/ 2147483647 w 312"/>
                  <a:gd name="T65" fmla="*/ 959707341 h 155"/>
                  <a:gd name="T66" fmla="*/ 2147483647 w 312"/>
                  <a:gd name="T67" fmla="*/ 479706022 h 155"/>
                  <a:gd name="T68" fmla="*/ 2147483647 w 312"/>
                  <a:gd name="T69" fmla="*/ 160000078 h 155"/>
                  <a:gd name="T70" fmla="*/ 2147483647 w 312"/>
                  <a:gd name="T71" fmla="*/ 0 h 155"/>
                  <a:gd name="T72" fmla="*/ 2147483647 w 312"/>
                  <a:gd name="T73" fmla="*/ 160000078 h 155"/>
                  <a:gd name="T74" fmla="*/ 2147483647 w 312"/>
                  <a:gd name="T75" fmla="*/ 639706642 h 155"/>
                  <a:gd name="T76" fmla="*/ 2147483647 w 312"/>
                  <a:gd name="T77" fmla="*/ 959707341 h 155"/>
                  <a:gd name="T78" fmla="*/ 2147483647 w 312"/>
                  <a:gd name="T79" fmla="*/ 1279707496 h 155"/>
                  <a:gd name="T80" fmla="*/ 1355810709 w 312"/>
                  <a:gd name="T81" fmla="*/ 1599413440 h 155"/>
                  <a:gd name="T82" fmla="*/ 527200033 w 312"/>
                  <a:gd name="T83" fmla="*/ 1919414138 h 155"/>
                  <a:gd name="T84" fmla="*/ 677905354 w 312"/>
                  <a:gd name="T85" fmla="*/ 2147483647 h 155"/>
                  <a:gd name="T86" fmla="*/ 828432037 w 312"/>
                  <a:gd name="T87" fmla="*/ 2147483647 h 155"/>
                  <a:gd name="T88" fmla="*/ 979136936 w 312"/>
                  <a:gd name="T89" fmla="*/ 2147483647 h 155"/>
                  <a:gd name="T90" fmla="*/ 1129842257 w 312"/>
                  <a:gd name="T91" fmla="*/ 2147483647 h 155"/>
                  <a:gd name="T92" fmla="*/ 1355810709 w 312"/>
                  <a:gd name="T93" fmla="*/ 2147483647 h 155"/>
                  <a:gd name="T94" fmla="*/ 1431073839 w 312"/>
                  <a:gd name="T95" fmla="*/ 2147483647 h 155"/>
                  <a:gd name="T96" fmla="*/ 1506337391 w 312"/>
                  <a:gd name="T97" fmla="*/ 2147483647 h 155"/>
                  <a:gd name="T98" fmla="*/ 1506337391 w 312"/>
                  <a:gd name="T99" fmla="*/ 2147483647 h 155"/>
                  <a:gd name="T100" fmla="*/ 1506337391 w 312"/>
                  <a:gd name="T101" fmla="*/ 2147483647 h 155"/>
                  <a:gd name="T102" fmla="*/ 1431073839 w 312"/>
                  <a:gd name="T103" fmla="*/ 2147483647 h 155"/>
                  <a:gd name="T104" fmla="*/ 1355810709 w 312"/>
                  <a:gd name="T105" fmla="*/ 2147483647 h 155"/>
                  <a:gd name="T106" fmla="*/ 1129842257 w 312"/>
                  <a:gd name="T107" fmla="*/ 2147483647 h 155"/>
                  <a:gd name="T108" fmla="*/ 903873806 w 312"/>
                  <a:gd name="T109" fmla="*/ 2147483647 h 155"/>
                  <a:gd name="T110" fmla="*/ 677905354 w 312"/>
                  <a:gd name="T111" fmla="*/ 2147483647 h 155"/>
                  <a:gd name="T112" fmla="*/ 301232004 w 312"/>
                  <a:gd name="T113" fmla="*/ 2147483647 h 155"/>
                  <a:gd name="T114" fmla="*/ 0 w 312"/>
                  <a:gd name="T115" fmla="*/ 2147483647 h 155"/>
                  <a:gd name="T116" fmla="*/ 2147483647 w 312"/>
                  <a:gd name="T117" fmla="*/ 2147483647 h 155"/>
                  <a:gd name="T118" fmla="*/ 2147483647 w 312"/>
                  <a:gd name="T119" fmla="*/ 2147483647 h 155"/>
                  <a:gd name="T120" fmla="*/ 2147483647 w 312"/>
                  <a:gd name="T121" fmla="*/ 2147483647 h 155"/>
                  <a:gd name="T122" fmla="*/ 2147483647 w 312"/>
                  <a:gd name="T123" fmla="*/ 2147483647 h 15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8" name="Freeform 473"/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10139630" y="2557035"/>
                <a:ext cx="19050" cy="60325"/>
              </a:xfrm>
              <a:custGeom>
                <a:avLst/>
                <a:gdLst>
                  <a:gd name="T0" fmla="*/ 0 w 46"/>
                  <a:gd name="T1" fmla="*/ 2147483647 h 50"/>
                  <a:gd name="T2" fmla="*/ 142005326 w 46"/>
                  <a:gd name="T3" fmla="*/ 2147483647 h 50"/>
                  <a:gd name="T4" fmla="*/ 71002663 w 46"/>
                  <a:gd name="T5" fmla="*/ 2147483647 h 50"/>
                  <a:gd name="T6" fmla="*/ 142005326 w 46"/>
                  <a:gd name="T7" fmla="*/ 2147483647 h 50"/>
                  <a:gd name="T8" fmla="*/ 213007989 w 46"/>
                  <a:gd name="T9" fmla="*/ 2147483647 h 50"/>
                  <a:gd name="T10" fmla="*/ 426187428 w 46"/>
                  <a:gd name="T11" fmla="*/ 2147483647 h 50"/>
                  <a:gd name="T12" fmla="*/ 923377520 w 46"/>
                  <a:gd name="T13" fmla="*/ 2147483647 h 50"/>
                  <a:gd name="T14" fmla="*/ 2147483647 w 46"/>
                  <a:gd name="T15" fmla="*/ 0 h 50"/>
                  <a:gd name="T16" fmla="*/ 2147483647 w 46"/>
                  <a:gd name="T17" fmla="*/ 2147483647 h 50"/>
                  <a:gd name="T18" fmla="*/ 2147483647 w 46"/>
                  <a:gd name="T19" fmla="*/ 2147483647 h 50"/>
                  <a:gd name="T20" fmla="*/ 2147483647 w 46"/>
                  <a:gd name="T21" fmla="*/ 2147483647 h 50"/>
                  <a:gd name="T22" fmla="*/ 1775580926 w 46"/>
                  <a:gd name="T23" fmla="*/ 2147483647 h 50"/>
                  <a:gd name="T24" fmla="*/ 1207388172 w 46"/>
                  <a:gd name="T25" fmla="*/ 2147483647 h 50"/>
                  <a:gd name="T26" fmla="*/ 355184765 w 46"/>
                  <a:gd name="T27" fmla="*/ 2147483647 h 50"/>
                  <a:gd name="T28" fmla="*/ 0 w 46"/>
                  <a:gd name="T29" fmla="*/ 2147483647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9" name="Freeform 474"/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10836543" y="4441397"/>
                <a:ext cx="69850" cy="241300"/>
              </a:xfrm>
              <a:custGeom>
                <a:avLst/>
                <a:gdLst>
                  <a:gd name="T0" fmla="*/ 745061758 w 166"/>
                  <a:gd name="T1" fmla="*/ 2147483647 h 456"/>
                  <a:gd name="T2" fmla="*/ 1415582204 w 166"/>
                  <a:gd name="T3" fmla="*/ 2147483647 h 456"/>
                  <a:gd name="T4" fmla="*/ 2147483647 w 166"/>
                  <a:gd name="T5" fmla="*/ 2147483647 h 456"/>
                  <a:gd name="T6" fmla="*/ 2147483647 w 166"/>
                  <a:gd name="T7" fmla="*/ 2147483647 h 456"/>
                  <a:gd name="T8" fmla="*/ 2147483647 w 166"/>
                  <a:gd name="T9" fmla="*/ 2147483647 h 456"/>
                  <a:gd name="T10" fmla="*/ 2147483647 w 166"/>
                  <a:gd name="T11" fmla="*/ 2147483647 h 456"/>
                  <a:gd name="T12" fmla="*/ 2147483647 w 166"/>
                  <a:gd name="T13" fmla="*/ 2147483647 h 456"/>
                  <a:gd name="T14" fmla="*/ 2147483647 w 166"/>
                  <a:gd name="T15" fmla="*/ 2147483647 h 456"/>
                  <a:gd name="T16" fmla="*/ 2147483647 w 166"/>
                  <a:gd name="T17" fmla="*/ 2147483647 h 456"/>
                  <a:gd name="T18" fmla="*/ 2147483647 w 166"/>
                  <a:gd name="T19" fmla="*/ 2147483647 h 456"/>
                  <a:gd name="T20" fmla="*/ 2147483647 w 166"/>
                  <a:gd name="T21" fmla="*/ 2147483647 h 456"/>
                  <a:gd name="T22" fmla="*/ 2147483647 w 166"/>
                  <a:gd name="T23" fmla="*/ 2147483647 h 456"/>
                  <a:gd name="T24" fmla="*/ 2147483647 w 166"/>
                  <a:gd name="T25" fmla="*/ 2147483647 h 456"/>
                  <a:gd name="T26" fmla="*/ 2147483647 w 166"/>
                  <a:gd name="T27" fmla="*/ 2147483647 h 456"/>
                  <a:gd name="T28" fmla="*/ 2147483647 w 166"/>
                  <a:gd name="T29" fmla="*/ 2147483647 h 456"/>
                  <a:gd name="T30" fmla="*/ 2147483647 w 166"/>
                  <a:gd name="T31" fmla="*/ 2147483647 h 456"/>
                  <a:gd name="T32" fmla="*/ 2147483647 w 166"/>
                  <a:gd name="T33" fmla="*/ 2147483647 h 456"/>
                  <a:gd name="T34" fmla="*/ 2147483647 w 166"/>
                  <a:gd name="T35" fmla="*/ 2147483647 h 456"/>
                  <a:gd name="T36" fmla="*/ 2147483647 w 166"/>
                  <a:gd name="T37" fmla="*/ 2147483647 h 456"/>
                  <a:gd name="T38" fmla="*/ 2147483647 w 166"/>
                  <a:gd name="T39" fmla="*/ 2147483647 h 456"/>
                  <a:gd name="T40" fmla="*/ 2147483647 w 166"/>
                  <a:gd name="T41" fmla="*/ 2147483647 h 456"/>
                  <a:gd name="T42" fmla="*/ 2147483647 w 166"/>
                  <a:gd name="T43" fmla="*/ 2147483647 h 456"/>
                  <a:gd name="T44" fmla="*/ 2147483647 w 166"/>
                  <a:gd name="T45" fmla="*/ 2147483647 h 456"/>
                  <a:gd name="T46" fmla="*/ 2147483647 w 166"/>
                  <a:gd name="T47" fmla="*/ 2147483647 h 456"/>
                  <a:gd name="T48" fmla="*/ 2147483647 w 166"/>
                  <a:gd name="T49" fmla="*/ 2147483647 h 456"/>
                  <a:gd name="T50" fmla="*/ 2147483647 w 166"/>
                  <a:gd name="T51" fmla="*/ 2147483647 h 456"/>
                  <a:gd name="T52" fmla="*/ 2147483647 w 166"/>
                  <a:gd name="T53" fmla="*/ 2147483647 h 456"/>
                  <a:gd name="T54" fmla="*/ 2147483647 w 166"/>
                  <a:gd name="T55" fmla="*/ 2147483647 h 456"/>
                  <a:gd name="T56" fmla="*/ 2147483647 w 166"/>
                  <a:gd name="T57" fmla="*/ 2147483647 h 456"/>
                  <a:gd name="T58" fmla="*/ 2147483647 w 166"/>
                  <a:gd name="T59" fmla="*/ 2147483647 h 456"/>
                  <a:gd name="T60" fmla="*/ 2147483647 w 166"/>
                  <a:gd name="T61" fmla="*/ 2147483647 h 456"/>
                  <a:gd name="T62" fmla="*/ 2147483647 w 166"/>
                  <a:gd name="T63" fmla="*/ 2147483647 h 456"/>
                  <a:gd name="T64" fmla="*/ 2147483647 w 166"/>
                  <a:gd name="T65" fmla="*/ 2147483647 h 456"/>
                  <a:gd name="T66" fmla="*/ 2147483647 w 166"/>
                  <a:gd name="T67" fmla="*/ 2147483647 h 456"/>
                  <a:gd name="T68" fmla="*/ 2147483647 w 166"/>
                  <a:gd name="T69" fmla="*/ 2147483647 h 456"/>
                  <a:gd name="T70" fmla="*/ 2147483647 w 166"/>
                  <a:gd name="T71" fmla="*/ 2147483647 h 456"/>
                  <a:gd name="T72" fmla="*/ 2147483647 w 166"/>
                  <a:gd name="T73" fmla="*/ 2147483647 h 456"/>
                  <a:gd name="T74" fmla="*/ 2147483647 w 166"/>
                  <a:gd name="T75" fmla="*/ 2147483647 h 456"/>
                  <a:gd name="T76" fmla="*/ 2147483647 w 166"/>
                  <a:gd name="T77" fmla="*/ 1185313754 h 456"/>
                  <a:gd name="T78" fmla="*/ 2147483647 w 166"/>
                  <a:gd name="T79" fmla="*/ 592796842 h 456"/>
                  <a:gd name="T80" fmla="*/ 893968072 w 166"/>
                  <a:gd name="T81" fmla="*/ 1481851875 h 456"/>
                  <a:gd name="T82" fmla="*/ 1639029829 w 166"/>
                  <a:gd name="T83" fmla="*/ 2147483647 h 456"/>
                  <a:gd name="T84" fmla="*/ 2147483647 w 166"/>
                  <a:gd name="T85" fmla="*/ 2147483647 h 456"/>
                  <a:gd name="T86" fmla="*/ 2147483647 w 166"/>
                  <a:gd name="T87" fmla="*/ 2147483647 h 456"/>
                  <a:gd name="T88" fmla="*/ 2147483647 w 166"/>
                  <a:gd name="T89" fmla="*/ 2147483647 h 456"/>
                  <a:gd name="T90" fmla="*/ 2147483647 w 166"/>
                  <a:gd name="T91" fmla="*/ 2147483647 h 456"/>
                  <a:gd name="T92" fmla="*/ 2147483647 w 166"/>
                  <a:gd name="T93" fmla="*/ 2147483647 h 456"/>
                  <a:gd name="T94" fmla="*/ 2147483647 w 166"/>
                  <a:gd name="T95" fmla="*/ 2147483647 h 456"/>
                  <a:gd name="T96" fmla="*/ 1117592847 w 166"/>
                  <a:gd name="T97" fmla="*/ 2147483647 h 456"/>
                  <a:gd name="T98" fmla="*/ 223447625 w 166"/>
                  <a:gd name="T99" fmla="*/ 2147483647 h 456"/>
                  <a:gd name="T100" fmla="*/ 521436983 w 166"/>
                  <a:gd name="T101" fmla="*/ 2147483647 h 45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0" name="Freeform 475"/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10328543" y="3012647"/>
                <a:ext cx="14287" cy="57150"/>
              </a:xfrm>
              <a:custGeom>
                <a:avLst/>
                <a:gdLst>
                  <a:gd name="T0" fmla="*/ 2147483647 w 27"/>
                  <a:gd name="T1" fmla="*/ 0 h 19"/>
                  <a:gd name="T2" fmla="*/ 2147483647 w 27"/>
                  <a:gd name="T3" fmla="*/ 2147483647 h 19"/>
                  <a:gd name="T4" fmla="*/ 2147483647 w 27"/>
                  <a:gd name="T5" fmla="*/ 2147483647 h 19"/>
                  <a:gd name="T6" fmla="*/ 1333349091 w 27"/>
                  <a:gd name="T7" fmla="*/ 2147483647 h 19"/>
                  <a:gd name="T8" fmla="*/ 0 w 27"/>
                  <a:gd name="T9" fmla="*/ 2147483647 h 19"/>
                  <a:gd name="T10" fmla="*/ 1333349091 w 27"/>
                  <a:gd name="T11" fmla="*/ 2147483647 h 19"/>
                  <a:gd name="T12" fmla="*/ 2147483647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1" name="Freeform 476"/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10647630" y="4633485"/>
                <a:ext cx="188913" cy="217487"/>
              </a:xfrm>
              <a:custGeom>
                <a:avLst/>
                <a:gdLst>
                  <a:gd name="T0" fmla="*/ 2147483647 w 438"/>
                  <a:gd name="T1" fmla="*/ 1229604538 h 406"/>
                  <a:gd name="T2" fmla="*/ 2147483647 w 438"/>
                  <a:gd name="T3" fmla="*/ 2147483647 h 406"/>
                  <a:gd name="T4" fmla="*/ 2147483647 w 438"/>
                  <a:gd name="T5" fmla="*/ 2147483647 h 406"/>
                  <a:gd name="T6" fmla="*/ 2147483647 w 438"/>
                  <a:gd name="T7" fmla="*/ 2147483647 h 406"/>
                  <a:gd name="T8" fmla="*/ 2147483647 w 438"/>
                  <a:gd name="T9" fmla="*/ 2147483647 h 406"/>
                  <a:gd name="T10" fmla="*/ 2147483647 w 438"/>
                  <a:gd name="T11" fmla="*/ 2147483647 h 406"/>
                  <a:gd name="T12" fmla="*/ 2147483647 w 438"/>
                  <a:gd name="T13" fmla="*/ 2147483647 h 406"/>
                  <a:gd name="T14" fmla="*/ 2147483647 w 438"/>
                  <a:gd name="T15" fmla="*/ 2147483647 h 406"/>
                  <a:gd name="T16" fmla="*/ 2147483647 w 438"/>
                  <a:gd name="T17" fmla="*/ 2147483647 h 406"/>
                  <a:gd name="T18" fmla="*/ 2147483647 w 438"/>
                  <a:gd name="T19" fmla="*/ 2147483647 h 406"/>
                  <a:gd name="T20" fmla="*/ 2147483647 w 438"/>
                  <a:gd name="T21" fmla="*/ 2147483647 h 406"/>
                  <a:gd name="T22" fmla="*/ 2147483647 w 438"/>
                  <a:gd name="T23" fmla="*/ 2147483647 h 406"/>
                  <a:gd name="T24" fmla="*/ 2147483647 w 438"/>
                  <a:gd name="T25" fmla="*/ 2147483647 h 406"/>
                  <a:gd name="T26" fmla="*/ 2147483647 w 438"/>
                  <a:gd name="T27" fmla="*/ 2147483647 h 406"/>
                  <a:gd name="T28" fmla="*/ 2147483647 w 438"/>
                  <a:gd name="T29" fmla="*/ 2147483647 h 406"/>
                  <a:gd name="T30" fmla="*/ 2147483647 w 438"/>
                  <a:gd name="T31" fmla="*/ 2147483647 h 406"/>
                  <a:gd name="T32" fmla="*/ 2147483647 w 438"/>
                  <a:gd name="T33" fmla="*/ 2147483647 h 406"/>
                  <a:gd name="T34" fmla="*/ 2147483647 w 438"/>
                  <a:gd name="T35" fmla="*/ 2147483647 h 406"/>
                  <a:gd name="T36" fmla="*/ 2147483647 w 438"/>
                  <a:gd name="T37" fmla="*/ 2147483647 h 406"/>
                  <a:gd name="T38" fmla="*/ 2147483647 w 438"/>
                  <a:gd name="T39" fmla="*/ 2147483647 h 406"/>
                  <a:gd name="T40" fmla="*/ 2147483647 w 438"/>
                  <a:gd name="T41" fmla="*/ 2147483647 h 406"/>
                  <a:gd name="T42" fmla="*/ 2147483647 w 438"/>
                  <a:gd name="T43" fmla="*/ 2147483647 h 406"/>
                  <a:gd name="T44" fmla="*/ 2147483647 w 438"/>
                  <a:gd name="T45" fmla="*/ 2147483647 h 406"/>
                  <a:gd name="T46" fmla="*/ 2147483647 w 438"/>
                  <a:gd name="T47" fmla="*/ 2147483647 h 406"/>
                  <a:gd name="T48" fmla="*/ 2147483647 w 438"/>
                  <a:gd name="T49" fmla="*/ 2147483647 h 406"/>
                  <a:gd name="T50" fmla="*/ 2147483647 w 438"/>
                  <a:gd name="T51" fmla="*/ 2147483647 h 406"/>
                  <a:gd name="T52" fmla="*/ 2147483647 w 438"/>
                  <a:gd name="T53" fmla="*/ 2147483647 h 406"/>
                  <a:gd name="T54" fmla="*/ 2147483647 w 438"/>
                  <a:gd name="T55" fmla="*/ 2147483647 h 406"/>
                  <a:gd name="T56" fmla="*/ 2147483647 w 438"/>
                  <a:gd name="T57" fmla="*/ 2147483647 h 406"/>
                  <a:gd name="T58" fmla="*/ 1925563037 w 438"/>
                  <a:gd name="T59" fmla="*/ 2147483647 h 406"/>
                  <a:gd name="T60" fmla="*/ 1043052075 w 438"/>
                  <a:gd name="T61" fmla="*/ 2147483647 h 406"/>
                  <a:gd name="T62" fmla="*/ 320896334 w 438"/>
                  <a:gd name="T63" fmla="*/ 2147483647 h 406"/>
                  <a:gd name="T64" fmla="*/ 0 w 438"/>
                  <a:gd name="T65" fmla="*/ 2147483647 h 406"/>
                  <a:gd name="T66" fmla="*/ 1444311913 w 438"/>
                  <a:gd name="T67" fmla="*/ 2147483647 h 406"/>
                  <a:gd name="T68" fmla="*/ 2147483647 w 438"/>
                  <a:gd name="T69" fmla="*/ 2147483647 h 406"/>
                  <a:gd name="T70" fmla="*/ 2147483647 w 438"/>
                  <a:gd name="T71" fmla="*/ 2147483647 h 406"/>
                  <a:gd name="T72" fmla="*/ 2147483647 w 438"/>
                  <a:gd name="T73" fmla="*/ 2147483647 h 406"/>
                  <a:gd name="T74" fmla="*/ 2147483647 w 438"/>
                  <a:gd name="T75" fmla="*/ 2147483647 h 406"/>
                  <a:gd name="T76" fmla="*/ 2147483647 w 438"/>
                  <a:gd name="T77" fmla="*/ 2147483647 h 406"/>
                  <a:gd name="T78" fmla="*/ 2147483647 w 438"/>
                  <a:gd name="T79" fmla="*/ 2147483647 h 406"/>
                  <a:gd name="T80" fmla="*/ 2147483647 w 438"/>
                  <a:gd name="T81" fmla="*/ 2147483647 h 406"/>
                  <a:gd name="T82" fmla="*/ 2147483647 w 438"/>
                  <a:gd name="T83" fmla="*/ 2147483647 h 406"/>
                  <a:gd name="T84" fmla="*/ 2147483647 w 438"/>
                  <a:gd name="T85" fmla="*/ 2147483647 h 406"/>
                  <a:gd name="T86" fmla="*/ 2147483647 w 438"/>
                  <a:gd name="T87" fmla="*/ 2147483647 h 406"/>
                  <a:gd name="T88" fmla="*/ 2147483647 w 438"/>
                  <a:gd name="T89" fmla="*/ 2147483647 h 406"/>
                  <a:gd name="T90" fmla="*/ 2147483647 w 438"/>
                  <a:gd name="T91" fmla="*/ 2147483647 h 406"/>
                  <a:gd name="T92" fmla="*/ 2147483647 w 438"/>
                  <a:gd name="T93" fmla="*/ 2147483647 h 406"/>
                  <a:gd name="T94" fmla="*/ 2147483647 w 438"/>
                  <a:gd name="T95" fmla="*/ 2147483647 h 406"/>
                  <a:gd name="T96" fmla="*/ 2147483647 w 438"/>
                  <a:gd name="T97" fmla="*/ 1844550102 h 406"/>
                  <a:gd name="T98" fmla="*/ 2147483647 w 438"/>
                  <a:gd name="T99" fmla="*/ 1844550102 h 406"/>
                  <a:gd name="T100" fmla="*/ 2147483647 w 438"/>
                  <a:gd name="T101" fmla="*/ 1383412308 h 406"/>
                  <a:gd name="T102" fmla="*/ 2147483647 w 438"/>
                  <a:gd name="T103" fmla="*/ 614945564 h 406"/>
                  <a:gd name="T104" fmla="*/ 2147483647 w 438"/>
                  <a:gd name="T105" fmla="*/ 307329487 h 406"/>
                  <a:gd name="T106" fmla="*/ 2147483647 w 438"/>
                  <a:gd name="T107" fmla="*/ 461137258 h 406"/>
                  <a:gd name="T108" fmla="*/ 2147483647 w 438"/>
                  <a:gd name="T109" fmla="*/ 153808306 h 40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2" name="Freeform 477"/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10560318" y="4409647"/>
                <a:ext cx="293687" cy="300038"/>
              </a:xfrm>
              <a:custGeom>
                <a:avLst/>
                <a:gdLst>
                  <a:gd name="T0" fmla="*/ 2147483647 w 678"/>
                  <a:gd name="T1" fmla="*/ 1142648724 h 574"/>
                  <a:gd name="T2" fmla="*/ 2147483647 w 678"/>
                  <a:gd name="T3" fmla="*/ 2147483647 h 574"/>
                  <a:gd name="T4" fmla="*/ 2147483647 w 678"/>
                  <a:gd name="T5" fmla="*/ 2147483647 h 574"/>
                  <a:gd name="T6" fmla="*/ 2147483647 w 678"/>
                  <a:gd name="T7" fmla="*/ 2147483647 h 574"/>
                  <a:gd name="T8" fmla="*/ 2147483647 w 678"/>
                  <a:gd name="T9" fmla="*/ 2147483647 h 574"/>
                  <a:gd name="T10" fmla="*/ 2147483647 w 678"/>
                  <a:gd name="T11" fmla="*/ 2147483647 h 574"/>
                  <a:gd name="T12" fmla="*/ 2147483647 w 678"/>
                  <a:gd name="T13" fmla="*/ 2147483647 h 574"/>
                  <a:gd name="T14" fmla="*/ 2147483647 w 678"/>
                  <a:gd name="T15" fmla="*/ 2147483647 h 574"/>
                  <a:gd name="T16" fmla="*/ 2147483647 w 678"/>
                  <a:gd name="T17" fmla="*/ 2147483647 h 574"/>
                  <a:gd name="T18" fmla="*/ 2147483647 w 678"/>
                  <a:gd name="T19" fmla="*/ 2147483647 h 574"/>
                  <a:gd name="T20" fmla="*/ 2147483647 w 678"/>
                  <a:gd name="T21" fmla="*/ 2147483647 h 574"/>
                  <a:gd name="T22" fmla="*/ 2147483647 w 678"/>
                  <a:gd name="T23" fmla="*/ 2147483647 h 574"/>
                  <a:gd name="T24" fmla="*/ 2147483647 w 678"/>
                  <a:gd name="T25" fmla="*/ 2147483647 h 574"/>
                  <a:gd name="T26" fmla="*/ 2147483647 w 678"/>
                  <a:gd name="T27" fmla="*/ 2147483647 h 574"/>
                  <a:gd name="T28" fmla="*/ 2147483647 w 678"/>
                  <a:gd name="T29" fmla="*/ 2147483647 h 574"/>
                  <a:gd name="T30" fmla="*/ 2147483647 w 678"/>
                  <a:gd name="T31" fmla="*/ 2147483647 h 574"/>
                  <a:gd name="T32" fmla="*/ 2147483647 w 678"/>
                  <a:gd name="T33" fmla="*/ 2147483647 h 574"/>
                  <a:gd name="T34" fmla="*/ 2147483647 w 678"/>
                  <a:gd name="T35" fmla="*/ 2147483647 h 574"/>
                  <a:gd name="T36" fmla="*/ 2147483647 w 678"/>
                  <a:gd name="T37" fmla="*/ 2147483647 h 574"/>
                  <a:gd name="T38" fmla="*/ 2147483647 w 678"/>
                  <a:gd name="T39" fmla="*/ 2147483647 h 574"/>
                  <a:gd name="T40" fmla="*/ 2147483647 w 678"/>
                  <a:gd name="T41" fmla="*/ 2147483647 h 574"/>
                  <a:gd name="T42" fmla="*/ 2147483647 w 678"/>
                  <a:gd name="T43" fmla="*/ 2147483647 h 574"/>
                  <a:gd name="T44" fmla="*/ 2147483647 w 678"/>
                  <a:gd name="T45" fmla="*/ 2147483647 h 574"/>
                  <a:gd name="T46" fmla="*/ 2147483647 w 678"/>
                  <a:gd name="T47" fmla="*/ 2147483647 h 574"/>
                  <a:gd name="T48" fmla="*/ 2147483647 w 678"/>
                  <a:gd name="T49" fmla="*/ 2147483647 h 574"/>
                  <a:gd name="T50" fmla="*/ 2147483647 w 678"/>
                  <a:gd name="T51" fmla="*/ 2147483647 h 574"/>
                  <a:gd name="T52" fmla="*/ 2147483647 w 678"/>
                  <a:gd name="T53" fmla="*/ 2147483647 h 574"/>
                  <a:gd name="T54" fmla="*/ 2147483647 w 678"/>
                  <a:gd name="T55" fmla="*/ 2147483647 h 574"/>
                  <a:gd name="T56" fmla="*/ 2147483647 w 678"/>
                  <a:gd name="T57" fmla="*/ 2147483647 h 574"/>
                  <a:gd name="T58" fmla="*/ 2147483647 w 678"/>
                  <a:gd name="T59" fmla="*/ 2147483647 h 574"/>
                  <a:gd name="T60" fmla="*/ 2147483647 w 678"/>
                  <a:gd name="T61" fmla="*/ 2147483647 h 574"/>
                  <a:gd name="T62" fmla="*/ 2147483647 w 678"/>
                  <a:gd name="T63" fmla="*/ 2147483647 h 574"/>
                  <a:gd name="T64" fmla="*/ 0 w 678"/>
                  <a:gd name="T65" fmla="*/ 2147483647 h 574"/>
                  <a:gd name="T66" fmla="*/ 2147483647 w 678"/>
                  <a:gd name="T67" fmla="*/ 2147483647 h 574"/>
                  <a:gd name="T68" fmla="*/ 2147483647 w 678"/>
                  <a:gd name="T69" fmla="*/ 2147483647 h 574"/>
                  <a:gd name="T70" fmla="*/ 2147483647 w 678"/>
                  <a:gd name="T71" fmla="*/ 2147483647 h 574"/>
                  <a:gd name="T72" fmla="*/ 2147483647 w 678"/>
                  <a:gd name="T73" fmla="*/ 2147483647 h 574"/>
                  <a:gd name="T74" fmla="*/ 2147483647 w 678"/>
                  <a:gd name="T75" fmla="*/ 2147483647 h 574"/>
                  <a:gd name="T76" fmla="*/ 2147483647 w 678"/>
                  <a:gd name="T77" fmla="*/ 2147483647 h 574"/>
                  <a:gd name="T78" fmla="*/ 2147483647 w 678"/>
                  <a:gd name="T79" fmla="*/ 2147483647 h 574"/>
                  <a:gd name="T80" fmla="*/ 2147483647 w 678"/>
                  <a:gd name="T81" fmla="*/ 2147483647 h 574"/>
                  <a:gd name="T82" fmla="*/ 2147483647 w 678"/>
                  <a:gd name="T83" fmla="*/ 2147483647 h 574"/>
                  <a:gd name="T84" fmla="*/ 2147483647 w 678"/>
                  <a:gd name="T85" fmla="*/ 2147483647 h 574"/>
                  <a:gd name="T86" fmla="*/ 2147483647 w 678"/>
                  <a:gd name="T87" fmla="*/ 2147483647 h 574"/>
                  <a:gd name="T88" fmla="*/ 2147483647 w 678"/>
                  <a:gd name="T89" fmla="*/ 2147483647 h 574"/>
                  <a:gd name="T90" fmla="*/ 2147483647 w 678"/>
                  <a:gd name="T91" fmla="*/ 2147483647 h 574"/>
                  <a:gd name="T92" fmla="*/ 2147483647 w 678"/>
                  <a:gd name="T93" fmla="*/ 2147483647 h 574"/>
                  <a:gd name="T94" fmla="*/ 2147483647 w 678"/>
                  <a:gd name="T95" fmla="*/ 2147483647 h 574"/>
                  <a:gd name="T96" fmla="*/ 2147483647 w 678"/>
                  <a:gd name="T97" fmla="*/ 2147483647 h 574"/>
                  <a:gd name="T98" fmla="*/ 2147483647 w 678"/>
                  <a:gd name="T99" fmla="*/ 2147483647 h 574"/>
                  <a:gd name="T100" fmla="*/ 2147483647 w 678"/>
                  <a:gd name="T101" fmla="*/ 2147483647 h 574"/>
                  <a:gd name="T102" fmla="*/ 2147483647 w 678"/>
                  <a:gd name="T103" fmla="*/ 2147483647 h 574"/>
                  <a:gd name="T104" fmla="*/ 2147483647 w 678"/>
                  <a:gd name="T105" fmla="*/ 2147483647 h 574"/>
                  <a:gd name="T106" fmla="*/ 2147483647 w 678"/>
                  <a:gd name="T107" fmla="*/ 2147483647 h 574"/>
                  <a:gd name="T108" fmla="*/ 2147483647 w 678"/>
                  <a:gd name="T109" fmla="*/ 2147483647 h 574"/>
                  <a:gd name="T110" fmla="*/ 2147483647 w 678"/>
                  <a:gd name="T111" fmla="*/ 1428174607 h 574"/>
                  <a:gd name="T112" fmla="*/ 2147483647 w 678"/>
                  <a:gd name="T113" fmla="*/ 856849984 h 574"/>
                  <a:gd name="T114" fmla="*/ 2147483647 w 678"/>
                  <a:gd name="T115" fmla="*/ 1142648724 h 574"/>
                  <a:gd name="T116" fmla="*/ 2147483647 w 678"/>
                  <a:gd name="T117" fmla="*/ 142899631 h 57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3" name="Freeform 478"/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10296793" y="4682697"/>
                <a:ext cx="350837" cy="381000"/>
              </a:xfrm>
              <a:custGeom>
                <a:avLst/>
                <a:gdLst>
                  <a:gd name="T0" fmla="*/ 2147483647 w 810"/>
                  <a:gd name="T1" fmla="*/ 2147483647 h 727"/>
                  <a:gd name="T2" fmla="*/ 2147483647 w 810"/>
                  <a:gd name="T3" fmla="*/ 2147483647 h 727"/>
                  <a:gd name="T4" fmla="*/ 2147483647 w 810"/>
                  <a:gd name="T5" fmla="*/ 2147483647 h 727"/>
                  <a:gd name="T6" fmla="*/ 2147483647 w 810"/>
                  <a:gd name="T7" fmla="*/ 2147483647 h 727"/>
                  <a:gd name="T8" fmla="*/ 2147483647 w 810"/>
                  <a:gd name="T9" fmla="*/ 2147483647 h 727"/>
                  <a:gd name="T10" fmla="*/ 2147483647 w 810"/>
                  <a:gd name="T11" fmla="*/ 2147483647 h 727"/>
                  <a:gd name="T12" fmla="*/ 2147483647 w 810"/>
                  <a:gd name="T13" fmla="*/ 2147483647 h 727"/>
                  <a:gd name="T14" fmla="*/ 2147483647 w 810"/>
                  <a:gd name="T15" fmla="*/ 2147483647 h 727"/>
                  <a:gd name="T16" fmla="*/ 2147483647 w 810"/>
                  <a:gd name="T17" fmla="*/ 0 h 727"/>
                  <a:gd name="T18" fmla="*/ 2147483647 w 810"/>
                  <a:gd name="T19" fmla="*/ 719585319 h 727"/>
                  <a:gd name="T20" fmla="*/ 2147483647 w 810"/>
                  <a:gd name="T21" fmla="*/ 2147483647 h 727"/>
                  <a:gd name="T22" fmla="*/ 0 w 810"/>
                  <a:gd name="T23" fmla="*/ 2147483647 h 727"/>
                  <a:gd name="T24" fmla="*/ 568813761 w 810"/>
                  <a:gd name="T25" fmla="*/ 2147483647 h 727"/>
                  <a:gd name="T26" fmla="*/ 2112602245 w 810"/>
                  <a:gd name="T27" fmla="*/ 2147483647 h 727"/>
                  <a:gd name="T28" fmla="*/ 2147483647 w 810"/>
                  <a:gd name="T29" fmla="*/ 2147483647 h 727"/>
                  <a:gd name="T30" fmla="*/ 2147483647 w 810"/>
                  <a:gd name="T31" fmla="*/ 2147483647 h 727"/>
                  <a:gd name="T32" fmla="*/ 2147483647 w 810"/>
                  <a:gd name="T33" fmla="*/ 2147483647 h 727"/>
                  <a:gd name="T34" fmla="*/ 2147483647 w 810"/>
                  <a:gd name="T35" fmla="*/ 2147483647 h 727"/>
                  <a:gd name="T36" fmla="*/ 2147483647 w 810"/>
                  <a:gd name="T37" fmla="*/ 2147483647 h 727"/>
                  <a:gd name="T38" fmla="*/ 2147483647 w 810"/>
                  <a:gd name="T39" fmla="*/ 2147483647 h 727"/>
                  <a:gd name="T40" fmla="*/ 2147483647 w 810"/>
                  <a:gd name="T41" fmla="*/ 2147483647 h 727"/>
                  <a:gd name="T42" fmla="*/ 2147483647 w 810"/>
                  <a:gd name="T43" fmla="*/ 2147483647 h 727"/>
                  <a:gd name="T44" fmla="*/ 2147483647 w 810"/>
                  <a:gd name="T45" fmla="*/ 2147483647 h 727"/>
                  <a:gd name="T46" fmla="*/ 2147483647 w 810"/>
                  <a:gd name="T47" fmla="*/ 2147483647 h 727"/>
                  <a:gd name="T48" fmla="*/ 2147483647 w 810"/>
                  <a:gd name="T49" fmla="*/ 2147483647 h 727"/>
                  <a:gd name="T50" fmla="*/ 2147483647 w 810"/>
                  <a:gd name="T51" fmla="*/ 2147483647 h 727"/>
                  <a:gd name="T52" fmla="*/ 2147483647 w 810"/>
                  <a:gd name="T53" fmla="*/ 2147483647 h 727"/>
                  <a:gd name="T54" fmla="*/ 2147483647 w 810"/>
                  <a:gd name="T55" fmla="*/ 2147483647 h 727"/>
                  <a:gd name="T56" fmla="*/ 2147483647 w 810"/>
                  <a:gd name="T57" fmla="*/ 2147483647 h 727"/>
                  <a:gd name="T58" fmla="*/ 2147483647 w 810"/>
                  <a:gd name="T59" fmla="*/ 2147483647 h 727"/>
                  <a:gd name="T60" fmla="*/ 2147483647 w 810"/>
                  <a:gd name="T61" fmla="*/ 2147483647 h 727"/>
                  <a:gd name="T62" fmla="*/ 2147483647 w 810"/>
                  <a:gd name="T63" fmla="*/ 2147483647 h 727"/>
                  <a:gd name="T64" fmla="*/ 2147483647 w 810"/>
                  <a:gd name="T65" fmla="*/ 2147483647 h 727"/>
                  <a:gd name="T66" fmla="*/ 2147483647 w 810"/>
                  <a:gd name="T67" fmla="*/ 2147483647 h 727"/>
                  <a:gd name="T68" fmla="*/ 2147483647 w 810"/>
                  <a:gd name="T69" fmla="*/ 2147483647 h 727"/>
                  <a:gd name="T70" fmla="*/ 2147483647 w 810"/>
                  <a:gd name="T71" fmla="*/ 2147483647 h 727"/>
                  <a:gd name="T72" fmla="*/ 2147483647 w 810"/>
                  <a:gd name="T73" fmla="*/ 2147483647 h 727"/>
                  <a:gd name="T74" fmla="*/ 2147483647 w 810"/>
                  <a:gd name="T75" fmla="*/ 2147483647 h 727"/>
                  <a:gd name="T76" fmla="*/ 2147483647 w 810"/>
                  <a:gd name="T77" fmla="*/ 2147483647 h 727"/>
                  <a:gd name="T78" fmla="*/ 2147483647 w 810"/>
                  <a:gd name="T79" fmla="*/ 2147483647 h 727"/>
                  <a:gd name="T80" fmla="*/ 2147483647 w 810"/>
                  <a:gd name="T81" fmla="*/ 2147483647 h 727"/>
                  <a:gd name="T82" fmla="*/ 2147483647 w 810"/>
                  <a:gd name="T83" fmla="*/ 2147483647 h 727"/>
                  <a:gd name="T84" fmla="*/ 2147483647 w 810"/>
                  <a:gd name="T85" fmla="*/ 2147483647 h 727"/>
                  <a:gd name="T86" fmla="*/ 2147483647 w 810"/>
                  <a:gd name="T87" fmla="*/ 2147483647 h 727"/>
                  <a:gd name="T88" fmla="*/ 2147483647 w 810"/>
                  <a:gd name="T89" fmla="*/ 2147483647 h 727"/>
                  <a:gd name="T90" fmla="*/ 2147483647 w 810"/>
                  <a:gd name="T91" fmla="*/ 2147483647 h 727"/>
                  <a:gd name="T92" fmla="*/ 2147483647 w 810"/>
                  <a:gd name="T93" fmla="*/ 2147483647 h 727"/>
                  <a:gd name="T94" fmla="*/ 2147483647 w 810"/>
                  <a:gd name="T95" fmla="*/ 2147483647 h 727"/>
                  <a:gd name="T96" fmla="*/ 2147483647 w 810"/>
                  <a:gd name="T97" fmla="*/ 2147483647 h 727"/>
                  <a:gd name="T98" fmla="*/ 2147483647 w 810"/>
                  <a:gd name="T99" fmla="*/ 2147483647 h 727"/>
                  <a:gd name="T100" fmla="*/ 2147483647 w 810"/>
                  <a:gd name="T101" fmla="*/ 2147483647 h 727"/>
                  <a:gd name="T102" fmla="*/ 2147483647 w 810"/>
                  <a:gd name="T103" fmla="*/ 2147483647 h 72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4" name="Freeform 479"/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9576068" y="3612722"/>
                <a:ext cx="161925" cy="141288"/>
              </a:xfrm>
              <a:custGeom>
                <a:avLst/>
                <a:gdLst>
                  <a:gd name="T0" fmla="*/ 2147483647 w 365"/>
                  <a:gd name="T1" fmla="*/ 2147483647 h 271"/>
                  <a:gd name="T2" fmla="*/ 2147483647 w 365"/>
                  <a:gd name="T3" fmla="*/ 2147483647 h 271"/>
                  <a:gd name="T4" fmla="*/ 2147483647 w 365"/>
                  <a:gd name="T5" fmla="*/ 2147483647 h 271"/>
                  <a:gd name="T6" fmla="*/ 2147483647 w 365"/>
                  <a:gd name="T7" fmla="*/ 2147483647 h 271"/>
                  <a:gd name="T8" fmla="*/ 2147483647 w 365"/>
                  <a:gd name="T9" fmla="*/ 2147483647 h 271"/>
                  <a:gd name="T10" fmla="*/ 2147483647 w 365"/>
                  <a:gd name="T11" fmla="*/ 2147483647 h 271"/>
                  <a:gd name="T12" fmla="*/ 1746274617 w 365"/>
                  <a:gd name="T13" fmla="*/ 2147483647 h 271"/>
                  <a:gd name="T14" fmla="*/ 1484323443 w 365"/>
                  <a:gd name="T15" fmla="*/ 2147483647 h 271"/>
                  <a:gd name="T16" fmla="*/ 1571509630 w 365"/>
                  <a:gd name="T17" fmla="*/ 2147483647 h 271"/>
                  <a:gd name="T18" fmla="*/ 2147483647 w 365"/>
                  <a:gd name="T19" fmla="*/ 2147483647 h 271"/>
                  <a:gd name="T20" fmla="*/ 2147483647 w 365"/>
                  <a:gd name="T21" fmla="*/ 2147483647 h 271"/>
                  <a:gd name="T22" fmla="*/ 2147483647 w 365"/>
                  <a:gd name="T23" fmla="*/ 2147483647 h 271"/>
                  <a:gd name="T24" fmla="*/ 2147483647 w 365"/>
                  <a:gd name="T25" fmla="*/ 2147483647 h 271"/>
                  <a:gd name="T26" fmla="*/ 2147483647 w 365"/>
                  <a:gd name="T27" fmla="*/ 2147483647 h 271"/>
                  <a:gd name="T28" fmla="*/ 2147483647 w 365"/>
                  <a:gd name="T29" fmla="*/ 2147483647 h 271"/>
                  <a:gd name="T30" fmla="*/ 2147483647 w 365"/>
                  <a:gd name="T31" fmla="*/ 2147483647 h 271"/>
                  <a:gd name="T32" fmla="*/ 2147483647 w 365"/>
                  <a:gd name="T33" fmla="*/ 2147483647 h 271"/>
                  <a:gd name="T34" fmla="*/ 2147483647 w 365"/>
                  <a:gd name="T35" fmla="*/ 2147483647 h 271"/>
                  <a:gd name="T36" fmla="*/ 2147483647 w 365"/>
                  <a:gd name="T37" fmla="*/ 2147483647 h 271"/>
                  <a:gd name="T38" fmla="*/ 2147483647 w 365"/>
                  <a:gd name="T39" fmla="*/ 2147483647 h 271"/>
                  <a:gd name="T40" fmla="*/ 2147483647 w 365"/>
                  <a:gd name="T41" fmla="*/ 2147483647 h 271"/>
                  <a:gd name="T42" fmla="*/ 2147483647 w 365"/>
                  <a:gd name="T43" fmla="*/ 2147483647 h 271"/>
                  <a:gd name="T44" fmla="*/ 2147483647 w 365"/>
                  <a:gd name="T45" fmla="*/ 2147483647 h 271"/>
                  <a:gd name="T46" fmla="*/ 2147483647 w 365"/>
                  <a:gd name="T47" fmla="*/ 2147483647 h 271"/>
                  <a:gd name="T48" fmla="*/ 2147483647 w 365"/>
                  <a:gd name="T49" fmla="*/ 2147483647 h 271"/>
                  <a:gd name="T50" fmla="*/ 2147483647 w 365"/>
                  <a:gd name="T51" fmla="*/ 2147483647 h 271"/>
                  <a:gd name="T52" fmla="*/ 2147483647 w 365"/>
                  <a:gd name="T53" fmla="*/ 2147483647 h 271"/>
                  <a:gd name="T54" fmla="*/ 2147483647 w 365"/>
                  <a:gd name="T55" fmla="*/ 2147483647 h 271"/>
                  <a:gd name="T56" fmla="*/ 1134989997 w 365"/>
                  <a:gd name="T57" fmla="*/ 2147483647 h 271"/>
                  <a:gd name="T58" fmla="*/ 960421538 w 365"/>
                  <a:gd name="T59" fmla="*/ 2147483647 h 271"/>
                  <a:gd name="T60" fmla="*/ 523901905 w 365"/>
                  <a:gd name="T61" fmla="*/ 2147483647 h 271"/>
                  <a:gd name="T62" fmla="*/ 174568459 w 365"/>
                  <a:gd name="T63" fmla="*/ 2147483647 h 271"/>
                  <a:gd name="T64" fmla="*/ 0 w 365"/>
                  <a:gd name="T65" fmla="*/ 2147483647 h 271"/>
                  <a:gd name="T66" fmla="*/ 436519633 w 365"/>
                  <a:gd name="T67" fmla="*/ 2147483647 h 271"/>
                  <a:gd name="T68" fmla="*/ 1484323443 w 365"/>
                  <a:gd name="T69" fmla="*/ 2147483647 h 271"/>
                  <a:gd name="T70" fmla="*/ 2147483647 w 365"/>
                  <a:gd name="T71" fmla="*/ 2147483647 h 271"/>
                  <a:gd name="T72" fmla="*/ 2147483647 w 365"/>
                  <a:gd name="T73" fmla="*/ 2147483647 h 271"/>
                  <a:gd name="T74" fmla="*/ 2147483647 w 365"/>
                  <a:gd name="T75" fmla="*/ 2147483647 h 271"/>
                  <a:gd name="T76" fmla="*/ 2147483647 w 365"/>
                  <a:gd name="T77" fmla="*/ 2147483647 h 271"/>
                  <a:gd name="T78" fmla="*/ 2147483647 w 365"/>
                  <a:gd name="T79" fmla="*/ 2147483647 h 271"/>
                  <a:gd name="T80" fmla="*/ 2147483647 w 365"/>
                  <a:gd name="T81" fmla="*/ 2147483647 h 271"/>
                  <a:gd name="T82" fmla="*/ 2147483647 w 365"/>
                  <a:gd name="T83" fmla="*/ 2147483647 h 271"/>
                  <a:gd name="T84" fmla="*/ 2147483647 w 365"/>
                  <a:gd name="T85" fmla="*/ 0 h 271"/>
                  <a:gd name="T86" fmla="*/ 2147483647 w 365"/>
                  <a:gd name="T87" fmla="*/ 2125586201 h 271"/>
                  <a:gd name="T88" fmla="*/ 2147483647 w 365"/>
                  <a:gd name="T89" fmla="*/ 2147483647 h 271"/>
                  <a:gd name="T90" fmla="*/ 2147483647 w 365"/>
                  <a:gd name="T91" fmla="*/ 2147483647 h 271"/>
                  <a:gd name="T92" fmla="*/ 2147483647 w 365"/>
                  <a:gd name="T93" fmla="*/ 2147483647 h 271"/>
                  <a:gd name="T94" fmla="*/ 2147483647 w 365"/>
                  <a:gd name="T95" fmla="*/ 2147483647 h 271"/>
                  <a:gd name="T96" fmla="*/ 2147483647 w 365"/>
                  <a:gd name="T97" fmla="*/ 2147483647 h 271"/>
                  <a:gd name="T98" fmla="*/ 2147483647 w 365"/>
                  <a:gd name="T99" fmla="*/ 2147483647 h 271"/>
                  <a:gd name="T100" fmla="*/ 2147483647 w 365"/>
                  <a:gd name="T101" fmla="*/ 2147483647 h 271"/>
                  <a:gd name="T102" fmla="*/ 2147483647 w 365"/>
                  <a:gd name="T103" fmla="*/ 2147483647 h 271"/>
                  <a:gd name="T104" fmla="*/ 2147483647 w 365"/>
                  <a:gd name="T105" fmla="*/ 2147483647 h 271"/>
                  <a:gd name="T106" fmla="*/ 2147483647 w 365"/>
                  <a:gd name="T107" fmla="*/ 2147483647 h 271"/>
                  <a:gd name="T108" fmla="*/ 2147483647 w 365"/>
                  <a:gd name="T109" fmla="*/ 2147483647 h 271"/>
                  <a:gd name="T110" fmla="*/ 2147483647 w 365"/>
                  <a:gd name="T111" fmla="*/ 2147483647 h 271"/>
                  <a:gd name="T112" fmla="*/ 2147483647 w 365"/>
                  <a:gd name="T113" fmla="*/ 2147483647 h 271"/>
                  <a:gd name="T114" fmla="*/ 2147483647 w 365"/>
                  <a:gd name="T115" fmla="*/ 2147483647 h 271"/>
                  <a:gd name="T116" fmla="*/ 2147483647 w 365"/>
                  <a:gd name="T117" fmla="*/ 2147483647 h 27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5" name="Freeform 480"/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10749230" y="4174697"/>
                <a:ext cx="269875" cy="334963"/>
              </a:xfrm>
              <a:custGeom>
                <a:avLst/>
                <a:gdLst>
                  <a:gd name="T0" fmla="*/ 2147483647 w 624"/>
                  <a:gd name="T1" fmla="*/ 1720531169 h 640"/>
                  <a:gd name="T2" fmla="*/ 2147483647 w 624"/>
                  <a:gd name="T3" fmla="*/ 1720531169 h 640"/>
                  <a:gd name="T4" fmla="*/ 2147483647 w 624"/>
                  <a:gd name="T5" fmla="*/ 716865307 h 640"/>
                  <a:gd name="T6" fmla="*/ 2147483647 w 624"/>
                  <a:gd name="T7" fmla="*/ 2147483647 h 640"/>
                  <a:gd name="T8" fmla="*/ 2147483647 w 624"/>
                  <a:gd name="T9" fmla="*/ 2147483647 h 640"/>
                  <a:gd name="T10" fmla="*/ 2147483647 w 624"/>
                  <a:gd name="T11" fmla="*/ 2147483647 h 640"/>
                  <a:gd name="T12" fmla="*/ 2147483647 w 624"/>
                  <a:gd name="T13" fmla="*/ 2147483647 h 640"/>
                  <a:gd name="T14" fmla="*/ 2147483647 w 624"/>
                  <a:gd name="T15" fmla="*/ 2147483647 h 640"/>
                  <a:gd name="T16" fmla="*/ 2147483647 w 624"/>
                  <a:gd name="T17" fmla="*/ 2147483647 h 640"/>
                  <a:gd name="T18" fmla="*/ 2147483647 w 624"/>
                  <a:gd name="T19" fmla="*/ 2147483647 h 640"/>
                  <a:gd name="T20" fmla="*/ 2147483647 w 624"/>
                  <a:gd name="T21" fmla="*/ 2147483647 h 640"/>
                  <a:gd name="T22" fmla="*/ 2147483647 w 624"/>
                  <a:gd name="T23" fmla="*/ 2147483647 h 640"/>
                  <a:gd name="T24" fmla="*/ 2147483647 w 624"/>
                  <a:gd name="T25" fmla="*/ 2147483647 h 640"/>
                  <a:gd name="T26" fmla="*/ 2147483647 w 624"/>
                  <a:gd name="T27" fmla="*/ 2147483647 h 640"/>
                  <a:gd name="T28" fmla="*/ 2147483647 w 624"/>
                  <a:gd name="T29" fmla="*/ 2147483647 h 640"/>
                  <a:gd name="T30" fmla="*/ 2147483647 w 624"/>
                  <a:gd name="T31" fmla="*/ 2147483647 h 640"/>
                  <a:gd name="T32" fmla="*/ 2147483647 w 624"/>
                  <a:gd name="T33" fmla="*/ 2147483647 h 640"/>
                  <a:gd name="T34" fmla="*/ 2147483647 w 624"/>
                  <a:gd name="T35" fmla="*/ 2147483647 h 640"/>
                  <a:gd name="T36" fmla="*/ 2147483647 w 624"/>
                  <a:gd name="T37" fmla="*/ 2147483647 h 640"/>
                  <a:gd name="T38" fmla="*/ 2147483647 w 624"/>
                  <a:gd name="T39" fmla="*/ 2147483647 h 640"/>
                  <a:gd name="T40" fmla="*/ 2147483647 w 624"/>
                  <a:gd name="T41" fmla="*/ 2147483647 h 640"/>
                  <a:gd name="T42" fmla="*/ 2147483647 w 624"/>
                  <a:gd name="T43" fmla="*/ 2147483647 h 640"/>
                  <a:gd name="T44" fmla="*/ 2147483647 w 624"/>
                  <a:gd name="T45" fmla="*/ 2147483647 h 640"/>
                  <a:gd name="T46" fmla="*/ 2147483647 w 624"/>
                  <a:gd name="T47" fmla="*/ 2147483647 h 640"/>
                  <a:gd name="T48" fmla="*/ 2147483647 w 624"/>
                  <a:gd name="T49" fmla="*/ 2147483647 h 640"/>
                  <a:gd name="T50" fmla="*/ 2147483647 w 624"/>
                  <a:gd name="T51" fmla="*/ 2147483647 h 640"/>
                  <a:gd name="T52" fmla="*/ 2147483647 w 624"/>
                  <a:gd name="T53" fmla="*/ 2147483647 h 640"/>
                  <a:gd name="T54" fmla="*/ 2147483647 w 624"/>
                  <a:gd name="T55" fmla="*/ 2147483647 h 640"/>
                  <a:gd name="T56" fmla="*/ 2147483647 w 624"/>
                  <a:gd name="T57" fmla="*/ 2147483647 h 640"/>
                  <a:gd name="T58" fmla="*/ 2147483647 w 624"/>
                  <a:gd name="T59" fmla="*/ 2147483647 h 640"/>
                  <a:gd name="T60" fmla="*/ 2147483647 w 624"/>
                  <a:gd name="T61" fmla="*/ 2147483647 h 640"/>
                  <a:gd name="T62" fmla="*/ 2147483647 w 624"/>
                  <a:gd name="T63" fmla="*/ 2147483647 h 640"/>
                  <a:gd name="T64" fmla="*/ 2147483647 w 624"/>
                  <a:gd name="T65" fmla="*/ 2147483647 h 640"/>
                  <a:gd name="T66" fmla="*/ 2147483647 w 624"/>
                  <a:gd name="T67" fmla="*/ 2147483647 h 640"/>
                  <a:gd name="T68" fmla="*/ 2147483647 w 624"/>
                  <a:gd name="T69" fmla="*/ 2147483647 h 640"/>
                  <a:gd name="T70" fmla="*/ 2147483647 w 624"/>
                  <a:gd name="T71" fmla="*/ 2147483647 h 640"/>
                  <a:gd name="T72" fmla="*/ 2147483647 w 624"/>
                  <a:gd name="T73" fmla="*/ 2147483647 h 640"/>
                  <a:gd name="T74" fmla="*/ 2147483647 w 624"/>
                  <a:gd name="T75" fmla="*/ 2147483647 h 640"/>
                  <a:gd name="T76" fmla="*/ 2147483647 w 624"/>
                  <a:gd name="T77" fmla="*/ 2147483647 h 640"/>
                  <a:gd name="T78" fmla="*/ 2147483647 w 624"/>
                  <a:gd name="T79" fmla="*/ 2147483647 h 640"/>
                  <a:gd name="T80" fmla="*/ 2147483647 w 624"/>
                  <a:gd name="T81" fmla="*/ 2147483647 h 640"/>
                  <a:gd name="T82" fmla="*/ 2147483647 w 624"/>
                  <a:gd name="T83" fmla="*/ 2147483647 h 640"/>
                  <a:gd name="T84" fmla="*/ 2147483647 w 624"/>
                  <a:gd name="T85" fmla="*/ 2147483647 h 640"/>
                  <a:gd name="T86" fmla="*/ 970785787 w 624"/>
                  <a:gd name="T87" fmla="*/ 2147483647 h 640"/>
                  <a:gd name="T88" fmla="*/ 404400768 w 624"/>
                  <a:gd name="T89" fmla="*/ 2147483647 h 640"/>
                  <a:gd name="T90" fmla="*/ 0 w 624"/>
                  <a:gd name="T91" fmla="*/ 2147483647 h 640"/>
                  <a:gd name="T92" fmla="*/ 0 w 624"/>
                  <a:gd name="T93" fmla="*/ 2147483647 h 640"/>
                  <a:gd name="T94" fmla="*/ 808988372 w 624"/>
                  <a:gd name="T95" fmla="*/ 2147483647 h 640"/>
                  <a:gd name="T96" fmla="*/ 2147483647 w 624"/>
                  <a:gd name="T97" fmla="*/ 2147483647 h 640"/>
                  <a:gd name="T98" fmla="*/ 2147483647 w 624"/>
                  <a:gd name="T99" fmla="*/ 2147483647 h 640"/>
                  <a:gd name="T100" fmla="*/ 2147483647 w 624"/>
                  <a:gd name="T101" fmla="*/ 2147483647 h 640"/>
                  <a:gd name="T102" fmla="*/ 2147483647 w 624"/>
                  <a:gd name="T103" fmla="*/ 2147483647 h 640"/>
                  <a:gd name="T104" fmla="*/ 2147483647 w 624"/>
                  <a:gd name="T105" fmla="*/ 1146929537 h 6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6" name="Freeform 481"/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13313043" y="2688797"/>
                <a:ext cx="19050" cy="57150"/>
              </a:xfrm>
              <a:custGeom>
                <a:avLst/>
                <a:gdLst>
                  <a:gd name="T0" fmla="*/ 639239968 w 52"/>
                  <a:gd name="T1" fmla="*/ 2147483647 h 50"/>
                  <a:gd name="T2" fmla="*/ 0 w 52"/>
                  <a:gd name="T3" fmla="*/ 2147483647 h 50"/>
                  <a:gd name="T4" fmla="*/ 98375665 w 52"/>
                  <a:gd name="T5" fmla="*/ 2147483647 h 50"/>
                  <a:gd name="T6" fmla="*/ 294992547 w 52"/>
                  <a:gd name="T7" fmla="*/ 2147483647 h 50"/>
                  <a:gd name="T8" fmla="*/ 589985094 w 52"/>
                  <a:gd name="T9" fmla="*/ 2147483647 h 50"/>
                  <a:gd name="T10" fmla="*/ 884977641 w 52"/>
                  <a:gd name="T11" fmla="*/ 2147483647 h 50"/>
                  <a:gd name="T12" fmla="*/ 1278345488 w 52"/>
                  <a:gd name="T13" fmla="*/ 2147483647 h 50"/>
                  <a:gd name="T14" fmla="*/ 1671713700 w 52"/>
                  <a:gd name="T15" fmla="*/ 2147483647 h 50"/>
                  <a:gd name="T16" fmla="*/ 2114202338 w 52"/>
                  <a:gd name="T17" fmla="*/ 1493271207 h 50"/>
                  <a:gd name="T18" fmla="*/ 2147483647 w 52"/>
                  <a:gd name="T19" fmla="*/ 0 h 50"/>
                  <a:gd name="T20" fmla="*/ 1966706247 w 52"/>
                  <a:gd name="T21" fmla="*/ 2147483647 h 50"/>
                  <a:gd name="T22" fmla="*/ 1327466279 w 52"/>
                  <a:gd name="T23" fmla="*/ 2147483647 h 50"/>
                  <a:gd name="T24" fmla="*/ 1081728606 w 52"/>
                  <a:gd name="T25" fmla="*/ 2147483647 h 50"/>
                  <a:gd name="T26" fmla="*/ 835856850 w 52"/>
                  <a:gd name="T27" fmla="*/ 2147483647 h 50"/>
                  <a:gd name="T28" fmla="*/ 688360393 w 52"/>
                  <a:gd name="T29" fmla="*/ 2147483647 h 50"/>
                  <a:gd name="T30" fmla="*/ 639239968 w 52"/>
                  <a:gd name="T31" fmla="*/ 2147483647 h 5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7" name="Freeform 482"/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13171755" y="2690385"/>
                <a:ext cx="141288" cy="125412"/>
              </a:xfrm>
              <a:custGeom>
                <a:avLst/>
                <a:gdLst>
                  <a:gd name="T0" fmla="*/ 2147483647 w 320"/>
                  <a:gd name="T1" fmla="*/ 2147483647 h 234"/>
                  <a:gd name="T2" fmla="*/ 2147483647 w 320"/>
                  <a:gd name="T3" fmla="*/ 2147483647 h 234"/>
                  <a:gd name="T4" fmla="*/ 2147483647 w 320"/>
                  <a:gd name="T5" fmla="*/ 2147483647 h 234"/>
                  <a:gd name="T6" fmla="*/ 2147483647 w 320"/>
                  <a:gd name="T7" fmla="*/ 2147483647 h 234"/>
                  <a:gd name="T8" fmla="*/ 2147483647 w 320"/>
                  <a:gd name="T9" fmla="*/ 2147483647 h 234"/>
                  <a:gd name="T10" fmla="*/ 2147483647 w 320"/>
                  <a:gd name="T11" fmla="*/ 2147483647 h 234"/>
                  <a:gd name="T12" fmla="*/ 2147483647 w 320"/>
                  <a:gd name="T13" fmla="*/ 2147483647 h 234"/>
                  <a:gd name="T14" fmla="*/ 2147483647 w 320"/>
                  <a:gd name="T15" fmla="*/ 2147483647 h 234"/>
                  <a:gd name="T16" fmla="*/ 2147483647 w 320"/>
                  <a:gd name="T17" fmla="*/ 2147483647 h 234"/>
                  <a:gd name="T18" fmla="*/ 2147483647 w 320"/>
                  <a:gd name="T19" fmla="*/ 2147483647 h 234"/>
                  <a:gd name="T20" fmla="*/ 2147483647 w 320"/>
                  <a:gd name="T21" fmla="*/ 2147483647 h 234"/>
                  <a:gd name="T22" fmla="*/ 2147483647 w 320"/>
                  <a:gd name="T23" fmla="*/ 2147483647 h 234"/>
                  <a:gd name="T24" fmla="*/ 2147483647 w 320"/>
                  <a:gd name="T25" fmla="*/ 2147483647 h 234"/>
                  <a:gd name="T26" fmla="*/ 2147483647 w 320"/>
                  <a:gd name="T27" fmla="*/ 2147483647 h 234"/>
                  <a:gd name="T28" fmla="*/ 2147483647 w 320"/>
                  <a:gd name="T29" fmla="*/ 2147483647 h 234"/>
                  <a:gd name="T30" fmla="*/ 2147483647 w 320"/>
                  <a:gd name="T31" fmla="*/ 2147483647 h 234"/>
                  <a:gd name="T32" fmla="*/ 2147483647 w 320"/>
                  <a:gd name="T33" fmla="*/ 2147483647 h 234"/>
                  <a:gd name="T34" fmla="*/ 2147483647 w 320"/>
                  <a:gd name="T35" fmla="*/ 2147483647 h 234"/>
                  <a:gd name="T36" fmla="*/ 2147483647 w 320"/>
                  <a:gd name="T37" fmla="*/ 2147483647 h 234"/>
                  <a:gd name="T38" fmla="*/ 2147483647 w 320"/>
                  <a:gd name="T39" fmla="*/ 2147483647 h 234"/>
                  <a:gd name="T40" fmla="*/ 1721553218 w 320"/>
                  <a:gd name="T41" fmla="*/ 2147483647 h 234"/>
                  <a:gd name="T42" fmla="*/ 602573010 w 320"/>
                  <a:gd name="T43" fmla="*/ 1539324574 h 234"/>
                  <a:gd name="T44" fmla="*/ 774708596 w 320"/>
                  <a:gd name="T45" fmla="*/ 0 h 234"/>
                  <a:gd name="T46" fmla="*/ 2065824831 w 320"/>
                  <a:gd name="T47" fmla="*/ 0 h 234"/>
                  <a:gd name="T48" fmla="*/ 2147483647 w 320"/>
                  <a:gd name="T49" fmla="*/ 461883821 h 234"/>
                  <a:gd name="T50" fmla="*/ 2147483647 w 320"/>
                  <a:gd name="T51" fmla="*/ 2147483647 h 234"/>
                  <a:gd name="T52" fmla="*/ 2147483647 w 320"/>
                  <a:gd name="T53" fmla="*/ 2147483647 h 234"/>
                  <a:gd name="T54" fmla="*/ 2147483647 w 320"/>
                  <a:gd name="T55" fmla="*/ 2147483647 h 234"/>
                  <a:gd name="T56" fmla="*/ 2147483647 w 320"/>
                  <a:gd name="T57" fmla="*/ 2147483647 h 234"/>
                  <a:gd name="T58" fmla="*/ 2147483647 w 320"/>
                  <a:gd name="T59" fmla="*/ 2147483647 h 234"/>
                  <a:gd name="T60" fmla="*/ 2147483647 w 320"/>
                  <a:gd name="T61" fmla="*/ 2147483647 h 234"/>
                  <a:gd name="T62" fmla="*/ 2147483647 w 320"/>
                  <a:gd name="T63" fmla="*/ 2147483647 h 234"/>
                  <a:gd name="T64" fmla="*/ 2147483647 w 320"/>
                  <a:gd name="T65" fmla="*/ 2147483647 h 234"/>
                  <a:gd name="T66" fmla="*/ 2147483647 w 320"/>
                  <a:gd name="T67" fmla="*/ 2147483647 h 234"/>
                  <a:gd name="T68" fmla="*/ 2147483647 w 320"/>
                  <a:gd name="T69" fmla="*/ 2147483647 h 234"/>
                  <a:gd name="T70" fmla="*/ 2147483647 w 320"/>
                  <a:gd name="T71" fmla="*/ 2147483647 h 234"/>
                  <a:gd name="T72" fmla="*/ 2147483647 w 320"/>
                  <a:gd name="T73" fmla="*/ 2147483647 h 234"/>
                  <a:gd name="T74" fmla="*/ 2147483647 w 320"/>
                  <a:gd name="T75" fmla="*/ 2147483647 h 234"/>
                  <a:gd name="T76" fmla="*/ 2147483647 w 320"/>
                  <a:gd name="T77" fmla="*/ 2147483647 h 234"/>
                  <a:gd name="T78" fmla="*/ 2147483647 w 320"/>
                  <a:gd name="T79" fmla="*/ 2147483647 h 234"/>
                  <a:gd name="T80" fmla="*/ 2147483647 w 320"/>
                  <a:gd name="T81" fmla="*/ 2147483647 h 234"/>
                  <a:gd name="T82" fmla="*/ 2147483647 w 320"/>
                  <a:gd name="T83" fmla="*/ 2147483647 h 234"/>
                  <a:gd name="T84" fmla="*/ 2147483647 w 320"/>
                  <a:gd name="T85" fmla="*/ 2147483647 h 234"/>
                  <a:gd name="T86" fmla="*/ 2147483647 w 320"/>
                  <a:gd name="T87" fmla="*/ 2147483647 h 234"/>
                  <a:gd name="T88" fmla="*/ 2147483647 w 320"/>
                  <a:gd name="T89" fmla="*/ 2147483647 h 234"/>
                  <a:gd name="T90" fmla="*/ 2147483647 w 320"/>
                  <a:gd name="T91" fmla="*/ 2147483647 h 234"/>
                  <a:gd name="T92" fmla="*/ 2147483647 w 320"/>
                  <a:gd name="T93" fmla="*/ 2147483647 h 234"/>
                  <a:gd name="T94" fmla="*/ 2147483647 w 320"/>
                  <a:gd name="T95" fmla="*/ 2147483647 h 234"/>
                  <a:gd name="T96" fmla="*/ 2147483647 w 320"/>
                  <a:gd name="T97" fmla="*/ 2147483647 h 234"/>
                  <a:gd name="T98" fmla="*/ 2147483647 w 320"/>
                  <a:gd name="T99" fmla="*/ 2147483647 h 234"/>
                  <a:gd name="T100" fmla="*/ 2147483647 w 320"/>
                  <a:gd name="T101" fmla="*/ 2147483647 h 234"/>
                  <a:gd name="T102" fmla="*/ 2147483647 w 320"/>
                  <a:gd name="T103" fmla="*/ 2147483647 h 234"/>
                  <a:gd name="T104" fmla="*/ 2147483647 w 320"/>
                  <a:gd name="T105" fmla="*/ 2147483647 h 234"/>
                  <a:gd name="T106" fmla="*/ 2147483647 w 320"/>
                  <a:gd name="T107" fmla="*/ 2147483647 h 234"/>
                  <a:gd name="T108" fmla="*/ 2147483647 w 320"/>
                  <a:gd name="T109" fmla="*/ 2147483647 h 234"/>
                  <a:gd name="T110" fmla="*/ 2147483647 w 320"/>
                  <a:gd name="T111" fmla="*/ 2147483647 h 234"/>
                  <a:gd name="T112" fmla="*/ 2147483647 w 320"/>
                  <a:gd name="T113" fmla="*/ 2147483647 h 234"/>
                  <a:gd name="T114" fmla="*/ 2147483647 w 320"/>
                  <a:gd name="T115" fmla="*/ 2147483647 h 234"/>
                  <a:gd name="T116" fmla="*/ 2147483647 w 320"/>
                  <a:gd name="T117" fmla="*/ 2147483647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8" name="Freeform 483"/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13141593" y="3044397"/>
                <a:ext cx="52387" cy="57150"/>
              </a:xfrm>
              <a:custGeom>
                <a:avLst/>
                <a:gdLst>
                  <a:gd name="T0" fmla="*/ 2147483647 w 125"/>
                  <a:gd name="T1" fmla="*/ 2147483647 h 93"/>
                  <a:gd name="T2" fmla="*/ 2147483647 w 125"/>
                  <a:gd name="T3" fmla="*/ 2147483647 h 93"/>
                  <a:gd name="T4" fmla="*/ 2147483647 w 125"/>
                  <a:gd name="T5" fmla="*/ 2147483647 h 93"/>
                  <a:gd name="T6" fmla="*/ 2147483647 w 125"/>
                  <a:gd name="T7" fmla="*/ 2147483647 h 93"/>
                  <a:gd name="T8" fmla="*/ 2147483647 w 125"/>
                  <a:gd name="T9" fmla="*/ 2147483647 h 93"/>
                  <a:gd name="T10" fmla="*/ 2147483647 w 125"/>
                  <a:gd name="T11" fmla="*/ 2147483647 h 93"/>
                  <a:gd name="T12" fmla="*/ 2147483647 w 125"/>
                  <a:gd name="T13" fmla="*/ 2147483647 h 93"/>
                  <a:gd name="T14" fmla="*/ 2147483647 w 125"/>
                  <a:gd name="T15" fmla="*/ 1856429260 h 93"/>
                  <a:gd name="T16" fmla="*/ 2147483647 w 125"/>
                  <a:gd name="T17" fmla="*/ 1160457174 h 93"/>
                  <a:gd name="T18" fmla="*/ 2147483647 w 125"/>
                  <a:gd name="T19" fmla="*/ 696350013 h 93"/>
                  <a:gd name="T20" fmla="*/ 2147483647 w 125"/>
                  <a:gd name="T21" fmla="*/ 0 h 93"/>
                  <a:gd name="T22" fmla="*/ 2147483647 w 125"/>
                  <a:gd name="T23" fmla="*/ 0 h 93"/>
                  <a:gd name="T24" fmla="*/ 2147483647 w 125"/>
                  <a:gd name="T25" fmla="*/ 2147483647 h 93"/>
                  <a:gd name="T26" fmla="*/ 2147483647 w 125"/>
                  <a:gd name="T27" fmla="*/ 2147483647 h 93"/>
                  <a:gd name="T28" fmla="*/ 2147483647 w 125"/>
                  <a:gd name="T29" fmla="*/ 2147483647 h 93"/>
                  <a:gd name="T30" fmla="*/ 2147483647 w 125"/>
                  <a:gd name="T31" fmla="*/ 2147483647 h 93"/>
                  <a:gd name="T32" fmla="*/ 2147483647 w 125"/>
                  <a:gd name="T33" fmla="*/ 2147483647 h 93"/>
                  <a:gd name="T34" fmla="*/ 2147483647 w 125"/>
                  <a:gd name="T35" fmla="*/ 2147483647 h 93"/>
                  <a:gd name="T36" fmla="*/ 2147483647 w 125"/>
                  <a:gd name="T37" fmla="*/ 2147483647 h 93"/>
                  <a:gd name="T38" fmla="*/ 2147483647 w 125"/>
                  <a:gd name="T39" fmla="*/ 2147483647 h 93"/>
                  <a:gd name="T40" fmla="*/ 2147483647 w 125"/>
                  <a:gd name="T41" fmla="*/ 2147483647 h 93"/>
                  <a:gd name="T42" fmla="*/ 2147483647 w 125"/>
                  <a:gd name="T43" fmla="*/ 2147483647 h 93"/>
                  <a:gd name="T44" fmla="*/ 2147483647 w 125"/>
                  <a:gd name="T45" fmla="*/ 2147483647 h 93"/>
                  <a:gd name="T46" fmla="*/ 2147483647 w 125"/>
                  <a:gd name="T47" fmla="*/ 2147483647 h 93"/>
                  <a:gd name="T48" fmla="*/ 2147483647 w 125"/>
                  <a:gd name="T49" fmla="*/ 2147483647 h 93"/>
                  <a:gd name="T50" fmla="*/ 2147483647 w 125"/>
                  <a:gd name="T51" fmla="*/ 2147483647 h 93"/>
                  <a:gd name="T52" fmla="*/ 2147483647 w 125"/>
                  <a:gd name="T53" fmla="*/ 2147483647 h 93"/>
                  <a:gd name="T54" fmla="*/ 2147483647 w 125"/>
                  <a:gd name="T55" fmla="*/ 2147483647 h 93"/>
                  <a:gd name="T56" fmla="*/ 2147483647 w 125"/>
                  <a:gd name="T57" fmla="*/ 2147483647 h 93"/>
                  <a:gd name="T58" fmla="*/ 1987558589 w 125"/>
                  <a:gd name="T59" fmla="*/ 2147483647 h 93"/>
                  <a:gd name="T60" fmla="*/ 1177851706 w 125"/>
                  <a:gd name="T61" fmla="*/ 2147483647 h 93"/>
                  <a:gd name="T62" fmla="*/ 515332176 w 125"/>
                  <a:gd name="T63" fmla="*/ 2147483647 h 93"/>
                  <a:gd name="T64" fmla="*/ 294375126 w 125"/>
                  <a:gd name="T65" fmla="*/ 2147483647 h 93"/>
                  <a:gd name="T66" fmla="*/ 147187353 w 125"/>
                  <a:gd name="T67" fmla="*/ 2147483647 h 93"/>
                  <a:gd name="T68" fmla="*/ 0 w 125"/>
                  <a:gd name="T69" fmla="*/ 2147483647 h 93"/>
                  <a:gd name="T70" fmla="*/ 0 w 125"/>
                  <a:gd name="T71" fmla="*/ 2147483647 h 93"/>
                  <a:gd name="T72" fmla="*/ 515332176 w 125"/>
                  <a:gd name="T73" fmla="*/ 2147483647 h 93"/>
                  <a:gd name="T74" fmla="*/ 1104082009 w 125"/>
                  <a:gd name="T75" fmla="*/ 2147483647 h 93"/>
                  <a:gd name="T76" fmla="*/ 1472226832 w 125"/>
                  <a:gd name="T77" fmla="*/ 2147483647 h 93"/>
                  <a:gd name="T78" fmla="*/ 1693007862 w 125"/>
                  <a:gd name="T79" fmla="*/ 2147483647 h 93"/>
                  <a:gd name="T80" fmla="*/ 2061152685 w 125"/>
                  <a:gd name="T81" fmla="*/ 2147483647 h 93"/>
                  <a:gd name="T82" fmla="*/ 2147483647 w 125"/>
                  <a:gd name="T83" fmla="*/ 2147483647 h 9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9" name="Freeform 484"/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13087618" y="3058685"/>
                <a:ext cx="60325" cy="84137"/>
              </a:xfrm>
              <a:custGeom>
                <a:avLst/>
                <a:gdLst>
                  <a:gd name="T0" fmla="*/ 1866149793 w 133"/>
                  <a:gd name="T1" fmla="*/ 1956912980 h 154"/>
                  <a:gd name="T2" fmla="*/ 2147483647 w 133"/>
                  <a:gd name="T3" fmla="*/ 1630661382 h 154"/>
                  <a:gd name="T4" fmla="*/ 2147483647 w 133"/>
                  <a:gd name="T5" fmla="*/ 978456490 h 154"/>
                  <a:gd name="T6" fmla="*/ 2147483647 w 133"/>
                  <a:gd name="T7" fmla="*/ 652204892 h 154"/>
                  <a:gd name="T8" fmla="*/ 2147483647 w 133"/>
                  <a:gd name="T9" fmla="*/ 326251598 h 154"/>
                  <a:gd name="T10" fmla="*/ 2147483647 w 133"/>
                  <a:gd name="T11" fmla="*/ 162976647 h 154"/>
                  <a:gd name="T12" fmla="*/ 2147483647 w 133"/>
                  <a:gd name="T13" fmla="*/ 0 h 154"/>
                  <a:gd name="T14" fmla="*/ 2147483647 w 133"/>
                  <a:gd name="T15" fmla="*/ 162976647 h 154"/>
                  <a:gd name="T16" fmla="*/ 2147483647 w 133"/>
                  <a:gd name="T17" fmla="*/ 652204892 h 154"/>
                  <a:gd name="T18" fmla="*/ 2147483647 w 133"/>
                  <a:gd name="T19" fmla="*/ 1304708088 h 154"/>
                  <a:gd name="T20" fmla="*/ 2147483647 w 133"/>
                  <a:gd name="T21" fmla="*/ 2147483647 h 154"/>
                  <a:gd name="T22" fmla="*/ 2147483647 w 133"/>
                  <a:gd name="T23" fmla="*/ 2147483647 h 154"/>
                  <a:gd name="T24" fmla="*/ 2147483647 w 133"/>
                  <a:gd name="T25" fmla="*/ 2147483647 h 154"/>
                  <a:gd name="T26" fmla="*/ 2147483647 w 133"/>
                  <a:gd name="T27" fmla="*/ 2147483647 h 154"/>
                  <a:gd name="T28" fmla="*/ 2147483647 w 133"/>
                  <a:gd name="T29" fmla="*/ 2147483647 h 154"/>
                  <a:gd name="T30" fmla="*/ 2147483647 w 133"/>
                  <a:gd name="T31" fmla="*/ 2147483647 h 154"/>
                  <a:gd name="T32" fmla="*/ 2147483647 w 133"/>
                  <a:gd name="T33" fmla="*/ 2147483647 h 154"/>
                  <a:gd name="T34" fmla="*/ 2147483647 w 133"/>
                  <a:gd name="T35" fmla="*/ 2147483647 h 154"/>
                  <a:gd name="T36" fmla="*/ 2147483647 w 133"/>
                  <a:gd name="T37" fmla="*/ 2147483647 h 154"/>
                  <a:gd name="T38" fmla="*/ 2147483647 w 133"/>
                  <a:gd name="T39" fmla="*/ 2147483647 h 154"/>
                  <a:gd name="T40" fmla="*/ 2147483647 w 133"/>
                  <a:gd name="T41" fmla="*/ 2147483647 h 154"/>
                  <a:gd name="T42" fmla="*/ 2147483647 w 133"/>
                  <a:gd name="T43" fmla="*/ 2147483647 h 154"/>
                  <a:gd name="T44" fmla="*/ 2147483647 w 133"/>
                  <a:gd name="T45" fmla="*/ 2147483647 h 154"/>
                  <a:gd name="T46" fmla="*/ 2147483647 w 133"/>
                  <a:gd name="T47" fmla="*/ 2147483647 h 154"/>
                  <a:gd name="T48" fmla="*/ 2147483647 w 133"/>
                  <a:gd name="T49" fmla="*/ 2147483647 h 154"/>
                  <a:gd name="T50" fmla="*/ 2147483647 w 133"/>
                  <a:gd name="T51" fmla="*/ 2147483647 h 154"/>
                  <a:gd name="T52" fmla="*/ 2147483647 w 133"/>
                  <a:gd name="T53" fmla="*/ 2147483647 h 154"/>
                  <a:gd name="T54" fmla="*/ 2147483647 w 133"/>
                  <a:gd name="T55" fmla="*/ 2147483647 h 154"/>
                  <a:gd name="T56" fmla="*/ 2147483647 w 133"/>
                  <a:gd name="T57" fmla="*/ 2147483647 h 154"/>
                  <a:gd name="T58" fmla="*/ 2147483647 w 133"/>
                  <a:gd name="T59" fmla="*/ 2147483647 h 154"/>
                  <a:gd name="T60" fmla="*/ 2147483647 w 133"/>
                  <a:gd name="T61" fmla="*/ 2147483647 h 154"/>
                  <a:gd name="T62" fmla="*/ 2147483647 w 133"/>
                  <a:gd name="T63" fmla="*/ 2147483647 h 154"/>
                  <a:gd name="T64" fmla="*/ 2147483647 w 133"/>
                  <a:gd name="T65" fmla="*/ 2147483647 h 154"/>
                  <a:gd name="T66" fmla="*/ 2147483647 w 133"/>
                  <a:gd name="T67" fmla="*/ 2147483647 h 154"/>
                  <a:gd name="T68" fmla="*/ 2147483647 w 133"/>
                  <a:gd name="T69" fmla="*/ 2147483647 h 154"/>
                  <a:gd name="T70" fmla="*/ 2147483647 w 133"/>
                  <a:gd name="T71" fmla="*/ 2147483647 h 154"/>
                  <a:gd name="T72" fmla="*/ 2147483647 w 133"/>
                  <a:gd name="T73" fmla="*/ 2147483647 h 154"/>
                  <a:gd name="T74" fmla="*/ 2147483647 w 133"/>
                  <a:gd name="T75" fmla="*/ 2147483647 h 154"/>
                  <a:gd name="T76" fmla="*/ 2147483647 w 133"/>
                  <a:gd name="T77" fmla="*/ 2147483647 h 154"/>
                  <a:gd name="T78" fmla="*/ 2147483647 w 133"/>
                  <a:gd name="T79" fmla="*/ 2147483647 h 154"/>
                  <a:gd name="T80" fmla="*/ 2147483647 w 133"/>
                  <a:gd name="T81" fmla="*/ 2147483647 h 154"/>
                  <a:gd name="T82" fmla="*/ 2147483647 w 133"/>
                  <a:gd name="T83" fmla="*/ 2147483647 h 154"/>
                  <a:gd name="T84" fmla="*/ 2147483647 w 133"/>
                  <a:gd name="T85" fmla="*/ 2147483647 h 154"/>
                  <a:gd name="T86" fmla="*/ 2147483647 w 133"/>
                  <a:gd name="T87" fmla="*/ 2147483647 h 154"/>
                  <a:gd name="T88" fmla="*/ 1586361082 w 133"/>
                  <a:gd name="T89" fmla="*/ 2147483647 h 154"/>
                  <a:gd name="T90" fmla="*/ 1212966568 w 133"/>
                  <a:gd name="T91" fmla="*/ 2147483647 h 154"/>
                  <a:gd name="T92" fmla="*/ 933177857 w 133"/>
                  <a:gd name="T93" fmla="*/ 2147483647 h 154"/>
                  <a:gd name="T94" fmla="*/ 653183225 w 133"/>
                  <a:gd name="T95" fmla="*/ 2147483647 h 154"/>
                  <a:gd name="T96" fmla="*/ 373189046 w 133"/>
                  <a:gd name="T97" fmla="*/ 2147483647 h 154"/>
                  <a:gd name="T98" fmla="*/ 186594296 w 133"/>
                  <a:gd name="T99" fmla="*/ 2147483647 h 154"/>
                  <a:gd name="T100" fmla="*/ 93399882 w 133"/>
                  <a:gd name="T101" fmla="*/ 2147483647 h 154"/>
                  <a:gd name="T102" fmla="*/ 0 w 133"/>
                  <a:gd name="T103" fmla="*/ 2147483647 h 154"/>
                  <a:gd name="T104" fmla="*/ 0 w 133"/>
                  <a:gd name="T105" fmla="*/ 2147483647 h 154"/>
                  <a:gd name="T106" fmla="*/ 653183225 w 133"/>
                  <a:gd name="T107" fmla="*/ 2147483647 h 154"/>
                  <a:gd name="T108" fmla="*/ 1866149793 w 133"/>
                  <a:gd name="T109" fmla="*/ 1956912980 h 15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0" name="Freeform 485"/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13103493" y="2820560"/>
                <a:ext cx="209550" cy="244475"/>
              </a:xfrm>
              <a:custGeom>
                <a:avLst/>
                <a:gdLst>
                  <a:gd name="T0" fmla="*/ 2147483647 w 485"/>
                  <a:gd name="T1" fmla="*/ 2147483647 h 468"/>
                  <a:gd name="T2" fmla="*/ 2147483647 w 485"/>
                  <a:gd name="T3" fmla="*/ 2147483647 h 468"/>
                  <a:gd name="T4" fmla="*/ 2147483647 w 485"/>
                  <a:gd name="T5" fmla="*/ 2147483647 h 468"/>
                  <a:gd name="T6" fmla="*/ 2147483647 w 485"/>
                  <a:gd name="T7" fmla="*/ 2147483647 h 468"/>
                  <a:gd name="T8" fmla="*/ 2147483647 w 485"/>
                  <a:gd name="T9" fmla="*/ 2147483647 h 468"/>
                  <a:gd name="T10" fmla="*/ 2147483647 w 485"/>
                  <a:gd name="T11" fmla="*/ 2147483647 h 468"/>
                  <a:gd name="T12" fmla="*/ 2147483647 w 485"/>
                  <a:gd name="T13" fmla="*/ 2147483647 h 468"/>
                  <a:gd name="T14" fmla="*/ 2147483647 w 485"/>
                  <a:gd name="T15" fmla="*/ 2147483647 h 468"/>
                  <a:gd name="T16" fmla="*/ 2147483647 w 485"/>
                  <a:gd name="T17" fmla="*/ 2147483647 h 468"/>
                  <a:gd name="T18" fmla="*/ 2147483647 w 485"/>
                  <a:gd name="T19" fmla="*/ 2147483647 h 468"/>
                  <a:gd name="T20" fmla="*/ 2147483647 w 485"/>
                  <a:gd name="T21" fmla="*/ 2147483647 h 468"/>
                  <a:gd name="T22" fmla="*/ 2147483647 w 485"/>
                  <a:gd name="T23" fmla="*/ 2147483647 h 468"/>
                  <a:gd name="T24" fmla="*/ 2147483647 w 485"/>
                  <a:gd name="T25" fmla="*/ 2147483647 h 468"/>
                  <a:gd name="T26" fmla="*/ 2147483647 w 485"/>
                  <a:gd name="T27" fmla="*/ 2147483647 h 468"/>
                  <a:gd name="T28" fmla="*/ 2147483647 w 485"/>
                  <a:gd name="T29" fmla="*/ 2147483647 h 468"/>
                  <a:gd name="T30" fmla="*/ 2147483647 w 485"/>
                  <a:gd name="T31" fmla="*/ 2147483647 h 468"/>
                  <a:gd name="T32" fmla="*/ 2147483647 w 485"/>
                  <a:gd name="T33" fmla="*/ 2147483647 h 468"/>
                  <a:gd name="T34" fmla="*/ 2147483647 w 485"/>
                  <a:gd name="T35" fmla="*/ 2147483647 h 468"/>
                  <a:gd name="T36" fmla="*/ 2147483647 w 485"/>
                  <a:gd name="T37" fmla="*/ 2147483647 h 468"/>
                  <a:gd name="T38" fmla="*/ 2147483647 w 485"/>
                  <a:gd name="T39" fmla="*/ 142445344 h 468"/>
                  <a:gd name="T40" fmla="*/ 2147483647 w 485"/>
                  <a:gd name="T41" fmla="*/ 2147483647 h 468"/>
                  <a:gd name="T42" fmla="*/ 2147483647 w 485"/>
                  <a:gd name="T43" fmla="*/ 2147483647 h 468"/>
                  <a:gd name="T44" fmla="*/ 2147483647 w 485"/>
                  <a:gd name="T45" fmla="*/ 2147483647 h 468"/>
                  <a:gd name="T46" fmla="*/ 2147483647 w 485"/>
                  <a:gd name="T47" fmla="*/ 2147483647 h 468"/>
                  <a:gd name="T48" fmla="*/ 2147483647 w 485"/>
                  <a:gd name="T49" fmla="*/ 2147483647 h 468"/>
                  <a:gd name="T50" fmla="*/ 2147483647 w 485"/>
                  <a:gd name="T51" fmla="*/ 2147483647 h 468"/>
                  <a:gd name="T52" fmla="*/ 2147483647 w 485"/>
                  <a:gd name="T53" fmla="*/ 2147483647 h 468"/>
                  <a:gd name="T54" fmla="*/ 2147483647 w 485"/>
                  <a:gd name="T55" fmla="*/ 2147483647 h 468"/>
                  <a:gd name="T56" fmla="*/ 2147483647 w 485"/>
                  <a:gd name="T57" fmla="*/ 2147483647 h 468"/>
                  <a:gd name="T58" fmla="*/ 2147483647 w 485"/>
                  <a:gd name="T59" fmla="*/ 2147483647 h 468"/>
                  <a:gd name="T60" fmla="*/ 2147483647 w 485"/>
                  <a:gd name="T61" fmla="*/ 2147483647 h 468"/>
                  <a:gd name="T62" fmla="*/ 2147483647 w 485"/>
                  <a:gd name="T63" fmla="*/ 2147483647 h 468"/>
                  <a:gd name="T64" fmla="*/ 2147483647 w 485"/>
                  <a:gd name="T65" fmla="*/ 2147483647 h 468"/>
                  <a:gd name="T66" fmla="*/ 2147483647 w 485"/>
                  <a:gd name="T67" fmla="*/ 2147483647 h 468"/>
                  <a:gd name="T68" fmla="*/ 2147483647 w 485"/>
                  <a:gd name="T69" fmla="*/ 2147483647 h 468"/>
                  <a:gd name="T70" fmla="*/ 2147483647 w 485"/>
                  <a:gd name="T71" fmla="*/ 2147483647 h 468"/>
                  <a:gd name="T72" fmla="*/ 2147483647 w 485"/>
                  <a:gd name="T73" fmla="*/ 2147483647 h 468"/>
                  <a:gd name="T74" fmla="*/ 2147483647 w 485"/>
                  <a:gd name="T75" fmla="*/ 2147483647 h 468"/>
                  <a:gd name="T76" fmla="*/ 2147483647 w 485"/>
                  <a:gd name="T77" fmla="*/ 2147483647 h 468"/>
                  <a:gd name="T78" fmla="*/ 2147483647 w 485"/>
                  <a:gd name="T79" fmla="*/ 2147483647 h 468"/>
                  <a:gd name="T80" fmla="*/ 2147483647 w 485"/>
                  <a:gd name="T81" fmla="*/ 2147483647 h 468"/>
                  <a:gd name="T82" fmla="*/ 2147483647 w 485"/>
                  <a:gd name="T83" fmla="*/ 2147483647 h 468"/>
                  <a:gd name="T84" fmla="*/ 2147483647 w 485"/>
                  <a:gd name="T85" fmla="*/ 2147483647 h 468"/>
                  <a:gd name="T86" fmla="*/ 2147483647 w 485"/>
                  <a:gd name="T87" fmla="*/ 2147483647 h 468"/>
                  <a:gd name="T88" fmla="*/ 2147483647 w 485"/>
                  <a:gd name="T89" fmla="*/ 2147483647 h 468"/>
                  <a:gd name="T90" fmla="*/ 2147483647 w 485"/>
                  <a:gd name="T91" fmla="*/ 2147483647 h 468"/>
                  <a:gd name="T92" fmla="*/ 2147483647 w 485"/>
                  <a:gd name="T93" fmla="*/ 2147483647 h 468"/>
                  <a:gd name="T94" fmla="*/ 2147483647 w 485"/>
                  <a:gd name="T95" fmla="*/ 2147483647 h 468"/>
                  <a:gd name="T96" fmla="*/ 2147483647 w 485"/>
                  <a:gd name="T97" fmla="*/ 2147483647 h 468"/>
                  <a:gd name="T98" fmla="*/ 2147483647 w 485"/>
                  <a:gd name="T99" fmla="*/ 2147483647 h 468"/>
                  <a:gd name="T100" fmla="*/ 2147483647 w 485"/>
                  <a:gd name="T101" fmla="*/ 2147483647 h 468"/>
                  <a:gd name="T102" fmla="*/ 2147483647 w 485"/>
                  <a:gd name="T103" fmla="*/ 2147483647 h 468"/>
                  <a:gd name="T104" fmla="*/ 2147483647 w 485"/>
                  <a:gd name="T105" fmla="*/ 2147483647 h 468"/>
                  <a:gd name="T106" fmla="*/ 2147483647 w 485"/>
                  <a:gd name="T107" fmla="*/ 2147483647 h 468"/>
                  <a:gd name="T108" fmla="*/ 2147483647 w 485"/>
                  <a:gd name="T109" fmla="*/ 2147483647 h 468"/>
                  <a:gd name="T110" fmla="*/ 2147483647 w 485"/>
                  <a:gd name="T111" fmla="*/ 2147483647 h 468"/>
                  <a:gd name="T112" fmla="*/ 564512578 w 485"/>
                  <a:gd name="T113" fmla="*/ 2147483647 h 468"/>
                  <a:gd name="T114" fmla="*/ 0 w 485"/>
                  <a:gd name="T115" fmla="*/ 2147483647 h 468"/>
                  <a:gd name="T116" fmla="*/ 564512578 w 485"/>
                  <a:gd name="T117" fmla="*/ 2147483647 h 468"/>
                  <a:gd name="T118" fmla="*/ 2147483647 w 485"/>
                  <a:gd name="T119" fmla="*/ 2147483647 h 468"/>
                  <a:gd name="T120" fmla="*/ 2147483647 w 485"/>
                  <a:gd name="T121" fmla="*/ 2147483647 h 468"/>
                  <a:gd name="T122" fmla="*/ 2147483647 w 485"/>
                  <a:gd name="T123" fmla="*/ 2147483647 h 468"/>
                  <a:gd name="T124" fmla="*/ 2147483647 w 485"/>
                  <a:gd name="T125" fmla="*/ 2147483647 h 46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1" name="Freeform 486"/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10687318" y="1710897"/>
                <a:ext cx="107950" cy="60325"/>
              </a:xfrm>
              <a:custGeom>
                <a:avLst/>
                <a:gdLst>
                  <a:gd name="T0" fmla="*/ 2147483647 w 246"/>
                  <a:gd name="T1" fmla="*/ 2147483647 h 42"/>
                  <a:gd name="T2" fmla="*/ 2147483647 w 246"/>
                  <a:gd name="T3" fmla="*/ 2147483647 h 42"/>
                  <a:gd name="T4" fmla="*/ 2147483647 w 246"/>
                  <a:gd name="T5" fmla="*/ 2147483647 h 42"/>
                  <a:gd name="T6" fmla="*/ 2147483647 w 246"/>
                  <a:gd name="T7" fmla="*/ 2147483647 h 42"/>
                  <a:gd name="T8" fmla="*/ 2147483647 w 246"/>
                  <a:gd name="T9" fmla="*/ 2147483647 h 42"/>
                  <a:gd name="T10" fmla="*/ 2147483647 w 246"/>
                  <a:gd name="T11" fmla="*/ 2147483647 h 42"/>
                  <a:gd name="T12" fmla="*/ 2147483647 w 246"/>
                  <a:gd name="T13" fmla="*/ 2147483647 h 42"/>
                  <a:gd name="T14" fmla="*/ 2147483647 w 246"/>
                  <a:gd name="T15" fmla="*/ 2147483647 h 42"/>
                  <a:gd name="T16" fmla="*/ 2147483647 w 246"/>
                  <a:gd name="T17" fmla="*/ 2147483647 h 42"/>
                  <a:gd name="T18" fmla="*/ 2147483647 w 246"/>
                  <a:gd name="T19" fmla="*/ 2147483647 h 42"/>
                  <a:gd name="T20" fmla="*/ 2147483647 w 246"/>
                  <a:gd name="T21" fmla="*/ 2147483647 h 42"/>
                  <a:gd name="T22" fmla="*/ 2147483647 w 246"/>
                  <a:gd name="T23" fmla="*/ 2147483647 h 42"/>
                  <a:gd name="T24" fmla="*/ 2147483647 w 246"/>
                  <a:gd name="T25" fmla="*/ 2147483647 h 42"/>
                  <a:gd name="T26" fmla="*/ 2147483647 w 246"/>
                  <a:gd name="T27" fmla="*/ 2147483647 h 42"/>
                  <a:gd name="T28" fmla="*/ 2147483647 w 246"/>
                  <a:gd name="T29" fmla="*/ 2147483647 h 42"/>
                  <a:gd name="T30" fmla="*/ 2147483647 w 246"/>
                  <a:gd name="T31" fmla="*/ 2147483647 h 42"/>
                  <a:gd name="T32" fmla="*/ 2147483647 w 246"/>
                  <a:gd name="T33" fmla="*/ 2147483647 h 42"/>
                  <a:gd name="T34" fmla="*/ 2147483647 w 246"/>
                  <a:gd name="T35" fmla="*/ 2147483647 h 42"/>
                  <a:gd name="T36" fmla="*/ 2147483647 w 246"/>
                  <a:gd name="T37" fmla="*/ 2147483647 h 42"/>
                  <a:gd name="T38" fmla="*/ 2147483647 w 246"/>
                  <a:gd name="T39" fmla="*/ 2147483647 h 42"/>
                  <a:gd name="T40" fmla="*/ 2147483647 w 246"/>
                  <a:gd name="T41" fmla="*/ 2147483647 h 42"/>
                  <a:gd name="T42" fmla="*/ 2147483647 w 246"/>
                  <a:gd name="T43" fmla="*/ 2147483647 h 42"/>
                  <a:gd name="T44" fmla="*/ 2147483647 w 246"/>
                  <a:gd name="T45" fmla="*/ 2147483647 h 42"/>
                  <a:gd name="T46" fmla="*/ 2147483647 w 246"/>
                  <a:gd name="T47" fmla="*/ 2147483647 h 42"/>
                  <a:gd name="T48" fmla="*/ 2147483647 w 246"/>
                  <a:gd name="T49" fmla="*/ 2147483647 h 42"/>
                  <a:gd name="T50" fmla="*/ 2147483647 w 246"/>
                  <a:gd name="T51" fmla="*/ 2147483647 h 42"/>
                  <a:gd name="T52" fmla="*/ 2147483647 w 246"/>
                  <a:gd name="T53" fmla="*/ 2147483647 h 42"/>
                  <a:gd name="T54" fmla="*/ 2147483647 w 246"/>
                  <a:gd name="T55" fmla="*/ 2147483647 h 42"/>
                  <a:gd name="T56" fmla="*/ 2147483647 w 246"/>
                  <a:gd name="T57" fmla="*/ 2147483647 h 42"/>
                  <a:gd name="T58" fmla="*/ 2147483647 w 246"/>
                  <a:gd name="T59" fmla="*/ 2147483647 h 42"/>
                  <a:gd name="T60" fmla="*/ 2147483647 w 246"/>
                  <a:gd name="T61" fmla="*/ 2147483647 h 42"/>
                  <a:gd name="T62" fmla="*/ 2147483647 w 246"/>
                  <a:gd name="T63" fmla="*/ 2147483647 h 42"/>
                  <a:gd name="T64" fmla="*/ 2147483647 w 246"/>
                  <a:gd name="T65" fmla="*/ 0 h 42"/>
                  <a:gd name="T66" fmla="*/ 2147483647 w 246"/>
                  <a:gd name="T67" fmla="*/ 2147483647 h 42"/>
                  <a:gd name="T68" fmla="*/ 2147483647 w 246"/>
                  <a:gd name="T69" fmla="*/ 2147483647 h 42"/>
                  <a:gd name="T70" fmla="*/ 2147483647 w 246"/>
                  <a:gd name="T71" fmla="*/ 2147483647 h 42"/>
                  <a:gd name="T72" fmla="*/ 2147483647 w 246"/>
                  <a:gd name="T73" fmla="*/ 2147483647 h 42"/>
                  <a:gd name="T74" fmla="*/ 2147483647 w 246"/>
                  <a:gd name="T75" fmla="*/ 2147483647 h 42"/>
                  <a:gd name="T76" fmla="*/ 2147483647 w 246"/>
                  <a:gd name="T77" fmla="*/ 2147483647 h 42"/>
                  <a:gd name="T78" fmla="*/ 2147483647 w 246"/>
                  <a:gd name="T79" fmla="*/ 2147483647 h 42"/>
                  <a:gd name="T80" fmla="*/ 2147483647 w 246"/>
                  <a:gd name="T81" fmla="*/ 2147483647 h 42"/>
                  <a:gd name="T82" fmla="*/ 2147483647 w 246"/>
                  <a:gd name="T83" fmla="*/ 2147483647 h 42"/>
                  <a:gd name="T84" fmla="*/ 2147483647 w 246"/>
                  <a:gd name="T85" fmla="*/ 2147483647 h 42"/>
                  <a:gd name="T86" fmla="*/ 2147483647 w 246"/>
                  <a:gd name="T87" fmla="*/ 2147483647 h 42"/>
                  <a:gd name="T88" fmla="*/ 2147483647 w 246"/>
                  <a:gd name="T89" fmla="*/ 2147483647 h 42"/>
                  <a:gd name="T90" fmla="*/ 1182920488 w 246"/>
                  <a:gd name="T91" fmla="*/ 2147483647 h 42"/>
                  <a:gd name="T92" fmla="*/ 0 w 246"/>
                  <a:gd name="T93" fmla="*/ 2147483647 h 42"/>
                  <a:gd name="T94" fmla="*/ 84535382 w 246"/>
                  <a:gd name="T95" fmla="*/ 2147483647 h 42"/>
                  <a:gd name="T96" fmla="*/ 253414380 w 246"/>
                  <a:gd name="T97" fmla="*/ 2147483647 h 42"/>
                  <a:gd name="T98" fmla="*/ 422485583 w 246"/>
                  <a:gd name="T99" fmla="*/ 2147483647 h 42"/>
                  <a:gd name="T100" fmla="*/ 760435345 w 246"/>
                  <a:gd name="T101" fmla="*/ 2147483647 h 42"/>
                  <a:gd name="T102" fmla="*/ 1436527511 w 246"/>
                  <a:gd name="T103" fmla="*/ 2147483647 h 42"/>
                  <a:gd name="T104" fmla="*/ 2147483647 w 246"/>
                  <a:gd name="T105" fmla="*/ 2147483647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2" name="Freeform 487"/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10830193" y="1693435"/>
                <a:ext cx="63500" cy="57150"/>
              </a:xfrm>
              <a:custGeom>
                <a:avLst/>
                <a:gdLst>
                  <a:gd name="T0" fmla="*/ 2147483647 w 149"/>
                  <a:gd name="T1" fmla="*/ 0 h 61"/>
                  <a:gd name="T2" fmla="*/ 2147483647 w 149"/>
                  <a:gd name="T3" fmla="*/ 822455019 h 61"/>
                  <a:gd name="T4" fmla="*/ 2147483647 w 149"/>
                  <a:gd name="T5" fmla="*/ 2147483647 h 61"/>
                  <a:gd name="T6" fmla="*/ 2147483647 w 149"/>
                  <a:gd name="T7" fmla="*/ 2147483647 h 61"/>
                  <a:gd name="T8" fmla="*/ 2147483647 w 149"/>
                  <a:gd name="T9" fmla="*/ 2147483647 h 61"/>
                  <a:gd name="T10" fmla="*/ 2147483647 w 149"/>
                  <a:gd name="T11" fmla="*/ 2147483647 h 61"/>
                  <a:gd name="T12" fmla="*/ 2147483647 w 149"/>
                  <a:gd name="T13" fmla="*/ 2147483647 h 61"/>
                  <a:gd name="T14" fmla="*/ 2147483647 w 149"/>
                  <a:gd name="T15" fmla="*/ 2147483647 h 61"/>
                  <a:gd name="T16" fmla="*/ 2147483647 w 149"/>
                  <a:gd name="T17" fmla="*/ 2147483647 h 61"/>
                  <a:gd name="T18" fmla="*/ 2147483647 w 149"/>
                  <a:gd name="T19" fmla="*/ 2147483647 h 61"/>
                  <a:gd name="T20" fmla="*/ 2147483647 w 149"/>
                  <a:gd name="T21" fmla="*/ 2147483647 h 61"/>
                  <a:gd name="T22" fmla="*/ 2147483647 w 149"/>
                  <a:gd name="T23" fmla="*/ 2147483647 h 61"/>
                  <a:gd name="T24" fmla="*/ 2147483647 w 149"/>
                  <a:gd name="T25" fmla="*/ 2147483647 h 61"/>
                  <a:gd name="T26" fmla="*/ 2147483647 w 149"/>
                  <a:gd name="T27" fmla="*/ 2147483647 h 61"/>
                  <a:gd name="T28" fmla="*/ 2147483647 w 149"/>
                  <a:gd name="T29" fmla="*/ 2147483647 h 61"/>
                  <a:gd name="T30" fmla="*/ 2147483647 w 149"/>
                  <a:gd name="T31" fmla="*/ 2147483647 h 61"/>
                  <a:gd name="T32" fmla="*/ 2147483647 w 149"/>
                  <a:gd name="T33" fmla="*/ 2147483647 h 61"/>
                  <a:gd name="T34" fmla="*/ 2147483647 w 149"/>
                  <a:gd name="T35" fmla="*/ 2147483647 h 61"/>
                  <a:gd name="T36" fmla="*/ 2147483647 w 149"/>
                  <a:gd name="T37" fmla="*/ 2147483647 h 61"/>
                  <a:gd name="T38" fmla="*/ 2147483647 w 149"/>
                  <a:gd name="T39" fmla="*/ 2147483647 h 61"/>
                  <a:gd name="T40" fmla="*/ 2147483647 w 149"/>
                  <a:gd name="T41" fmla="*/ 2147483647 h 61"/>
                  <a:gd name="T42" fmla="*/ 2147483647 w 149"/>
                  <a:gd name="T43" fmla="*/ 2147483647 h 61"/>
                  <a:gd name="T44" fmla="*/ 2147483647 w 149"/>
                  <a:gd name="T45" fmla="*/ 2147483647 h 61"/>
                  <a:gd name="T46" fmla="*/ 2147483647 w 149"/>
                  <a:gd name="T47" fmla="*/ 2147483647 h 61"/>
                  <a:gd name="T48" fmla="*/ 2147483647 w 149"/>
                  <a:gd name="T49" fmla="*/ 2147483647 h 61"/>
                  <a:gd name="T50" fmla="*/ 2147483647 w 149"/>
                  <a:gd name="T51" fmla="*/ 2147483647 h 61"/>
                  <a:gd name="T52" fmla="*/ 2147483647 w 149"/>
                  <a:gd name="T53" fmla="*/ 2147483647 h 61"/>
                  <a:gd name="T54" fmla="*/ 2147483647 w 149"/>
                  <a:gd name="T55" fmla="*/ 2147483647 h 61"/>
                  <a:gd name="T56" fmla="*/ 1935029534 w 149"/>
                  <a:gd name="T57" fmla="*/ 2147483647 h 61"/>
                  <a:gd name="T58" fmla="*/ 928828564 w 149"/>
                  <a:gd name="T59" fmla="*/ 2147483647 h 61"/>
                  <a:gd name="T60" fmla="*/ 232297916 w 149"/>
                  <a:gd name="T61" fmla="*/ 2147483647 h 61"/>
                  <a:gd name="T62" fmla="*/ 77371980 w 149"/>
                  <a:gd name="T63" fmla="*/ 2147483647 h 61"/>
                  <a:gd name="T64" fmla="*/ 0 w 149"/>
                  <a:gd name="T65" fmla="*/ 2147483647 h 61"/>
                  <a:gd name="T66" fmla="*/ 0 w 149"/>
                  <a:gd name="T67" fmla="*/ 2147483647 h 61"/>
                  <a:gd name="T68" fmla="*/ 232297916 w 149"/>
                  <a:gd name="T69" fmla="*/ 2147483647 h 61"/>
                  <a:gd name="T70" fmla="*/ 1470615252 w 149"/>
                  <a:gd name="T71" fmla="*/ 2147483647 h 61"/>
                  <a:gd name="T72" fmla="*/ 2147483647 w 149"/>
                  <a:gd name="T73" fmla="*/ 2147483647 h 61"/>
                  <a:gd name="T74" fmla="*/ 2147483647 w 149"/>
                  <a:gd name="T75" fmla="*/ 2147483647 h 61"/>
                  <a:gd name="T76" fmla="*/ 2147483647 w 149"/>
                  <a:gd name="T77" fmla="*/ 2147483647 h 61"/>
                  <a:gd name="T78" fmla="*/ 2147483647 w 149"/>
                  <a:gd name="T79" fmla="*/ 2147483647 h 61"/>
                  <a:gd name="T80" fmla="*/ 2147483647 w 149"/>
                  <a:gd name="T81" fmla="*/ 2147483647 h 61"/>
                  <a:gd name="T82" fmla="*/ 2147483647 w 149"/>
                  <a:gd name="T83" fmla="*/ 2147483647 h 61"/>
                  <a:gd name="T84" fmla="*/ 2147483647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3" name="Freeform 488"/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10866705" y="1701372"/>
                <a:ext cx="130175" cy="57150"/>
              </a:xfrm>
              <a:custGeom>
                <a:avLst/>
                <a:gdLst>
                  <a:gd name="T0" fmla="*/ 2147483647 w 299"/>
                  <a:gd name="T1" fmla="*/ 2147483647 h 74"/>
                  <a:gd name="T2" fmla="*/ 2147483647 w 299"/>
                  <a:gd name="T3" fmla="*/ 2147483647 h 74"/>
                  <a:gd name="T4" fmla="*/ 2147483647 w 299"/>
                  <a:gd name="T5" fmla="*/ 2147483647 h 74"/>
                  <a:gd name="T6" fmla="*/ 2147483647 w 299"/>
                  <a:gd name="T7" fmla="*/ 2147483647 h 74"/>
                  <a:gd name="T8" fmla="*/ 2147483647 w 299"/>
                  <a:gd name="T9" fmla="*/ 2147483647 h 74"/>
                  <a:gd name="T10" fmla="*/ 2147483647 w 299"/>
                  <a:gd name="T11" fmla="*/ 2147483647 h 74"/>
                  <a:gd name="T12" fmla="*/ 2147483647 w 299"/>
                  <a:gd name="T13" fmla="*/ 2147483647 h 74"/>
                  <a:gd name="T14" fmla="*/ 2147483647 w 299"/>
                  <a:gd name="T15" fmla="*/ 2147483647 h 74"/>
                  <a:gd name="T16" fmla="*/ 2147483647 w 299"/>
                  <a:gd name="T17" fmla="*/ 2147483647 h 74"/>
                  <a:gd name="T18" fmla="*/ 2147483647 w 299"/>
                  <a:gd name="T19" fmla="*/ 2147483647 h 74"/>
                  <a:gd name="T20" fmla="*/ 2147483647 w 299"/>
                  <a:gd name="T21" fmla="*/ 2147483647 h 74"/>
                  <a:gd name="T22" fmla="*/ 2147483647 w 299"/>
                  <a:gd name="T23" fmla="*/ 2147483647 h 74"/>
                  <a:gd name="T24" fmla="*/ 2147483647 w 299"/>
                  <a:gd name="T25" fmla="*/ 2147483647 h 74"/>
                  <a:gd name="T26" fmla="*/ 2147483647 w 299"/>
                  <a:gd name="T27" fmla="*/ 2147483647 h 74"/>
                  <a:gd name="T28" fmla="*/ 2147483647 w 299"/>
                  <a:gd name="T29" fmla="*/ 2147483647 h 74"/>
                  <a:gd name="T30" fmla="*/ 2147483647 w 299"/>
                  <a:gd name="T31" fmla="*/ 2147483647 h 74"/>
                  <a:gd name="T32" fmla="*/ 2147483647 w 299"/>
                  <a:gd name="T33" fmla="*/ 2147483647 h 74"/>
                  <a:gd name="T34" fmla="*/ 2147483647 w 299"/>
                  <a:gd name="T35" fmla="*/ 2147483647 h 74"/>
                  <a:gd name="T36" fmla="*/ 2147483647 w 299"/>
                  <a:gd name="T37" fmla="*/ 2147483647 h 74"/>
                  <a:gd name="T38" fmla="*/ 2147483647 w 299"/>
                  <a:gd name="T39" fmla="*/ 2147483647 h 74"/>
                  <a:gd name="T40" fmla="*/ 2147483647 w 299"/>
                  <a:gd name="T41" fmla="*/ 2147483647 h 74"/>
                  <a:gd name="T42" fmla="*/ 2147483647 w 299"/>
                  <a:gd name="T43" fmla="*/ 2147483647 h 74"/>
                  <a:gd name="T44" fmla="*/ 2147483647 w 299"/>
                  <a:gd name="T45" fmla="*/ 0 h 74"/>
                  <a:gd name="T46" fmla="*/ 2147483647 w 299"/>
                  <a:gd name="T47" fmla="*/ 1381958824 h 74"/>
                  <a:gd name="T48" fmla="*/ 2147483647 w 299"/>
                  <a:gd name="T49" fmla="*/ 2147483647 h 74"/>
                  <a:gd name="T50" fmla="*/ 2147483647 w 299"/>
                  <a:gd name="T51" fmla="*/ 2147483647 h 74"/>
                  <a:gd name="T52" fmla="*/ 2147483647 w 299"/>
                  <a:gd name="T53" fmla="*/ 2147483647 h 74"/>
                  <a:gd name="T54" fmla="*/ 2147483647 w 299"/>
                  <a:gd name="T55" fmla="*/ 2147483647 h 74"/>
                  <a:gd name="T56" fmla="*/ 2147483647 w 299"/>
                  <a:gd name="T57" fmla="*/ 2147483647 h 74"/>
                  <a:gd name="T58" fmla="*/ 2147483647 w 299"/>
                  <a:gd name="T59" fmla="*/ 2147483647 h 74"/>
                  <a:gd name="T60" fmla="*/ 2147483647 w 299"/>
                  <a:gd name="T61" fmla="*/ 2147483647 h 74"/>
                  <a:gd name="T62" fmla="*/ 990184192 w 299"/>
                  <a:gd name="T63" fmla="*/ 2147483647 h 74"/>
                  <a:gd name="T64" fmla="*/ 165093682 w 299"/>
                  <a:gd name="T65" fmla="*/ 2147483647 h 74"/>
                  <a:gd name="T66" fmla="*/ 2147483647 w 299"/>
                  <a:gd name="T67" fmla="*/ 2147483647 h 74"/>
                  <a:gd name="T68" fmla="*/ 2147483647 w 299"/>
                  <a:gd name="T69" fmla="*/ 2147483647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4" name="Freeform 489"/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11400105" y="1887110"/>
                <a:ext cx="41275" cy="57150"/>
              </a:xfrm>
              <a:custGeom>
                <a:avLst/>
                <a:gdLst>
                  <a:gd name="T0" fmla="*/ 2147483647 w 100"/>
                  <a:gd name="T1" fmla="*/ 0 h 42"/>
                  <a:gd name="T2" fmla="*/ 2147483647 w 100"/>
                  <a:gd name="T3" fmla="*/ 2147483647 h 42"/>
                  <a:gd name="T4" fmla="*/ 2147483647 w 100"/>
                  <a:gd name="T5" fmla="*/ 2147483647 h 42"/>
                  <a:gd name="T6" fmla="*/ 2147483647 w 100"/>
                  <a:gd name="T7" fmla="*/ 2147483647 h 42"/>
                  <a:gd name="T8" fmla="*/ 2147483647 w 100"/>
                  <a:gd name="T9" fmla="*/ 2147483647 h 42"/>
                  <a:gd name="T10" fmla="*/ 2147483647 w 100"/>
                  <a:gd name="T11" fmla="*/ 2147483647 h 42"/>
                  <a:gd name="T12" fmla="*/ 2147483647 w 100"/>
                  <a:gd name="T13" fmla="*/ 2147483647 h 42"/>
                  <a:gd name="T14" fmla="*/ 2147483647 w 100"/>
                  <a:gd name="T15" fmla="*/ 2147483647 h 42"/>
                  <a:gd name="T16" fmla="*/ 2147483647 w 100"/>
                  <a:gd name="T17" fmla="*/ 2147483647 h 42"/>
                  <a:gd name="T18" fmla="*/ 2147483647 w 100"/>
                  <a:gd name="T19" fmla="*/ 2147483647 h 42"/>
                  <a:gd name="T20" fmla="*/ 2147483647 w 100"/>
                  <a:gd name="T21" fmla="*/ 2147483647 h 42"/>
                  <a:gd name="T22" fmla="*/ 1898520397 w 100"/>
                  <a:gd name="T23" fmla="*/ 2147483647 h 42"/>
                  <a:gd name="T24" fmla="*/ 843805875 w 100"/>
                  <a:gd name="T25" fmla="*/ 2147483647 h 42"/>
                  <a:gd name="T26" fmla="*/ 70359842 w 100"/>
                  <a:gd name="T27" fmla="*/ 2147483647 h 42"/>
                  <a:gd name="T28" fmla="*/ 0 w 100"/>
                  <a:gd name="T29" fmla="*/ 2147483647 h 42"/>
                  <a:gd name="T30" fmla="*/ 421988171 w 100"/>
                  <a:gd name="T31" fmla="*/ 2147483647 h 42"/>
                  <a:gd name="T32" fmla="*/ 843805875 w 100"/>
                  <a:gd name="T33" fmla="*/ 2147483647 h 42"/>
                  <a:gd name="T34" fmla="*/ 1265794046 w 100"/>
                  <a:gd name="T35" fmla="*/ 2147483647 h 42"/>
                  <a:gd name="T36" fmla="*/ 1617251909 w 100"/>
                  <a:gd name="T37" fmla="*/ 2147483647 h 42"/>
                  <a:gd name="T38" fmla="*/ 2147483647 w 100"/>
                  <a:gd name="T39" fmla="*/ 2147483647 h 42"/>
                  <a:gd name="T40" fmla="*/ 2147483647 w 100"/>
                  <a:gd name="T41" fmla="*/ 2147483647 h 42"/>
                  <a:gd name="T42" fmla="*/ 2147483647 w 100"/>
                  <a:gd name="T43" fmla="*/ 2147483647 h 42"/>
                  <a:gd name="T44" fmla="*/ 2147483647 w 100"/>
                  <a:gd name="T45" fmla="*/ 2147483647 h 42"/>
                  <a:gd name="T46" fmla="*/ 2147483647 w 100"/>
                  <a:gd name="T47" fmla="*/ 2147483647 h 42"/>
                  <a:gd name="T48" fmla="*/ 2147483647 w 100"/>
                  <a:gd name="T49" fmla="*/ 2147483647 h 42"/>
                  <a:gd name="T50" fmla="*/ 2147483647 w 100"/>
                  <a:gd name="T51" fmla="*/ 0 h 42"/>
                  <a:gd name="T52" fmla="*/ 2147483647 w 100"/>
                  <a:gd name="T53" fmla="*/ 0 h 4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00" h="42">
                    <a:moveTo>
                      <a:pt x="93" y="0"/>
                    </a:moveTo>
                    <a:lnTo>
                      <a:pt x="97" y="7"/>
                    </a:lnTo>
                    <a:lnTo>
                      <a:pt x="100" y="18"/>
                    </a:lnTo>
                    <a:lnTo>
                      <a:pt x="92" y="24"/>
                    </a:lnTo>
                    <a:lnTo>
                      <a:pt x="86" y="29"/>
                    </a:lnTo>
                    <a:lnTo>
                      <a:pt x="79" y="34"/>
                    </a:lnTo>
                    <a:lnTo>
                      <a:pt x="72" y="37"/>
                    </a:lnTo>
                    <a:lnTo>
                      <a:pt x="65" y="39"/>
                    </a:lnTo>
                    <a:lnTo>
                      <a:pt x="57" y="41"/>
                    </a:lnTo>
                    <a:lnTo>
                      <a:pt x="49" y="42"/>
                    </a:lnTo>
                    <a:lnTo>
                      <a:pt x="40" y="42"/>
                    </a:lnTo>
                    <a:lnTo>
                      <a:pt x="27" y="41"/>
                    </a:lnTo>
                    <a:lnTo>
                      <a:pt x="12" y="39"/>
                    </a:lnTo>
                    <a:lnTo>
                      <a:pt x="1" y="37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35"/>
                    </a:lnTo>
                    <a:lnTo>
                      <a:pt x="18" y="33"/>
                    </a:lnTo>
                    <a:lnTo>
                      <a:pt x="23" y="30"/>
                    </a:lnTo>
                    <a:lnTo>
                      <a:pt x="33" y="25"/>
                    </a:lnTo>
                    <a:lnTo>
                      <a:pt x="44" y="18"/>
                    </a:lnTo>
                    <a:lnTo>
                      <a:pt x="55" y="11"/>
                    </a:lnTo>
                    <a:lnTo>
                      <a:pt x="66" y="5"/>
                    </a:lnTo>
                    <a:lnTo>
                      <a:pt x="72" y="3"/>
                    </a:lnTo>
                    <a:lnTo>
                      <a:pt x="79" y="1"/>
                    </a:lnTo>
                    <a:lnTo>
                      <a:pt x="86" y="0"/>
                    </a:lnTo>
                    <a:lnTo>
                      <a:pt x="9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5" name="Freeform 490"/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11309618" y="1745822"/>
                <a:ext cx="15875" cy="58738"/>
              </a:xfrm>
              <a:custGeom>
                <a:avLst/>
                <a:gdLst>
                  <a:gd name="T0" fmla="*/ 2147483647 w 40"/>
                  <a:gd name="T1" fmla="*/ 2147483647 h 5"/>
                  <a:gd name="T2" fmla="*/ 0 w 40"/>
                  <a:gd name="T3" fmla="*/ 2147483647 h 5"/>
                  <a:gd name="T4" fmla="*/ 312499375 w 40"/>
                  <a:gd name="T5" fmla="*/ 2147483647 h 5"/>
                  <a:gd name="T6" fmla="*/ 562625081 w 40"/>
                  <a:gd name="T7" fmla="*/ 2147483647 h 5"/>
                  <a:gd name="T8" fmla="*/ 937655684 w 40"/>
                  <a:gd name="T9" fmla="*/ 0 h 5"/>
                  <a:gd name="T10" fmla="*/ 1250312619 w 40"/>
                  <a:gd name="T11" fmla="*/ 0 h 5"/>
                  <a:gd name="T12" fmla="*/ 1562811994 w 40"/>
                  <a:gd name="T13" fmla="*/ 0 h 5"/>
                  <a:gd name="T14" fmla="*/ 1875311369 w 40"/>
                  <a:gd name="T15" fmla="*/ 2147483647 h 5"/>
                  <a:gd name="T16" fmla="*/ 2147483647 w 40"/>
                  <a:gd name="T17" fmla="*/ 2147483647 h 5"/>
                  <a:gd name="T18" fmla="*/ 2147483647 w 40"/>
                  <a:gd name="T19" fmla="*/ 2147483647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" h="5">
                    <a:moveTo>
                      <a:pt x="4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0" y="1"/>
                    </a:lnTo>
                    <a:lnTo>
                      <a:pt x="35" y="3"/>
                    </a:lnTo>
                    <a:lnTo>
                      <a:pt x="40" y="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6" name="Freeform 491"/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11331843" y="1704547"/>
                <a:ext cx="14287" cy="60325"/>
              </a:xfrm>
              <a:custGeom>
                <a:avLst/>
                <a:gdLst>
                  <a:gd name="T0" fmla="*/ 0 w 33"/>
                  <a:gd name="T1" fmla="*/ 2147483647 h 31"/>
                  <a:gd name="T2" fmla="*/ 1623012725 w 33"/>
                  <a:gd name="T3" fmla="*/ 0 h 31"/>
                  <a:gd name="T4" fmla="*/ 1623012725 w 33"/>
                  <a:gd name="T5" fmla="*/ 2147483647 h 31"/>
                  <a:gd name="T6" fmla="*/ 1785332960 w 33"/>
                  <a:gd name="T7" fmla="*/ 2147483647 h 31"/>
                  <a:gd name="T8" fmla="*/ 2028625417 w 33"/>
                  <a:gd name="T9" fmla="*/ 2147483647 h 31"/>
                  <a:gd name="T10" fmla="*/ 2147483647 w 33"/>
                  <a:gd name="T11" fmla="*/ 2147483647 h 31"/>
                  <a:gd name="T12" fmla="*/ 2147483647 w 33"/>
                  <a:gd name="T13" fmla="*/ 2147483647 h 31"/>
                  <a:gd name="T14" fmla="*/ 2147483647 w 33"/>
                  <a:gd name="T15" fmla="*/ 2147483647 h 31"/>
                  <a:gd name="T16" fmla="*/ 0 w 33"/>
                  <a:gd name="T17" fmla="*/ 2147483647 h 31"/>
                  <a:gd name="T18" fmla="*/ 0 w 33"/>
                  <a:gd name="T19" fmla="*/ 2147483647 h 31"/>
                  <a:gd name="T20" fmla="*/ 0 w 33"/>
                  <a:gd name="T21" fmla="*/ 2147483647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19"/>
                    </a:moveTo>
                    <a:lnTo>
                      <a:pt x="20" y="0"/>
                    </a:lnTo>
                    <a:lnTo>
                      <a:pt x="20" y="4"/>
                    </a:lnTo>
                    <a:lnTo>
                      <a:pt x="22" y="10"/>
                    </a:lnTo>
                    <a:lnTo>
                      <a:pt x="25" y="14"/>
                    </a:lnTo>
                    <a:lnTo>
                      <a:pt x="27" y="18"/>
                    </a:lnTo>
                    <a:lnTo>
                      <a:pt x="31" y="26"/>
                    </a:lnTo>
                    <a:lnTo>
                      <a:pt x="33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7" name="Freeform 492"/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11476305" y="1820435"/>
                <a:ext cx="17463" cy="57150"/>
              </a:xfrm>
              <a:custGeom>
                <a:avLst/>
                <a:gdLst>
                  <a:gd name="T0" fmla="*/ 2147483647 w 41"/>
                  <a:gd name="T1" fmla="*/ 0 h 43"/>
                  <a:gd name="T2" fmla="*/ 2147483647 w 41"/>
                  <a:gd name="T3" fmla="*/ 2147483647 h 43"/>
                  <a:gd name="T4" fmla="*/ 2147483647 w 41"/>
                  <a:gd name="T5" fmla="*/ 2147483647 h 43"/>
                  <a:gd name="T6" fmla="*/ 1854410452 w 41"/>
                  <a:gd name="T7" fmla="*/ 2147483647 h 43"/>
                  <a:gd name="T8" fmla="*/ 1390898561 w 41"/>
                  <a:gd name="T9" fmla="*/ 2147483647 h 43"/>
                  <a:gd name="T10" fmla="*/ 1004487519 w 41"/>
                  <a:gd name="T11" fmla="*/ 2147483647 h 43"/>
                  <a:gd name="T12" fmla="*/ 386411042 w 41"/>
                  <a:gd name="T13" fmla="*/ 2147483647 h 43"/>
                  <a:gd name="T14" fmla="*/ 0 w 41"/>
                  <a:gd name="T15" fmla="*/ 2147483647 h 43"/>
                  <a:gd name="T16" fmla="*/ 927205226 w 41"/>
                  <a:gd name="T17" fmla="*/ 2147483647 h 43"/>
                  <a:gd name="T18" fmla="*/ 1931692745 w 41"/>
                  <a:gd name="T19" fmla="*/ 2147483647 h 43"/>
                  <a:gd name="T20" fmla="*/ 2147483647 w 41"/>
                  <a:gd name="T21" fmla="*/ 2147483647 h 43"/>
                  <a:gd name="T22" fmla="*/ 2147483647 w 41"/>
                  <a:gd name="T23" fmla="*/ 0 h 4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1" h="43">
                    <a:moveTo>
                      <a:pt x="41" y="0"/>
                    </a:moveTo>
                    <a:lnTo>
                      <a:pt x="41" y="43"/>
                    </a:lnTo>
                    <a:lnTo>
                      <a:pt x="31" y="42"/>
                    </a:lnTo>
                    <a:lnTo>
                      <a:pt x="24" y="40"/>
                    </a:lnTo>
                    <a:lnTo>
                      <a:pt x="18" y="37"/>
                    </a:lnTo>
                    <a:lnTo>
                      <a:pt x="13" y="33"/>
                    </a:lnTo>
                    <a:lnTo>
                      <a:pt x="5" y="25"/>
                    </a:lnTo>
                    <a:lnTo>
                      <a:pt x="0" y="19"/>
                    </a:lnTo>
                    <a:lnTo>
                      <a:pt x="12" y="13"/>
                    </a:lnTo>
                    <a:lnTo>
                      <a:pt x="25" y="7"/>
                    </a:lnTo>
                    <a:lnTo>
                      <a:pt x="36" y="2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8" name="Freeform 493"/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11530280" y="1704547"/>
                <a:ext cx="93663" cy="60325"/>
              </a:xfrm>
              <a:custGeom>
                <a:avLst/>
                <a:gdLst>
                  <a:gd name="T0" fmla="*/ 2147483647 w 213"/>
                  <a:gd name="T1" fmla="*/ 0 h 62"/>
                  <a:gd name="T2" fmla="*/ 2147483647 w 213"/>
                  <a:gd name="T3" fmla="*/ 0 h 62"/>
                  <a:gd name="T4" fmla="*/ 2147483647 w 213"/>
                  <a:gd name="T5" fmla="*/ 921136479 h 62"/>
                  <a:gd name="T6" fmla="*/ 2147483647 w 213"/>
                  <a:gd name="T7" fmla="*/ 2147483647 h 62"/>
                  <a:gd name="T8" fmla="*/ 2147483647 w 213"/>
                  <a:gd name="T9" fmla="*/ 2147483647 h 62"/>
                  <a:gd name="T10" fmla="*/ 2147483647 w 213"/>
                  <a:gd name="T11" fmla="*/ 2147483647 h 62"/>
                  <a:gd name="T12" fmla="*/ 2147483647 w 213"/>
                  <a:gd name="T13" fmla="*/ 2147483647 h 62"/>
                  <a:gd name="T14" fmla="*/ 2147483647 w 213"/>
                  <a:gd name="T15" fmla="*/ 2147483647 h 62"/>
                  <a:gd name="T16" fmla="*/ 2147483647 w 213"/>
                  <a:gd name="T17" fmla="*/ 2147483647 h 62"/>
                  <a:gd name="T18" fmla="*/ 2147483647 w 213"/>
                  <a:gd name="T19" fmla="*/ 2147483647 h 62"/>
                  <a:gd name="T20" fmla="*/ 2147483647 w 213"/>
                  <a:gd name="T21" fmla="*/ 2147483647 h 62"/>
                  <a:gd name="T22" fmla="*/ 2147483647 w 213"/>
                  <a:gd name="T23" fmla="*/ 2147483647 h 62"/>
                  <a:gd name="T24" fmla="*/ 2147483647 w 213"/>
                  <a:gd name="T25" fmla="*/ 2147483647 h 62"/>
                  <a:gd name="T26" fmla="*/ 2147483647 w 213"/>
                  <a:gd name="T27" fmla="*/ 2147483647 h 62"/>
                  <a:gd name="T28" fmla="*/ 2147483647 w 213"/>
                  <a:gd name="T29" fmla="*/ 2147483647 h 62"/>
                  <a:gd name="T30" fmla="*/ 2147483647 w 213"/>
                  <a:gd name="T31" fmla="*/ 2147483647 h 62"/>
                  <a:gd name="T32" fmla="*/ 2147483647 w 213"/>
                  <a:gd name="T33" fmla="*/ 2147483647 h 62"/>
                  <a:gd name="T34" fmla="*/ 2147483647 w 213"/>
                  <a:gd name="T35" fmla="*/ 2147483647 h 62"/>
                  <a:gd name="T36" fmla="*/ 2147483647 w 213"/>
                  <a:gd name="T37" fmla="*/ 2147483647 h 62"/>
                  <a:gd name="T38" fmla="*/ 2147483647 w 213"/>
                  <a:gd name="T39" fmla="*/ 2147483647 h 62"/>
                  <a:gd name="T40" fmla="*/ 2147483647 w 213"/>
                  <a:gd name="T41" fmla="*/ 2147483647 h 62"/>
                  <a:gd name="T42" fmla="*/ 2147483647 w 213"/>
                  <a:gd name="T43" fmla="*/ 2147483647 h 62"/>
                  <a:gd name="T44" fmla="*/ 2147483647 w 213"/>
                  <a:gd name="T45" fmla="*/ 2147483647 h 62"/>
                  <a:gd name="T46" fmla="*/ 2147483647 w 213"/>
                  <a:gd name="T47" fmla="*/ 2147483647 h 62"/>
                  <a:gd name="T48" fmla="*/ 1955689157 w 213"/>
                  <a:gd name="T49" fmla="*/ 2147483647 h 62"/>
                  <a:gd name="T50" fmla="*/ 1020384950 w 213"/>
                  <a:gd name="T51" fmla="*/ 2147483647 h 62"/>
                  <a:gd name="T52" fmla="*/ 0 w 213"/>
                  <a:gd name="T53" fmla="*/ 2147483647 h 62"/>
                  <a:gd name="T54" fmla="*/ 510095734 w 213"/>
                  <a:gd name="T55" fmla="*/ 2147483647 h 62"/>
                  <a:gd name="T56" fmla="*/ 935304647 w 213"/>
                  <a:gd name="T57" fmla="*/ 2147483647 h 62"/>
                  <a:gd name="T58" fmla="*/ 1445400380 w 213"/>
                  <a:gd name="T59" fmla="*/ 2147483647 h 62"/>
                  <a:gd name="T60" fmla="*/ 1955689157 w 213"/>
                  <a:gd name="T61" fmla="*/ 2147483647 h 62"/>
                  <a:gd name="T62" fmla="*/ 2147483647 w 213"/>
                  <a:gd name="T63" fmla="*/ 2147483647 h 62"/>
                  <a:gd name="T64" fmla="*/ 2147483647 w 213"/>
                  <a:gd name="T65" fmla="*/ 2147483647 h 62"/>
                  <a:gd name="T66" fmla="*/ 2147483647 w 213"/>
                  <a:gd name="T67" fmla="*/ 2147483647 h 62"/>
                  <a:gd name="T68" fmla="*/ 2147483647 w 213"/>
                  <a:gd name="T69" fmla="*/ 2147483647 h 62"/>
                  <a:gd name="T70" fmla="*/ 2147483647 w 213"/>
                  <a:gd name="T71" fmla="*/ 2147483647 h 62"/>
                  <a:gd name="T72" fmla="*/ 2147483647 w 213"/>
                  <a:gd name="T73" fmla="*/ 921136479 h 62"/>
                  <a:gd name="T74" fmla="*/ 2147483647 w 213"/>
                  <a:gd name="T75" fmla="*/ 0 h 62"/>
                  <a:gd name="T76" fmla="*/ 2147483647 w 213"/>
                  <a:gd name="T77" fmla="*/ 0 h 6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13" h="62">
                    <a:moveTo>
                      <a:pt x="61" y="0"/>
                    </a:moveTo>
                    <a:lnTo>
                      <a:pt x="83" y="0"/>
                    </a:lnTo>
                    <a:lnTo>
                      <a:pt x="105" y="1"/>
                    </a:lnTo>
                    <a:lnTo>
                      <a:pt x="127" y="3"/>
                    </a:lnTo>
                    <a:lnTo>
                      <a:pt x="146" y="7"/>
                    </a:lnTo>
                    <a:lnTo>
                      <a:pt x="166" y="11"/>
                    </a:lnTo>
                    <a:lnTo>
                      <a:pt x="184" y="16"/>
                    </a:lnTo>
                    <a:lnTo>
                      <a:pt x="191" y="19"/>
                    </a:lnTo>
                    <a:lnTo>
                      <a:pt x="199" y="23"/>
                    </a:lnTo>
                    <a:lnTo>
                      <a:pt x="207" y="27"/>
                    </a:lnTo>
                    <a:lnTo>
                      <a:pt x="213" y="31"/>
                    </a:lnTo>
                    <a:lnTo>
                      <a:pt x="211" y="35"/>
                    </a:lnTo>
                    <a:lnTo>
                      <a:pt x="207" y="38"/>
                    </a:lnTo>
                    <a:lnTo>
                      <a:pt x="201" y="41"/>
                    </a:lnTo>
                    <a:lnTo>
                      <a:pt x="195" y="44"/>
                    </a:lnTo>
                    <a:lnTo>
                      <a:pt x="177" y="49"/>
                    </a:lnTo>
                    <a:lnTo>
                      <a:pt x="156" y="53"/>
                    </a:lnTo>
                    <a:lnTo>
                      <a:pt x="135" y="57"/>
                    </a:lnTo>
                    <a:lnTo>
                      <a:pt x="114" y="59"/>
                    </a:lnTo>
                    <a:lnTo>
                      <a:pt x="95" y="62"/>
                    </a:lnTo>
                    <a:lnTo>
                      <a:pt x="80" y="62"/>
                    </a:lnTo>
                    <a:lnTo>
                      <a:pt x="62" y="62"/>
                    </a:lnTo>
                    <a:lnTo>
                      <a:pt x="43" y="59"/>
                    </a:lnTo>
                    <a:lnTo>
                      <a:pt x="33" y="59"/>
                    </a:lnTo>
                    <a:lnTo>
                      <a:pt x="23" y="59"/>
                    </a:lnTo>
                    <a:lnTo>
                      <a:pt x="12" y="60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11" y="39"/>
                    </a:lnTo>
                    <a:lnTo>
                      <a:pt x="17" y="29"/>
                    </a:lnTo>
                    <a:lnTo>
                      <a:pt x="23" y="20"/>
                    </a:lnTo>
                    <a:lnTo>
                      <a:pt x="27" y="16"/>
                    </a:lnTo>
                    <a:lnTo>
                      <a:pt x="30" y="12"/>
                    </a:lnTo>
                    <a:lnTo>
                      <a:pt x="34" y="9"/>
                    </a:lnTo>
                    <a:lnTo>
                      <a:pt x="39" y="6"/>
                    </a:lnTo>
                    <a:lnTo>
                      <a:pt x="43" y="3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6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9" name="Freeform 494"/>
              <p:cNvSpPr>
                <a:spLocks/>
              </p:cNvSpPr>
              <p:nvPr>
                <p:custDataLst>
                  <p:tags r:id="rId255"/>
                </p:custDataLst>
              </p:nvPr>
            </p:nvSpPr>
            <p:spPr bwMode="auto">
              <a:xfrm>
                <a:off x="11590605" y="1729947"/>
                <a:ext cx="103188" cy="60325"/>
              </a:xfrm>
              <a:custGeom>
                <a:avLst/>
                <a:gdLst>
                  <a:gd name="T0" fmla="*/ 2147483647 w 239"/>
                  <a:gd name="T1" fmla="*/ 0 h 56"/>
                  <a:gd name="T2" fmla="*/ 2147483647 w 239"/>
                  <a:gd name="T3" fmla="*/ 2147483647 h 56"/>
                  <a:gd name="T4" fmla="*/ 1851023043 w 239"/>
                  <a:gd name="T5" fmla="*/ 2147483647 h 56"/>
                  <a:gd name="T6" fmla="*/ 1529098070 w 239"/>
                  <a:gd name="T7" fmla="*/ 2147483647 h 56"/>
                  <a:gd name="T8" fmla="*/ 1207172666 w 239"/>
                  <a:gd name="T9" fmla="*/ 2147483647 h 56"/>
                  <a:gd name="T10" fmla="*/ 1046303437 w 239"/>
                  <a:gd name="T11" fmla="*/ 2147483647 h 56"/>
                  <a:gd name="T12" fmla="*/ 804719605 w 239"/>
                  <a:gd name="T13" fmla="*/ 2147483647 h 56"/>
                  <a:gd name="T14" fmla="*/ 563322289 w 239"/>
                  <a:gd name="T15" fmla="*/ 2147483647 h 56"/>
                  <a:gd name="T16" fmla="*/ 0 w 239"/>
                  <a:gd name="T17" fmla="*/ 2147483647 h 56"/>
                  <a:gd name="T18" fmla="*/ 160869229 w 239"/>
                  <a:gd name="T19" fmla="*/ 2147483647 h 56"/>
                  <a:gd name="T20" fmla="*/ 402453060 w 239"/>
                  <a:gd name="T21" fmla="*/ 2147483647 h 56"/>
                  <a:gd name="T22" fmla="*/ 563322289 w 239"/>
                  <a:gd name="T23" fmla="*/ 2147483647 h 56"/>
                  <a:gd name="T24" fmla="*/ 804719605 w 239"/>
                  <a:gd name="T25" fmla="*/ 2147483647 h 56"/>
                  <a:gd name="T26" fmla="*/ 1368228410 w 239"/>
                  <a:gd name="T27" fmla="*/ 2147483647 h 56"/>
                  <a:gd name="T28" fmla="*/ 1931551131 w 239"/>
                  <a:gd name="T29" fmla="*/ 2147483647 h 56"/>
                  <a:gd name="T30" fmla="*/ 2147483647 w 239"/>
                  <a:gd name="T31" fmla="*/ 2147483647 h 56"/>
                  <a:gd name="T32" fmla="*/ 2147483647 w 239"/>
                  <a:gd name="T33" fmla="*/ 2147483647 h 56"/>
                  <a:gd name="T34" fmla="*/ 2147483647 w 239"/>
                  <a:gd name="T35" fmla="*/ 2147483647 h 56"/>
                  <a:gd name="T36" fmla="*/ 2147483647 w 239"/>
                  <a:gd name="T37" fmla="*/ 2147483647 h 56"/>
                  <a:gd name="T38" fmla="*/ 2147483647 w 239"/>
                  <a:gd name="T39" fmla="*/ 2147483647 h 56"/>
                  <a:gd name="T40" fmla="*/ 2147483647 w 239"/>
                  <a:gd name="T41" fmla="*/ 2147483647 h 56"/>
                  <a:gd name="T42" fmla="*/ 2147483647 w 239"/>
                  <a:gd name="T43" fmla="*/ 2147483647 h 56"/>
                  <a:gd name="T44" fmla="*/ 2147483647 w 239"/>
                  <a:gd name="T45" fmla="*/ 2147483647 h 56"/>
                  <a:gd name="T46" fmla="*/ 2147483647 w 239"/>
                  <a:gd name="T47" fmla="*/ 2147483647 h 56"/>
                  <a:gd name="T48" fmla="*/ 2147483647 w 239"/>
                  <a:gd name="T49" fmla="*/ 2147483647 h 56"/>
                  <a:gd name="T50" fmla="*/ 2147483647 w 239"/>
                  <a:gd name="T51" fmla="*/ 2147483647 h 56"/>
                  <a:gd name="T52" fmla="*/ 2147483647 w 239"/>
                  <a:gd name="T53" fmla="*/ 2147483647 h 56"/>
                  <a:gd name="T54" fmla="*/ 2147483647 w 239"/>
                  <a:gd name="T55" fmla="*/ 2147483647 h 56"/>
                  <a:gd name="T56" fmla="*/ 2147483647 w 239"/>
                  <a:gd name="T57" fmla="*/ 2147483647 h 56"/>
                  <a:gd name="T58" fmla="*/ 2147483647 w 239"/>
                  <a:gd name="T59" fmla="*/ 2147483647 h 56"/>
                  <a:gd name="T60" fmla="*/ 2147483647 w 239"/>
                  <a:gd name="T61" fmla="*/ 2147483647 h 56"/>
                  <a:gd name="T62" fmla="*/ 2147483647 w 239"/>
                  <a:gd name="T63" fmla="*/ 2147483647 h 56"/>
                  <a:gd name="T64" fmla="*/ 2147483647 w 239"/>
                  <a:gd name="T65" fmla="*/ 2147483647 h 56"/>
                  <a:gd name="T66" fmla="*/ 2147483647 w 239"/>
                  <a:gd name="T67" fmla="*/ 2147483647 h 56"/>
                  <a:gd name="T68" fmla="*/ 2147483647 w 239"/>
                  <a:gd name="T69" fmla="*/ 2147483647 h 56"/>
                  <a:gd name="T70" fmla="*/ 2147483647 w 239"/>
                  <a:gd name="T71" fmla="*/ 2147483647 h 56"/>
                  <a:gd name="T72" fmla="*/ 2147483647 w 239"/>
                  <a:gd name="T73" fmla="*/ 2147483647 h 56"/>
                  <a:gd name="T74" fmla="*/ 2147483647 w 239"/>
                  <a:gd name="T75" fmla="*/ 2147483647 h 56"/>
                  <a:gd name="T76" fmla="*/ 2147483647 w 239"/>
                  <a:gd name="T77" fmla="*/ 2147483647 h 56"/>
                  <a:gd name="T78" fmla="*/ 2147483647 w 239"/>
                  <a:gd name="T79" fmla="*/ 2147483647 h 56"/>
                  <a:gd name="T80" fmla="*/ 2147483647 w 239"/>
                  <a:gd name="T81" fmla="*/ 2147483647 h 56"/>
                  <a:gd name="T82" fmla="*/ 2147483647 w 239"/>
                  <a:gd name="T83" fmla="*/ 2147483647 h 56"/>
                  <a:gd name="T84" fmla="*/ 2147483647 w 239"/>
                  <a:gd name="T85" fmla="*/ 1249782110 h 56"/>
                  <a:gd name="T86" fmla="*/ 2147483647 w 239"/>
                  <a:gd name="T87" fmla="*/ 0 h 56"/>
                  <a:gd name="T88" fmla="*/ 2147483647 w 239"/>
                  <a:gd name="T89" fmla="*/ 1249782110 h 56"/>
                  <a:gd name="T90" fmla="*/ 2147483647 w 239"/>
                  <a:gd name="T91" fmla="*/ 2147483647 h 56"/>
                  <a:gd name="T92" fmla="*/ 2147483647 w 239"/>
                  <a:gd name="T93" fmla="*/ 2147483647 h 56"/>
                  <a:gd name="T94" fmla="*/ 2147483647 w 239"/>
                  <a:gd name="T95" fmla="*/ 2147483647 h 56"/>
                  <a:gd name="T96" fmla="*/ 2147483647 w 239"/>
                  <a:gd name="T97" fmla="*/ 2147483647 h 56"/>
                  <a:gd name="T98" fmla="*/ 2147483647 w 239"/>
                  <a:gd name="T99" fmla="*/ 2147483647 h 56"/>
                  <a:gd name="T100" fmla="*/ 2147483647 w 239"/>
                  <a:gd name="T101" fmla="*/ 2147483647 h 56"/>
                  <a:gd name="T102" fmla="*/ 2147483647 w 239"/>
                  <a:gd name="T103" fmla="*/ 2147483647 h 56"/>
                  <a:gd name="T104" fmla="*/ 2147483647 w 239"/>
                  <a:gd name="T105" fmla="*/ 1249782110 h 56"/>
                  <a:gd name="T106" fmla="*/ 2147483647 w 239"/>
                  <a:gd name="T107" fmla="*/ 0 h 5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9" h="56">
                    <a:moveTo>
                      <a:pt x="41" y="0"/>
                    </a:moveTo>
                    <a:lnTo>
                      <a:pt x="30" y="3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15" y="9"/>
                    </a:lnTo>
                    <a:lnTo>
                      <a:pt x="13" y="13"/>
                    </a:lnTo>
                    <a:lnTo>
                      <a:pt x="10" y="15"/>
                    </a:lnTo>
                    <a:lnTo>
                      <a:pt x="7" y="17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5" y="27"/>
                    </a:lnTo>
                    <a:lnTo>
                      <a:pt x="7" y="30"/>
                    </a:lnTo>
                    <a:lnTo>
                      <a:pt x="10" y="33"/>
                    </a:lnTo>
                    <a:lnTo>
                      <a:pt x="17" y="36"/>
                    </a:lnTo>
                    <a:lnTo>
                      <a:pt x="24" y="38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153" y="38"/>
                    </a:lnTo>
                    <a:lnTo>
                      <a:pt x="155" y="41"/>
                    </a:lnTo>
                    <a:lnTo>
                      <a:pt x="156" y="44"/>
                    </a:lnTo>
                    <a:lnTo>
                      <a:pt x="159" y="46"/>
                    </a:lnTo>
                    <a:lnTo>
                      <a:pt x="162" y="48"/>
                    </a:lnTo>
                    <a:lnTo>
                      <a:pt x="167" y="51"/>
                    </a:lnTo>
                    <a:lnTo>
                      <a:pt x="174" y="54"/>
                    </a:lnTo>
                    <a:lnTo>
                      <a:pt x="188" y="56"/>
                    </a:lnTo>
                    <a:lnTo>
                      <a:pt x="200" y="56"/>
                    </a:lnTo>
                    <a:lnTo>
                      <a:pt x="204" y="55"/>
                    </a:lnTo>
                    <a:lnTo>
                      <a:pt x="210" y="54"/>
                    </a:lnTo>
                    <a:lnTo>
                      <a:pt x="214" y="52"/>
                    </a:lnTo>
                    <a:lnTo>
                      <a:pt x="220" y="49"/>
                    </a:lnTo>
                    <a:lnTo>
                      <a:pt x="230" y="43"/>
                    </a:lnTo>
                    <a:lnTo>
                      <a:pt x="239" y="38"/>
                    </a:lnTo>
                    <a:lnTo>
                      <a:pt x="232" y="37"/>
                    </a:lnTo>
                    <a:lnTo>
                      <a:pt x="225" y="36"/>
                    </a:lnTo>
                    <a:lnTo>
                      <a:pt x="219" y="34"/>
                    </a:lnTo>
                    <a:lnTo>
                      <a:pt x="213" y="32"/>
                    </a:lnTo>
                    <a:lnTo>
                      <a:pt x="201" y="26"/>
                    </a:lnTo>
                    <a:lnTo>
                      <a:pt x="190" y="19"/>
                    </a:lnTo>
                    <a:lnTo>
                      <a:pt x="178" y="13"/>
                    </a:lnTo>
                    <a:lnTo>
                      <a:pt x="167" y="6"/>
                    </a:lnTo>
                    <a:lnTo>
                      <a:pt x="160" y="4"/>
                    </a:lnTo>
                    <a:lnTo>
                      <a:pt x="154" y="2"/>
                    </a:lnTo>
                    <a:lnTo>
                      <a:pt x="147" y="1"/>
                    </a:lnTo>
                    <a:lnTo>
                      <a:pt x="140" y="0"/>
                    </a:lnTo>
                    <a:lnTo>
                      <a:pt x="134" y="1"/>
                    </a:lnTo>
                    <a:lnTo>
                      <a:pt x="127" y="4"/>
                    </a:lnTo>
                    <a:lnTo>
                      <a:pt x="124" y="6"/>
                    </a:lnTo>
                    <a:lnTo>
                      <a:pt x="122" y="8"/>
                    </a:lnTo>
                    <a:lnTo>
                      <a:pt x="121" y="10"/>
                    </a:lnTo>
                    <a:lnTo>
                      <a:pt x="120" y="13"/>
                    </a:lnTo>
                    <a:lnTo>
                      <a:pt x="100" y="8"/>
                    </a:lnTo>
                    <a:lnTo>
                      <a:pt x="80" y="4"/>
                    </a:lnTo>
                    <a:lnTo>
                      <a:pt x="61" y="1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0" name="Freeform 495"/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11708080" y="1744235"/>
                <a:ext cx="82550" cy="57150"/>
              </a:xfrm>
              <a:custGeom>
                <a:avLst/>
                <a:gdLst>
                  <a:gd name="T0" fmla="*/ 1204313121 w 187"/>
                  <a:gd name="T1" fmla="*/ 2147483647 h 80"/>
                  <a:gd name="T2" fmla="*/ 2147483647 w 187"/>
                  <a:gd name="T3" fmla="*/ 0 h 80"/>
                  <a:gd name="T4" fmla="*/ 2147483647 w 187"/>
                  <a:gd name="T5" fmla="*/ 1093640974 h 80"/>
                  <a:gd name="T6" fmla="*/ 2147483647 w 187"/>
                  <a:gd name="T7" fmla="*/ 2147483647 h 80"/>
                  <a:gd name="T8" fmla="*/ 2147483647 w 187"/>
                  <a:gd name="T9" fmla="*/ 2147483647 h 80"/>
                  <a:gd name="T10" fmla="*/ 2147483647 w 187"/>
                  <a:gd name="T11" fmla="*/ 2147483647 h 80"/>
                  <a:gd name="T12" fmla="*/ 2147483647 w 187"/>
                  <a:gd name="T13" fmla="*/ 2147483647 h 80"/>
                  <a:gd name="T14" fmla="*/ 2147483647 w 187"/>
                  <a:gd name="T15" fmla="*/ 2147483647 h 80"/>
                  <a:gd name="T16" fmla="*/ 2147483647 w 187"/>
                  <a:gd name="T17" fmla="*/ 2147483647 h 80"/>
                  <a:gd name="T18" fmla="*/ 2147483647 w 187"/>
                  <a:gd name="T19" fmla="*/ 2147483647 h 80"/>
                  <a:gd name="T20" fmla="*/ 2147483647 w 187"/>
                  <a:gd name="T21" fmla="*/ 2147483647 h 80"/>
                  <a:gd name="T22" fmla="*/ 2147483647 w 187"/>
                  <a:gd name="T23" fmla="*/ 2147483647 h 80"/>
                  <a:gd name="T24" fmla="*/ 2147483647 w 187"/>
                  <a:gd name="T25" fmla="*/ 2147483647 h 80"/>
                  <a:gd name="T26" fmla="*/ 2147483647 w 187"/>
                  <a:gd name="T27" fmla="*/ 2147483647 h 80"/>
                  <a:gd name="T28" fmla="*/ 2147483647 w 187"/>
                  <a:gd name="T29" fmla="*/ 2147483647 h 80"/>
                  <a:gd name="T30" fmla="*/ 2147483647 w 187"/>
                  <a:gd name="T31" fmla="*/ 2147483647 h 80"/>
                  <a:gd name="T32" fmla="*/ 2147483647 w 187"/>
                  <a:gd name="T33" fmla="*/ 2147483647 h 80"/>
                  <a:gd name="T34" fmla="*/ 2147483647 w 187"/>
                  <a:gd name="T35" fmla="*/ 2147483647 h 80"/>
                  <a:gd name="T36" fmla="*/ 2147483647 w 187"/>
                  <a:gd name="T37" fmla="*/ 2147483647 h 80"/>
                  <a:gd name="T38" fmla="*/ 2147483647 w 187"/>
                  <a:gd name="T39" fmla="*/ 2147483647 h 80"/>
                  <a:gd name="T40" fmla="*/ 2147483647 w 187"/>
                  <a:gd name="T41" fmla="*/ 2147483647 h 80"/>
                  <a:gd name="T42" fmla="*/ 2147483647 w 187"/>
                  <a:gd name="T43" fmla="*/ 2147483647 h 80"/>
                  <a:gd name="T44" fmla="*/ 2147483647 w 187"/>
                  <a:gd name="T45" fmla="*/ 2147483647 h 80"/>
                  <a:gd name="T46" fmla="*/ 2147483647 w 187"/>
                  <a:gd name="T47" fmla="*/ 2147483647 h 80"/>
                  <a:gd name="T48" fmla="*/ 2147483647 w 187"/>
                  <a:gd name="T49" fmla="*/ 2147483647 h 80"/>
                  <a:gd name="T50" fmla="*/ 2147483647 w 187"/>
                  <a:gd name="T51" fmla="*/ 2147483647 h 80"/>
                  <a:gd name="T52" fmla="*/ 1892603544 w 187"/>
                  <a:gd name="T53" fmla="*/ 2147483647 h 80"/>
                  <a:gd name="T54" fmla="*/ 1548458332 w 187"/>
                  <a:gd name="T55" fmla="*/ 2147483647 h 80"/>
                  <a:gd name="T56" fmla="*/ 1204313121 w 187"/>
                  <a:gd name="T57" fmla="*/ 2147483647 h 80"/>
                  <a:gd name="T58" fmla="*/ 774228945 w 187"/>
                  <a:gd name="T59" fmla="*/ 2147483647 h 80"/>
                  <a:gd name="T60" fmla="*/ 516217817 w 187"/>
                  <a:gd name="T61" fmla="*/ 2147483647 h 80"/>
                  <a:gd name="T62" fmla="*/ 258011570 w 187"/>
                  <a:gd name="T63" fmla="*/ 2147483647 h 80"/>
                  <a:gd name="T64" fmla="*/ 172072606 w 187"/>
                  <a:gd name="T65" fmla="*/ 2147483647 h 80"/>
                  <a:gd name="T66" fmla="*/ 0 w 187"/>
                  <a:gd name="T67" fmla="*/ 2147483647 h 80"/>
                  <a:gd name="T68" fmla="*/ 172072606 w 187"/>
                  <a:gd name="T69" fmla="*/ 2147483647 h 80"/>
                  <a:gd name="T70" fmla="*/ 258011570 w 187"/>
                  <a:gd name="T71" fmla="*/ 2147483647 h 80"/>
                  <a:gd name="T72" fmla="*/ 430084176 w 187"/>
                  <a:gd name="T73" fmla="*/ 2147483647 h 80"/>
                  <a:gd name="T74" fmla="*/ 602156340 w 187"/>
                  <a:gd name="T75" fmla="*/ 2147483647 h 80"/>
                  <a:gd name="T76" fmla="*/ 1118374157 w 187"/>
                  <a:gd name="T77" fmla="*/ 2147483647 h 80"/>
                  <a:gd name="T78" fmla="*/ 1204313121 w 187"/>
                  <a:gd name="T79" fmla="*/ 2147483647 h 8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87" h="80">
                    <a:moveTo>
                      <a:pt x="14" y="19"/>
                    </a:moveTo>
                    <a:lnTo>
                      <a:pt x="41" y="0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8" y="9"/>
                    </a:lnTo>
                    <a:lnTo>
                      <a:pt x="67" y="12"/>
                    </a:lnTo>
                    <a:lnTo>
                      <a:pt x="89" y="19"/>
                    </a:lnTo>
                    <a:lnTo>
                      <a:pt x="114" y="26"/>
                    </a:lnTo>
                    <a:lnTo>
                      <a:pt x="139" y="33"/>
                    </a:lnTo>
                    <a:lnTo>
                      <a:pt x="161" y="38"/>
                    </a:lnTo>
                    <a:lnTo>
                      <a:pt x="177" y="42"/>
                    </a:lnTo>
                    <a:lnTo>
                      <a:pt x="187" y="43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70" y="70"/>
                    </a:lnTo>
                    <a:lnTo>
                      <a:pt x="151" y="71"/>
                    </a:lnTo>
                    <a:lnTo>
                      <a:pt x="133" y="71"/>
                    </a:lnTo>
                    <a:lnTo>
                      <a:pt x="116" y="70"/>
                    </a:lnTo>
                    <a:lnTo>
                      <a:pt x="85" y="69"/>
                    </a:lnTo>
                    <a:lnTo>
                      <a:pt x="61" y="68"/>
                    </a:lnTo>
                    <a:lnTo>
                      <a:pt x="55" y="69"/>
                    </a:lnTo>
                    <a:lnTo>
                      <a:pt x="51" y="70"/>
                    </a:lnTo>
                    <a:lnTo>
                      <a:pt x="45" y="72"/>
                    </a:lnTo>
                    <a:lnTo>
                      <a:pt x="41" y="74"/>
                    </a:lnTo>
                    <a:lnTo>
                      <a:pt x="33" y="78"/>
                    </a:lnTo>
                    <a:lnTo>
                      <a:pt x="28" y="80"/>
                    </a:lnTo>
                    <a:lnTo>
                      <a:pt x="22" y="79"/>
                    </a:lnTo>
                    <a:lnTo>
                      <a:pt x="18" y="76"/>
                    </a:lnTo>
                    <a:lnTo>
                      <a:pt x="14" y="72"/>
                    </a:lnTo>
                    <a:lnTo>
                      <a:pt x="9" y="67"/>
                    </a:lnTo>
                    <a:lnTo>
                      <a:pt x="6" y="62"/>
                    </a:lnTo>
                    <a:lnTo>
                      <a:pt x="3" y="57"/>
                    </a:lnTo>
                    <a:lnTo>
                      <a:pt x="2" y="53"/>
                    </a:lnTo>
                    <a:lnTo>
                      <a:pt x="0" y="50"/>
                    </a:lnTo>
                    <a:lnTo>
                      <a:pt x="2" y="44"/>
                    </a:lnTo>
                    <a:lnTo>
                      <a:pt x="3" y="40"/>
                    </a:lnTo>
                    <a:lnTo>
                      <a:pt x="5" y="36"/>
                    </a:lnTo>
                    <a:lnTo>
                      <a:pt x="7" y="31"/>
                    </a:lnTo>
                    <a:lnTo>
                      <a:pt x="13" y="24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1" name="Freeform 496"/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12235130" y="1869647"/>
                <a:ext cx="79375" cy="58738"/>
              </a:xfrm>
              <a:custGeom>
                <a:avLst/>
                <a:gdLst>
                  <a:gd name="T0" fmla="*/ 2147483647 w 183"/>
                  <a:gd name="T1" fmla="*/ 0 h 73"/>
                  <a:gd name="T2" fmla="*/ 2147483647 w 183"/>
                  <a:gd name="T3" fmla="*/ 0 h 73"/>
                  <a:gd name="T4" fmla="*/ 2147483647 w 183"/>
                  <a:gd name="T5" fmla="*/ 521180665 h 73"/>
                  <a:gd name="T6" fmla="*/ 2147483647 w 183"/>
                  <a:gd name="T7" fmla="*/ 2084075736 h 73"/>
                  <a:gd name="T8" fmla="*/ 2147483647 w 183"/>
                  <a:gd name="T9" fmla="*/ 2147483647 h 73"/>
                  <a:gd name="T10" fmla="*/ 2147483647 w 183"/>
                  <a:gd name="T11" fmla="*/ 2147483647 h 73"/>
                  <a:gd name="T12" fmla="*/ 2147483647 w 183"/>
                  <a:gd name="T13" fmla="*/ 2147483647 h 73"/>
                  <a:gd name="T14" fmla="*/ 2147483647 w 183"/>
                  <a:gd name="T15" fmla="*/ 2147483647 h 73"/>
                  <a:gd name="T16" fmla="*/ 2147483647 w 183"/>
                  <a:gd name="T17" fmla="*/ 2147483647 h 73"/>
                  <a:gd name="T18" fmla="*/ 2147483647 w 183"/>
                  <a:gd name="T19" fmla="*/ 2147483647 h 73"/>
                  <a:gd name="T20" fmla="*/ 2147483647 w 183"/>
                  <a:gd name="T21" fmla="*/ 2147483647 h 73"/>
                  <a:gd name="T22" fmla="*/ 2147483647 w 183"/>
                  <a:gd name="T23" fmla="*/ 2147483647 h 73"/>
                  <a:gd name="T24" fmla="*/ 2147483647 w 183"/>
                  <a:gd name="T25" fmla="*/ 2147483647 h 73"/>
                  <a:gd name="T26" fmla="*/ 2147483647 w 183"/>
                  <a:gd name="T27" fmla="*/ 2147483647 h 73"/>
                  <a:gd name="T28" fmla="*/ 2147483647 w 183"/>
                  <a:gd name="T29" fmla="*/ 2147483647 h 73"/>
                  <a:gd name="T30" fmla="*/ 2147483647 w 183"/>
                  <a:gd name="T31" fmla="*/ 2147483647 h 73"/>
                  <a:gd name="T32" fmla="*/ 2147483647 w 183"/>
                  <a:gd name="T33" fmla="*/ 2147483647 h 73"/>
                  <a:gd name="T34" fmla="*/ 2147483647 w 183"/>
                  <a:gd name="T35" fmla="*/ 2147483647 h 73"/>
                  <a:gd name="T36" fmla="*/ 2147483647 w 183"/>
                  <a:gd name="T37" fmla="*/ 2147483647 h 73"/>
                  <a:gd name="T38" fmla="*/ 2147483647 w 183"/>
                  <a:gd name="T39" fmla="*/ 2147483647 h 73"/>
                  <a:gd name="T40" fmla="*/ 1305644146 w 183"/>
                  <a:gd name="T41" fmla="*/ 2147483647 h 73"/>
                  <a:gd name="T42" fmla="*/ 571172090 w 183"/>
                  <a:gd name="T43" fmla="*/ 2147483647 h 73"/>
                  <a:gd name="T44" fmla="*/ 326410820 w 183"/>
                  <a:gd name="T45" fmla="*/ 2147483647 h 73"/>
                  <a:gd name="T46" fmla="*/ 163111288 w 183"/>
                  <a:gd name="T47" fmla="*/ 2147483647 h 73"/>
                  <a:gd name="T48" fmla="*/ 81649983 w 183"/>
                  <a:gd name="T49" fmla="*/ 2147483647 h 73"/>
                  <a:gd name="T50" fmla="*/ 0 w 183"/>
                  <a:gd name="T51" fmla="*/ 2147483647 h 73"/>
                  <a:gd name="T52" fmla="*/ 81649983 w 183"/>
                  <a:gd name="T53" fmla="*/ 2147483647 h 73"/>
                  <a:gd name="T54" fmla="*/ 244761270 w 183"/>
                  <a:gd name="T55" fmla="*/ 2147483647 h 73"/>
                  <a:gd name="T56" fmla="*/ 571172090 w 183"/>
                  <a:gd name="T57" fmla="*/ 2084075736 h 73"/>
                  <a:gd name="T58" fmla="*/ 1060882876 w 183"/>
                  <a:gd name="T59" fmla="*/ 1562895072 h 73"/>
                  <a:gd name="T60" fmla="*/ 1550404983 w 183"/>
                  <a:gd name="T61" fmla="*/ 521180665 h 73"/>
                  <a:gd name="T62" fmla="*/ 2147483647 w 183"/>
                  <a:gd name="T63" fmla="*/ 0 h 73"/>
                  <a:gd name="T64" fmla="*/ 2147483647 w 183"/>
                  <a:gd name="T65" fmla="*/ 0 h 73"/>
                  <a:gd name="T66" fmla="*/ 2147483647 w 183"/>
                  <a:gd name="T67" fmla="*/ 0 h 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83" h="73">
                    <a:moveTo>
                      <a:pt x="50" y="0"/>
                    </a:moveTo>
                    <a:lnTo>
                      <a:pt x="63" y="0"/>
                    </a:lnTo>
                    <a:lnTo>
                      <a:pt x="75" y="1"/>
                    </a:lnTo>
                    <a:lnTo>
                      <a:pt x="86" y="4"/>
                    </a:lnTo>
                    <a:lnTo>
                      <a:pt x="97" y="7"/>
                    </a:lnTo>
                    <a:lnTo>
                      <a:pt x="106" y="10"/>
                    </a:lnTo>
                    <a:lnTo>
                      <a:pt x="116" y="15"/>
                    </a:lnTo>
                    <a:lnTo>
                      <a:pt x="124" y="19"/>
                    </a:lnTo>
                    <a:lnTo>
                      <a:pt x="131" y="25"/>
                    </a:lnTo>
                    <a:lnTo>
                      <a:pt x="159" y="49"/>
                    </a:lnTo>
                    <a:lnTo>
                      <a:pt x="183" y="73"/>
                    </a:lnTo>
                    <a:lnTo>
                      <a:pt x="137" y="73"/>
                    </a:lnTo>
                    <a:lnTo>
                      <a:pt x="128" y="72"/>
                    </a:lnTo>
                    <a:lnTo>
                      <a:pt x="117" y="70"/>
                    </a:lnTo>
                    <a:lnTo>
                      <a:pt x="104" y="66"/>
                    </a:lnTo>
                    <a:lnTo>
                      <a:pt x="90" y="62"/>
                    </a:lnTo>
                    <a:lnTo>
                      <a:pt x="73" y="56"/>
                    </a:lnTo>
                    <a:lnTo>
                      <a:pt x="58" y="50"/>
                    </a:lnTo>
                    <a:lnTo>
                      <a:pt x="42" y="44"/>
                    </a:lnTo>
                    <a:lnTo>
                      <a:pt x="28" y="37"/>
                    </a:lnTo>
                    <a:lnTo>
                      <a:pt x="16" y="30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3" y="3"/>
                    </a:lnTo>
                    <a:lnTo>
                      <a:pt x="19" y="1"/>
                    </a:lnTo>
                    <a:lnTo>
                      <a:pt x="28" y="0"/>
                    </a:lnTo>
                    <a:lnTo>
                      <a:pt x="38" y="0"/>
                    </a:lnTo>
                    <a:lnTo>
                      <a:pt x="5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2" name="Freeform 497"/>
              <p:cNvSpPr>
                <a:spLocks/>
              </p:cNvSpPr>
              <p:nvPr>
                <p:custDataLst>
                  <p:tags r:id="rId258"/>
                </p:custDataLst>
              </p:nvPr>
            </p:nvSpPr>
            <p:spPr bwMode="auto">
              <a:xfrm>
                <a:off x="12301805" y="1887110"/>
                <a:ext cx="33338" cy="57150"/>
              </a:xfrm>
              <a:custGeom>
                <a:avLst/>
                <a:gdLst>
                  <a:gd name="T0" fmla="*/ 0 w 79"/>
                  <a:gd name="T1" fmla="*/ 2147483647 h 42"/>
                  <a:gd name="T2" fmla="*/ 1728483304 w 79"/>
                  <a:gd name="T3" fmla="*/ 2147483647 h 42"/>
                  <a:gd name="T4" fmla="*/ 2147483647 w 79"/>
                  <a:gd name="T5" fmla="*/ 2147483647 h 42"/>
                  <a:gd name="T6" fmla="*/ 2147483647 w 79"/>
                  <a:gd name="T7" fmla="*/ 0 h 42"/>
                  <a:gd name="T8" fmla="*/ 2147483647 w 79"/>
                  <a:gd name="T9" fmla="*/ 0 h 42"/>
                  <a:gd name="T10" fmla="*/ 2147483647 w 79"/>
                  <a:gd name="T11" fmla="*/ 2147483647 h 42"/>
                  <a:gd name="T12" fmla="*/ 2147483647 w 79"/>
                  <a:gd name="T13" fmla="*/ 2147483647 h 42"/>
                  <a:gd name="T14" fmla="*/ 2147483647 w 79"/>
                  <a:gd name="T15" fmla="*/ 2147483647 h 42"/>
                  <a:gd name="T16" fmla="*/ 2147483647 w 79"/>
                  <a:gd name="T17" fmla="*/ 2147483647 h 42"/>
                  <a:gd name="T18" fmla="*/ 2147483647 w 79"/>
                  <a:gd name="T19" fmla="*/ 2147483647 h 42"/>
                  <a:gd name="T20" fmla="*/ 2147483647 w 79"/>
                  <a:gd name="T21" fmla="*/ 2147483647 h 42"/>
                  <a:gd name="T22" fmla="*/ 2147483647 w 79"/>
                  <a:gd name="T23" fmla="*/ 2147483647 h 42"/>
                  <a:gd name="T24" fmla="*/ 2147483647 w 79"/>
                  <a:gd name="T25" fmla="*/ 2147483647 h 42"/>
                  <a:gd name="T26" fmla="*/ 2147483647 w 79"/>
                  <a:gd name="T27" fmla="*/ 2147483647 h 42"/>
                  <a:gd name="T28" fmla="*/ 2147483647 w 79"/>
                  <a:gd name="T29" fmla="*/ 2147483647 h 42"/>
                  <a:gd name="T30" fmla="*/ 2147483647 w 79"/>
                  <a:gd name="T31" fmla="*/ 2147483647 h 42"/>
                  <a:gd name="T32" fmla="*/ 2147483647 w 79"/>
                  <a:gd name="T33" fmla="*/ 2147483647 h 42"/>
                  <a:gd name="T34" fmla="*/ 2147483647 w 79"/>
                  <a:gd name="T35" fmla="*/ 2147483647 h 42"/>
                  <a:gd name="T36" fmla="*/ 1878786200 w 79"/>
                  <a:gd name="T37" fmla="*/ 2147483647 h 42"/>
                  <a:gd name="T38" fmla="*/ 1202423168 w 79"/>
                  <a:gd name="T39" fmla="*/ 2147483647 h 42"/>
                  <a:gd name="T40" fmla="*/ 826665928 w 79"/>
                  <a:gd name="T41" fmla="*/ 2147483647 h 42"/>
                  <a:gd name="T42" fmla="*/ 375757240 w 79"/>
                  <a:gd name="T43" fmla="*/ 2147483647 h 42"/>
                  <a:gd name="T44" fmla="*/ 150302896 w 79"/>
                  <a:gd name="T45" fmla="*/ 2147483647 h 42"/>
                  <a:gd name="T46" fmla="*/ 0 w 79"/>
                  <a:gd name="T47" fmla="*/ 2147483647 h 42"/>
                  <a:gd name="T48" fmla="*/ 0 w 79"/>
                  <a:gd name="T49" fmla="*/ 2147483647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42">
                    <a:moveTo>
                      <a:pt x="0" y="6"/>
                    </a:moveTo>
                    <a:lnTo>
                      <a:pt x="23" y="2"/>
                    </a:lnTo>
                    <a:lnTo>
                      <a:pt x="41" y="1"/>
                    </a:lnTo>
                    <a:lnTo>
                      <a:pt x="60" y="0"/>
                    </a:lnTo>
                    <a:lnTo>
                      <a:pt x="79" y="0"/>
                    </a:lnTo>
                    <a:lnTo>
                      <a:pt x="79" y="9"/>
                    </a:lnTo>
                    <a:lnTo>
                      <a:pt x="79" y="18"/>
                    </a:lnTo>
                    <a:lnTo>
                      <a:pt x="79" y="22"/>
                    </a:lnTo>
                    <a:lnTo>
                      <a:pt x="75" y="27"/>
                    </a:lnTo>
                    <a:lnTo>
                      <a:pt x="72" y="31"/>
                    </a:lnTo>
                    <a:lnTo>
                      <a:pt x="68" y="35"/>
                    </a:lnTo>
                    <a:lnTo>
                      <a:pt x="62" y="38"/>
                    </a:lnTo>
                    <a:lnTo>
                      <a:pt x="57" y="40"/>
                    </a:lnTo>
                    <a:lnTo>
                      <a:pt x="51" y="42"/>
                    </a:lnTo>
                    <a:lnTo>
                      <a:pt x="46" y="42"/>
                    </a:lnTo>
                    <a:lnTo>
                      <a:pt x="40" y="42"/>
                    </a:lnTo>
                    <a:lnTo>
                      <a:pt x="35" y="41"/>
                    </a:lnTo>
                    <a:lnTo>
                      <a:pt x="29" y="39"/>
                    </a:lnTo>
                    <a:lnTo>
                      <a:pt x="25" y="37"/>
                    </a:lnTo>
                    <a:lnTo>
                      <a:pt x="16" y="32"/>
                    </a:lnTo>
                    <a:lnTo>
                      <a:pt x="11" y="26"/>
                    </a:lnTo>
                    <a:lnTo>
                      <a:pt x="5" y="20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3" name="Freeform 498"/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12331968" y="1898222"/>
                <a:ext cx="52387" cy="58738"/>
              </a:xfrm>
              <a:custGeom>
                <a:avLst/>
                <a:gdLst>
                  <a:gd name="T0" fmla="*/ 2147483647 w 113"/>
                  <a:gd name="T1" fmla="*/ 2147483647 h 52"/>
                  <a:gd name="T2" fmla="*/ 2147483647 w 113"/>
                  <a:gd name="T3" fmla="*/ 2147483647 h 52"/>
                  <a:gd name="T4" fmla="*/ 2147483647 w 113"/>
                  <a:gd name="T5" fmla="*/ 2147483647 h 52"/>
                  <a:gd name="T6" fmla="*/ 2147483647 w 113"/>
                  <a:gd name="T7" fmla="*/ 2147483647 h 52"/>
                  <a:gd name="T8" fmla="*/ 2147483647 w 113"/>
                  <a:gd name="T9" fmla="*/ 2147483647 h 52"/>
                  <a:gd name="T10" fmla="*/ 2147483647 w 113"/>
                  <a:gd name="T11" fmla="*/ 2147483647 h 52"/>
                  <a:gd name="T12" fmla="*/ 2147483647 w 113"/>
                  <a:gd name="T13" fmla="*/ 2147483647 h 52"/>
                  <a:gd name="T14" fmla="*/ 2147483647 w 113"/>
                  <a:gd name="T15" fmla="*/ 2147483647 h 52"/>
                  <a:gd name="T16" fmla="*/ 2147483647 w 113"/>
                  <a:gd name="T17" fmla="*/ 2147483647 h 52"/>
                  <a:gd name="T18" fmla="*/ 2147483647 w 113"/>
                  <a:gd name="T19" fmla="*/ 2147483647 h 52"/>
                  <a:gd name="T20" fmla="*/ 2147483647 w 113"/>
                  <a:gd name="T21" fmla="*/ 2147483647 h 52"/>
                  <a:gd name="T22" fmla="*/ 2147483647 w 113"/>
                  <a:gd name="T23" fmla="*/ 2147483647 h 52"/>
                  <a:gd name="T24" fmla="*/ 2092525466 w 113"/>
                  <a:gd name="T25" fmla="*/ 2147483647 h 52"/>
                  <a:gd name="T26" fmla="*/ 1295362686 w 113"/>
                  <a:gd name="T27" fmla="*/ 2147483647 h 52"/>
                  <a:gd name="T28" fmla="*/ 597925747 w 113"/>
                  <a:gd name="T29" fmla="*/ 2147483647 h 52"/>
                  <a:gd name="T30" fmla="*/ 398474066 w 113"/>
                  <a:gd name="T31" fmla="*/ 2147483647 h 52"/>
                  <a:gd name="T32" fmla="*/ 199237033 w 113"/>
                  <a:gd name="T33" fmla="*/ 2147483647 h 52"/>
                  <a:gd name="T34" fmla="*/ 99725840 w 113"/>
                  <a:gd name="T35" fmla="*/ 2147483647 h 52"/>
                  <a:gd name="T36" fmla="*/ 0 w 113"/>
                  <a:gd name="T37" fmla="*/ 2147483647 h 52"/>
                  <a:gd name="T38" fmla="*/ 99725840 w 113"/>
                  <a:gd name="T39" fmla="*/ 2147483647 h 52"/>
                  <a:gd name="T40" fmla="*/ 99725840 w 113"/>
                  <a:gd name="T41" fmla="*/ 2147483647 h 52"/>
                  <a:gd name="T42" fmla="*/ 298962873 w 113"/>
                  <a:gd name="T43" fmla="*/ 2147483647 h 52"/>
                  <a:gd name="T44" fmla="*/ 498199906 w 113"/>
                  <a:gd name="T45" fmla="*/ 2147483647 h 52"/>
                  <a:gd name="T46" fmla="*/ 697436939 w 113"/>
                  <a:gd name="T47" fmla="*/ 2147483647 h 52"/>
                  <a:gd name="T48" fmla="*/ 996399813 w 113"/>
                  <a:gd name="T49" fmla="*/ 2147483647 h 52"/>
                  <a:gd name="T50" fmla="*/ 1394873415 w 113"/>
                  <a:gd name="T51" fmla="*/ 1441816835 h 52"/>
                  <a:gd name="T52" fmla="*/ 1693836752 w 113"/>
                  <a:gd name="T53" fmla="*/ 0 h 52"/>
                  <a:gd name="T54" fmla="*/ 2147483647 w 113"/>
                  <a:gd name="T55" fmla="*/ 0 h 52"/>
                  <a:gd name="T56" fmla="*/ 2147483647 w 113"/>
                  <a:gd name="T57" fmla="*/ 2147483647 h 52"/>
                  <a:gd name="T58" fmla="*/ 2147483647 w 113"/>
                  <a:gd name="T59" fmla="*/ 2147483647 h 52"/>
                  <a:gd name="T60" fmla="*/ 2147483647 w 113"/>
                  <a:gd name="T61" fmla="*/ 2147483647 h 52"/>
                  <a:gd name="T62" fmla="*/ 2147483647 w 113"/>
                  <a:gd name="T63" fmla="*/ 2147483647 h 52"/>
                  <a:gd name="T64" fmla="*/ 2147483647 w 113"/>
                  <a:gd name="T65" fmla="*/ 2147483647 h 52"/>
                  <a:gd name="T66" fmla="*/ 2147483647 w 113"/>
                  <a:gd name="T67" fmla="*/ 2147483647 h 52"/>
                  <a:gd name="T68" fmla="*/ 2147483647 w 113"/>
                  <a:gd name="T69" fmla="*/ 2147483647 h 5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13" h="52">
                    <a:moveTo>
                      <a:pt x="113" y="39"/>
                    </a:moveTo>
                    <a:lnTo>
                      <a:pt x="112" y="42"/>
                    </a:lnTo>
                    <a:lnTo>
                      <a:pt x="109" y="45"/>
                    </a:lnTo>
                    <a:lnTo>
                      <a:pt x="106" y="47"/>
                    </a:lnTo>
                    <a:lnTo>
                      <a:pt x="103" y="49"/>
                    </a:lnTo>
                    <a:lnTo>
                      <a:pt x="94" y="51"/>
                    </a:lnTo>
                    <a:lnTo>
                      <a:pt x="85" y="52"/>
                    </a:lnTo>
                    <a:lnTo>
                      <a:pt x="66" y="52"/>
                    </a:lnTo>
                    <a:lnTo>
                      <a:pt x="53" y="51"/>
                    </a:lnTo>
                    <a:lnTo>
                      <a:pt x="47" y="51"/>
                    </a:lnTo>
                    <a:lnTo>
                      <a:pt x="39" y="48"/>
                    </a:lnTo>
                    <a:lnTo>
                      <a:pt x="30" y="45"/>
                    </a:lnTo>
                    <a:lnTo>
                      <a:pt x="21" y="41"/>
                    </a:lnTo>
                    <a:lnTo>
                      <a:pt x="13" y="36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6" y="5"/>
                    </a:lnTo>
                    <a:lnTo>
                      <a:pt x="57" y="9"/>
                    </a:lnTo>
                    <a:lnTo>
                      <a:pt x="77" y="18"/>
                    </a:lnTo>
                    <a:lnTo>
                      <a:pt x="95" y="29"/>
                    </a:lnTo>
                    <a:lnTo>
                      <a:pt x="108" y="36"/>
                    </a:lnTo>
                    <a:lnTo>
                      <a:pt x="113" y="3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4" name="Freeform 499"/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12103368" y="1871235"/>
                <a:ext cx="61912" cy="58737"/>
              </a:xfrm>
              <a:custGeom>
                <a:avLst/>
                <a:gdLst>
                  <a:gd name="T0" fmla="*/ 0 w 139"/>
                  <a:gd name="T1" fmla="*/ 2147483647 h 40"/>
                  <a:gd name="T2" fmla="*/ 706864003 w 139"/>
                  <a:gd name="T3" fmla="*/ 2147483647 h 40"/>
                  <a:gd name="T4" fmla="*/ 1678975493 w 139"/>
                  <a:gd name="T5" fmla="*/ 2147483647 h 40"/>
                  <a:gd name="T6" fmla="*/ 2147483647 w 139"/>
                  <a:gd name="T7" fmla="*/ 2147483647 h 40"/>
                  <a:gd name="T8" fmla="*/ 2147483647 w 139"/>
                  <a:gd name="T9" fmla="*/ 2147483647 h 40"/>
                  <a:gd name="T10" fmla="*/ 2147483647 w 139"/>
                  <a:gd name="T11" fmla="*/ 2147483647 h 40"/>
                  <a:gd name="T12" fmla="*/ 2147483647 w 139"/>
                  <a:gd name="T13" fmla="*/ 2147483647 h 40"/>
                  <a:gd name="T14" fmla="*/ 2147483647 w 139"/>
                  <a:gd name="T15" fmla="*/ 0 h 40"/>
                  <a:gd name="T16" fmla="*/ 2147483647 w 139"/>
                  <a:gd name="T17" fmla="*/ 2147483647 h 40"/>
                  <a:gd name="T18" fmla="*/ 2147483647 w 139"/>
                  <a:gd name="T19" fmla="*/ 2147483647 h 40"/>
                  <a:gd name="T20" fmla="*/ 2147483647 w 139"/>
                  <a:gd name="T21" fmla="*/ 2147483647 h 40"/>
                  <a:gd name="T22" fmla="*/ 2147483647 w 139"/>
                  <a:gd name="T23" fmla="*/ 2147483647 h 40"/>
                  <a:gd name="T24" fmla="*/ 2147483647 w 139"/>
                  <a:gd name="T25" fmla="*/ 2147483647 h 40"/>
                  <a:gd name="T26" fmla="*/ 2147483647 w 139"/>
                  <a:gd name="T27" fmla="*/ 2147483647 h 40"/>
                  <a:gd name="T28" fmla="*/ 2147483647 w 139"/>
                  <a:gd name="T29" fmla="*/ 2147483647 h 40"/>
                  <a:gd name="T30" fmla="*/ 2147483647 w 139"/>
                  <a:gd name="T31" fmla="*/ 2147483647 h 40"/>
                  <a:gd name="T32" fmla="*/ 2147483647 w 139"/>
                  <a:gd name="T33" fmla="*/ 2147483647 h 40"/>
                  <a:gd name="T34" fmla="*/ 2147483647 w 139"/>
                  <a:gd name="T35" fmla="*/ 2147483647 h 40"/>
                  <a:gd name="T36" fmla="*/ 1502210052 w 139"/>
                  <a:gd name="T37" fmla="*/ 2147483647 h 40"/>
                  <a:gd name="T38" fmla="*/ 972111491 w 139"/>
                  <a:gd name="T39" fmla="*/ 2147483647 h 40"/>
                  <a:gd name="T40" fmla="*/ 353531328 w 139"/>
                  <a:gd name="T41" fmla="*/ 2147483647 h 40"/>
                  <a:gd name="T42" fmla="*/ 0 w 139"/>
                  <a:gd name="T43" fmla="*/ 2147483647 h 4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39" h="40">
                    <a:moveTo>
                      <a:pt x="0" y="8"/>
                    </a:moveTo>
                    <a:lnTo>
                      <a:pt x="8" y="9"/>
                    </a:lnTo>
                    <a:lnTo>
                      <a:pt x="19" y="8"/>
                    </a:lnTo>
                    <a:lnTo>
                      <a:pt x="30" y="7"/>
                    </a:lnTo>
                    <a:lnTo>
                      <a:pt x="42" y="5"/>
                    </a:lnTo>
                    <a:lnTo>
                      <a:pt x="53" y="2"/>
                    </a:lnTo>
                    <a:lnTo>
                      <a:pt x="64" y="1"/>
                    </a:lnTo>
                    <a:lnTo>
                      <a:pt x="73" y="0"/>
                    </a:lnTo>
                    <a:lnTo>
                      <a:pt x="80" y="2"/>
                    </a:lnTo>
                    <a:lnTo>
                      <a:pt x="139" y="39"/>
                    </a:lnTo>
                    <a:lnTo>
                      <a:pt x="133" y="40"/>
                    </a:lnTo>
                    <a:lnTo>
                      <a:pt x="125" y="39"/>
                    </a:lnTo>
                    <a:lnTo>
                      <a:pt x="116" y="38"/>
                    </a:lnTo>
                    <a:lnTo>
                      <a:pt x="106" y="36"/>
                    </a:lnTo>
                    <a:lnTo>
                      <a:pt x="86" y="30"/>
                    </a:lnTo>
                    <a:lnTo>
                      <a:pt x="64" y="24"/>
                    </a:lnTo>
                    <a:lnTo>
                      <a:pt x="44" y="16"/>
                    </a:lnTo>
                    <a:lnTo>
                      <a:pt x="26" y="11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5" name="Freeform 500"/>
              <p:cNvSpPr>
                <a:spLocks/>
              </p:cNvSpPr>
              <p:nvPr>
                <p:custDataLst>
                  <p:tags r:id="rId261"/>
                </p:custDataLst>
              </p:nvPr>
            </p:nvSpPr>
            <p:spPr bwMode="auto">
              <a:xfrm>
                <a:off x="12403405" y="1812497"/>
                <a:ext cx="139700" cy="57150"/>
              </a:xfrm>
              <a:custGeom>
                <a:avLst/>
                <a:gdLst>
                  <a:gd name="T0" fmla="*/ 794131742 w 325"/>
                  <a:gd name="T1" fmla="*/ 2147483647 h 71"/>
                  <a:gd name="T2" fmla="*/ 2147483647 w 325"/>
                  <a:gd name="T3" fmla="*/ 521568608 h 71"/>
                  <a:gd name="T4" fmla="*/ 2147483647 w 325"/>
                  <a:gd name="T5" fmla="*/ 0 h 71"/>
                  <a:gd name="T6" fmla="*/ 2147483647 w 325"/>
                  <a:gd name="T7" fmla="*/ 2086275239 h 71"/>
                  <a:gd name="T8" fmla="*/ 2147483647 w 325"/>
                  <a:gd name="T9" fmla="*/ 2147483647 h 71"/>
                  <a:gd name="T10" fmla="*/ 2147483647 w 325"/>
                  <a:gd name="T11" fmla="*/ 2147483647 h 71"/>
                  <a:gd name="T12" fmla="*/ 2147483647 w 325"/>
                  <a:gd name="T13" fmla="*/ 2147483647 h 71"/>
                  <a:gd name="T14" fmla="*/ 2147483647 w 325"/>
                  <a:gd name="T15" fmla="*/ 2147483647 h 71"/>
                  <a:gd name="T16" fmla="*/ 2147483647 w 325"/>
                  <a:gd name="T17" fmla="*/ 2147483647 h 71"/>
                  <a:gd name="T18" fmla="*/ 2147483647 w 325"/>
                  <a:gd name="T19" fmla="*/ 2147483647 h 71"/>
                  <a:gd name="T20" fmla="*/ 2147483647 w 325"/>
                  <a:gd name="T21" fmla="*/ 2147483647 h 71"/>
                  <a:gd name="T22" fmla="*/ 2147483647 w 325"/>
                  <a:gd name="T23" fmla="*/ 2147483647 h 71"/>
                  <a:gd name="T24" fmla="*/ 2147483647 w 325"/>
                  <a:gd name="T25" fmla="*/ 2147483647 h 71"/>
                  <a:gd name="T26" fmla="*/ 2147483647 w 325"/>
                  <a:gd name="T27" fmla="*/ 2147483647 h 71"/>
                  <a:gd name="T28" fmla="*/ 2147483647 w 325"/>
                  <a:gd name="T29" fmla="*/ 2147483647 h 71"/>
                  <a:gd name="T30" fmla="*/ 2147483647 w 325"/>
                  <a:gd name="T31" fmla="*/ 2147483647 h 71"/>
                  <a:gd name="T32" fmla="*/ 2147483647 w 325"/>
                  <a:gd name="T33" fmla="*/ 2147483647 h 71"/>
                  <a:gd name="T34" fmla="*/ 2147483647 w 325"/>
                  <a:gd name="T35" fmla="*/ 2147483647 h 71"/>
                  <a:gd name="T36" fmla="*/ 2147483647 w 325"/>
                  <a:gd name="T37" fmla="*/ 2147483647 h 71"/>
                  <a:gd name="T38" fmla="*/ 2147483647 w 325"/>
                  <a:gd name="T39" fmla="*/ 2147483647 h 71"/>
                  <a:gd name="T40" fmla="*/ 2147483647 w 325"/>
                  <a:gd name="T41" fmla="*/ 2147483647 h 71"/>
                  <a:gd name="T42" fmla="*/ 2147483647 w 325"/>
                  <a:gd name="T43" fmla="*/ 2147483647 h 71"/>
                  <a:gd name="T44" fmla="*/ 2147483647 w 325"/>
                  <a:gd name="T45" fmla="*/ 2147483647 h 71"/>
                  <a:gd name="T46" fmla="*/ 2147483647 w 325"/>
                  <a:gd name="T47" fmla="*/ 2147483647 h 71"/>
                  <a:gd name="T48" fmla="*/ 2147483647 w 325"/>
                  <a:gd name="T49" fmla="*/ 2147483647 h 71"/>
                  <a:gd name="T50" fmla="*/ 2147483647 w 325"/>
                  <a:gd name="T51" fmla="*/ 2147483647 h 71"/>
                  <a:gd name="T52" fmla="*/ 2147483647 w 325"/>
                  <a:gd name="T53" fmla="*/ 2147483647 h 71"/>
                  <a:gd name="T54" fmla="*/ 2147483647 w 325"/>
                  <a:gd name="T55" fmla="*/ 2147483647 h 71"/>
                  <a:gd name="T56" fmla="*/ 1985513975 w 325"/>
                  <a:gd name="T57" fmla="*/ 2147483647 h 71"/>
                  <a:gd name="T58" fmla="*/ 1270832417 w 325"/>
                  <a:gd name="T59" fmla="*/ 2147483647 h 71"/>
                  <a:gd name="T60" fmla="*/ 476515840 w 325"/>
                  <a:gd name="T61" fmla="*/ 2147483647 h 71"/>
                  <a:gd name="T62" fmla="*/ 0 w 325"/>
                  <a:gd name="T63" fmla="*/ 2147483647 h 7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325" h="71">
                    <a:moveTo>
                      <a:pt x="0" y="12"/>
                    </a:moveTo>
                    <a:lnTo>
                      <a:pt x="10" y="7"/>
                    </a:lnTo>
                    <a:lnTo>
                      <a:pt x="20" y="3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53" y="0"/>
                    </a:lnTo>
                    <a:lnTo>
                      <a:pt x="62" y="2"/>
                    </a:lnTo>
                    <a:lnTo>
                      <a:pt x="73" y="4"/>
                    </a:lnTo>
                    <a:lnTo>
                      <a:pt x="83" y="6"/>
                    </a:lnTo>
                    <a:lnTo>
                      <a:pt x="92" y="10"/>
                    </a:lnTo>
                    <a:lnTo>
                      <a:pt x="101" y="14"/>
                    </a:lnTo>
                    <a:lnTo>
                      <a:pt x="110" y="18"/>
                    </a:lnTo>
                    <a:lnTo>
                      <a:pt x="116" y="23"/>
                    </a:lnTo>
                    <a:lnTo>
                      <a:pt x="122" y="29"/>
                    </a:lnTo>
                    <a:lnTo>
                      <a:pt x="127" y="33"/>
                    </a:lnTo>
                    <a:lnTo>
                      <a:pt x="130" y="38"/>
                    </a:lnTo>
                    <a:lnTo>
                      <a:pt x="133" y="43"/>
                    </a:lnTo>
                    <a:lnTo>
                      <a:pt x="136" y="34"/>
                    </a:lnTo>
                    <a:lnTo>
                      <a:pt x="138" y="25"/>
                    </a:lnTo>
                    <a:lnTo>
                      <a:pt x="139" y="15"/>
                    </a:lnTo>
                    <a:lnTo>
                      <a:pt x="139" y="6"/>
                    </a:lnTo>
                    <a:lnTo>
                      <a:pt x="161" y="7"/>
                    </a:lnTo>
                    <a:lnTo>
                      <a:pt x="188" y="9"/>
                    </a:lnTo>
                    <a:lnTo>
                      <a:pt x="216" y="13"/>
                    </a:lnTo>
                    <a:lnTo>
                      <a:pt x="245" y="19"/>
                    </a:lnTo>
                    <a:lnTo>
                      <a:pt x="258" y="23"/>
                    </a:lnTo>
                    <a:lnTo>
                      <a:pt x="271" y="28"/>
                    </a:lnTo>
                    <a:lnTo>
                      <a:pt x="283" y="32"/>
                    </a:lnTo>
                    <a:lnTo>
                      <a:pt x="295" y="37"/>
                    </a:lnTo>
                    <a:lnTo>
                      <a:pt x="305" y="43"/>
                    </a:lnTo>
                    <a:lnTo>
                      <a:pt x="314" y="48"/>
                    </a:lnTo>
                    <a:lnTo>
                      <a:pt x="320" y="55"/>
                    </a:lnTo>
                    <a:lnTo>
                      <a:pt x="325" y="61"/>
                    </a:lnTo>
                    <a:lnTo>
                      <a:pt x="316" y="64"/>
                    </a:lnTo>
                    <a:lnTo>
                      <a:pt x="305" y="67"/>
                    </a:lnTo>
                    <a:lnTo>
                      <a:pt x="294" y="68"/>
                    </a:lnTo>
                    <a:lnTo>
                      <a:pt x="283" y="70"/>
                    </a:lnTo>
                    <a:lnTo>
                      <a:pt x="259" y="71"/>
                    </a:lnTo>
                    <a:lnTo>
                      <a:pt x="234" y="71"/>
                    </a:lnTo>
                    <a:lnTo>
                      <a:pt x="210" y="70"/>
                    </a:lnTo>
                    <a:lnTo>
                      <a:pt x="186" y="69"/>
                    </a:lnTo>
                    <a:lnTo>
                      <a:pt x="167" y="68"/>
                    </a:lnTo>
                    <a:lnTo>
                      <a:pt x="152" y="67"/>
                    </a:lnTo>
                    <a:lnTo>
                      <a:pt x="133" y="69"/>
                    </a:lnTo>
                    <a:lnTo>
                      <a:pt x="104" y="71"/>
                    </a:lnTo>
                    <a:lnTo>
                      <a:pt x="90" y="71"/>
                    </a:lnTo>
                    <a:lnTo>
                      <a:pt x="78" y="70"/>
                    </a:lnTo>
                    <a:lnTo>
                      <a:pt x="72" y="68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1"/>
                    </a:lnTo>
                    <a:lnTo>
                      <a:pt x="58" y="61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2" y="57"/>
                    </a:lnTo>
                    <a:lnTo>
                      <a:pt x="35" y="53"/>
                    </a:lnTo>
                    <a:lnTo>
                      <a:pt x="31" y="49"/>
                    </a:lnTo>
                    <a:lnTo>
                      <a:pt x="25" y="45"/>
                    </a:lnTo>
                    <a:lnTo>
                      <a:pt x="20" y="41"/>
                    </a:lnTo>
                    <a:lnTo>
                      <a:pt x="16" y="39"/>
                    </a:lnTo>
                    <a:lnTo>
                      <a:pt x="12" y="38"/>
                    </a:lnTo>
                    <a:lnTo>
                      <a:pt x="6" y="37"/>
                    </a:lnTo>
                    <a:lnTo>
                      <a:pt x="0" y="37"/>
                    </a:lnTo>
                    <a:lnTo>
                      <a:pt x="0" y="22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6" name="Freeform 501"/>
              <p:cNvSpPr>
                <a:spLocks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12563743" y="1820435"/>
                <a:ext cx="95250" cy="57150"/>
              </a:xfrm>
              <a:custGeom>
                <a:avLst/>
                <a:gdLst>
                  <a:gd name="T0" fmla="*/ 2147483647 w 220"/>
                  <a:gd name="T1" fmla="*/ 2147483647 h 72"/>
                  <a:gd name="T2" fmla="*/ 2147483647 w 220"/>
                  <a:gd name="T3" fmla="*/ 2147483647 h 72"/>
                  <a:gd name="T4" fmla="*/ 2147483647 w 220"/>
                  <a:gd name="T5" fmla="*/ 2147483647 h 72"/>
                  <a:gd name="T6" fmla="*/ 2147483647 w 220"/>
                  <a:gd name="T7" fmla="*/ 2147483647 h 72"/>
                  <a:gd name="T8" fmla="*/ 2147483647 w 220"/>
                  <a:gd name="T9" fmla="*/ 2147483647 h 72"/>
                  <a:gd name="T10" fmla="*/ 2147483647 w 220"/>
                  <a:gd name="T11" fmla="*/ 2147483647 h 72"/>
                  <a:gd name="T12" fmla="*/ 2147483647 w 220"/>
                  <a:gd name="T13" fmla="*/ 2147483647 h 72"/>
                  <a:gd name="T14" fmla="*/ 2147483647 w 220"/>
                  <a:gd name="T15" fmla="*/ 2147483647 h 72"/>
                  <a:gd name="T16" fmla="*/ 2147483647 w 220"/>
                  <a:gd name="T17" fmla="*/ 2147483647 h 72"/>
                  <a:gd name="T18" fmla="*/ 2147483647 w 220"/>
                  <a:gd name="T19" fmla="*/ 2147483647 h 72"/>
                  <a:gd name="T20" fmla="*/ 2147483647 w 220"/>
                  <a:gd name="T21" fmla="*/ 2147483647 h 72"/>
                  <a:gd name="T22" fmla="*/ 2147483647 w 220"/>
                  <a:gd name="T23" fmla="*/ 2147483647 h 72"/>
                  <a:gd name="T24" fmla="*/ 2147483647 w 220"/>
                  <a:gd name="T25" fmla="*/ 2147483647 h 72"/>
                  <a:gd name="T26" fmla="*/ 2147483647 w 220"/>
                  <a:gd name="T27" fmla="*/ 2147483647 h 72"/>
                  <a:gd name="T28" fmla="*/ 2147483647 w 220"/>
                  <a:gd name="T29" fmla="*/ 0 h 72"/>
                  <a:gd name="T30" fmla="*/ 2147483647 w 220"/>
                  <a:gd name="T31" fmla="*/ 2147483647 h 72"/>
                  <a:gd name="T32" fmla="*/ 2147483647 w 220"/>
                  <a:gd name="T33" fmla="*/ 2147483647 h 72"/>
                  <a:gd name="T34" fmla="*/ 2147483647 w 220"/>
                  <a:gd name="T35" fmla="*/ 2147483647 h 72"/>
                  <a:gd name="T36" fmla="*/ 2147483647 w 220"/>
                  <a:gd name="T37" fmla="*/ 2147483647 h 72"/>
                  <a:gd name="T38" fmla="*/ 2147483647 w 220"/>
                  <a:gd name="T39" fmla="*/ 2147483647 h 72"/>
                  <a:gd name="T40" fmla="*/ 2147483647 w 220"/>
                  <a:gd name="T41" fmla="*/ 2147483647 h 72"/>
                  <a:gd name="T42" fmla="*/ 2147483647 w 220"/>
                  <a:gd name="T43" fmla="*/ 2147483647 h 72"/>
                  <a:gd name="T44" fmla="*/ 2147483647 w 220"/>
                  <a:gd name="T45" fmla="*/ 2147483647 h 72"/>
                  <a:gd name="T46" fmla="*/ 2147483647 w 220"/>
                  <a:gd name="T47" fmla="*/ 2147483647 h 72"/>
                  <a:gd name="T48" fmla="*/ 2147483647 w 220"/>
                  <a:gd name="T49" fmla="*/ 2147483647 h 72"/>
                  <a:gd name="T50" fmla="*/ 2147483647 w 220"/>
                  <a:gd name="T51" fmla="*/ 2147483647 h 72"/>
                  <a:gd name="T52" fmla="*/ 2147483647 w 220"/>
                  <a:gd name="T53" fmla="*/ 2147483647 h 72"/>
                  <a:gd name="T54" fmla="*/ 2147483647 w 220"/>
                  <a:gd name="T55" fmla="*/ 2147483647 h 72"/>
                  <a:gd name="T56" fmla="*/ 2147483647 w 220"/>
                  <a:gd name="T57" fmla="*/ 2147483647 h 72"/>
                  <a:gd name="T58" fmla="*/ 2147483647 w 220"/>
                  <a:gd name="T59" fmla="*/ 2147483647 h 72"/>
                  <a:gd name="T60" fmla="*/ 2147483647 w 220"/>
                  <a:gd name="T61" fmla="*/ 2147483647 h 72"/>
                  <a:gd name="T62" fmla="*/ 2147483647 w 220"/>
                  <a:gd name="T63" fmla="*/ 2147483647 h 72"/>
                  <a:gd name="T64" fmla="*/ 2147483647 w 220"/>
                  <a:gd name="T65" fmla="*/ 2147483647 h 72"/>
                  <a:gd name="T66" fmla="*/ 2147483647 w 220"/>
                  <a:gd name="T67" fmla="*/ 2147483647 h 72"/>
                  <a:gd name="T68" fmla="*/ 2147483647 w 220"/>
                  <a:gd name="T69" fmla="*/ 2147483647 h 72"/>
                  <a:gd name="T70" fmla="*/ 2147483647 w 220"/>
                  <a:gd name="T71" fmla="*/ 2147483647 h 72"/>
                  <a:gd name="T72" fmla="*/ 2147483647 w 220"/>
                  <a:gd name="T73" fmla="*/ 2147483647 h 72"/>
                  <a:gd name="T74" fmla="*/ 2147483647 w 220"/>
                  <a:gd name="T75" fmla="*/ 2147483647 h 72"/>
                  <a:gd name="T76" fmla="*/ 2147483647 w 220"/>
                  <a:gd name="T77" fmla="*/ 2147483647 h 72"/>
                  <a:gd name="T78" fmla="*/ 2147483647 w 220"/>
                  <a:gd name="T79" fmla="*/ 2147483647 h 72"/>
                  <a:gd name="T80" fmla="*/ 2147483647 w 220"/>
                  <a:gd name="T81" fmla="*/ 2147483647 h 72"/>
                  <a:gd name="T82" fmla="*/ 2147483647 w 220"/>
                  <a:gd name="T83" fmla="*/ 2147483647 h 72"/>
                  <a:gd name="T84" fmla="*/ 2147483647 w 220"/>
                  <a:gd name="T85" fmla="*/ 2147483647 h 72"/>
                  <a:gd name="T86" fmla="*/ 2147483647 w 220"/>
                  <a:gd name="T87" fmla="*/ 2147483647 h 72"/>
                  <a:gd name="T88" fmla="*/ 1785457786 w 220"/>
                  <a:gd name="T89" fmla="*/ 2147483647 h 72"/>
                  <a:gd name="T90" fmla="*/ 1460795131 w 220"/>
                  <a:gd name="T91" fmla="*/ 2147483647 h 72"/>
                  <a:gd name="T92" fmla="*/ 1054966486 w 220"/>
                  <a:gd name="T93" fmla="*/ 2147483647 h 72"/>
                  <a:gd name="T94" fmla="*/ 730491300 w 220"/>
                  <a:gd name="T95" fmla="*/ 2147483647 h 72"/>
                  <a:gd name="T96" fmla="*/ 568159756 w 220"/>
                  <a:gd name="T97" fmla="*/ 2147483647 h 72"/>
                  <a:gd name="T98" fmla="*/ 243497100 w 220"/>
                  <a:gd name="T99" fmla="*/ 2147483647 h 72"/>
                  <a:gd name="T100" fmla="*/ 162331544 w 220"/>
                  <a:gd name="T101" fmla="*/ 2147483647 h 72"/>
                  <a:gd name="T102" fmla="*/ 81165556 w 220"/>
                  <a:gd name="T103" fmla="*/ 2147483647 h 72"/>
                  <a:gd name="T104" fmla="*/ 0 w 220"/>
                  <a:gd name="T105" fmla="*/ 2147483647 h 72"/>
                  <a:gd name="T106" fmla="*/ 1866623342 w 220"/>
                  <a:gd name="T107" fmla="*/ 2147483647 h 72"/>
                  <a:gd name="T108" fmla="*/ 2147483647 w 220"/>
                  <a:gd name="T109" fmla="*/ 2147483647 h 72"/>
                  <a:gd name="T110" fmla="*/ 2147483647 w 220"/>
                  <a:gd name="T111" fmla="*/ 2147483647 h 72"/>
                  <a:gd name="T112" fmla="*/ 2147483647 w 220"/>
                  <a:gd name="T113" fmla="*/ 2147483647 h 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20" h="72">
                    <a:moveTo>
                      <a:pt x="87" y="25"/>
                    </a:moveTo>
                    <a:lnTo>
                      <a:pt x="92" y="26"/>
                    </a:lnTo>
                    <a:lnTo>
                      <a:pt x="98" y="27"/>
                    </a:lnTo>
                    <a:lnTo>
                      <a:pt x="101" y="28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13" y="25"/>
                    </a:lnTo>
                    <a:lnTo>
                      <a:pt x="114" y="26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2"/>
                    </a:lnTo>
                    <a:lnTo>
                      <a:pt x="120" y="17"/>
                    </a:lnTo>
                    <a:lnTo>
                      <a:pt x="120" y="7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31" y="10"/>
                    </a:lnTo>
                    <a:lnTo>
                      <a:pt x="137" y="15"/>
                    </a:lnTo>
                    <a:lnTo>
                      <a:pt x="143" y="19"/>
                    </a:lnTo>
                    <a:lnTo>
                      <a:pt x="156" y="25"/>
                    </a:lnTo>
                    <a:lnTo>
                      <a:pt x="170" y="30"/>
                    </a:lnTo>
                    <a:lnTo>
                      <a:pt x="183" y="35"/>
                    </a:lnTo>
                    <a:lnTo>
                      <a:pt x="196" y="41"/>
                    </a:lnTo>
                    <a:lnTo>
                      <a:pt x="203" y="44"/>
                    </a:lnTo>
                    <a:lnTo>
                      <a:pt x="209" y="47"/>
                    </a:lnTo>
                    <a:lnTo>
                      <a:pt x="214" y="51"/>
                    </a:lnTo>
                    <a:lnTo>
                      <a:pt x="220" y="55"/>
                    </a:lnTo>
                    <a:lnTo>
                      <a:pt x="206" y="56"/>
                    </a:lnTo>
                    <a:lnTo>
                      <a:pt x="194" y="57"/>
                    </a:lnTo>
                    <a:lnTo>
                      <a:pt x="182" y="58"/>
                    </a:lnTo>
                    <a:lnTo>
                      <a:pt x="171" y="60"/>
                    </a:lnTo>
                    <a:lnTo>
                      <a:pt x="151" y="65"/>
                    </a:lnTo>
                    <a:lnTo>
                      <a:pt x="134" y="70"/>
                    </a:lnTo>
                    <a:lnTo>
                      <a:pt x="126" y="71"/>
                    </a:lnTo>
                    <a:lnTo>
                      <a:pt x="117" y="72"/>
                    </a:lnTo>
                    <a:lnTo>
                      <a:pt x="110" y="72"/>
                    </a:lnTo>
                    <a:lnTo>
                      <a:pt x="103" y="72"/>
                    </a:lnTo>
                    <a:lnTo>
                      <a:pt x="95" y="70"/>
                    </a:lnTo>
                    <a:lnTo>
                      <a:pt x="88" y="66"/>
                    </a:lnTo>
                    <a:lnTo>
                      <a:pt x="81" y="61"/>
                    </a:lnTo>
                    <a:lnTo>
                      <a:pt x="74" y="55"/>
                    </a:lnTo>
                    <a:lnTo>
                      <a:pt x="59" y="53"/>
                    </a:lnTo>
                    <a:lnTo>
                      <a:pt x="45" y="50"/>
                    </a:lnTo>
                    <a:lnTo>
                      <a:pt x="33" y="47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3" y="38"/>
                    </a:lnTo>
                    <a:lnTo>
                      <a:pt x="9" y="35"/>
                    </a:lnTo>
                    <a:lnTo>
                      <a:pt x="7" y="31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23" y="17"/>
                    </a:lnTo>
                    <a:lnTo>
                      <a:pt x="44" y="21"/>
                    </a:lnTo>
                    <a:lnTo>
                      <a:pt x="64" y="24"/>
                    </a:lnTo>
                    <a:lnTo>
                      <a:pt x="87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7" name="Freeform 502"/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12524055" y="1868060"/>
                <a:ext cx="63500" cy="58737"/>
              </a:xfrm>
              <a:custGeom>
                <a:avLst/>
                <a:gdLst>
                  <a:gd name="T0" fmla="*/ 2147483647 w 146"/>
                  <a:gd name="T1" fmla="*/ 2147483647 h 30"/>
                  <a:gd name="T2" fmla="*/ 2147483647 w 146"/>
                  <a:gd name="T3" fmla="*/ 2147483647 h 30"/>
                  <a:gd name="T4" fmla="*/ 2147483647 w 146"/>
                  <a:gd name="T5" fmla="*/ 2147483647 h 30"/>
                  <a:gd name="T6" fmla="*/ 2147483647 w 146"/>
                  <a:gd name="T7" fmla="*/ 2147483647 h 30"/>
                  <a:gd name="T8" fmla="*/ 2147483647 w 146"/>
                  <a:gd name="T9" fmla="*/ 2147483647 h 30"/>
                  <a:gd name="T10" fmla="*/ 2147483647 w 146"/>
                  <a:gd name="T11" fmla="*/ 2147483647 h 30"/>
                  <a:gd name="T12" fmla="*/ 2147483647 w 146"/>
                  <a:gd name="T13" fmla="*/ 2147483647 h 30"/>
                  <a:gd name="T14" fmla="*/ 2147483647 w 146"/>
                  <a:gd name="T15" fmla="*/ 2147483647 h 30"/>
                  <a:gd name="T16" fmla="*/ 2147483647 w 146"/>
                  <a:gd name="T17" fmla="*/ 2147483647 h 30"/>
                  <a:gd name="T18" fmla="*/ 2147483647 w 146"/>
                  <a:gd name="T19" fmla="*/ 2147483647 h 30"/>
                  <a:gd name="T20" fmla="*/ 2147483647 w 146"/>
                  <a:gd name="T21" fmla="*/ 2147483647 h 30"/>
                  <a:gd name="T22" fmla="*/ 2147483647 w 146"/>
                  <a:gd name="T23" fmla="*/ 2147483647 h 30"/>
                  <a:gd name="T24" fmla="*/ 2147483647 w 146"/>
                  <a:gd name="T25" fmla="*/ 2147483647 h 30"/>
                  <a:gd name="T26" fmla="*/ 2147483647 w 146"/>
                  <a:gd name="T27" fmla="*/ 2147483647 h 30"/>
                  <a:gd name="T28" fmla="*/ 2147483647 w 146"/>
                  <a:gd name="T29" fmla="*/ 2147483647 h 30"/>
                  <a:gd name="T30" fmla="*/ 2147483647 w 146"/>
                  <a:gd name="T31" fmla="*/ 2147483647 h 30"/>
                  <a:gd name="T32" fmla="*/ 2147483647 w 146"/>
                  <a:gd name="T33" fmla="*/ 2147483647 h 30"/>
                  <a:gd name="T34" fmla="*/ 1563263007 w 146"/>
                  <a:gd name="T35" fmla="*/ 0 h 30"/>
                  <a:gd name="T36" fmla="*/ 1151828240 w 146"/>
                  <a:gd name="T37" fmla="*/ 2147483647 h 30"/>
                  <a:gd name="T38" fmla="*/ 822680339 w 146"/>
                  <a:gd name="T39" fmla="*/ 2147483647 h 30"/>
                  <a:gd name="T40" fmla="*/ 329147901 w 146"/>
                  <a:gd name="T41" fmla="*/ 2147483647 h 30"/>
                  <a:gd name="T42" fmla="*/ 0 w 146"/>
                  <a:gd name="T43" fmla="*/ 2147483647 h 30"/>
                  <a:gd name="T44" fmla="*/ 2147483647 w 146"/>
                  <a:gd name="T45" fmla="*/ 2147483647 h 30"/>
                  <a:gd name="T46" fmla="*/ 2147483647 w 146"/>
                  <a:gd name="T47" fmla="*/ 2147483647 h 30"/>
                  <a:gd name="T48" fmla="*/ 2147483647 w 146"/>
                  <a:gd name="T49" fmla="*/ 2147483647 h 30"/>
                  <a:gd name="T50" fmla="*/ 2147483647 w 146"/>
                  <a:gd name="T51" fmla="*/ 2147483647 h 30"/>
                  <a:gd name="T52" fmla="*/ 2147483647 w 146"/>
                  <a:gd name="T53" fmla="*/ 2147483647 h 30"/>
                  <a:gd name="T54" fmla="*/ 2147483647 w 146"/>
                  <a:gd name="T55" fmla="*/ 2147483647 h 30"/>
                  <a:gd name="T56" fmla="*/ 2147483647 w 146"/>
                  <a:gd name="T57" fmla="*/ 2147483647 h 30"/>
                  <a:gd name="T58" fmla="*/ 2147483647 w 146"/>
                  <a:gd name="T59" fmla="*/ 2147483647 h 30"/>
                  <a:gd name="T60" fmla="*/ 2147483647 w 146"/>
                  <a:gd name="T61" fmla="*/ 2147483647 h 30"/>
                  <a:gd name="T62" fmla="*/ 2147483647 w 146"/>
                  <a:gd name="T63" fmla="*/ 2147483647 h 3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46" h="30">
                    <a:moveTo>
                      <a:pt x="146" y="25"/>
                    </a:moveTo>
                    <a:lnTo>
                      <a:pt x="140" y="16"/>
                    </a:lnTo>
                    <a:lnTo>
                      <a:pt x="137" y="9"/>
                    </a:lnTo>
                    <a:lnTo>
                      <a:pt x="133" y="4"/>
                    </a:lnTo>
                    <a:lnTo>
                      <a:pt x="128" y="1"/>
                    </a:lnTo>
                    <a:lnTo>
                      <a:pt x="126" y="1"/>
                    </a:lnTo>
                    <a:lnTo>
                      <a:pt x="124" y="1"/>
                    </a:lnTo>
                    <a:lnTo>
                      <a:pt x="120" y="2"/>
                    </a:lnTo>
                    <a:lnTo>
                      <a:pt x="118" y="3"/>
                    </a:lnTo>
                    <a:lnTo>
                      <a:pt x="113" y="9"/>
                    </a:lnTo>
                    <a:lnTo>
                      <a:pt x="105" y="19"/>
                    </a:lnTo>
                    <a:lnTo>
                      <a:pt x="72" y="19"/>
                    </a:lnTo>
                    <a:lnTo>
                      <a:pt x="63" y="18"/>
                    </a:lnTo>
                    <a:lnTo>
                      <a:pt x="55" y="17"/>
                    </a:lnTo>
                    <a:lnTo>
                      <a:pt x="47" y="14"/>
                    </a:lnTo>
                    <a:lnTo>
                      <a:pt x="40" y="12"/>
                    </a:lnTo>
                    <a:lnTo>
                      <a:pt x="29" y="6"/>
                    </a:lnTo>
                    <a:lnTo>
                      <a:pt x="19" y="0"/>
                    </a:lnTo>
                    <a:lnTo>
                      <a:pt x="14" y="9"/>
                    </a:lnTo>
                    <a:lnTo>
                      <a:pt x="10" y="15"/>
                    </a:lnTo>
                    <a:lnTo>
                      <a:pt x="4" y="20"/>
                    </a:lnTo>
                    <a:lnTo>
                      <a:pt x="0" y="25"/>
                    </a:lnTo>
                    <a:lnTo>
                      <a:pt x="33" y="25"/>
                    </a:lnTo>
                    <a:lnTo>
                      <a:pt x="57" y="25"/>
                    </a:lnTo>
                    <a:lnTo>
                      <a:pt x="77" y="25"/>
                    </a:lnTo>
                    <a:lnTo>
                      <a:pt x="99" y="25"/>
                    </a:lnTo>
                    <a:lnTo>
                      <a:pt x="110" y="26"/>
                    </a:lnTo>
                    <a:lnTo>
                      <a:pt x="123" y="29"/>
                    </a:lnTo>
                    <a:lnTo>
                      <a:pt x="128" y="30"/>
                    </a:lnTo>
                    <a:lnTo>
                      <a:pt x="135" y="30"/>
                    </a:lnTo>
                    <a:lnTo>
                      <a:pt x="140" y="28"/>
                    </a:lnTo>
                    <a:lnTo>
                      <a:pt x="146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8" name="Freeform 503"/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12503418" y="1864885"/>
                <a:ext cx="20637" cy="58737"/>
              </a:xfrm>
              <a:custGeom>
                <a:avLst/>
                <a:gdLst>
                  <a:gd name="T0" fmla="*/ 0 w 53"/>
                  <a:gd name="T1" fmla="*/ 2147483647 h 9"/>
                  <a:gd name="T2" fmla="*/ 1003537983 w 53"/>
                  <a:gd name="T3" fmla="*/ 2147483647 h 9"/>
                  <a:gd name="T4" fmla="*/ 1712033449 w 53"/>
                  <a:gd name="T5" fmla="*/ 2147483647 h 9"/>
                  <a:gd name="T6" fmla="*/ 2147483647 w 53"/>
                  <a:gd name="T7" fmla="*/ 2147483647 h 9"/>
                  <a:gd name="T8" fmla="*/ 2147483647 w 53"/>
                  <a:gd name="T9" fmla="*/ 2147483647 h 9"/>
                  <a:gd name="T10" fmla="*/ 2147483647 w 53"/>
                  <a:gd name="T11" fmla="*/ 2147483647 h 9"/>
                  <a:gd name="T12" fmla="*/ 2147483647 w 53"/>
                  <a:gd name="T13" fmla="*/ 2147483647 h 9"/>
                  <a:gd name="T14" fmla="*/ 1830141337 w 53"/>
                  <a:gd name="T15" fmla="*/ 2147483647 h 9"/>
                  <a:gd name="T16" fmla="*/ 1475817675 w 53"/>
                  <a:gd name="T17" fmla="*/ 0 h 9"/>
                  <a:gd name="T18" fmla="*/ 1121645870 w 53"/>
                  <a:gd name="T19" fmla="*/ 0 h 9"/>
                  <a:gd name="T20" fmla="*/ 826451886 w 53"/>
                  <a:gd name="T21" fmla="*/ 0 h 9"/>
                  <a:gd name="T22" fmla="*/ 531257902 w 53"/>
                  <a:gd name="T23" fmla="*/ 2147483647 h 9"/>
                  <a:gd name="T24" fmla="*/ 354172194 w 53"/>
                  <a:gd name="T25" fmla="*/ 2147483647 h 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9">
                    <a:moveTo>
                      <a:pt x="0" y="9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40" y="9"/>
                    </a:lnTo>
                    <a:lnTo>
                      <a:pt x="53" y="9"/>
                    </a:lnTo>
                    <a:lnTo>
                      <a:pt x="46" y="6"/>
                    </a:lnTo>
                    <a:lnTo>
                      <a:pt x="38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9" name="Line 504"/>
              <p:cNvSpPr>
                <a:spLocks noChangeShapeType="1"/>
              </p:cNvSpPr>
              <p:nvPr>
                <p:custDataLst>
                  <p:tags r:id="rId265"/>
                </p:custDataLst>
              </p:nvPr>
            </p:nvSpPr>
            <p:spPr bwMode="auto">
              <a:xfrm flipV="1">
                <a:off x="12505005" y="1863297"/>
                <a:ext cx="0" cy="1588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0" name="Freeform 505"/>
              <p:cNvSpPr>
                <a:spLocks/>
              </p:cNvSpPr>
              <p:nvPr>
                <p:custDataLst>
                  <p:tags r:id="rId266"/>
                </p:custDataLst>
              </p:nvPr>
            </p:nvSpPr>
            <p:spPr bwMode="auto">
              <a:xfrm>
                <a:off x="11674743" y="1791860"/>
                <a:ext cx="11112" cy="55562"/>
              </a:xfrm>
              <a:custGeom>
                <a:avLst/>
                <a:gdLst>
                  <a:gd name="T0" fmla="*/ 0 w 26"/>
                  <a:gd name="T1" fmla="*/ 2147483647 h 25"/>
                  <a:gd name="T2" fmla="*/ 390339344 w 26"/>
                  <a:gd name="T3" fmla="*/ 2147483647 h 25"/>
                  <a:gd name="T4" fmla="*/ 1014845711 w 26"/>
                  <a:gd name="T5" fmla="*/ 2147483647 h 25"/>
                  <a:gd name="T6" fmla="*/ 1249012734 w 26"/>
                  <a:gd name="T7" fmla="*/ 2147483647 h 25"/>
                  <a:gd name="T8" fmla="*/ 1561357377 w 26"/>
                  <a:gd name="T9" fmla="*/ 2147483647 h 25"/>
                  <a:gd name="T10" fmla="*/ 1795524400 w 26"/>
                  <a:gd name="T11" fmla="*/ 2147483647 h 25"/>
                  <a:gd name="T12" fmla="*/ 2029691422 w 26"/>
                  <a:gd name="T13" fmla="*/ 0 h 25"/>
                  <a:gd name="T14" fmla="*/ 2029691422 w 26"/>
                  <a:gd name="T15" fmla="*/ 2147483647 h 25"/>
                  <a:gd name="T16" fmla="*/ 1561357377 w 26"/>
                  <a:gd name="T17" fmla="*/ 2147483647 h 25"/>
                  <a:gd name="T18" fmla="*/ 1014845711 w 26"/>
                  <a:gd name="T19" fmla="*/ 2147483647 h 25"/>
                  <a:gd name="T20" fmla="*/ 0 w 26"/>
                  <a:gd name="T21" fmla="*/ 2147483647 h 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25">
                    <a:moveTo>
                      <a:pt x="0" y="25"/>
                    </a:moveTo>
                    <a:lnTo>
                      <a:pt x="5" y="17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6" y="25"/>
                    </a:lnTo>
                    <a:lnTo>
                      <a:pt x="20" y="25"/>
                    </a:lnTo>
                    <a:lnTo>
                      <a:pt x="13" y="25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1" name="Freeform 506"/>
              <p:cNvSpPr>
                <a:spLocks/>
              </p:cNvSpPr>
              <p:nvPr>
                <p:custDataLst>
                  <p:tags r:id="rId267"/>
                </p:custDataLst>
              </p:nvPr>
            </p:nvSpPr>
            <p:spPr bwMode="auto">
              <a:xfrm>
                <a:off x="12424043" y="1863297"/>
                <a:ext cx="9525" cy="57150"/>
              </a:xfrm>
              <a:custGeom>
                <a:avLst/>
                <a:gdLst>
                  <a:gd name="T0" fmla="*/ 793536698 w 33"/>
                  <a:gd name="T1" fmla="*/ 2147483647 h 25"/>
                  <a:gd name="T2" fmla="*/ 793536698 w 33"/>
                  <a:gd name="T3" fmla="*/ 2147483647 h 25"/>
                  <a:gd name="T4" fmla="*/ 793536698 w 33"/>
                  <a:gd name="T5" fmla="*/ 0 h 25"/>
                  <a:gd name="T6" fmla="*/ 0 w 33"/>
                  <a:gd name="T7" fmla="*/ 0 h 25"/>
                  <a:gd name="T8" fmla="*/ 216441770 w 33"/>
                  <a:gd name="T9" fmla="*/ 2147483647 h 25"/>
                  <a:gd name="T10" fmla="*/ 384730048 w 33"/>
                  <a:gd name="T11" fmla="*/ 2147483647 h 25"/>
                  <a:gd name="T12" fmla="*/ 480954195 w 33"/>
                  <a:gd name="T13" fmla="*/ 2147483647 h 25"/>
                  <a:gd name="T14" fmla="*/ 577094927 w 33"/>
                  <a:gd name="T15" fmla="*/ 2147483647 h 25"/>
                  <a:gd name="T16" fmla="*/ 673319075 w 33"/>
                  <a:gd name="T17" fmla="*/ 2147483647 h 25"/>
                  <a:gd name="T18" fmla="*/ 793536698 w 33"/>
                  <a:gd name="T19" fmla="*/ 2147483647 h 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3" h="25">
                    <a:moveTo>
                      <a:pt x="33" y="25"/>
                    </a:moveTo>
                    <a:lnTo>
                      <a:pt x="33" y="12"/>
                    </a:lnTo>
                    <a:lnTo>
                      <a:pt x="33" y="0"/>
                    </a:lnTo>
                    <a:lnTo>
                      <a:pt x="0" y="0"/>
                    </a:lnTo>
                    <a:lnTo>
                      <a:pt x="9" y="9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4" y="23"/>
                    </a:lnTo>
                    <a:lnTo>
                      <a:pt x="28" y="24"/>
                    </a:lnTo>
                    <a:lnTo>
                      <a:pt x="33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2" name="Freeform 507"/>
              <p:cNvSpPr>
                <a:spLocks/>
              </p:cNvSpPr>
              <p:nvPr>
                <p:custDataLst>
                  <p:tags r:id="rId268"/>
                </p:custDataLst>
              </p:nvPr>
            </p:nvSpPr>
            <p:spPr bwMode="auto">
              <a:xfrm>
                <a:off x="12378005" y="1826785"/>
                <a:ext cx="9525" cy="57150"/>
              </a:xfrm>
              <a:custGeom>
                <a:avLst/>
                <a:gdLst>
                  <a:gd name="T0" fmla="*/ 0 w 20"/>
                  <a:gd name="T1" fmla="*/ 0 h 18"/>
                  <a:gd name="T2" fmla="*/ 1404205980 w 20"/>
                  <a:gd name="T3" fmla="*/ 2147483647 h 18"/>
                  <a:gd name="T4" fmla="*/ 1728323156 w 20"/>
                  <a:gd name="T5" fmla="*/ 2147483647 h 18"/>
                  <a:gd name="T6" fmla="*/ 2147483647 w 20"/>
                  <a:gd name="T7" fmla="*/ 0 h 18"/>
                  <a:gd name="T8" fmla="*/ 0 w 20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13" y="18"/>
                    </a:lnTo>
                    <a:lnTo>
                      <a:pt x="16" y="11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3" name="Freeform 508"/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12878068" y="2396697"/>
                <a:ext cx="12700" cy="58738"/>
              </a:xfrm>
              <a:custGeom>
                <a:avLst/>
                <a:gdLst>
                  <a:gd name="T0" fmla="*/ 0 w 33"/>
                  <a:gd name="T1" fmla="*/ 2147483647 h 31"/>
                  <a:gd name="T2" fmla="*/ 0 w 33"/>
                  <a:gd name="T3" fmla="*/ 0 h 31"/>
                  <a:gd name="T4" fmla="*/ 513047288 w 33"/>
                  <a:gd name="T5" fmla="*/ 0 h 31"/>
                  <a:gd name="T6" fmla="*/ 912051270 w 33"/>
                  <a:gd name="T7" fmla="*/ 0 h 31"/>
                  <a:gd name="T8" fmla="*/ 1367928930 w 33"/>
                  <a:gd name="T9" fmla="*/ 0 h 31"/>
                  <a:gd name="T10" fmla="*/ 1880976218 w 33"/>
                  <a:gd name="T11" fmla="*/ 0 h 31"/>
                  <a:gd name="T12" fmla="*/ 1709911067 w 33"/>
                  <a:gd name="T13" fmla="*/ 2147483647 h 31"/>
                  <a:gd name="T14" fmla="*/ 1653037388 w 33"/>
                  <a:gd name="T15" fmla="*/ 2147483647 h 31"/>
                  <a:gd name="T16" fmla="*/ 1596015542 w 33"/>
                  <a:gd name="T17" fmla="*/ 2147483647 h 31"/>
                  <a:gd name="T18" fmla="*/ 1596015542 w 33"/>
                  <a:gd name="T19" fmla="*/ 2147483647 h 31"/>
                  <a:gd name="T20" fmla="*/ 1596015542 w 33"/>
                  <a:gd name="T21" fmla="*/ 2147483647 h 31"/>
                  <a:gd name="T22" fmla="*/ 1653037388 w 33"/>
                  <a:gd name="T23" fmla="*/ 2147483647 h 31"/>
                  <a:gd name="T24" fmla="*/ 1709911067 w 33"/>
                  <a:gd name="T25" fmla="*/ 2147483647 h 31"/>
                  <a:gd name="T26" fmla="*/ 1880976218 w 33"/>
                  <a:gd name="T27" fmla="*/ 2147483647 h 31"/>
                  <a:gd name="T28" fmla="*/ 0 w 33"/>
                  <a:gd name="T29" fmla="*/ 2147483647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3" h="31">
                    <a:moveTo>
                      <a:pt x="0" y="31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9" y="21"/>
                    </a:lnTo>
                    <a:lnTo>
                      <a:pt x="30" y="26"/>
                    </a:lnTo>
                    <a:lnTo>
                      <a:pt x="33" y="31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4" name="Freeform 509"/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13171755" y="1918860"/>
                <a:ext cx="55563" cy="58737"/>
              </a:xfrm>
              <a:custGeom>
                <a:avLst/>
                <a:gdLst>
                  <a:gd name="T0" fmla="*/ 239692321 w 129"/>
                  <a:gd name="T1" fmla="*/ 2147483647 h 56"/>
                  <a:gd name="T2" fmla="*/ 79959464 w 129"/>
                  <a:gd name="T3" fmla="*/ 2147483647 h 56"/>
                  <a:gd name="T4" fmla="*/ 79959464 w 129"/>
                  <a:gd name="T5" fmla="*/ 2147483647 h 56"/>
                  <a:gd name="T6" fmla="*/ 0 w 129"/>
                  <a:gd name="T7" fmla="*/ 2147483647 h 56"/>
                  <a:gd name="T8" fmla="*/ 79959464 w 129"/>
                  <a:gd name="T9" fmla="*/ 2147483647 h 56"/>
                  <a:gd name="T10" fmla="*/ 159733288 w 129"/>
                  <a:gd name="T11" fmla="*/ 2147483647 h 56"/>
                  <a:gd name="T12" fmla="*/ 239692321 w 129"/>
                  <a:gd name="T13" fmla="*/ 2147483647 h 56"/>
                  <a:gd name="T14" fmla="*/ 719077394 w 129"/>
                  <a:gd name="T15" fmla="*/ 2147483647 h 56"/>
                  <a:gd name="T16" fmla="*/ 1278607572 w 129"/>
                  <a:gd name="T17" fmla="*/ 2147483647 h 56"/>
                  <a:gd name="T18" fmla="*/ 1678033181 w 129"/>
                  <a:gd name="T19" fmla="*/ 2147483647 h 56"/>
                  <a:gd name="T20" fmla="*/ 2147483647 w 129"/>
                  <a:gd name="T21" fmla="*/ 2147483647 h 56"/>
                  <a:gd name="T22" fmla="*/ 2147483647 w 129"/>
                  <a:gd name="T23" fmla="*/ 2147483647 h 56"/>
                  <a:gd name="T24" fmla="*/ 2147483647 w 129"/>
                  <a:gd name="T25" fmla="*/ 0 h 56"/>
                  <a:gd name="T26" fmla="*/ 2147483647 w 129"/>
                  <a:gd name="T27" fmla="*/ 2147483647 h 56"/>
                  <a:gd name="T28" fmla="*/ 2147483647 w 129"/>
                  <a:gd name="T29" fmla="*/ 2147483647 h 56"/>
                  <a:gd name="T30" fmla="*/ 2147483647 w 129"/>
                  <a:gd name="T31" fmla="*/ 2147483647 h 56"/>
                  <a:gd name="T32" fmla="*/ 2147483647 w 129"/>
                  <a:gd name="T33" fmla="*/ 2147483647 h 56"/>
                  <a:gd name="T34" fmla="*/ 2147483647 w 129"/>
                  <a:gd name="T35" fmla="*/ 2147483647 h 56"/>
                  <a:gd name="T36" fmla="*/ 2147483647 w 129"/>
                  <a:gd name="T37" fmla="*/ 2147483647 h 56"/>
                  <a:gd name="T38" fmla="*/ 2147483647 w 129"/>
                  <a:gd name="T39" fmla="*/ 2147483647 h 56"/>
                  <a:gd name="T40" fmla="*/ 2147483647 w 129"/>
                  <a:gd name="T41" fmla="*/ 2147483647 h 56"/>
                  <a:gd name="T42" fmla="*/ 2147483647 w 129"/>
                  <a:gd name="T43" fmla="*/ 2147483647 h 56"/>
                  <a:gd name="T44" fmla="*/ 2147483647 w 129"/>
                  <a:gd name="T45" fmla="*/ 2147483647 h 56"/>
                  <a:gd name="T46" fmla="*/ 2147483647 w 129"/>
                  <a:gd name="T47" fmla="*/ 2147483647 h 56"/>
                  <a:gd name="T48" fmla="*/ 2147483647 w 129"/>
                  <a:gd name="T49" fmla="*/ 2147483647 h 56"/>
                  <a:gd name="T50" fmla="*/ 2147483647 w 129"/>
                  <a:gd name="T51" fmla="*/ 2147483647 h 56"/>
                  <a:gd name="T52" fmla="*/ 2147483647 w 129"/>
                  <a:gd name="T53" fmla="*/ 2147483647 h 56"/>
                  <a:gd name="T54" fmla="*/ 2147483647 w 129"/>
                  <a:gd name="T55" fmla="*/ 2147483647 h 56"/>
                  <a:gd name="T56" fmla="*/ 2147483647 w 129"/>
                  <a:gd name="T57" fmla="*/ 2147483647 h 56"/>
                  <a:gd name="T58" fmla="*/ 2147483647 w 129"/>
                  <a:gd name="T59" fmla="*/ 2147483647 h 56"/>
                  <a:gd name="T60" fmla="*/ 2147483647 w 129"/>
                  <a:gd name="T61" fmla="*/ 2147483647 h 56"/>
                  <a:gd name="T62" fmla="*/ 2147483647 w 129"/>
                  <a:gd name="T63" fmla="*/ 2147483647 h 56"/>
                  <a:gd name="T64" fmla="*/ 2147483647 w 129"/>
                  <a:gd name="T65" fmla="*/ 2147483647 h 56"/>
                  <a:gd name="T66" fmla="*/ 1837951679 w 129"/>
                  <a:gd name="T67" fmla="*/ 2147483647 h 56"/>
                  <a:gd name="T68" fmla="*/ 1278607572 w 129"/>
                  <a:gd name="T69" fmla="*/ 2147483647 h 56"/>
                  <a:gd name="T70" fmla="*/ 479385073 w 129"/>
                  <a:gd name="T71" fmla="*/ 2147483647 h 56"/>
                  <a:gd name="T72" fmla="*/ 239692321 w 129"/>
                  <a:gd name="T73" fmla="*/ 2147483647 h 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29" h="56">
                    <a:moveTo>
                      <a:pt x="3" y="44"/>
                    </a:moveTo>
                    <a:lnTo>
                      <a:pt x="1" y="42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25"/>
                    </a:lnTo>
                    <a:lnTo>
                      <a:pt x="3" y="18"/>
                    </a:lnTo>
                    <a:lnTo>
                      <a:pt x="9" y="13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7" y="5"/>
                    </a:lnTo>
                    <a:lnTo>
                      <a:pt x="39" y="3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64" y="8"/>
                    </a:lnTo>
                    <a:lnTo>
                      <a:pt x="69" y="11"/>
                    </a:lnTo>
                    <a:lnTo>
                      <a:pt x="73" y="14"/>
                    </a:lnTo>
                    <a:lnTo>
                      <a:pt x="83" y="18"/>
                    </a:lnTo>
                    <a:lnTo>
                      <a:pt x="93" y="21"/>
                    </a:lnTo>
                    <a:lnTo>
                      <a:pt x="103" y="25"/>
                    </a:lnTo>
                    <a:lnTo>
                      <a:pt x="113" y="29"/>
                    </a:lnTo>
                    <a:lnTo>
                      <a:pt x="117" y="32"/>
                    </a:lnTo>
                    <a:lnTo>
                      <a:pt x="121" y="35"/>
                    </a:lnTo>
                    <a:lnTo>
                      <a:pt x="126" y="38"/>
                    </a:lnTo>
                    <a:lnTo>
                      <a:pt x="129" y="44"/>
                    </a:lnTo>
                    <a:lnTo>
                      <a:pt x="119" y="48"/>
                    </a:lnTo>
                    <a:lnTo>
                      <a:pt x="109" y="51"/>
                    </a:lnTo>
                    <a:lnTo>
                      <a:pt x="99" y="53"/>
                    </a:lnTo>
                    <a:lnTo>
                      <a:pt x="90" y="54"/>
                    </a:lnTo>
                    <a:lnTo>
                      <a:pt x="70" y="56"/>
                    </a:lnTo>
                    <a:lnTo>
                      <a:pt x="49" y="56"/>
                    </a:lnTo>
                    <a:lnTo>
                      <a:pt x="40" y="55"/>
                    </a:lnTo>
                    <a:lnTo>
                      <a:pt x="31" y="54"/>
                    </a:lnTo>
                    <a:lnTo>
                      <a:pt x="23" y="52"/>
                    </a:lnTo>
                    <a:lnTo>
                      <a:pt x="16" y="50"/>
                    </a:lnTo>
                    <a:lnTo>
                      <a:pt x="6" y="46"/>
                    </a:lnTo>
                    <a:lnTo>
                      <a:pt x="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5" name="Freeform 510"/>
              <p:cNvSpPr>
                <a:spLocks/>
              </p:cNvSpPr>
              <p:nvPr>
                <p:custDataLst>
                  <p:tags r:id="rId271"/>
                </p:custDataLst>
              </p:nvPr>
            </p:nvSpPr>
            <p:spPr bwMode="auto">
              <a:xfrm>
                <a:off x="13308280" y="2271285"/>
                <a:ext cx="14288" cy="57150"/>
              </a:xfrm>
              <a:custGeom>
                <a:avLst/>
                <a:gdLst>
                  <a:gd name="T0" fmla="*/ 888725449 w 41"/>
                  <a:gd name="T1" fmla="*/ 2147483647 h 42"/>
                  <a:gd name="T2" fmla="*/ 0 w 41"/>
                  <a:gd name="T3" fmla="*/ 2147483647 h 42"/>
                  <a:gd name="T4" fmla="*/ 0 w 41"/>
                  <a:gd name="T5" fmla="*/ 2147483647 h 42"/>
                  <a:gd name="T6" fmla="*/ 296201392 w 41"/>
                  <a:gd name="T7" fmla="*/ 2147483647 h 42"/>
                  <a:gd name="T8" fmla="*/ 592524057 w 41"/>
                  <a:gd name="T9" fmla="*/ 2147483647 h 42"/>
                  <a:gd name="T10" fmla="*/ 1015755526 w 41"/>
                  <a:gd name="T11" fmla="*/ 2147483647 h 42"/>
                  <a:gd name="T12" fmla="*/ 1438986996 w 41"/>
                  <a:gd name="T13" fmla="*/ 0 h 42"/>
                  <a:gd name="T14" fmla="*/ 1438986996 w 41"/>
                  <a:gd name="T15" fmla="*/ 2147483647 h 42"/>
                  <a:gd name="T16" fmla="*/ 1735188387 w 41"/>
                  <a:gd name="T17" fmla="*/ 2147483647 h 42"/>
                  <a:gd name="T18" fmla="*/ 888725449 w 41"/>
                  <a:gd name="T19" fmla="*/ 2147483647 h 4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1" y="42"/>
                    </a:moveTo>
                    <a:lnTo>
                      <a:pt x="0" y="30"/>
                    </a:lnTo>
                    <a:lnTo>
                      <a:pt x="0" y="6"/>
                    </a:lnTo>
                    <a:lnTo>
                      <a:pt x="7" y="5"/>
                    </a:lnTo>
                    <a:lnTo>
                      <a:pt x="14" y="3"/>
                    </a:lnTo>
                    <a:lnTo>
                      <a:pt x="24" y="1"/>
                    </a:lnTo>
                    <a:lnTo>
                      <a:pt x="34" y="0"/>
                    </a:lnTo>
                    <a:lnTo>
                      <a:pt x="34" y="18"/>
                    </a:lnTo>
                    <a:lnTo>
                      <a:pt x="41" y="18"/>
                    </a:lnTo>
                    <a:lnTo>
                      <a:pt x="21" y="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6" name="Freeform 511"/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13457505" y="2383997"/>
                <a:ext cx="42863" cy="60325"/>
              </a:xfrm>
              <a:custGeom>
                <a:avLst/>
                <a:gdLst>
                  <a:gd name="T0" fmla="*/ 2147483647 w 93"/>
                  <a:gd name="T1" fmla="*/ 2147483647 h 39"/>
                  <a:gd name="T2" fmla="*/ 2147483647 w 93"/>
                  <a:gd name="T3" fmla="*/ 2147483647 h 39"/>
                  <a:gd name="T4" fmla="*/ 2147483647 w 93"/>
                  <a:gd name="T5" fmla="*/ 2147483647 h 39"/>
                  <a:gd name="T6" fmla="*/ 2147483647 w 93"/>
                  <a:gd name="T7" fmla="*/ 2147483647 h 39"/>
                  <a:gd name="T8" fmla="*/ 2147483647 w 93"/>
                  <a:gd name="T9" fmla="*/ 2147483647 h 39"/>
                  <a:gd name="T10" fmla="*/ 2147483647 w 93"/>
                  <a:gd name="T11" fmla="*/ 2147483647 h 39"/>
                  <a:gd name="T12" fmla="*/ 2147483647 w 93"/>
                  <a:gd name="T13" fmla="*/ 2147483647 h 39"/>
                  <a:gd name="T14" fmla="*/ 2147483647 w 93"/>
                  <a:gd name="T15" fmla="*/ 2147483647 h 39"/>
                  <a:gd name="T16" fmla="*/ 2147483647 w 93"/>
                  <a:gd name="T17" fmla="*/ 2147483647 h 39"/>
                  <a:gd name="T18" fmla="*/ 2147483647 w 93"/>
                  <a:gd name="T19" fmla="*/ 2147483647 h 39"/>
                  <a:gd name="T20" fmla="*/ 2147483647 w 93"/>
                  <a:gd name="T21" fmla="*/ 2147483647 h 39"/>
                  <a:gd name="T22" fmla="*/ 2147483647 w 93"/>
                  <a:gd name="T23" fmla="*/ 2147483647 h 39"/>
                  <a:gd name="T24" fmla="*/ 2147483647 w 93"/>
                  <a:gd name="T25" fmla="*/ 2147483647 h 39"/>
                  <a:gd name="T26" fmla="*/ 1566398838 w 93"/>
                  <a:gd name="T27" fmla="*/ 2147483647 h 39"/>
                  <a:gd name="T28" fmla="*/ 881125934 w 93"/>
                  <a:gd name="T29" fmla="*/ 2147483647 h 39"/>
                  <a:gd name="T30" fmla="*/ 0 w 93"/>
                  <a:gd name="T31" fmla="*/ 2147483647 h 39"/>
                  <a:gd name="T32" fmla="*/ 1076978964 w 93"/>
                  <a:gd name="T33" fmla="*/ 2147483647 h 39"/>
                  <a:gd name="T34" fmla="*/ 1958104898 w 93"/>
                  <a:gd name="T35" fmla="*/ 0 h 39"/>
                  <a:gd name="T36" fmla="*/ 2147483647 w 93"/>
                  <a:gd name="T37" fmla="*/ 0 h 39"/>
                  <a:gd name="T38" fmla="*/ 2147483647 w 93"/>
                  <a:gd name="T39" fmla="*/ 2147483647 h 39"/>
                  <a:gd name="T40" fmla="*/ 2147483647 w 93"/>
                  <a:gd name="T41" fmla="*/ 2147483647 h 39"/>
                  <a:gd name="T42" fmla="*/ 2147483647 w 93"/>
                  <a:gd name="T43" fmla="*/ 2147483647 h 3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93" h="39">
                    <a:moveTo>
                      <a:pt x="60" y="9"/>
                    </a:moveTo>
                    <a:lnTo>
                      <a:pt x="67" y="18"/>
                    </a:lnTo>
                    <a:lnTo>
                      <a:pt x="77" y="28"/>
                    </a:lnTo>
                    <a:lnTo>
                      <a:pt x="81" y="33"/>
                    </a:lnTo>
                    <a:lnTo>
                      <a:pt x="86" y="36"/>
                    </a:lnTo>
                    <a:lnTo>
                      <a:pt x="90" y="38"/>
                    </a:lnTo>
                    <a:lnTo>
                      <a:pt x="93" y="39"/>
                    </a:lnTo>
                    <a:lnTo>
                      <a:pt x="60" y="39"/>
                    </a:lnTo>
                    <a:lnTo>
                      <a:pt x="50" y="36"/>
                    </a:lnTo>
                    <a:lnTo>
                      <a:pt x="43" y="32"/>
                    </a:lnTo>
                    <a:lnTo>
                      <a:pt x="36" y="28"/>
                    </a:lnTo>
                    <a:lnTo>
                      <a:pt x="30" y="23"/>
                    </a:lnTo>
                    <a:lnTo>
                      <a:pt x="24" y="18"/>
                    </a:lnTo>
                    <a:lnTo>
                      <a:pt x="16" y="13"/>
                    </a:lnTo>
                    <a:lnTo>
                      <a:pt x="9" y="7"/>
                    </a:lnTo>
                    <a:lnTo>
                      <a:pt x="0" y="3"/>
                    </a:lnTo>
                    <a:lnTo>
                      <a:pt x="11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1"/>
                    </a:lnTo>
                    <a:lnTo>
                      <a:pt x="44" y="4"/>
                    </a:lnTo>
                    <a:lnTo>
                      <a:pt x="60" y="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7" name="Freeform 512"/>
              <p:cNvSpPr>
                <a:spLocks/>
              </p:cNvSpPr>
              <p:nvPr>
                <p:custDataLst>
                  <p:tags r:id="rId273"/>
                </p:custDataLst>
              </p:nvPr>
            </p:nvSpPr>
            <p:spPr bwMode="auto">
              <a:xfrm>
                <a:off x="13508305" y="2399872"/>
                <a:ext cx="19050" cy="58738"/>
              </a:xfrm>
              <a:custGeom>
                <a:avLst/>
                <a:gdLst>
                  <a:gd name="T0" fmla="*/ 2147483647 w 39"/>
                  <a:gd name="T1" fmla="*/ 2147483647 h 19"/>
                  <a:gd name="T2" fmla="*/ 1515076296 w 39"/>
                  <a:gd name="T3" fmla="*/ 2147483647 h 19"/>
                  <a:gd name="T4" fmla="*/ 932428138 w 39"/>
                  <a:gd name="T5" fmla="*/ 2147483647 h 19"/>
                  <a:gd name="T6" fmla="*/ 582648158 w 39"/>
                  <a:gd name="T7" fmla="*/ 2147483647 h 19"/>
                  <a:gd name="T8" fmla="*/ 349541123 w 39"/>
                  <a:gd name="T9" fmla="*/ 2147483647 h 19"/>
                  <a:gd name="T10" fmla="*/ 233107035 w 39"/>
                  <a:gd name="T11" fmla="*/ 2147483647 h 19"/>
                  <a:gd name="T12" fmla="*/ 0 w 39"/>
                  <a:gd name="T13" fmla="*/ 2147483647 h 19"/>
                  <a:gd name="T14" fmla="*/ 0 w 39"/>
                  <a:gd name="T15" fmla="*/ 0 h 19"/>
                  <a:gd name="T16" fmla="*/ 1515076296 w 39"/>
                  <a:gd name="T17" fmla="*/ 2147483647 h 19"/>
                  <a:gd name="T18" fmla="*/ 2147483647 w 39"/>
                  <a:gd name="T19" fmla="*/ 2147483647 h 19"/>
                  <a:gd name="T20" fmla="*/ 2147483647 w 39"/>
                  <a:gd name="T21" fmla="*/ 2147483647 h 19"/>
                  <a:gd name="T22" fmla="*/ 2147483647 w 39"/>
                  <a:gd name="T23" fmla="*/ 2147483647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9" h="19">
                    <a:moveTo>
                      <a:pt x="39" y="19"/>
                    </a:moveTo>
                    <a:lnTo>
                      <a:pt x="13" y="19"/>
                    </a:lnTo>
                    <a:lnTo>
                      <a:pt x="8" y="19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22" y="9"/>
                    </a:lnTo>
                    <a:lnTo>
                      <a:pt x="30" y="14"/>
                    </a:lnTo>
                    <a:lnTo>
                      <a:pt x="39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8" name="Freeform 513"/>
              <p:cNvSpPr>
                <a:spLocks/>
              </p:cNvSpPr>
              <p:nvPr>
                <p:custDataLst>
                  <p:tags r:id="rId274"/>
                </p:custDataLst>
              </p:nvPr>
            </p:nvSpPr>
            <p:spPr bwMode="auto">
              <a:xfrm>
                <a:off x="13373368" y="2526872"/>
                <a:ext cx="14287" cy="57150"/>
              </a:xfrm>
              <a:custGeom>
                <a:avLst/>
                <a:gdLst>
                  <a:gd name="T0" fmla="*/ 0 w 26"/>
                  <a:gd name="T1" fmla="*/ 2147483647 h 36"/>
                  <a:gd name="T2" fmla="*/ 497916237 w 26"/>
                  <a:gd name="T3" fmla="*/ 2147483647 h 36"/>
                  <a:gd name="T4" fmla="*/ 1659216899 w 26"/>
                  <a:gd name="T5" fmla="*/ 2147483647 h 36"/>
                  <a:gd name="T6" fmla="*/ 2147483647 w 26"/>
                  <a:gd name="T7" fmla="*/ 2147483647 h 36"/>
                  <a:gd name="T8" fmla="*/ 2147483647 w 26"/>
                  <a:gd name="T9" fmla="*/ 0 h 36"/>
                  <a:gd name="T10" fmla="*/ 2147483647 w 26"/>
                  <a:gd name="T11" fmla="*/ 2147483647 h 36"/>
                  <a:gd name="T12" fmla="*/ 2147483647 w 26"/>
                  <a:gd name="T13" fmla="*/ 2147483647 h 36"/>
                  <a:gd name="T14" fmla="*/ 2147483647 w 26"/>
                  <a:gd name="T15" fmla="*/ 2147483647 h 36"/>
                  <a:gd name="T16" fmla="*/ 2147483647 w 26"/>
                  <a:gd name="T17" fmla="*/ 2147483647 h 36"/>
                  <a:gd name="T18" fmla="*/ 2147483647 w 26"/>
                  <a:gd name="T19" fmla="*/ 2147483647 h 36"/>
                  <a:gd name="T20" fmla="*/ 2147483647 w 26"/>
                  <a:gd name="T21" fmla="*/ 2147483647 h 36"/>
                  <a:gd name="T22" fmla="*/ 2147483647 w 26"/>
                  <a:gd name="T23" fmla="*/ 2147483647 h 36"/>
                  <a:gd name="T24" fmla="*/ 1659216899 w 26"/>
                  <a:gd name="T25" fmla="*/ 2147483647 h 36"/>
                  <a:gd name="T26" fmla="*/ 663686650 w 26"/>
                  <a:gd name="T27" fmla="*/ 2147483647 h 36"/>
                  <a:gd name="T28" fmla="*/ 0 w 26"/>
                  <a:gd name="T29" fmla="*/ 2147483647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6" h="36">
                    <a:moveTo>
                      <a:pt x="0" y="36"/>
                    </a:moveTo>
                    <a:lnTo>
                      <a:pt x="3" y="31"/>
                    </a:lnTo>
                    <a:lnTo>
                      <a:pt x="10" y="20"/>
                    </a:lnTo>
                    <a:lnTo>
                      <a:pt x="18" y="8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26" y="18"/>
                    </a:lnTo>
                    <a:lnTo>
                      <a:pt x="25" y="22"/>
                    </a:lnTo>
                    <a:lnTo>
                      <a:pt x="24" y="26"/>
                    </a:lnTo>
                    <a:lnTo>
                      <a:pt x="21" y="29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10" y="35"/>
                    </a:lnTo>
                    <a:lnTo>
                      <a:pt x="4" y="36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9" name="Freeform 514"/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13384480" y="2555447"/>
                <a:ext cx="3175" cy="60325"/>
              </a:xfrm>
              <a:custGeom>
                <a:avLst/>
                <a:gdLst>
                  <a:gd name="T0" fmla="*/ 0 w 6"/>
                  <a:gd name="T1" fmla="*/ 2147483647 h 37"/>
                  <a:gd name="T2" fmla="*/ 0 w 6"/>
                  <a:gd name="T3" fmla="*/ 0 h 37"/>
                  <a:gd name="T4" fmla="*/ 889055033 w 6"/>
                  <a:gd name="T5" fmla="*/ 0 h 37"/>
                  <a:gd name="T6" fmla="*/ 889055033 w 6"/>
                  <a:gd name="T7" fmla="*/ 2147483647 h 37"/>
                  <a:gd name="T8" fmla="*/ 0 w 6"/>
                  <a:gd name="T9" fmla="*/ 2147483647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37">
                    <a:moveTo>
                      <a:pt x="0" y="37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31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0" name="Freeform 515"/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13371780" y="2637997"/>
                <a:ext cx="9525" cy="55563"/>
              </a:xfrm>
              <a:custGeom>
                <a:avLst/>
                <a:gdLst>
                  <a:gd name="T0" fmla="*/ 0 w 20"/>
                  <a:gd name="T1" fmla="*/ 2147483647 h 43"/>
                  <a:gd name="T2" fmla="*/ 0 w 20"/>
                  <a:gd name="T3" fmla="*/ 2147483647 h 43"/>
                  <a:gd name="T4" fmla="*/ 0 w 20"/>
                  <a:gd name="T5" fmla="*/ 2147483647 h 43"/>
                  <a:gd name="T6" fmla="*/ 216153683 w 20"/>
                  <a:gd name="T7" fmla="*/ 2147483647 h 43"/>
                  <a:gd name="T8" fmla="*/ 756198323 w 20"/>
                  <a:gd name="T9" fmla="*/ 0 h 43"/>
                  <a:gd name="T10" fmla="*/ 1188278993 w 20"/>
                  <a:gd name="T11" fmla="*/ 2147483647 h 43"/>
                  <a:gd name="T12" fmla="*/ 1728323156 w 20"/>
                  <a:gd name="T13" fmla="*/ 2147483647 h 43"/>
                  <a:gd name="T14" fmla="*/ 1836286650 w 20"/>
                  <a:gd name="T15" fmla="*/ 2147483647 h 43"/>
                  <a:gd name="T16" fmla="*/ 2052440333 w 20"/>
                  <a:gd name="T17" fmla="*/ 2147483647 h 43"/>
                  <a:gd name="T18" fmla="*/ 2052440333 w 20"/>
                  <a:gd name="T19" fmla="*/ 2147483647 h 43"/>
                  <a:gd name="T20" fmla="*/ 2147483647 w 20"/>
                  <a:gd name="T21" fmla="*/ 2147483647 h 43"/>
                  <a:gd name="T22" fmla="*/ 2052440333 w 20"/>
                  <a:gd name="T23" fmla="*/ 2147483647 h 43"/>
                  <a:gd name="T24" fmla="*/ 1944476839 w 20"/>
                  <a:gd name="T25" fmla="*/ 2147483647 h 43"/>
                  <a:gd name="T26" fmla="*/ 1728323156 w 20"/>
                  <a:gd name="T27" fmla="*/ 2147483647 h 43"/>
                  <a:gd name="T28" fmla="*/ 1296242486 w 20"/>
                  <a:gd name="T29" fmla="*/ 2147483647 h 43"/>
                  <a:gd name="T30" fmla="*/ 972125310 w 20"/>
                  <a:gd name="T31" fmla="*/ 2147483647 h 43"/>
                  <a:gd name="T32" fmla="*/ 648234829 w 20"/>
                  <a:gd name="T33" fmla="*/ 2147483647 h 43"/>
                  <a:gd name="T34" fmla="*/ 216153683 w 20"/>
                  <a:gd name="T35" fmla="*/ 2147483647 h 43"/>
                  <a:gd name="T36" fmla="*/ 0 w 20"/>
                  <a:gd name="T37" fmla="*/ 2147483647 h 43"/>
                  <a:gd name="T38" fmla="*/ 0 w 20"/>
                  <a:gd name="T39" fmla="*/ 2147483647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0" h="43">
                    <a:moveTo>
                      <a:pt x="0" y="31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2" y="9"/>
                    </a:lnTo>
                    <a:lnTo>
                      <a:pt x="7" y="0"/>
                    </a:lnTo>
                    <a:lnTo>
                      <a:pt x="11" y="7"/>
                    </a:lnTo>
                    <a:lnTo>
                      <a:pt x="16" y="12"/>
                    </a:lnTo>
                    <a:lnTo>
                      <a:pt x="17" y="14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20" y="25"/>
                    </a:lnTo>
                    <a:lnTo>
                      <a:pt x="19" y="27"/>
                    </a:lnTo>
                    <a:lnTo>
                      <a:pt x="18" y="30"/>
                    </a:lnTo>
                    <a:lnTo>
                      <a:pt x="16" y="33"/>
                    </a:lnTo>
                    <a:lnTo>
                      <a:pt x="12" y="36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2" y="42"/>
                    </a:lnTo>
                    <a:lnTo>
                      <a:pt x="0" y="4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1" name="Freeform 516"/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13349555" y="2672922"/>
                <a:ext cx="0" cy="58738"/>
              </a:xfrm>
              <a:custGeom>
                <a:avLst/>
                <a:gdLst>
                  <a:gd name="T0" fmla="*/ 2147483647 h 30"/>
                  <a:gd name="T1" fmla="*/ 2147483647 h 30"/>
                  <a:gd name="T2" fmla="*/ 2147483647 h 30"/>
                  <a:gd name="T3" fmla="*/ 2147483647 h 30"/>
                  <a:gd name="T4" fmla="*/ 0 h 30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</a:gdLst>
                <a:ahLst/>
                <a:cxnLst>
                  <a:cxn ang="T5">
                    <a:pos x="0" y="T0"/>
                  </a:cxn>
                  <a:cxn ang="T6">
                    <a:pos x="0" y="T1"/>
                  </a:cxn>
                  <a:cxn ang="T7">
                    <a:pos x="0" y="T2"/>
                  </a:cxn>
                  <a:cxn ang="T8">
                    <a:pos x="0" y="T3"/>
                  </a:cxn>
                  <a:cxn ang="T9">
                    <a:pos x="0" y="T4"/>
                  </a:cxn>
                </a:cxnLst>
                <a:rect l="0" t="0" r="r" b="b"/>
                <a:pathLst>
                  <a:path h="30">
                    <a:moveTo>
                      <a:pt x="0" y="30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2" name="Freeform 517"/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13349555" y="2672922"/>
                <a:ext cx="7938" cy="58738"/>
              </a:xfrm>
              <a:custGeom>
                <a:avLst/>
                <a:gdLst>
                  <a:gd name="T0" fmla="*/ 0 w 20"/>
                  <a:gd name="T1" fmla="*/ 0 h 24"/>
                  <a:gd name="T2" fmla="*/ 1250469965 w 20"/>
                  <a:gd name="T3" fmla="*/ 0 h 24"/>
                  <a:gd name="T4" fmla="*/ 0 w 20"/>
                  <a:gd name="T5" fmla="*/ 2147483647 h 2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24">
                    <a:moveTo>
                      <a:pt x="0" y="0"/>
                    </a:moveTo>
                    <a:lnTo>
                      <a:pt x="20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3" name="Freeform 518"/>
              <p:cNvSpPr>
                <a:spLocks/>
              </p:cNvSpPr>
              <p:nvPr>
                <p:custDataLst>
                  <p:tags r:id="rId279"/>
                </p:custDataLst>
              </p:nvPr>
            </p:nvSpPr>
            <p:spPr bwMode="auto">
              <a:xfrm>
                <a:off x="13103493" y="2260172"/>
                <a:ext cx="17462" cy="60325"/>
              </a:xfrm>
              <a:custGeom>
                <a:avLst/>
                <a:gdLst>
                  <a:gd name="T0" fmla="*/ 0 w 46"/>
                  <a:gd name="T1" fmla="*/ 0 h 19"/>
                  <a:gd name="T2" fmla="*/ 492254919 w 46"/>
                  <a:gd name="T3" fmla="*/ 2147483647 h 19"/>
                  <a:gd name="T4" fmla="*/ 765906097 w 46"/>
                  <a:gd name="T5" fmla="*/ 2147483647 h 19"/>
                  <a:gd name="T6" fmla="*/ 1039413403 w 46"/>
                  <a:gd name="T7" fmla="*/ 2147483647 h 19"/>
                  <a:gd name="T8" fmla="*/ 1258161395 w 46"/>
                  <a:gd name="T9" fmla="*/ 2147483647 h 19"/>
                  <a:gd name="T10" fmla="*/ 1422294325 w 46"/>
                  <a:gd name="T11" fmla="*/ 2147483647 h 19"/>
                  <a:gd name="T12" fmla="*/ 1750416314 w 46"/>
                  <a:gd name="T13" fmla="*/ 2147483647 h 19"/>
                  <a:gd name="T14" fmla="*/ 2024067491 w 46"/>
                  <a:gd name="T15" fmla="*/ 2147483647 h 19"/>
                  <a:gd name="T16" fmla="*/ 2147483647 w 46"/>
                  <a:gd name="T17" fmla="*/ 2147483647 h 19"/>
                  <a:gd name="T18" fmla="*/ 1805175248 w 46"/>
                  <a:gd name="T19" fmla="*/ 2147483647 h 19"/>
                  <a:gd name="T20" fmla="*/ 1312920329 w 46"/>
                  <a:gd name="T21" fmla="*/ 2147483647 h 19"/>
                  <a:gd name="T22" fmla="*/ 984654089 w 46"/>
                  <a:gd name="T23" fmla="*/ 2147483647 h 19"/>
                  <a:gd name="T24" fmla="*/ 711147163 w 46"/>
                  <a:gd name="T25" fmla="*/ 2147483647 h 19"/>
                  <a:gd name="T26" fmla="*/ 547014232 w 46"/>
                  <a:gd name="T27" fmla="*/ 2147483647 h 19"/>
                  <a:gd name="T28" fmla="*/ 382880923 w 46"/>
                  <a:gd name="T29" fmla="*/ 2147483647 h 19"/>
                  <a:gd name="T30" fmla="*/ 218747992 w 46"/>
                  <a:gd name="T31" fmla="*/ 2147483647 h 19"/>
                  <a:gd name="T32" fmla="*/ 0 w 46"/>
                  <a:gd name="T33" fmla="*/ 0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6" h="19">
                    <a:moveTo>
                      <a:pt x="0" y="0"/>
                    </a:moveTo>
                    <a:lnTo>
                      <a:pt x="9" y="3"/>
                    </a:lnTo>
                    <a:lnTo>
                      <a:pt x="14" y="5"/>
                    </a:lnTo>
                    <a:lnTo>
                      <a:pt x="19" y="8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32" y="14"/>
                    </a:lnTo>
                    <a:lnTo>
                      <a:pt x="37" y="17"/>
                    </a:lnTo>
                    <a:lnTo>
                      <a:pt x="46" y="19"/>
                    </a:lnTo>
                    <a:lnTo>
                      <a:pt x="33" y="19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4" name="Freeform 519"/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10419030" y="2399872"/>
                <a:ext cx="47625" cy="58738"/>
              </a:xfrm>
              <a:custGeom>
                <a:avLst/>
                <a:gdLst>
                  <a:gd name="T0" fmla="*/ 2147483647 w 100"/>
                  <a:gd name="T1" fmla="*/ 0 h 55"/>
                  <a:gd name="T2" fmla="*/ 2147483647 w 100"/>
                  <a:gd name="T3" fmla="*/ 2147483647 h 55"/>
                  <a:gd name="T4" fmla="*/ 2147483647 w 100"/>
                  <a:gd name="T5" fmla="*/ 2147483647 h 55"/>
                  <a:gd name="T6" fmla="*/ 1404205980 w 100"/>
                  <a:gd name="T7" fmla="*/ 2147483647 h 55"/>
                  <a:gd name="T8" fmla="*/ 0 w 100"/>
                  <a:gd name="T9" fmla="*/ 2147483647 h 55"/>
                  <a:gd name="T10" fmla="*/ 107963494 w 100"/>
                  <a:gd name="T11" fmla="*/ 2147483647 h 55"/>
                  <a:gd name="T12" fmla="*/ 432080670 w 100"/>
                  <a:gd name="T13" fmla="*/ 2147483647 h 55"/>
                  <a:gd name="T14" fmla="*/ 1080315499 w 100"/>
                  <a:gd name="T15" fmla="*/ 2147483647 h 55"/>
                  <a:gd name="T16" fmla="*/ 1728323156 w 100"/>
                  <a:gd name="T17" fmla="*/ 2147483647 h 55"/>
                  <a:gd name="T18" fmla="*/ 2147483647 w 100"/>
                  <a:gd name="T19" fmla="*/ 2147483647 h 55"/>
                  <a:gd name="T20" fmla="*/ 2147483647 w 100"/>
                  <a:gd name="T21" fmla="*/ 0 h 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5" name="Freeform 520"/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10868293" y="1991885"/>
                <a:ext cx="42862" cy="58737"/>
              </a:xfrm>
              <a:custGeom>
                <a:avLst/>
                <a:gdLst>
                  <a:gd name="T0" fmla="*/ 2147483647 w 99"/>
                  <a:gd name="T1" fmla="*/ 2147483647 h 51"/>
                  <a:gd name="T2" fmla="*/ 2147483647 w 99"/>
                  <a:gd name="T3" fmla="*/ 1528043055 h 51"/>
                  <a:gd name="T4" fmla="*/ 2147483647 w 99"/>
                  <a:gd name="T5" fmla="*/ 0 h 51"/>
                  <a:gd name="T6" fmla="*/ 2147483647 w 99"/>
                  <a:gd name="T7" fmla="*/ 0 h 51"/>
                  <a:gd name="T8" fmla="*/ 2147483647 w 99"/>
                  <a:gd name="T9" fmla="*/ 1528043055 h 51"/>
                  <a:gd name="T10" fmla="*/ 2147483647 w 99"/>
                  <a:gd name="T11" fmla="*/ 2147483647 h 51"/>
                  <a:gd name="T12" fmla="*/ 2147483647 w 99"/>
                  <a:gd name="T13" fmla="*/ 2147483647 h 51"/>
                  <a:gd name="T14" fmla="*/ 2147483647 w 99"/>
                  <a:gd name="T15" fmla="*/ 2147483647 h 51"/>
                  <a:gd name="T16" fmla="*/ 2147483647 w 99"/>
                  <a:gd name="T17" fmla="*/ 2147483647 h 51"/>
                  <a:gd name="T18" fmla="*/ 2147483647 w 99"/>
                  <a:gd name="T19" fmla="*/ 2147483647 h 51"/>
                  <a:gd name="T20" fmla="*/ 2147483647 w 99"/>
                  <a:gd name="T21" fmla="*/ 2147483647 h 51"/>
                  <a:gd name="T22" fmla="*/ 2147483647 w 99"/>
                  <a:gd name="T23" fmla="*/ 2147483647 h 51"/>
                  <a:gd name="T24" fmla="*/ 2147483647 w 99"/>
                  <a:gd name="T25" fmla="*/ 2147483647 h 51"/>
                  <a:gd name="T26" fmla="*/ 2147483647 w 99"/>
                  <a:gd name="T27" fmla="*/ 2147483647 h 51"/>
                  <a:gd name="T28" fmla="*/ 2147483647 w 99"/>
                  <a:gd name="T29" fmla="*/ 2147483647 h 51"/>
                  <a:gd name="T30" fmla="*/ 2147483647 w 99"/>
                  <a:gd name="T31" fmla="*/ 2147483647 h 51"/>
                  <a:gd name="T32" fmla="*/ 2147483647 w 99"/>
                  <a:gd name="T33" fmla="*/ 2147483647 h 51"/>
                  <a:gd name="T34" fmla="*/ 2147483647 w 99"/>
                  <a:gd name="T35" fmla="*/ 2147483647 h 51"/>
                  <a:gd name="T36" fmla="*/ 2147483647 w 99"/>
                  <a:gd name="T37" fmla="*/ 2147483647 h 51"/>
                  <a:gd name="T38" fmla="*/ 2147483647 w 99"/>
                  <a:gd name="T39" fmla="*/ 2147483647 h 51"/>
                  <a:gd name="T40" fmla="*/ 2147483647 w 99"/>
                  <a:gd name="T41" fmla="*/ 2147483647 h 51"/>
                  <a:gd name="T42" fmla="*/ 2147483647 w 99"/>
                  <a:gd name="T43" fmla="*/ 2147483647 h 51"/>
                  <a:gd name="T44" fmla="*/ 2147483647 w 99"/>
                  <a:gd name="T45" fmla="*/ 2147483647 h 51"/>
                  <a:gd name="T46" fmla="*/ 2147483647 w 99"/>
                  <a:gd name="T47" fmla="*/ 2147483647 h 51"/>
                  <a:gd name="T48" fmla="*/ 1460760772 w 99"/>
                  <a:gd name="T49" fmla="*/ 2147483647 h 51"/>
                  <a:gd name="T50" fmla="*/ 730474120 w 99"/>
                  <a:gd name="T51" fmla="*/ 2147483647 h 51"/>
                  <a:gd name="T52" fmla="*/ 81163743 w 99"/>
                  <a:gd name="T53" fmla="*/ 2147483647 h 51"/>
                  <a:gd name="T54" fmla="*/ 0 w 99"/>
                  <a:gd name="T55" fmla="*/ 2147483647 h 51"/>
                  <a:gd name="T56" fmla="*/ 81163743 w 99"/>
                  <a:gd name="T57" fmla="*/ 2147483647 h 51"/>
                  <a:gd name="T58" fmla="*/ 243491229 w 99"/>
                  <a:gd name="T59" fmla="*/ 2147483647 h 51"/>
                  <a:gd name="T60" fmla="*/ 486982891 w 99"/>
                  <a:gd name="T61" fmla="*/ 2147483647 h 51"/>
                  <a:gd name="T62" fmla="*/ 1136105800 w 99"/>
                  <a:gd name="T63" fmla="*/ 2147483647 h 51"/>
                  <a:gd name="T64" fmla="*/ 2028907406 w 99"/>
                  <a:gd name="T65" fmla="*/ 2147483647 h 51"/>
                  <a:gd name="T66" fmla="*/ 2147483647 w 99"/>
                  <a:gd name="T67" fmla="*/ 2147483647 h 51"/>
                  <a:gd name="T68" fmla="*/ 2147483647 w 99"/>
                  <a:gd name="T69" fmla="*/ 2147483647 h 51"/>
                  <a:gd name="T70" fmla="*/ 2147483647 w 99"/>
                  <a:gd name="T71" fmla="*/ 2147483647 h 51"/>
                  <a:gd name="T72" fmla="*/ 2147483647 w 99"/>
                  <a:gd name="T73" fmla="*/ 2147483647 h 51"/>
                  <a:gd name="T74" fmla="*/ 2147483647 w 99"/>
                  <a:gd name="T75" fmla="*/ 2147483647 h 51"/>
                  <a:gd name="T76" fmla="*/ 2147483647 w 99"/>
                  <a:gd name="T77" fmla="*/ 2147483647 h 5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9" h="51">
                    <a:moveTo>
                      <a:pt x="53" y="2"/>
                    </a:moveTo>
                    <a:lnTo>
                      <a:pt x="58" y="1"/>
                    </a:lnTo>
                    <a:lnTo>
                      <a:pt x="62" y="0"/>
                    </a:lnTo>
                    <a:lnTo>
                      <a:pt x="65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79" y="11"/>
                    </a:lnTo>
                    <a:lnTo>
                      <a:pt x="83" y="18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3" y="30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99" y="37"/>
                    </a:lnTo>
                    <a:lnTo>
                      <a:pt x="97" y="40"/>
                    </a:lnTo>
                    <a:lnTo>
                      <a:pt x="95" y="43"/>
                    </a:lnTo>
                    <a:lnTo>
                      <a:pt x="91" y="45"/>
                    </a:lnTo>
                    <a:lnTo>
                      <a:pt x="86" y="47"/>
                    </a:lnTo>
                    <a:lnTo>
                      <a:pt x="81" y="48"/>
                    </a:lnTo>
                    <a:lnTo>
                      <a:pt x="74" y="50"/>
                    </a:lnTo>
                    <a:lnTo>
                      <a:pt x="68" y="50"/>
                    </a:lnTo>
                    <a:lnTo>
                      <a:pt x="52" y="51"/>
                    </a:lnTo>
                    <a:lnTo>
                      <a:pt x="36" y="49"/>
                    </a:lnTo>
                    <a:lnTo>
                      <a:pt x="27" y="48"/>
                    </a:lnTo>
                    <a:lnTo>
                      <a:pt x="18" y="45"/>
                    </a:lnTo>
                    <a:lnTo>
                      <a:pt x="9" y="43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14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5" y="12"/>
                    </a:lnTo>
                    <a:lnTo>
                      <a:pt x="48" y="10"/>
                    </a:lnTo>
                    <a:lnTo>
                      <a:pt x="51" y="7"/>
                    </a:lnTo>
                    <a:lnTo>
                      <a:pt x="52" y="5"/>
                    </a:lnTo>
                    <a:lnTo>
                      <a:pt x="53" y="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6" name="Freeform 521"/>
              <p:cNvSpPr>
                <a:spLocks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10903218" y="1804560"/>
                <a:ext cx="228600" cy="163512"/>
              </a:xfrm>
              <a:custGeom>
                <a:avLst/>
                <a:gdLst>
                  <a:gd name="T0" fmla="*/ 2147483647 w 525"/>
                  <a:gd name="T1" fmla="*/ 2147483647 h 311"/>
                  <a:gd name="T2" fmla="*/ 2147483647 w 525"/>
                  <a:gd name="T3" fmla="*/ 2147483647 h 311"/>
                  <a:gd name="T4" fmla="*/ 2147483647 w 525"/>
                  <a:gd name="T5" fmla="*/ 2147483647 h 311"/>
                  <a:gd name="T6" fmla="*/ 2147483647 w 525"/>
                  <a:gd name="T7" fmla="*/ 2147483647 h 311"/>
                  <a:gd name="T8" fmla="*/ 2147483647 w 525"/>
                  <a:gd name="T9" fmla="*/ 1017246533 h 311"/>
                  <a:gd name="T10" fmla="*/ 2147483647 w 525"/>
                  <a:gd name="T11" fmla="*/ 872123061 h 311"/>
                  <a:gd name="T12" fmla="*/ 2147483647 w 525"/>
                  <a:gd name="T13" fmla="*/ 2147483647 h 311"/>
                  <a:gd name="T14" fmla="*/ 2147483647 w 525"/>
                  <a:gd name="T15" fmla="*/ 2147483647 h 311"/>
                  <a:gd name="T16" fmla="*/ 2147483647 w 525"/>
                  <a:gd name="T17" fmla="*/ 2147483647 h 311"/>
                  <a:gd name="T18" fmla="*/ 2147483647 w 525"/>
                  <a:gd name="T19" fmla="*/ 2147483647 h 311"/>
                  <a:gd name="T20" fmla="*/ 2147483647 w 525"/>
                  <a:gd name="T21" fmla="*/ 2147483647 h 311"/>
                  <a:gd name="T22" fmla="*/ 2147483647 w 525"/>
                  <a:gd name="T23" fmla="*/ 2147483647 h 311"/>
                  <a:gd name="T24" fmla="*/ 2147483647 w 525"/>
                  <a:gd name="T25" fmla="*/ 2147483647 h 311"/>
                  <a:gd name="T26" fmla="*/ 2147483647 w 525"/>
                  <a:gd name="T27" fmla="*/ 2147483647 h 311"/>
                  <a:gd name="T28" fmla="*/ 2147483647 w 525"/>
                  <a:gd name="T29" fmla="*/ 2147483647 h 311"/>
                  <a:gd name="T30" fmla="*/ 2147483647 w 525"/>
                  <a:gd name="T31" fmla="*/ 2147483647 h 311"/>
                  <a:gd name="T32" fmla="*/ 2147483647 w 525"/>
                  <a:gd name="T33" fmla="*/ 2147483647 h 311"/>
                  <a:gd name="T34" fmla="*/ 2147483647 w 525"/>
                  <a:gd name="T35" fmla="*/ 2147483647 h 311"/>
                  <a:gd name="T36" fmla="*/ 2147483647 w 525"/>
                  <a:gd name="T37" fmla="*/ 2147483647 h 311"/>
                  <a:gd name="T38" fmla="*/ 2147483647 w 525"/>
                  <a:gd name="T39" fmla="*/ 2147483647 h 311"/>
                  <a:gd name="T40" fmla="*/ 2147483647 w 525"/>
                  <a:gd name="T41" fmla="*/ 2147483647 h 311"/>
                  <a:gd name="T42" fmla="*/ 2147483647 w 525"/>
                  <a:gd name="T43" fmla="*/ 2147483647 h 311"/>
                  <a:gd name="T44" fmla="*/ 2147483647 w 525"/>
                  <a:gd name="T45" fmla="*/ 2147483647 h 311"/>
                  <a:gd name="T46" fmla="*/ 2147483647 w 525"/>
                  <a:gd name="T47" fmla="*/ 2147483647 h 311"/>
                  <a:gd name="T48" fmla="*/ 2147483647 w 525"/>
                  <a:gd name="T49" fmla="*/ 2147483647 h 311"/>
                  <a:gd name="T50" fmla="*/ 2147483647 w 525"/>
                  <a:gd name="T51" fmla="*/ 2147483647 h 311"/>
                  <a:gd name="T52" fmla="*/ 2147483647 w 525"/>
                  <a:gd name="T53" fmla="*/ 2147483647 h 311"/>
                  <a:gd name="T54" fmla="*/ 2147483647 w 525"/>
                  <a:gd name="T55" fmla="*/ 2147483647 h 311"/>
                  <a:gd name="T56" fmla="*/ 2147483647 w 525"/>
                  <a:gd name="T57" fmla="*/ 2147483647 h 311"/>
                  <a:gd name="T58" fmla="*/ 2147483647 w 525"/>
                  <a:gd name="T59" fmla="*/ 2147483647 h 311"/>
                  <a:gd name="T60" fmla="*/ 2147483647 w 525"/>
                  <a:gd name="T61" fmla="*/ 2147483647 h 311"/>
                  <a:gd name="T62" fmla="*/ 2147483647 w 525"/>
                  <a:gd name="T63" fmla="*/ 2147483647 h 311"/>
                  <a:gd name="T64" fmla="*/ 2147483647 w 525"/>
                  <a:gd name="T65" fmla="*/ 2147483647 h 311"/>
                  <a:gd name="T66" fmla="*/ 2147483647 w 525"/>
                  <a:gd name="T67" fmla="*/ 2147483647 h 311"/>
                  <a:gd name="T68" fmla="*/ 2147483647 w 525"/>
                  <a:gd name="T69" fmla="*/ 2147483647 h 311"/>
                  <a:gd name="T70" fmla="*/ 2147483647 w 525"/>
                  <a:gd name="T71" fmla="*/ 2147483647 h 311"/>
                  <a:gd name="T72" fmla="*/ 2147483647 w 525"/>
                  <a:gd name="T73" fmla="*/ 2147483647 h 311"/>
                  <a:gd name="T74" fmla="*/ 2147483647 w 525"/>
                  <a:gd name="T75" fmla="*/ 2147483647 h 311"/>
                  <a:gd name="T76" fmla="*/ 0 w 525"/>
                  <a:gd name="T77" fmla="*/ 2147483647 h 311"/>
                  <a:gd name="T78" fmla="*/ 1486069382 w 525"/>
                  <a:gd name="T79" fmla="*/ 2147483647 h 311"/>
                  <a:gd name="T80" fmla="*/ 2147483647 w 525"/>
                  <a:gd name="T81" fmla="*/ 2147483647 h 311"/>
                  <a:gd name="T82" fmla="*/ 2147483647 w 525"/>
                  <a:gd name="T83" fmla="*/ 2147483647 h 311"/>
                  <a:gd name="T84" fmla="*/ 2147483647 w 525"/>
                  <a:gd name="T85" fmla="*/ 2147483647 h 311"/>
                  <a:gd name="T86" fmla="*/ 2147483647 w 525"/>
                  <a:gd name="T87" fmla="*/ 2147483647 h 311"/>
                  <a:gd name="T88" fmla="*/ 2147483647 w 525"/>
                  <a:gd name="T89" fmla="*/ 2147483647 h 311"/>
                  <a:gd name="T90" fmla="*/ 2147483647 w 525"/>
                  <a:gd name="T91" fmla="*/ 2147483647 h 311"/>
                  <a:gd name="T92" fmla="*/ 2147483647 w 525"/>
                  <a:gd name="T93" fmla="*/ 2147483647 h 311"/>
                  <a:gd name="T94" fmla="*/ 2147483647 w 525"/>
                  <a:gd name="T95" fmla="*/ 2147483647 h 311"/>
                  <a:gd name="T96" fmla="*/ 2147483647 w 525"/>
                  <a:gd name="T97" fmla="*/ 2147483647 h 311"/>
                  <a:gd name="T98" fmla="*/ 2147483647 w 525"/>
                  <a:gd name="T99" fmla="*/ 2147483647 h 311"/>
                  <a:gd name="T100" fmla="*/ 2147483647 w 525"/>
                  <a:gd name="T101" fmla="*/ 2147483647 h 311"/>
                  <a:gd name="T102" fmla="*/ 2147483647 w 525"/>
                  <a:gd name="T103" fmla="*/ 2147483647 h 311"/>
                  <a:gd name="T104" fmla="*/ 2147483647 w 525"/>
                  <a:gd name="T105" fmla="*/ 2147483647 h 311"/>
                  <a:gd name="T106" fmla="*/ 2147483647 w 525"/>
                  <a:gd name="T107" fmla="*/ 2147483647 h 311"/>
                  <a:gd name="T108" fmla="*/ 2147483647 w 525"/>
                  <a:gd name="T109" fmla="*/ 2147483647 h 311"/>
                  <a:gd name="T110" fmla="*/ 2147483647 w 525"/>
                  <a:gd name="T111" fmla="*/ 2147483647 h 31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25" h="311">
                    <a:moveTo>
                      <a:pt x="273" y="31"/>
                    </a:moveTo>
                    <a:lnTo>
                      <a:pt x="307" y="31"/>
                    </a:lnTo>
                    <a:lnTo>
                      <a:pt x="315" y="27"/>
                    </a:lnTo>
                    <a:lnTo>
                      <a:pt x="324" y="24"/>
                    </a:lnTo>
                    <a:lnTo>
                      <a:pt x="333" y="22"/>
                    </a:lnTo>
                    <a:lnTo>
                      <a:pt x="342" y="21"/>
                    </a:lnTo>
                    <a:lnTo>
                      <a:pt x="359" y="20"/>
                    </a:lnTo>
                    <a:lnTo>
                      <a:pt x="377" y="20"/>
                    </a:lnTo>
                    <a:lnTo>
                      <a:pt x="385" y="20"/>
                    </a:lnTo>
                    <a:lnTo>
                      <a:pt x="393" y="20"/>
                    </a:lnTo>
                    <a:lnTo>
                      <a:pt x="401" y="19"/>
                    </a:lnTo>
                    <a:lnTo>
                      <a:pt x="408" y="17"/>
                    </a:lnTo>
                    <a:lnTo>
                      <a:pt x="415" y="15"/>
                    </a:lnTo>
                    <a:lnTo>
                      <a:pt x="421" y="11"/>
                    </a:lnTo>
                    <a:lnTo>
                      <a:pt x="427" y="7"/>
                    </a:lnTo>
                    <a:lnTo>
                      <a:pt x="433" y="0"/>
                    </a:lnTo>
                    <a:lnTo>
                      <a:pt x="512" y="0"/>
                    </a:lnTo>
                    <a:lnTo>
                      <a:pt x="514" y="6"/>
                    </a:lnTo>
                    <a:lnTo>
                      <a:pt x="519" y="12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11" y="26"/>
                    </a:lnTo>
                    <a:lnTo>
                      <a:pt x="491" y="36"/>
                    </a:lnTo>
                    <a:lnTo>
                      <a:pt x="468" y="47"/>
                    </a:lnTo>
                    <a:lnTo>
                      <a:pt x="443" y="57"/>
                    </a:lnTo>
                    <a:lnTo>
                      <a:pt x="418" y="66"/>
                    </a:lnTo>
                    <a:lnTo>
                      <a:pt x="392" y="73"/>
                    </a:lnTo>
                    <a:lnTo>
                      <a:pt x="379" y="76"/>
                    </a:lnTo>
                    <a:lnTo>
                      <a:pt x="368" y="78"/>
                    </a:lnTo>
                    <a:lnTo>
                      <a:pt x="356" y="80"/>
                    </a:lnTo>
                    <a:lnTo>
                      <a:pt x="346" y="80"/>
                    </a:lnTo>
                    <a:lnTo>
                      <a:pt x="333" y="81"/>
                    </a:lnTo>
                    <a:lnTo>
                      <a:pt x="321" y="83"/>
                    </a:lnTo>
                    <a:lnTo>
                      <a:pt x="309" y="86"/>
                    </a:lnTo>
                    <a:lnTo>
                      <a:pt x="299" y="90"/>
                    </a:lnTo>
                    <a:lnTo>
                      <a:pt x="279" y="101"/>
                    </a:lnTo>
                    <a:lnTo>
                      <a:pt x="262" y="111"/>
                    </a:lnTo>
                    <a:lnTo>
                      <a:pt x="253" y="116"/>
                    </a:lnTo>
                    <a:lnTo>
                      <a:pt x="244" y="121"/>
                    </a:lnTo>
                    <a:lnTo>
                      <a:pt x="235" y="124"/>
                    </a:lnTo>
                    <a:lnTo>
                      <a:pt x="226" y="127"/>
                    </a:lnTo>
                    <a:lnTo>
                      <a:pt x="218" y="129"/>
                    </a:lnTo>
                    <a:lnTo>
                      <a:pt x="208" y="129"/>
                    </a:lnTo>
                    <a:lnTo>
                      <a:pt x="198" y="127"/>
                    </a:lnTo>
                    <a:lnTo>
                      <a:pt x="187" y="123"/>
                    </a:lnTo>
                    <a:lnTo>
                      <a:pt x="186" y="128"/>
                    </a:lnTo>
                    <a:lnTo>
                      <a:pt x="183" y="133"/>
                    </a:lnTo>
                    <a:lnTo>
                      <a:pt x="178" y="137"/>
                    </a:lnTo>
                    <a:lnTo>
                      <a:pt x="174" y="142"/>
                    </a:lnTo>
                    <a:lnTo>
                      <a:pt x="174" y="144"/>
                    </a:lnTo>
                    <a:lnTo>
                      <a:pt x="175" y="145"/>
                    </a:lnTo>
                    <a:lnTo>
                      <a:pt x="177" y="146"/>
                    </a:lnTo>
                    <a:lnTo>
                      <a:pt x="180" y="147"/>
                    </a:lnTo>
                    <a:lnTo>
                      <a:pt x="185" y="148"/>
                    </a:lnTo>
                    <a:lnTo>
                      <a:pt x="187" y="148"/>
                    </a:lnTo>
                    <a:lnTo>
                      <a:pt x="186" y="152"/>
                    </a:lnTo>
                    <a:lnTo>
                      <a:pt x="184" y="157"/>
                    </a:lnTo>
                    <a:lnTo>
                      <a:pt x="181" y="160"/>
                    </a:lnTo>
                    <a:lnTo>
                      <a:pt x="178" y="164"/>
                    </a:lnTo>
                    <a:lnTo>
                      <a:pt x="176" y="167"/>
                    </a:lnTo>
                    <a:lnTo>
                      <a:pt x="175" y="171"/>
                    </a:lnTo>
                    <a:lnTo>
                      <a:pt x="176" y="175"/>
                    </a:lnTo>
                    <a:lnTo>
                      <a:pt x="180" y="179"/>
                    </a:lnTo>
                    <a:lnTo>
                      <a:pt x="175" y="185"/>
                    </a:lnTo>
                    <a:lnTo>
                      <a:pt x="168" y="190"/>
                    </a:lnTo>
                    <a:lnTo>
                      <a:pt x="162" y="194"/>
                    </a:lnTo>
                    <a:lnTo>
                      <a:pt x="155" y="197"/>
                    </a:lnTo>
                    <a:lnTo>
                      <a:pt x="150" y="201"/>
                    </a:lnTo>
                    <a:lnTo>
                      <a:pt x="144" y="204"/>
                    </a:lnTo>
                    <a:lnTo>
                      <a:pt x="143" y="207"/>
                    </a:lnTo>
                    <a:lnTo>
                      <a:pt x="141" y="209"/>
                    </a:lnTo>
                    <a:lnTo>
                      <a:pt x="141" y="213"/>
                    </a:lnTo>
                    <a:lnTo>
                      <a:pt x="140" y="216"/>
                    </a:lnTo>
                    <a:lnTo>
                      <a:pt x="141" y="222"/>
                    </a:lnTo>
                    <a:lnTo>
                      <a:pt x="144" y="228"/>
                    </a:lnTo>
                    <a:lnTo>
                      <a:pt x="149" y="234"/>
                    </a:lnTo>
                    <a:lnTo>
                      <a:pt x="155" y="241"/>
                    </a:lnTo>
                    <a:lnTo>
                      <a:pt x="163" y="247"/>
                    </a:lnTo>
                    <a:lnTo>
                      <a:pt x="172" y="254"/>
                    </a:lnTo>
                    <a:lnTo>
                      <a:pt x="181" y="260"/>
                    </a:lnTo>
                    <a:lnTo>
                      <a:pt x="191" y="267"/>
                    </a:lnTo>
                    <a:lnTo>
                      <a:pt x="213" y="279"/>
                    </a:lnTo>
                    <a:lnTo>
                      <a:pt x="235" y="290"/>
                    </a:lnTo>
                    <a:lnTo>
                      <a:pt x="256" y="300"/>
                    </a:lnTo>
                    <a:lnTo>
                      <a:pt x="273" y="308"/>
                    </a:lnTo>
                    <a:lnTo>
                      <a:pt x="258" y="310"/>
                    </a:lnTo>
                    <a:lnTo>
                      <a:pt x="243" y="311"/>
                    </a:lnTo>
                    <a:lnTo>
                      <a:pt x="229" y="311"/>
                    </a:lnTo>
                    <a:lnTo>
                      <a:pt x="214" y="310"/>
                    </a:lnTo>
                    <a:lnTo>
                      <a:pt x="189" y="309"/>
                    </a:lnTo>
                    <a:lnTo>
                      <a:pt x="167" y="308"/>
                    </a:lnTo>
                    <a:lnTo>
                      <a:pt x="155" y="308"/>
                    </a:lnTo>
                    <a:lnTo>
                      <a:pt x="145" y="308"/>
                    </a:lnTo>
                    <a:lnTo>
                      <a:pt x="138" y="307"/>
                    </a:lnTo>
                    <a:lnTo>
                      <a:pt x="131" y="305"/>
                    </a:lnTo>
                    <a:lnTo>
                      <a:pt x="129" y="304"/>
                    </a:lnTo>
                    <a:lnTo>
                      <a:pt x="127" y="302"/>
                    </a:lnTo>
                    <a:lnTo>
                      <a:pt x="124" y="300"/>
                    </a:lnTo>
                    <a:lnTo>
                      <a:pt x="123" y="298"/>
                    </a:lnTo>
                    <a:lnTo>
                      <a:pt x="121" y="292"/>
                    </a:lnTo>
                    <a:lnTo>
                      <a:pt x="120" y="284"/>
                    </a:lnTo>
                    <a:lnTo>
                      <a:pt x="120" y="282"/>
                    </a:lnTo>
                    <a:lnTo>
                      <a:pt x="119" y="280"/>
                    </a:lnTo>
                    <a:lnTo>
                      <a:pt x="118" y="279"/>
                    </a:lnTo>
                    <a:lnTo>
                      <a:pt x="116" y="278"/>
                    </a:lnTo>
                    <a:lnTo>
                      <a:pt x="111" y="277"/>
                    </a:lnTo>
                    <a:lnTo>
                      <a:pt x="106" y="276"/>
                    </a:lnTo>
                    <a:lnTo>
                      <a:pt x="95" y="277"/>
                    </a:lnTo>
                    <a:lnTo>
                      <a:pt x="87" y="278"/>
                    </a:lnTo>
                    <a:lnTo>
                      <a:pt x="84" y="287"/>
                    </a:lnTo>
                    <a:lnTo>
                      <a:pt x="80" y="296"/>
                    </a:lnTo>
                    <a:lnTo>
                      <a:pt x="66" y="291"/>
                    </a:lnTo>
                    <a:lnTo>
                      <a:pt x="55" y="287"/>
                    </a:lnTo>
                    <a:lnTo>
                      <a:pt x="44" y="282"/>
                    </a:lnTo>
                    <a:lnTo>
                      <a:pt x="35" y="276"/>
                    </a:lnTo>
                    <a:lnTo>
                      <a:pt x="19" y="263"/>
                    </a:lnTo>
                    <a:lnTo>
                      <a:pt x="0" y="246"/>
                    </a:lnTo>
                    <a:lnTo>
                      <a:pt x="8" y="244"/>
                    </a:lnTo>
                    <a:lnTo>
                      <a:pt x="13" y="242"/>
                    </a:lnTo>
                    <a:lnTo>
                      <a:pt x="18" y="239"/>
                    </a:lnTo>
                    <a:lnTo>
                      <a:pt x="22" y="237"/>
                    </a:lnTo>
                    <a:lnTo>
                      <a:pt x="29" y="230"/>
                    </a:lnTo>
                    <a:lnTo>
                      <a:pt x="34" y="222"/>
                    </a:lnTo>
                    <a:lnTo>
                      <a:pt x="31" y="219"/>
                    </a:lnTo>
                    <a:lnTo>
                      <a:pt x="29" y="216"/>
                    </a:lnTo>
                    <a:lnTo>
                      <a:pt x="28" y="213"/>
                    </a:lnTo>
                    <a:lnTo>
                      <a:pt x="28" y="211"/>
                    </a:lnTo>
                    <a:lnTo>
                      <a:pt x="30" y="205"/>
                    </a:lnTo>
                    <a:lnTo>
                      <a:pt x="34" y="200"/>
                    </a:lnTo>
                    <a:lnTo>
                      <a:pt x="38" y="196"/>
                    </a:lnTo>
                    <a:lnTo>
                      <a:pt x="40" y="191"/>
                    </a:lnTo>
                    <a:lnTo>
                      <a:pt x="40" y="188"/>
                    </a:lnTo>
                    <a:lnTo>
                      <a:pt x="39" y="185"/>
                    </a:lnTo>
                    <a:lnTo>
                      <a:pt x="37" y="182"/>
                    </a:lnTo>
                    <a:lnTo>
                      <a:pt x="34" y="179"/>
                    </a:lnTo>
                    <a:lnTo>
                      <a:pt x="73" y="179"/>
                    </a:lnTo>
                    <a:lnTo>
                      <a:pt x="106" y="179"/>
                    </a:lnTo>
                    <a:lnTo>
                      <a:pt x="134" y="179"/>
                    </a:lnTo>
                    <a:lnTo>
                      <a:pt x="167" y="179"/>
                    </a:lnTo>
                    <a:lnTo>
                      <a:pt x="147" y="178"/>
                    </a:lnTo>
                    <a:lnTo>
                      <a:pt x="131" y="177"/>
                    </a:lnTo>
                    <a:lnTo>
                      <a:pt x="117" y="174"/>
                    </a:lnTo>
                    <a:lnTo>
                      <a:pt x="102" y="171"/>
                    </a:lnTo>
                    <a:lnTo>
                      <a:pt x="90" y="166"/>
                    </a:lnTo>
                    <a:lnTo>
                      <a:pt x="78" y="161"/>
                    </a:lnTo>
                    <a:lnTo>
                      <a:pt x="66" y="155"/>
                    </a:lnTo>
                    <a:lnTo>
                      <a:pt x="54" y="148"/>
                    </a:lnTo>
                    <a:lnTo>
                      <a:pt x="65" y="143"/>
                    </a:lnTo>
                    <a:lnTo>
                      <a:pt x="75" y="139"/>
                    </a:lnTo>
                    <a:lnTo>
                      <a:pt x="84" y="134"/>
                    </a:lnTo>
                    <a:lnTo>
                      <a:pt x="91" y="130"/>
                    </a:lnTo>
                    <a:lnTo>
                      <a:pt x="106" y="120"/>
                    </a:lnTo>
                    <a:lnTo>
                      <a:pt x="120" y="111"/>
                    </a:lnTo>
                    <a:lnTo>
                      <a:pt x="118" y="110"/>
                    </a:lnTo>
                    <a:lnTo>
                      <a:pt x="115" y="108"/>
                    </a:lnTo>
                    <a:lnTo>
                      <a:pt x="111" y="103"/>
                    </a:lnTo>
                    <a:lnTo>
                      <a:pt x="108" y="99"/>
                    </a:lnTo>
                    <a:lnTo>
                      <a:pt x="102" y="87"/>
                    </a:lnTo>
                    <a:lnTo>
                      <a:pt x="100" y="80"/>
                    </a:lnTo>
                    <a:lnTo>
                      <a:pt x="108" y="80"/>
                    </a:lnTo>
                    <a:lnTo>
                      <a:pt x="117" y="78"/>
                    </a:lnTo>
                    <a:lnTo>
                      <a:pt x="127" y="76"/>
                    </a:lnTo>
                    <a:lnTo>
                      <a:pt x="138" y="73"/>
                    </a:lnTo>
                    <a:lnTo>
                      <a:pt x="161" y="66"/>
                    </a:lnTo>
                    <a:lnTo>
                      <a:pt x="184" y="58"/>
                    </a:lnTo>
                    <a:lnTo>
                      <a:pt x="209" y="50"/>
                    </a:lnTo>
                    <a:lnTo>
                      <a:pt x="232" y="41"/>
                    </a:lnTo>
                    <a:lnTo>
                      <a:pt x="254" y="35"/>
                    </a:lnTo>
                    <a:lnTo>
                      <a:pt x="273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7" name="Freeform 522"/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10695255" y="2115710"/>
                <a:ext cx="31750" cy="55562"/>
              </a:xfrm>
              <a:custGeom>
                <a:avLst/>
                <a:gdLst>
                  <a:gd name="T0" fmla="*/ 2147483647 w 79"/>
                  <a:gd name="T1" fmla="*/ 0 h 38"/>
                  <a:gd name="T2" fmla="*/ 2147483647 w 79"/>
                  <a:gd name="T3" fmla="*/ 2147483647 h 38"/>
                  <a:gd name="T4" fmla="*/ 2147483647 w 79"/>
                  <a:gd name="T5" fmla="*/ 2147483647 h 38"/>
                  <a:gd name="T6" fmla="*/ 2147483647 w 79"/>
                  <a:gd name="T7" fmla="*/ 2147483647 h 38"/>
                  <a:gd name="T8" fmla="*/ 2147483647 w 79"/>
                  <a:gd name="T9" fmla="*/ 2147483647 h 38"/>
                  <a:gd name="T10" fmla="*/ 2147483647 w 79"/>
                  <a:gd name="T11" fmla="*/ 2147483647 h 38"/>
                  <a:gd name="T12" fmla="*/ 2147483647 w 79"/>
                  <a:gd name="T13" fmla="*/ 2147483647 h 38"/>
                  <a:gd name="T14" fmla="*/ 2147483647 w 79"/>
                  <a:gd name="T15" fmla="*/ 2147483647 h 38"/>
                  <a:gd name="T16" fmla="*/ 2147483647 w 79"/>
                  <a:gd name="T17" fmla="*/ 2147483647 h 38"/>
                  <a:gd name="T18" fmla="*/ 2147483647 w 79"/>
                  <a:gd name="T19" fmla="*/ 2147483647 h 38"/>
                  <a:gd name="T20" fmla="*/ 2147483647 w 79"/>
                  <a:gd name="T21" fmla="*/ 2147483647 h 38"/>
                  <a:gd name="T22" fmla="*/ 2147483647 w 79"/>
                  <a:gd name="T23" fmla="*/ 2147483647 h 38"/>
                  <a:gd name="T24" fmla="*/ 2147483647 w 79"/>
                  <a:gd name="T25" fmla="*/ 2147483647 h 38"/>
                  <a:gd name="T26" fmla="*/ 2147483647 w 79"/>
                  <a:gd name="T27" fmla="*/ 2147483647 h 38"/>
                  <a:gd name="T28" fmla="*/ 2147483647 w 79"/>
                  <a:gd name="T29" fmla="*/ 2147483647 h 38"/>
                  <a:gd name="T30" fmla="*/ 2147483647 w 79"/>
                  <a:gd name="T31" fmla="*/ 2147483647 h 38"/>
                  <a:gd name="T32" fmla="*/ 1947477883 w 79"/>
                  <a:gd name="T33" fmla="*/ 2147483647 h 38"/>
                  <a:gd name="T34" fmla="*/ 1363250554 w 79"/>
                  <a:gd name="T35" fmla="*/ 2147483647 h 38"/>
                  <a:gd name="T36" fmla="*/ 973658361 w 79"/>
                  <a:gd name="T37" fmla="*/ 2147483647 h 38"/>
                  <a:gd name="T38" fmla="*/ 519294962 w 79"/>
                  <a:gd name="T39" fmla="*/ 2147483647 h 38"/>
                  <a:gd name="T40" fmla="*/ 259728263 w 79"/>
                  <a:gd name="T41" fmla="*/ 2147483647 h 38"/>
                  <a:gd name="T42" fmla="*/ 129864332 w 79"/>
                  <a:gd name="T43" fmla="*/ 2147483647 h 38"/>
                  <a:gd name="T44" fmla="*/ 64931965 w 79"/>
                  <a:gd name="T45" fmla="*/ 2147483647 h 38"/>
                  <a:gd name="T46" fmla="*/ 0 w 79"/>
                  <a:gd name="T47" fmla="*/ 2147483647 h 38"/>
                  <a:gd name="T48" fmla="*/ 0 w 79"/>
                  <a:gd name="T49" fmla="*/ 2147483647 h 38"/>
                  <a:gd name="T50" fmla="*/ 64931965 w 79"/>
                  <a:gd name="T51" fmla="*/ 2147483647 h 38"/>
                  <a:gd name="T52" fmla="*/ 259728263 w 79"/>
                  <a:gd name="T53" fmla="*/ 2147483647 h 38"/>
                  <a:gd name="T54" fmla="*/ 649159294 w 79"/>
                  <a:gd name="T55" fmla="*/ 2147483647 h 38"/>
                  <a:gd name="T56" fmla="*/ 1103522291 w 79"/>
                  <a:gd name="T57" fmla="*/ 2147483647 h 38"/>
                  <a:gd name="T58" fmla="*/ 2077342215 w 79"/>
                  <a:gd name="T59" fmla="*/ 2147483647 h 38"/>
                  <a:gd name="T60" fmla="*/ 2147483647 w 79"/>
                  <a:gd name="T61" fmla="*/ 0 h 3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9" h="38">
                    <a:moveTo>
                      <a:pt x="46" y="0"/>
                    </a:moveTo>
                    <a:lnTo>
                      <a:pt x="54" y="1"/>
                    </a:lnTo>
                    <a:lnTo>
                      <a:pt x="62" y="3"/>
                    </a:lnTo>
                    <a:lnTo>
                      <a:pt x="68" y="7"/>
                    </a:lnTo>
                    <a:lnTo>
                      <a:pt x="72" y="12"/>
                    </a:lnTo>
                    <a:lnTo>
                      <a:pt x="75" y="17"/>
                    </a:lnTo>
                    <a:lnTo>
                      <a:pt x="77" y="22"/>
                    </a:lnTo>
                    <a:lnTo>
                      <a:pt x="79" y="27"/>
                    </a:lnTo>
                    <a:lnTo>
                      <a:pt x="79" y="32"/>
                    </a:lnTo>
                    <a:lnTo>
                      <a:pt x="77" y="34"/>
                    </a:lnTo>
                    <a:lnTo>
                      <a:pt x="75" y="35"/>
                    </a:lnTo>
                    <a:lnTo>
                      <a:pt x="72" y="36"/>
                    </a:lnTo>
                    <a:lnTo>
                      <a:pt x="68" y="37"/>
                    </a:lnTo>
                    <a:lnTo>
                      <a:pt x="57" y="38"/>
                    </a:lnTo>
                    <a:lnTo>
                      <a:pt x="46" y="38"/>
                    </a:lnTo>
                    <a:lnTo>
                      <a:pt x="38" y="37"/>
                    </a:lnTo>
                    <a:lnTo>
                      <a:pt x="30" y="36"/>
                    </a:lnTo>
                    <a:lnTo>
                      <a:pt x="21" y="35"/>
                    </a:lnTo>
                    <a:lnTo>
                      <a:pt x="15" y="32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7" y="4"/>
                    </a:lnTo>
                    <a:lnTo>
                      <a:pt x="32" y="1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8" name="Freeform 523"/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13000305" y="2412572"/>
                <a:ext cx="196850" cy="268288"/>
              </a:xfrm>
              <a:custGeom>
                <a:avLst/>
                <a:gdLst>
                  <a:gd name="T0" fmla="*/ 2050969857 w 459"/>
                  <a:gd name="T1" fmla="*/ 2147483647 h 511"/>
                  <a:gd name="T2" fmla="*/ 946488252 w 459"/>
                  <a:gd name="T3" fmla="*/ 2147483647 h 511"/>
                  <a:gd name="T4" fmla="*/ 0 w 459"/>
                  <a:gd name="T5" fmla="*/ 0 h 511"/>
                  <a:gd name="T6" fmla="*/ 1735351117 w 459"/>
                  <a:gd name="T7" fmla="*/ 1013019786 h 511"/>
                  <a:gd name="T8" fmla="*/ 2147483647 w 459"/>
                  <a:gd name="T9" fmla="*/ 868302824 h 511"/>
                  <a:gd name="T10" fmla="*/ 2147483647 w 459"/>
                  <a:gd name="T11" fmla="*/ 2147483647 h 511"/>
                  <a:gd name="T12" fmla="*/ 2147483647 w 459"/>
                  <a:gd name="T13" fmla="*/ 2147483647 h 511"/>
                  <a:gd name="T14" fmla="*/ 2147483647 w 459"/>
                  <a:gd name="T15" fmla="*/ 2147483647 h 511"/>
                  <a:gd name="T16" fmla="*/ 2147483647 w 459"/>
                  <a:gd name="T17" fmla="*/ 2147483647 h 511"/>
                  <a:gd name="T18" fmla="*/ 2147483647 w 459"/>
                  <a:gd name="T19" fmla="*/ 2147483647 h 511"/>
                  <a:gd name="T20" fmla="*/ 2147483647 w 459"/>
                  <a:gd name="T21" fmla="*/ 2147483647 h 511"/>
                  <a:gd name="T22" fmla="*/ 2147483647 w 459"/>
                  <a:gd name="T23" fmla="*/ 2147483647 h 511"/>
                  <a:gd name="T24" fmla="*/ 2147483647 w 459"/>
                  <a:gd name="T25" fmla="*/ 2147483647 h 511"/>
                  <a:gd name="T26" fmla="*/ 2147483647 w 459"/>
                  <a:gd name="T27" fmla="*/ 2147483647 h 511"/>
                  <a:gd name="T28" fmla="*/ 2147483647 w 459"/>
                  <a:gd name="T29" fmla="*/ 2147483647 h 511"/>
                  <a:gd name="T30" fmla="*/ 2147483647 w 459"/>
                  <a:gd name="T31" fmla="*/ 2147483647 h 511"/>
                  <a:gd name="T32" fmla="*/ 2147483647 w 459"/>
                  <a:gd name="T33" fmla="*/ 2147483647 h 511"/>
                  <a:gd name="T34" fmla="*/ 2147483647 w 459"/>
                  <a:gd name="T35" fmla="*/ 2147483647 h 511"/>
                  <a:gd name="T36" fmla="*/ 2147483647 w 459"/>
                  <a:gd name="T37" fmla="*/ 2147483647 h 511"/>
                  <a:gd name="T38" fmla="*/ 2147483647 w 459"/>
                  <a:gd name="T39" fmla="*/ 2147483647 h 511"/>
                  <a:gd name="T40" fmla="*/ 2147483647 w 459"/>
                  <a:gd name="T41" fmla="*/ 2147483647 h 511"/>
                  <a:gd name="T42" fmla="*/ 2147483647 w 459"/>
                  <a:gd name="T43" fmla="*/ 2147483647 h 511"/>
                  <a:gd name="T44" fmla="*/ 2147483647 w 459"/>
                  <a:gd name="T45" fmla="*/ 2147483647 h 511"/>
                  <a:gd name="T46" fmla="*/ 2147483647 w 459"/>
                  <a:gd name="T47" fmla="*/ 2147483647 h 511"/>
                  <a:gd name="T48" fmla="*/ 2147483647 w 459"/>
                  <a:gd name="T49" fmla="*/ 2147483647 h 511"/>
                  <a:gd name="T50" fmla="*/ 2147483647 w 459"/>
                  <a:gd name="T51" fmla="*/ 2147483647 h 511"/>
                  <a:gd name="T52" fmla="*/ 2147483647 w 459"/>
                  <a:gd name="T53" fmla="*/ 2147483647 h 511"/>
                  <a:gd name="T54" fmla="*/ 2147483647 w 459"/>
                  <a:gd name="T55" fmla="*/ 2147483647 h 511"/>
                  <a:gd name="T56" fmla="*/ 2147483647 w 459"/>
                  <a:gd name="T57" fmla="*/ 2147483647 h 511"/>
                  <a:gd name="T58" fmla="*/ 2147483647 w 459"/>
                  <a:gd name="T59" fmla="*/ 2147483647 h 511"/>
                  <a:gd name="T60" fmla="*/ 2147483647 w 459"/>
                  <a:gd name="T61" fmla="*/ 2147483647 h 511"/>
                  <a:gd name="T62" fmla="*/ 2147483647 w 459"/>
                  <a:gd name="T63" fmla="*/ 2147483647 h 511"/>
                  <a:gd name="T64" fmla="*/ 2147483647 w 459"/>
                  <a:gd name="T65" fmla="*/ 2147483647 h 511"/>
                  <a:gd name="T66" fmla="*/ 2147483647 w 459"/>
                  <a:gd name="T67" fmla="*/ 2147483647 h 511"/>
                  <a:gd name="T68" fmla="*/ 2147483647 w 459"/>
                  <a:gd name="T69" fmla="*/ 2147483647 h 511"/>
                  <a:gd name="T70" fmla="*/ 2147483647 w 459"/>
                  <a:gd name="T71" fmla="*/ 2147483647 h 511"/>
                  <a:gd name="T72" fmla="*/ 2147483647 w 459"/>
                  <a:gd name="T73" fmla="*/ 2147483647 h 511"/>
                  <a:gd name="T74" fmla="*/ 2147483647 w 459"/>
                  <a:gd name="T75" fmla="*/ 2147483647 h 511"/>
                  <a:gd name="T76" fmla="*/ 2147483647 w 459"/>
                  <a:gd name="T77" fmla="*/ 2147483647 h 511"/>
                  <a:gd name="T78" fmla="*/ 2147483647 w 459"/>
                  <a:gd name="T79" fmla="*/ 2147483647 h 511"/>
                  <a:gd name="T80" fmla="*/ 2147483647 w 459"/>
                  <a:gd name="T81" fmla="*/ 2147483647 h 511"/>
                  <a:gd name="T82" fmla="*/ 2147483647 w 459"/>
                  <a:gd name="T83" fmla="*/ 2147483647 h 511"/>
                  <a:gd name="T84" fmla="*/ 2147483647 w 459"/>
                  <a:gd name="T85" fmla="*/ 2147483647 h 511"/>
                  <a:gd name="T86" fmla="*/ 2147483647 w 459"/>
                  <a:gd name="T87" fmla="*/ 2147483647 h 511"/>
                  <a:gd name="T88" fmla="*/ 2147483647 w 459"/>
                  <a:gd name="T89" fmla="*/ 2147483647 h 511"/>
                  <a:gd name="T90" fmla="*/ 2147483647 w 459"/>
                  <a:gd name="T91" fmla="*/ 2147483647 h 511"/>
                  <a:gd name="T92" fmla="*/ 2147483647 w 459"/>
                  <a:gd name="T93" fmla="*/ 2147483647 h 51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59" h="511">
                    <a:moveTo>
                      <a:pt x="33" y="68"/>
                    </a:moveTo>
                    <a:lnTo>
                      <a:pt x="29" y="56"/>
                    </a:lnTo>
                    <a:lnTo>
                      <a:pt x="26" y="45"/>
                    </a:lnTo>
                    <a:lnTo>
                      <a:pt x="22" y="38"/>
                    </a:lnTo>
                    <a:lnTo>
                      <a:pt x="16" y="31"/>
                    </a:lnTo>
                    <a:lnTo>
                      <a:pt x="12" y="25"/>
                    </a:lnTo>
                    <a:lnTo>
                      <a:pt x="6" y="18"/>
                    </a:lnTo>
                    <a:lnTo>
                      <a:pt x="3" y="1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6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3" y="6"/>
                    </a:lnTo>
                    <a:lnTo>
                      <a:pt x="59" y="31"/>
                    </a:lnTo>
                    <a:lnTo>
                      <a:pt x="80" y="50"/>
                    </a:lnTo>
                    <a:lnTo>
                      <a:pt x="95" y="67"/>
                    </a:lnTo>
                    <a:lnTo>
                      <a:pt x="107" y="80"/>
                    </a:lnTo>
                    <a:lnTo>
                      <a:pt x="125" y="102"/>
                    </a:lnTo>
                    <a:lnTo>
                      <a:pt x="146" y="123"/>
                    </a:lnTo>
                    <a:lnTo>
                      <a:pt x="172" y="149"/>
                    </a:lnTo>
                    <a:lnTo>
                      <a:pt x="195" y="175"/>
                    </a:lnTo>
                    <a:lnTo>
                      <a:pt x="216" y="198"/>
                    </a:lnTo>
                    <a:lnTo>
                      <a:pt x="239" y="222"/>
                    </a:lnTo>
                    <a:lnTo>
                      <a:pt x="248" y="230"/>
                    </a:lnTo>
                    <a:lnTo>
                      <a:pt x="258" y="237"/>
                    </a:lnTo>
                    <a:lnTo>
                      <a:pt x="269" y="245"/>
                    </a:lnTo>
                    <a:lnTo>
                      <a:pt x="280" y="252"/>
                    </a:lnTo>
                    <a:lnTo>
                      <a:pt x="303" y="266"/>
                    </a:lnTo>
                    <a:lnTo>
                      <a:pt x="327" y="281"/>
                    </a:lnTo>
                    <a:lnTo>
                      <a:pt x="350" y="295"/>
                    </a:lnTo>
                    <a:lnTo>
                      <a:pt x="372" y="311"/>
                    </a:lnTo>
                    <a:lnTo>
                      <a:pt x="382" y="318"/>
                    </a:lnTo>
                    <a:lnTo>
                      <a:pt x="391" y="327"/>
                    </a:lnTo>
                    <a:lnTo>
                      <a:pt x="398" y="336"/>
                    </a:lnTo>
                    <a:lnTo>
                      <a:pt x="405" y="345"/>
                    </a:lnTo>
                    <a:lnTo>
                      <a:pt x="387" y="334"/>
                    </a:lnTo>
                    <a:lnTo>
                      <a:pt x="365" y="320"/>
                    </a:lnTo>
                    <a:lnTo>
                      <a:pt x="343" y="306"/>
                    </a:lnTo>
                    <a:lnTo>
                      <a:pt x="326" y="295"/>
                    </a:lnTo>
                    <a:lnTo>
                      <a:pt x="324" y="296"/>
                    </a:lnTo>
                    <a:lnTo>
                      <a:pt x="318" y="296"/>
                    </a:lnTo>
                    <a:lnTo>
                      <a:pt x="316" y="297"/>
                    </a:lnTo>
                    <a:lnTo>
                      <a:pt x="314" y="298"/>
                    </a:lnTo>
                    <a:lnTo>
                      <a:pt x="313" y="300"/>
                    </a:lnTo>
                    <a:lnTo>
                      <a:pt x="311" y="301"/>
                    </a:lnTo>
                    <a:lnTo>
                      <a:pt x="313" y="311"/>
                    </a:lnTo>
                    <a:lnTo>
                      <a:pt x="313" y="320"/>
                    </a:lnTo>
                    <a:lnTo>
                      <a:pt x="315" y="328"/>
                    </a:lnTo>
                    <a:lnTo>
                      <a:pt x="317" y="337"/>
                    </a:lnTo>
                    <a:lnTo>
                      <a:pt x="319" y="344"/>
                    </a:lnTo>
                    <a:lnTo>
                      <a:pt x="322" y="351"/>
                    </a:lnTo>
                    <a:lnTo>
                      <a:pt x="326" y="358"/>
                    </a:lnTo>
                    <a:lnTo>
                      <a:pt x="329" y="364"/>
                    </a:lnTo>
                    <a:lnTo>
                      <a:pt x="338" y="375"/>
                    </a:lnTo>
                    <a:lnTo>
                      <a:pt x="348" y="387"/>
                    </a:lnTo>
                    <a:lnTo>
                      <a:pt x="359" y="396"/>
                    </a:lnTo>
                    <a:lnTo>
                      <a:pt x="370" y="405"/>
                    </a:lnTo>
                    <a:lnTo>
                      <a:pt x="394" y="421"/>
                    </a:lnTo>
                    <a:lnTo>
                      <a:pt x="418" y="438"/>
                    </a:lnTo>
                    <a:lnTo>
                      <a:pt x="430" y="448"/>
                    </a:lnTo>
                    <a:lnTo>
                      <a:pt x="440" y="458"/>
                    </a:lnTo>
                    <a:lnTo>
                      <a:pt x="450" y="468"/>
                    </a:lnTo>
                    <a:lnTo>
                      <a:pt x="459" y="480"/>
                    </a:lnTo>
                    <a:lnTo>
                      <a:pt x="448" y="476"/>
                    </a:lnTo>
                    <a:lnTo>
                      <a:pt x="437" y="473"/>
                    </a:lnTo>
                    <a:lnTo>
                      <a:pt x="432" y="471"/>
                    </a:lnTo>
                    <a:lnTo>
                      <a:pt x="428" y="469"/>
                    </a:lnTo>
                    <a:lnTo>
                      <a:pt x="426" y="466"/>
                    </a:lnTo>
                    <a:lnTo>
                      <a:pt x="425" y="462"/>
                    </a:lnTo>
                    <a:lnTo>
                      <a:pt x="392" y="462"/>
                    </a:lnTo>
                    <a:lnTo>
                      <a:pt x="392" y="475"/>
                    </a:lnTo>
                    <a:lnTo>
                      <a:pt x="393" y="488"/>
                    </a:lnTo>
                    <a:lnTo>
                      <a:pt x="393" y="494"/>
                    </a:lnTo>
                    <a:lnTo>
                      <a:pt x="395" y="501"/>
                    </a:lnTo>
                    <a:lnTo>
                      <a:pt x="396" y="506"/>
                    </a:lnTo>
                    <a:lnTo>
                      <a:pt x="398" y="511"/>
                    </a:lnTo>
                    <a:lnTo>
                      <a:pt x="395" y="505"/>
                    </a:lnTo>
                    <a:lnTo>
                      <a:pt x="392" y="498"/>
                    </a:lnTo>
                    <a:lnTo>
                      <a:pt x="388" y="492"/>
                    </a:lnTo>
                    <a:lnTo>
                      <a:pt x="383" y="486"/>
                    </a:lnTo>
                    <a:lnTo>
                      <a:pt x="374" y="476"/>
                    </a:lnTo>
                    <a:lnTo>
                      <a:pt x="363" y="466"/>
                    </a:lnTo>
                    <a:lnTo>
                      <a:pt x="354" y="458"/>
                    </a:lnTo>
                    <a:lnTo>
                      <a:pt x="346" y="449"/>
                    </a:lnTo>
                    <a:lnTo>
                      <a:pt x="343" y="445"/>
                    </a:lnTo>
                    <a:lnTo>
                      <a:pt x="340" y="439"/>
                    </a:lnTo>
                    <a:lnTo>
                      <a:pt x="339" y="435"/>
                    </a:lnTo>
                    <a:lnTo>
                      <a:pt x="339" y="431"/>
                    </a:lnTo>
                    <a:lnTo>
                      <a:pt x="337" y="425"/>
                    </a:lnTo>
                    <a:lnTo>
                      <a:pt x="333" y="419"/>
                    </a:lnTo>
                    <a:lnTo>
                      <a:pt x="328" y="411"/>
                    </a:lnTo>
                    <a:lnTo>
                      <a:pt x="321" y="403"/>
                    </a:lnTo>
                    <a:lnTo>
                      <a:pt x="316" y="394"/>
                    </a:lnTo>
                    <a:lnTo>
                      <a:pt x="310" y="384"/>
                    </a:lnTo>
                    <a:lnTo>
                      <a:pt x="307" y="376"/>
                    </a:lnTo>
                    <a:lnTo>
                      <a:pt x="305" y="369"/>
                    </a:lnTo>
                    <a:lnTo>
                      <a:pt x="298" y="367"/>
                    </a:lnTo>
                    <a:lnTo>
                      <a:pt x="292" y="365"/>
                    </a:lnTo>
                    <a:lnTo>
                      <a:pt x="285" y="362"/>
                    </a:lnTo>
                    <a:lnTo>
                      <a:pt x="280" y="358"/>
                    </a:lnTo>
                    <a:lnTo>
                      <a:pt x="274" y="353"/>
                    </a:lnTo>
                    <a:lnTo>
                      <a:pt x="269" y="348"/>
                    </a:lnTo>
                    <a:lnTo>
                      <a:pt x="264" y="343"/>
                    </a:lnTo>
                    <a:lnTo>
                      <a:pt x="261" y="337"/>
                    </a:lnTo>
                    <a:lnTo>
                      <a:pt x="254" y="325"/>
                    </a:lnTo>
                    <a:lnTo>
                      <a:pt x="249" y="314"/>
                    </a:lnTo>
                    <a:lnTo>
                      <a:pt x="247" y="304"/>
                    </a:lnTo>
                    <a:lnTo>
                      <a:pt x="246" y="295"/>
                    </a:lnTo>
                    <a:lnTo>
                      <a:pt x="245" y="293"/>
                    </a:lnTo>
                    <a:lnTo>
                      <a:pt x="242" y="289"/>
                    </a:lnTo>
                    <a:lnTo>
                      <a:pt x="239" y="285"/>
                    </a:lnTo>
                    <a:lnTo>
                      <a:pt x="234" y="281"/>
                    </a:lnTo>
                    <a:lnTo>
                      <a:pt x="221" y="269"/>
                    </a:lnTo>
                    <a:lnTo>
                      <a:pt x="208" y="257"/>
                    </a:lnTo>
                    <a:lnTo>
                      <a:pt x="194" y="244"/>
                    </a:lnTo>
                    <a:lnTo>
                      <a:pt x="181" y="232"/>
                    </a:lnTo>
                    <a:lnTo>
                      <a:pt x="175" y="226"/>
                    </a:lnTo>
                    <a:lnTo>
                      <a:pt x="171" y="220"/>
                    </a:lnTo>
                    <a:lnTo>
                      <a:pt x="168" y="214"/>
                    </a:lnTo>
                    <a:lnTo>
                      <a:pt x="165" y="209"/>
                    </a:lnTo>
                    <a:lnTo>
                      <a:pt x="163" y="203"/>
                    </a:lnTo>
                    <a:lnTo>
                      <a:pt x="161" y="197"/>
                    </a:lnTo>
                    <a:lnTo>
                      <a:pt x="158" y="192"/>
                    </a:lnTo>
                    <a:lnTo>
                      <a:pt x="154" y="187"/>
                    </a:lnTo>
                    <a:lnTo>
                      <a:pt x="146" y="178"/>
                    </a:lnTo>
                    <a:lnTo>
                      <a:pt x="137" y="170"/>
                    </a:lnTo>
                    <a:lnTo>
                      <a:pt x="115" y="155"/>
                    </a:lnTo>
                    <a:lnTo>
                      <a:pt x="92" y="143"/>
                    </a:lnTo>
                    <a:lnTo>
                      <a:pt x="81" y="136"/>
                    </a:lnTo>
                    <a:lnTo>
                      <a:pt x="70" y="130"/>
                    </a:lnTo>
                    <a:lnTo>
                      <a:pt x="60" y="122"/>
                    </a:lnTo>
                    <a:lnTo>
                      <a:pt x="51" y="114"/>
                    </a:lnTo>
                    <a:lnTo>
                      <a:pt x="47" y="110"/>
                    </a:lnTo>
                    <a:lnTo>
                      <a:pt x="44" y="104"/>
                    </a:lnTo>
                    <a:lnTo>
                      <a:pt x="40" y="99"/>
                    </a:lnTo>
                    <a:lnTo>
                      <a:pt x="38" y="93"/>
                    </a:lnTo>
                    <a:lnTo>
                      <a:pt x="36" y="88"/>
                    </a:lnTo>
                    <a:lnTo>
                      <a:pt x="34" y="81"/>
                    </a:lnTo>
                    <a:lnTo>
                      <a:pt x="34" y="75"/>
                    </a:lnTo>
                    <a:lnTo>
                      <a:pt x="33" y="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289" name="Group 524"/>
              <p:cNvGrpSpPr>
                <a:grpSpLocks/>
              </p:cNvGrpSpPr>
              <p:nvPr>
                <p:custDataLst>
                  <p:tags r:id="rId285"/>
                </p:custDataLst>
              </p:nvPr>
            </p:nvGrpSpPr>
            <p:grpSpPr bwMode="auto">
              <a:xfrm>
                <a:off x="11790630" y="2368122"/>
                <a:ext cx="671513" cy="384175"/>
                <a:chOff x="4115" y="1551"/>
                <a:chExt cx="504" cy="244"/>
              </a:xfrm>
            </p:grpSpPr>
            <p:sp>
              <p:nvSpPr>
                <p:cNvPr id="313" name="Freeform 525"/>
                <p:cNvSpPr>
                  <a:spLocks/>
                </p:cNvSpPr>
                <p:nvPr/>
              </p:nvSpPr>
              <p:spPr bwMode="auto">
                <a:xfrm>
                  <a:off x="4540" y="1551"/>
                  <a:ext cx="79" cy="86"/>
                </a:xfrm>
                <a:custGeom>
                  <a:avLst/>
                  <a:gdLst>
                    <a:gd name="T0" fmla="*/ 0 w 240"/>
                    <a:gd name="T1" fmla="*/ 9 h 259"/>
                    <a:gd name="T2" fmla="*/ 3 w 240"/>
                    <a:gd name="T3" fmla="*/ 10 h 259"/>
                    <a:gd name="T4" fmla="*/ 4 w 240"/>
                    <a:gd name="T5" fmla="*/ 9 h 259"/>
                    <a:gd name="T6" fmla="*/ 5 w 240"/>
                    <a:gd name="T7" fmla="*/ 8 h 259"/>
                    <a:gd name="T8" fmla="*/ 7 w 240"/>
                    <a:gd name="T9" fmla="*/ 6 h 259"/>
                    <a:gd name="T10" fmla="*/ 8 w 240"/>
                    <a:gd name="T11" fmla="*/ 4 h 259"/>
                    <a:gd name="T12" fmla="*/ 9 w 240"/>
                    <a:gd name="T13" fmla="*/ 1 h 259"/>
                    <a:gd name="T14" fmla="*/ 8 w 240"/>
                    <a:gd name="T15" fmla="*/ 0 h 259"/>
                    <a:gd name="T16" fmla="*/ 7 w 240"/>
                    <a:gd name="T17" fmla="*/ 1 h 259"/>
                    <a:gd name="T18" fmla="*/ 7 w 240"/>
                    <a:gd name="T19" fmla="*/ 3 h 259"/>
                    <a:gd name="T20" fmla="*/ 6 w 240"/>
                    <a:gd name="T21" fmla="*/ 4 h 259"/>
                    <a:gd name="T22" fmla="*/ 5 w 240"/>
                    <a:gd name="T23" fmla="*/ 5 h 259"/>
                    <a:gd name="T24" fmla="*/ 4 w 240"/>
                    <a:gd name="T25" fmla="*/ 7 h 259"/>
                    <a:gd name="T26" fmla="*/ 3 w 240"/>
                    <a:gd name="T27" fmla="*/ 8 h 259"/>
                    <a:gd name="T28" fmla="*/ 1 w 240"/>
                    <a:gd name="T29" fmla="*/ 8 h 259"/>
                    <a:gd name="T30" fmla="*/ 0 w 240"/>
                    <a:gd name="T31" fmla="*/ 8 h 259"/>
                    <a:gd name="T32" fmla="*/ 0 w 240"/>
                    <a:gd name="T33" fmla="*/ 9 h 25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40" h="259">
                      <a:moveTo>
                        <a:pt x="13" y="247"/>
                      </a:moveTo>
                      <a:lnTo>
                        <a:pt x="79" y="259"/>
                      </a:lnTo>
                      <a:lnTo>
                        <a:pt x="120" y="240"/>
                      </a:lnTo>
                      <a:lnTo>
                        <a:pt x="133" y="210"/>
                      </a:lnTo>
                      <a:lnTo>
                        <a:pt x="192" y="161"/>
                      </a:lnTo>
                      <a:lnTo>
                        <a:pt x="212" y="111"/>
                      </a:lnTo>
                      <a:lnTo>
                        <a:pt x="240" y="26"/>
                      </a:lnTo>
                      <a:lnTo>
                        <a:pt x="212" y="0"/>
                      </a:lnTo>
                      <a:lnTo>
                        <a:pt x="206" y="32"/>
                      </a:lnTo>
                      <a:lnTo>
                        <a:pt x="199" y="74"/>
                      </a:lnTo>
                      <a:lnTo>
                        <a:pt x="166" y="105"/>
                      </a:lnTo>
                      <a:lnTo>
                        <a:pt x="133" y="149"/>
                      </a:lnTo>
                      <a:lnTo>
                        <a:pt x="113" y="179"/>
                      </a:lnTo>
                      <a:lnTo>
                        <a:pt x="93" y="216"/>
                      </a:lnTo>
                      <a:lnTo>
                        <a:pt x="20" y="222"/>
                      </a:lnTo>
                      <a:lnTo>
                        <a:pt x="0" y="222"/>
                      </a:lnTo>
                      <a:lnTo>
                        <a:pt x="13" y="247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4" name="Freeform 526"/>
                <p:cNvSpPr>
                  <a:spLocks/>
                </p:cNvSpPr>
                <p:nvPr/>
              </p:nvSpPr>
              <p:spPr bwMode="auto">
                <a:xfrm>
                  <a:off x="4115" y="1761"/>
                  <a:ext cx="84" cy="34"/>
                </a:xfrm>
                <a:custGeom>
                  <a:avLst/>
                  <a:gdLst>
                    <a:gd name="T0" fmla="*/ 1 w 259"/>
                    <a:gd name="T1" fmla="*/ 4 h 104"/>
                    <a:gd name="T2" fmla="*/ 1 w 259"/>
                    <a:gd name="T3" fmla="*/ 3 h 104"/>
                    <a:gd name="T4" fmla="*/ 2 w 259"/>
                    <a:gd name="T5" fmla="*/ 2 h 104"/>
                    <a:gd name="T6" fmla="*/ 2 w 259"/>
                    <a:gd name="T7" fmla="*/ 2 h 104"/>
                    <a:gd name="T8" fmla="*/ 4 w 259"/>
                    <a:gd name="T9" fmla="*/ 2 h 104"/>
                    <a:gd name="T10" fmla="*/ 6 w 259"/>
                    <a:gd name="T11" fmla="*/ 2 h 104"/>
                    <a:gd name="T12" fmla="*/ 8 w 259"/>
                    <a:gd name="T13" fmla="*/ 1 h 104"/>
                    <a:gd name="T14" fmla="*/ 9 w 259"/>
                    <a:gd name="T15" fmla="*/ 0 h 104"/>
                    <a:gd name="T16" fmla="*/ 8 w 259"/>
                    <a:gd name="T17" fmla="*/ 0 h 104"/>
                    <a:gd name="T18" fmla="*/ 7 w 259"/>
                    <a:gd name="T19" fmla="*/ 0 h 104"/>
                    <a:gd name="T20" fmla="*/ 5 w 259"/>
                    <a:gd name="T21" fmla="*/ 0 h 104"/>
                    <a:gd name="T22" fmla="*/ 4 w 259"/>
                    <a:gd name="T23" fmla="*/ 0 h 104"/>
                    <a:gd name="T24" fmla="*/ 2 w 259"/>
                    <a:gd name="T25" fmla="*/ 1 h 104"/>
                    <a:gd name="T26" fmla="*/ 1 w 259"/>
                    <a:gd name="T27" fmla="*/ 2 h 104"/>
                    <a:gd name="T28" fmla="*/ 0 w 259"/>
                    <a:gd name="T29" fmla="*/ 2 h 104"/>
                    <a:gd name="T30" fmla="*/ 0 w 259"/>
                    <a:gd name="T31" fmla="*/ 4 h 104"/>
                    <a:gd name="T32" fmla="*/ 1 w 259"/>
                    <a:gd name="T33" fmla="*/ 4 h 10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59" h="104">
                      <a:moveTo>
                        <a:pt x="33" y="104"/>
                      </a:moveTo>
                      <a:lnTo>
                        <a:pt x="26" y="86"/>
                      </a:lnTo>
                      <a:lnTo>
                        <a:pt x="52" y="62"/>
                      </a:lnTo>
                      <a:lnTo>
                        <a:pt x="72" y="49"/>
                      </a:lnTo>
                      <a:lnTo>
                        <a:pt x="126" y="43"/>
                      </a:lnTo>
                      <a:lnTo>
                        <a:pt x="172" y="43"/>
                      </a:lnTo>
                      <a:lnTo>
                        <a:pt x="246" y="31"/>
                      </a:lnTo>
                      <a:lnTo>
                        <a:pt x="259" y="7"/>
                      </a:lnTo>
                      <a:lnTo>
                        <a:pt x="246" y="0"/>
                      </a:lnTo>
                      <a:lnTo>
                        <a:pt x="205" y="13"/>
                      </a:lnTo>
                      <a:lnTo>
                        <a:pt x="152" y="7"/>
                      </a:lnTo>
                      <a:lnTo>
                        <a:pt x="106" y="13"/>
                      </a:lnTo>
                      <a:lnTo>
                        <a:pt x="52" y="19"/>
                      </a:lnTo>
                      <a:lnTo>
                        <a:pt x="26" y="43"/>
                      </a:lnTo>
                      <a:lnTo>
                        <a:pt x="0" y="68"/>
                      </a:lnTo>
                      <a:lnTo>
                        <a:pt x="0" y="104"/>
                      </a:lnTo>
                      <a:lnTo>
                        <a:pt x="33" y="10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290" name="Freeform 527"/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10847655" y="3117422"/>
                <a:ext cx="530225" cy="511175"/>
              </a:xfrm>
              <a:custGeom>
                <a:avLst/>
                <a:gdLst>
                  <a:gd name="T0" fmla="*/ 2147483647 w 1227"/>
                  <a:gd name="T1" fmla="*/ 2147483647 h 979"/>
                  <a:gd name="T2" fmla="*/ 2147483647 w 1227"/>
                  <a:gd name="T3" fmla="*/ 2147483647 h 979"/>
                  <a:gd name="T4" fmla="*/ 2147483647 w 1227"/>
                  <a:gd name="T5" fmla="*/ 2147483647 h 979"/>
                  <a:gd name="T6" fmla="*/ 2147483647 w 1227"/>
                  <a:gd name="T7" fmla="*/ 2147483647 h 979"/>
                  <a:gd name="T8" fmla="*/ 2147483647 w 1227"/>
                  <a:gd name="T9" fmla="*/ 2147483647 h 979"/>
                  <a:gd name="T10" fmla="*/ 2147483647 w 1227"/>
                  <a:gd name="T11" fmla="*/ 2147483647 h 979"/>
                  <a:gd name="T12" fmla="*/ 2147483647 w 1227"/>
                  <a:gd name="T13" fmla="*/ 2147483647 h 979"/>
                  <a:gd name="T14" fmla="*/ 2147483647 w 1227"/>
                  <a:gd name="T15" fmla="*/ 2147483647 h 979"/>
                  <a:gd name="T16" fmla="*/ 2147483647 w 1227"/>
                  <a:gd name="T17" fmla="*/ 2147483647 h 979"/>
                  <a:gd name="T18" fmla="*/ 2147483647 w 1227"/>
                  <a:gd name="T19" fmla="*/ 2147483647 h 979"/>
                  <a:gd name="T20" fmla="*/ 2147483647 w 1227"/>
                  <a:gd name="T21" fmla="*/ 2147483647 h 979"/>
                  <a:gd name="T22" fmla="*/ 2147483647 w 1227"/>
                  <a:gd name="T23" fmla="*/ 2147483647 h 979"/>
                  <a:gd name="T24" fmla="*/ 2147483647 w 1227"/>
                  <a:gd name="T25" fmla="*/ 2147483647 h 979"/>
                  <a:gd name="T26" fmla="*/ 2147483647 w 1227"/>
                  <a:gd name="T27" fmla="*/ 2147483647 h 979"/>
                  <a:gd name="T28" fmla="*/ 2147483647 w 1227"/>
                  <a:gd name="T29" fmla="*/ 2147483647 h 979"/>
                  <a:gd name="T30" fmla="*/ 2147483647 w 1227"/>
                  <a:gd name="T31" fmla="*/ 2147483647 h 979"/>
                  <a:gd name="T32" fmla="*/ 2147483647 w 1227"/>
                  <a:gd name="T33" fmla="*/ 2147483647 h 979"/>
                  <a:gd name="T34" fmla="*/ 2147483647 w 1227"/>
                  <a:gd name="T35" fmla="*/ 2147483647 h 979"/>
                  <a:gd name="T36" fmla="*/ 2147483647 w 1227"/>
                  <a:gd name="T37" fmla="*/ 2147483647 h 979"/>
                  <a:gd name="T38" fmla="*/ 2147483647 w 1227"/>
                  <a:gd name="T39" fmla="*/ 2147483647 h 979"/>
                  <a:gd name="T40" fmla="*/ 2147483647 w 1227"/>
                  <a:gd name="T41" fmla="*/ 1423402032 h 979"/>
                  <a:gd name="T42" fmla="*/ 2147483647 w 1227"/>
                  <a:gd name="T43" fmla="*/ 2147483647 h 979"/>
                  <a:gd name="T44" fmla="*/ 2147483647 w 1227"/>
                  <a:gd name="T45" fmla="*/ 2147483647 h 979"/>
                  <a:gd name="T46" fmla="*/ 2147483647 w 1227"/>
                  <a:gd name="T47" fmla="*/ 2147483647 h 979"/>
                  <a:gd name="T48" fmla="*/ 2147483647 w 1227"/>
                  <a:gd name="T49" fmla="*/ 2147483647 h 979"/>
                  <a:gd name="T50" fmla="*/ 2147483647 w 1227"/>
                  <a:gd name="T51" fmla="*/ 2147483647 h 979"/>
                  <a:gd name="T52" fmla="*/ 2147483647 w 1227"/>
                  <a:gd name="T53" fmla="*/ 2147483647 h 979"/>
                  <a:gd name="T54" fmla="*/ 2147483647 w 1227"/>
                  <a:gd name="T55" fmla="*/ 2147483647 h 979"/>
                  <a:gd name="T56" fmla="*/ 726221569 w 1227"/>
                  <a:gd name="T57" fmla="*/ 2147483647 h 979"/>
                  <a:gd name="T58" fmla="*/ 0 w 1227"/>
                  <a:gd name="T59" fmla="*/ 2147483647 h 979"/>
                  <a:gd name="T60" fmla="*/ 726221569 w 1227"/>
                  <a:gd name="T61" fmla="*/ 2147483647 h 979"/>
                  <a:gd name="T62" fmla="*/ 2017324198 w 1227"/>
                  <a:gd name="T63" fmla="*/ 2147483647 h 979"/>
                  <a:gd name="T64" fmla="*/ 2147483647 w 1227"/>
                  <a:gd name="T65" fmla="*/ 2147483647 h 979"/>
                  <a:gd name="T66" fmla="*/ 2147483647 w 1227"/>
                  <a:gd name="T67" fmla="*/ 2147483647 h 979"/>
                  <a:gd name="T68" fmla="*/ 2147483647 w 1227"/>
                  <a:gd name="T69" fmla="*/ 2147483647 h 979"/>
                  <a:gd name="T70" fmla="*/ 2147483647 w 1227"/>
                  <a:gd name="T71" fmla="*/ 2147483647 h 979"/>
                  <a:gd name="T72" fmla="*/ 2147483647 w 1227"/>
                  <a:gd name="T73" fmla="*/ 2147483647 h 979"/>
                  <a:gd name="T74" fmla="*/ 2147483647 w 1227"/>
                  <a:gd name="T75" fmla="*/ 2147483647 h 979"/>
                  <a:gd name="T76" fmla="*/ 2147483647 w 1227"/>
                  <a:gd name="T77" fmla="*/ 2147483647 h 979"/>
                  <a:gd name="T78" fmla="*/ 2147483647 w 1227"/>
                  <a:gd name="T79" fmla="*/ 2147483647 h 979"/>
                  <a:gd name="T80" fmla="*/ 2147483647 w 1227"/>
                  <a:gd name="T81" fmla="*/ 2147483647 h 979"/>
                  <a:gd name="T82" fmla="*/ 2147483647 w 1227"/>
                  <a:gd name="T83" fmla="*/ 2147483647 h 979"/>
                  <a:gd name="T84" fmla="*/ 2147483647 w 1227"/>
                  <a:gd name="T85" fmla="*/ 2147483647 h 979"/>
                  <a:gd name="T86" fmla="*/ 2147483647 w 1227"/>
                  <a:gd name="T87" fmla="*/ 2147483647 h 979"/>
                  <a:gd name="T88" fmla="*/ 2147483647 w 1227"/>
                  <a:gd name="T89" fmla="*/ 2147483647 h 979"/>
                  <a:gd name="T90" fmla="*/ 2147483647 w 1227"/>
                  <a:gd name="T91" fmla="*/ 2147483647 h 979"/>
                  <a:gd name="T92" fmla="*/ 2147483647 w 1227"/>
                  <a:gd name="T93" fmla="*/ 2147483647 h 979"/>
                  <a:gd name="T94" fmla="*/ 2147483647 w 1227"/>
                  <a:gd name="T95" fmla="*/ 2147483647 h 979"/>
                  <a:gd name="T96" fmla="*/ 2147483647 w 1227"/>
                  <a:gd name="T97" fmla="*/ 2147483647 h 979"/>
                  <a:gd name="T98" fmla="*/ 2147483647 w 1227"/>
                  <a:gd name="T99" fmla="*/ 2147483647 h 979"/>
                  <a:gd name="T100" fmla="*/ 2147483647 w 1227"/>
                  <a:gd name="T101" fmla="*/ 2147483647 h 979"/>
                  <a:gd name="T102" fmla="*/ 2147483647 w 1227"/>
                  <a:gd name="T103" fmla="*/ 2147483647 h 979"/>
                  <a:gd name="T104" fmla="*/ 2147483647 w 1227"/>
                  <a:gd name="T105" fmla="*/ 2147483647 h 979"/>
                  <a:gd name="T106" fmla="*/ 2147483647 w 1227"/>
                  <a:gd name="T107" fmla="*/ 2147483647 h 979"/>
                  <a:gd name="T108" fmla="*/ 2147483647 w 1227"/>
                  <a:gd name="T109" fmla="*/ 2147483647 h 979"/>
                  <a:gd name="T110" fmla="*/ 2147483647 w 1227"/>
                  <a:gd name="T111" fmla="*/ 2147483647 h 979"/>
                  <a:gd name="T112" fmla="*/ 2147483647 w 1227"/>
                  <a:gd name="T113" fmla="*/ 2147483647 h 97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227" h="979">
                    <a:moveTo>
                      <a:pt x="940" y="468"/>
                    </a:moveTo>
                    <a:lnTo>
                      <a:pt x="937" y="468"/>
                    </a:lnTo>
                    <a:lnTo>
                      <a:pt x="935" y="467"/>
                    </a:lnTo>
                    <a:lnTo>
                      <a:pt x="932" y="466"/>
                    </a:lnTo>
                    <a:lnTo>
                      <a:pt x="931" y="465"/>
                    </a:lnTo>
                    <a:lnTo>
                      <a:pt x="930" y="461"/>
                    </a:lnTo>
                    <a:lnTo>
                      <a:pt x="930" y="456"/>
                    </a:lnTo>
                    <a:lnTo>
                      <a:pt x="932" y="442"/>
                    </a:lnTo>
                    <a:lnTo>
                      <a:pt x="933" y="425"/>
                    </a:lnTo>
                    <a:lnTo>
                      <a:pt x="933" y="420"/>
                    </a:lnTo>
                    <a:lnTo>
                      <a:pt x="932" y="416"/>
                    </a:lnTo>
                    <a:lnTo>
                      <a:pt x="930" y="412"/>
                    </a:lnTo>
                    <a:lnTo>
                      <a:pt x="928" y="407"/>
                    </a:lnTo>
                    <a:lnTo>
                      <a:pt x="921" y="400"/>
                    </a:lnTo>
                    <a:lnTo>
                      <a:pt x="915" y="392"/>
                    </a:lnTo>
                    <a:lnTo>
                      <a:pt x="908" y="385"/>
                    </a:lnTo>
                    <a:lnTo>
                      <a:pt x="903" y="378"/>
                    </a:lnTo>
                    <a:lnTo>
                      <a:pt x="902" y="373"/>
                    </a:lnTo>
                    <a:lnTo>
                      <a:pt x="901" y="370"/>
                    </a:lnTo>
                    <a:lnTo>
                      <a:pt x="899" y="367"/>
                    </a:lnTo>
                    <a:lnTo>
                      <a:pt x="901" y="363"/>
                    </a:lnTo>
                    <a:lnTo>
                      <a:pt x="865" y="344"/>
                    </a:lnTo>
                    <a:lnTo>
                      <a:pt x="838" y="328"/>
                    </a:lnTo>
                    <a:lnTo>
                      <a:pt x="817" y="312"/>
                    </a:lnTo>
                    <a:lnTo>
                      <a:pt x="801" y="300"/>
                    </a:lnTo>
                    <a:lnTo>
                      <a:pt x="779" y="280"/>
                    </a:lnTo>
                    <a:lnTo>
                      <a:pt x="761" y="264"/>
                    </a:lnTo>
                    <a:lnTo>
                      <a:pt x="759" y="263"/>
                    </a:lnTo>
                    <a:lnTo>
                      <a:pt x="757" y="258"/>
                    </a:lnTo>
                    <a:lnTo>
                      <a:pt x="756" y="252"/>
                    </a:lnTo>
                    <a:lnTo>
                      <a:pt x="754" y="245"/>
                    </a:lnTo>
                    <a:lnTo>
                      <a:pt x="752" y="229"/>
                    </a:lnTo>
                    <a:lnTo>
                      <a:pt x="748" y="216"/>
                    </a:lnTo>
                    <a:lnTo>
                      <a:pt x="740" y="218"/>
                    </a:lnTo>
                    <a:lnTo>
                      <a:pt x="733" y="218"/>
                    </a:lnTo>
                    <a:lnTo>
                      <a:pt x="726" y="218"/>
                    </a:lnTo>
                    <a:lnTo>
                      <a:pt x="718" y="217"/>
                    </a:lnTo>
                    <a:lnTo>
                      <a:pt x="711" y="215"/>
                    </a:lnTo>
                    <a:lnTo>
                      <a:pt x="703" y="212"/>
                    </a:lnTo>
                    <a:lnTo>
                      <a:pt x="695" y="207"/>
                    </a:lnTo>
                    <a:lnTo>
                      <a:pt x="688" y="203"/>
                    </a:lnTo>
                    <a:lnTo>
                      <a:pt x="667" y="199"/>
                    </a:lnTo>
                    <a:lnTo>
                      <a:pt x="650" y="197"/>
                    </a:lnTo>
                    <a:lnTo>
                      <a:pt x="638" y="196"/>
                    </a:lnTo>
                    <a:lnTo>
                      <a:pt x="630" y="196"/>
                    </a:lnTo>
                    <a:lnTo>
                      <a:pt x="617" y="199"/>
                    </a:lnTo>
                    <a:lnTo>
                      <a:pt x="602" y="203"/>
                    </a:lnTo>
                    <a:lnTo>
                      <a:pt x="596" y="201"/>
                    </a:lnTo>
                    <a:lnTo>
                      <a:pt x="591" y="201"/>
                    </a:lnTo>
                    <a:lnTo>
                      <a:pt x="584" y="202"/>
                    </a:lnTo>
                    <a:lnTo>
                      <a:pt x="578" y="203"/>
                    </a:lnTo>
                    <a:lnTo>
                      <a:pt x="570" y="204"/>
                    </a:lnTo>
                    <a:lnTo>
                      <a:pt x="563" y="205"/>
                    </a:lnTo>
                    <a:lnTo>
                      <a:pt x="556" y="204"/>
                    </a:lnTo>
                    <a:lnTo>
                      <a:pt x="548" y="203"/>
                    </a:lnTo>
                    <a:lnTo>
                      <a:pt x="530" y="195"/>
                    </a:lnTo>
                    <a:lnTo>
                      <a:pt x="517" y="190"/>
                    </a:lnTo>
                    <a:lnTo>
                      <a:pt x="513" y="187"/>
                    </a:lnTo>
                    <a:lnTo>
                      <a:pt x="509" y="183"/>
                    </a:lnTo>
                    <a:lnTo>
                      <a:pt x="505" y="179"/>
                    </a:lnTo>
                    <a:lnTo>
                      <a:pt x="502" y="173"/>
                    </a:lnTo>
                    <a:lnTo>
                      <a:pt x="493" y="152"/>
                    </a:lnTo>
                    <a:lnTo>
                      <a:pt x="487" y="136"/>
                    </a:lnTo>
                    <a:lnTo>
                      <a:pt x="483" y="128"/>
                    </a:lnTo>
                    <a:lnTo>
                      <a:pt x="479" y="121"/>
                    </a:lnTo>
                    <a:lnTo>
                      <a:pt x="476" y="115"/>
                    </a:lnTo>
                    <a:lnTo>
                      <a:pt x="470" y="109"/>
                    </a:lnTo>
                    <a:lnTo>
                      <a:pt x="465" y="103"/>
                    </a:lnTo>
                    <a:lnTo>
                      <a:pt x="459" y="96"/>
                    </a:lnTo>
                    <a:lnTo>
                      <a:pt x="451" y="91"/>
                    </a:lnTo>
                    <a:lnTo>
                      <a:pt x="443" y="86"/>
                    </a:lnTo>
                    <a:lnTo>
                      <a:pt x="432" y="81"/>
                    </a:lnTo>
                    <a:lnTo>
                      <a:pt x="420" y="77"/>
                    </a:lnTo>
                    <a:lnTo>
                      <a:pt x="405" y="72"/>
                    </a:lnTo>
                    <a:lnTo>
                      <a:pt x="389" y="68"/>
                    </a:lnTo>
                    <a:lnTo>
                      <a:pt x="365" y="61"/>
                    </a:lnTo>
                    <a:lnTo>
                      <a:pt x="346" y="55"/>
                    </a:lnTo>
                    <a:lnTo>
                      <a:pt x="332" y="48"/>
                    </a:lnTo>
                    <a:lnTo>
                      <a:pt x="317" y="40"/>
                    </a:lnTo>
                    <a:lnTo>
                      <a:pt x="303" y="32"/>
                    </a:lnTo>
                    <a:lnTo>
                      <a:pt x="287" y="23"/>
                    </a:lnTo>
                    <a:lnTo>
                      <a:pt x="265" y="13"/>
                    </a:lnTo>
                    <a:lnTo>
                      <a:pt x="236" y="0"/>
                    </a:lnTo>
                    <a:lnTo>
                      <a:pt x="214" y="10"/>
                    </a:lnTo>
                    <a:lnTo>
                      <a:pt x="186" y="24"/>
                    </a:lnTo>
                    <a:lnTo>
                      <a:pt x="178" y="28"/>
                    </a:lnTo>
                    <a:lnTo>
                      <a:pt x="171" y="33"/>
                    </a:lnTo>
                    <a:lnTo>
                      <a:pt x="166" y="38"/>
                    </a:lnTo>
                    <a:lnTo>
                      <a:pt x="160" y="44"/>
                    </a:lnTo>
                    <a:lnTo>
                      <a:pt x="156" y="49"/>
                    </a:lnTo>
                    <a:lnTo>
                      <a:pt x="153" y="55"/>
                    </a:lnTo>
                    <a:lnTo>
                      <a:pt x="151" y="61"/>
                    </a:lnTo>
                    <a:lnTo>
                      <a:pt x="149" y="68"/>
                    </a:lnTo>
                    <a:lnTo>
                      <a:pt x="151" y="75"/>
                    </a:lnTo>
                    <a:lnTo>
                      <a:pt x="152" y="82"/>
                    </a:lnTo>
                    <a:lnTo>
                      <a:pt x="153" y="90"/>
                    </a:lnTo>
                    <a:lnTo>
                      <a:pt x="156" y="97"/>
                    </a:lnTo>
                    <a:lnTo>
                      <a:pt x="159" y="105"/>
                    </a:lnTo>
                    <a:lnTo>
                      <a:pt x="164" y="112"/>
                    </a:lnTo>
                    <a:lnTo>
                      <a:pt x="169" y="118"/>
                    </a:lnTo>
                    <a:lnTo>
                      <a:pt x="177" y="123"/>
                    </a:lnTo>
                    <a:lnTo>
                      <a:pt x="171" y="129"/>
                    </a:lnTo>
                    <a:lnTo>
                      <a:pt x="163" y="139"/>
                    </a:lnTo>
                    <a:lnTo>
                      <a:pt x="151" y="150"/>
                    </a:lnTo>
                    <a:lnTo>
                      <a:pt x="136" y="162"/>
                    </a:lnTo>
                    <a:lnTo>
                      <a:pt x="120" y="173"/>
                    </a:lnTo>
                    <a:lnTo>
                      <a:pt x="102" y="182"/>
                    </a:lnTo>
                    <a:lnTo>
                      <a:pt x="95" y="186"/>
                    </a:lnTo>
                    <a:lnTo>
                      <a:pt x="86" y="188"/>
                    </a:lnTo>
                    <a:lnTo>
                      <a:pt x="78" y="190"/>
                    </a:lnTo>
                    <a:lnTo>
                      <a:pt x="70" y="191"/>
                    </a:lnTo>
                    <a:lnTo>
                      <a:pt x="54" y="190"/>
                    </a:lnTo>
                    <a:lnTo>
                      <a:pt x="37" y="187"/>
                    </a:lnTo>
                    <a:lnTo>
                      <a:pt x="22" y="183"/>
                    </a:lnTo>
                    <a:lnTo>
                      <a:pt x="10" y="179"/>
                    </a:lnTo>
                    <a:lnTo>
                      <a:pt x="9" y="183"/>
                    </a:lnTo>
                    <a:lnTo>
                      <a:pt x="6" y="193"/>
                    </a:lnTo>
                    <a:lnTo>
                      <a:pt x="2" y="208"/>
                    </a:lnTo>
                    <a:lnTo>
                      <a:pt x="0" y="226"/>
                    </a:lnTo>
                    <a:lnTo>
                      <a:pt x="0" y="236"/>
                    </a:lnTo>
                    <a:lnTo>
                      <a:pt x="0" y="245"/>
                    </a:lnTo>
                    <a:lnTo>
                      <a:pt x="2" y="253"/>
                    </a:lnTo>
                    <a:lnTo>
                      <a:pt x="5" y="261"/>
                    </a:lnTo>
                    <a:lnTo>
                      <a:pt x="9" y="269"/>
                    </a:lnTo>
                    <a:lnTo>
                      <a:pt x="14" y="276"/>
                    </a:lnTo>
                    <a:lnTo>
                      <a:pt x="18" y="278"/>
                    </a:lnTo>
                    <a:lnTo>
                      <a:pt x="21" y="280"/>
                    </a:lnTo>
                    <a:lnTo>
                      <a:pt x="25" y="282"/>
                    </a:lnTo>
                    <a:lnTo>
                      <a:pt x="30" y="283"/>
                    </a:lnTo>
                    <a:lnTo>
                      <a:pt x="32" y="291"/>
                    </a:lnTo>
                    <a:lnTo>
                      <a:pt x="35" y="299"/>
                    </a:lnTo>
                    <a:lnTo>
                      <a:pt x="40" y="307"/>
                    </a:lnTo>
                    <a:lnTo>
                      <a:pt x="44" y="315"/>
                    </a:lnTo>
                    <a:lnTo>
                      <a:pt x="56" y="331"/>
                    </a:lnTo>
                    <a:lnTo>
                      <a:pt x="69" y="347"/>
                    </a:lnTo>
                    <a:lnTo>
                      <a:pt x="83" y="364"/>
                    </a:lnTo>
                    <a:lnTo>
                      <a:pt x="92" y="383"/>
                    </a:lnTo>
                    <a:lnTo>
                      <a:pt x="97" y="393"/>
                    </a:lnTo>
                    <a:lnTo>
                      <a:pt x="100" y="403"/>
                    </a:lnTo>
                    <a:lnTo>
                      <a:pt x="102" y="414"/>
                    </a:lnTo>
                    <a:lnTo>
                      <a:pt x="103" y="425"/>
                    </a:lnTo>
                    <a:lnTo>
                      <a:pt x="110" y="425"/>
                    </a:lnTo>
                    <a:lnTo>
                      <a:pt x="117" y="426"/>
                    </a:lnTo>
                    <a:lnTo>
                      <a:pt x="121" y="427"/>
                    </a:lnTo>
                    <a:lnTo>
                      <a:pt x="124" y="429"/>
                    </a:lnTo>
                    <a:lnTo>
                      <a:pt x="128" y="431"/>
                    </a:lnTo>
                    <a:lnTo>
                      <a:pt x="131" y="435"/>
                    </a:lnTo>
                    <a:lnTo>
                      <a:pt x="133" y="438"/>
                    </a:lnTo>
                    <a:lnTo>
                      <a:pt x="135" y="441"/>
                    </a:lnTo>
                    <a:lnTo>
                      <a:pt x="139" y="450"/>
                    </a:lnTo>
                    <a:lnTo>
                      <a:pt x="143" y="459"/>
                    </a:lnTo>
                    <a:lnTo>
                      <a:pt x="148" y="469"/>
                    </a:lnTo>
                    <a:lnTo>
                      <a:pt x="156" y="480"/>
                    </a:lnTo>
                    <a:lnTo>
                      <a:pt x="184" y="504"/>
                    </a:lnTo>
                    <a:lnTo>
                      <a:pt x="216" y="536"/>
                    </a:lnTo>
                    <a:lnTo>
                      <a:pt x="224" y="546"/>
                    </a:lnTo>
                    <a:lnTo>
                      <a:pt x="232" y="556"/>
                    </a:lnTo>
                    <a:lnTo>
                      <a:pt x="238" y="565"/>
                    </a:lnTo>
                    <a:lnTo>
                      <a:pt x="244" y="575"/>
                    </a:lnTo>
                    <a:lnTo>
                      <a:pt x="249" y="585"/>
                    </a:lnTo>
                    <a:lnTo>
                      <a:pt x="253" y="595"/>
                    </a:lnTo>
                    <a:lnTo>
                      <a:pt x="255" y="606"/>
                    </a:lnTo>
                    <a:lnTo>
                      <a:pt x="256" y="616"/>
                    </a:lnTo>
                    <a:lnTo>
                      <a:pt x="256" y="624"/>
                    </a:lnTo>
                    <a:lnTo>
                      <a:pt x="257" y="631"/>
                    </a:lnTo>
                    <a:lnTo>
                      <a:pt x="258" y="638"/>
                    </a:lnTo>
                    <a:lnTo>
                      <a:pt x="260" y="645"/>
                    </a:lnTo>
                    <a:lnTo>
                      <a:pt x="266" y="659"/>
                    </a:lnTo>
                    <a:lnTo>
                      <a:pt x="272" y="670"/>
                    </a:lnTo>
                    <a:lnTo>
                      <a:pt x="280" y="681"/>
                    </a:lnTo>
                    <a:lnTo>
                      <a:pt x="289" y="691"/>
                    </a:lnTo>
                    <a:lnTo>
                      <a:pt x="299" y="701"/>
                    </a:lnTo>
                    <a:lnTo>
                      <a:pt x="310" y="710"/>
                    </a:lnTo>
                    <a:lnTo>
                      <a:pt x="331" y="730"/>
                    </a:lnTo>
                    <a:lnTo>
                      <a:pt x="352" y="750"/>
                    </a:lnTo>
                    <a:lnTo>
                      <a:pt x="361" y="761"/>
                    </a:lnTo>
                    <a:lnTo>
                      <a:pt x="369" y="774"/>
                    </a:lnTo>
                    <a:lnTo>
                      <a:pt x="377" y="787"/>
                    </a:lnTo>
                    <a:lnTo>
                      <a:pt x="382" y="801"/>
                    </a:lnTo>
                    <a:lnTo>
                      <a:pt x="388" y="814"/>
                    </a:lnTo>
                    <a:lnTo>
                      <a:pt x="394" y="827"/>
                    </a:lnTo>
                    <a:lnTo>
                      <a:pt x="401" y="838"/>
                    </a:lnTo>
                    <a:lnTo>
                      <a:pt x="409" y="848"/>
                    </a:lnTo>
                    <a:lnTo>
                      <a:pt x="425" y="867"/>
                    </a:lnTo>
                    <a:lnTo>
                      <a:pt x="443" y="886"/>
                    </a:lnTo>
                    <a:lnTo>
                      <a:pt x="459" y="905"/>
                    </a:lnTo>
                    <a:lnTo>
                      <a:pt x="476" y="925"/>
                    </a:lnTo>
                    <a:lnTo>
                      <a:pt x="483" y="938"/>
                    </a:lnTo>
                    <a:lnTo>
                      <a:pt x="490" y="950"/>
                    </a:lnTo>
                    <a:lnTo>
                      <a:pt x="496" y="964"/>
                    </a:lnTo>
                    <a:lnTo>
                      <a:pt x="502" y="979"/>
                    </a:lnTo>
                    <a:lnTo>
                      <a:pt x="528" y="979"/>
                    </a:lnTo>
                    <a:lnTo>
                      <a:pt x="535" y="973"/>
                    </a:lnTo>
                    <a:lnTo>
                      <a:pt x="539" y="966"/>
                    </a:lnTo>
                    <a:lnTo>
                      <a:pt x="541" y="960"/>
                    </a:lnTo>
                    <a:lnTo>
                      <a:pt x="543" y="953"/>
                    </a:lnTo>
                    <a:lnTo>
                      <a:pt x="543" y="938"/>
                    </a:lnTo>
                    <a:lnTo>
                      <a:pt x="541" y="918"/>
                    </a:lnTo>
                    <a:lnTo>
                      <a:pt x="543" y="913"/>
                    </a:lnTo>
                    <a:lnTo>
                      <a:pt x="546" y="909"/>
                    </a:lnTo>
                    <a:lnTo>
                      <a:pt x="551" y="905"/>
                    </a:lnTo>
                    <a:lnTo>
                      <a:pt x="557" y="901"/>
                    </a:lnTo>
                    <a:lnTo>
                      <a:pt x="563" y="898"/>
                    </a:lnTo>
                    <a:lnTo>
                      <a:pt x="570" y="896"/>
                    </a:lnTo>
                    <a:lnTo>
                      <a:pt x="577" y="894"/>
                    </a:lnTo>
                    <a:lnTo>
                      <a:pt x="582" y="893"/>
                    </a:lnTo>
                    <a:lnTo>
                      <a:pt x="594" y="894"/>
                    </a:lnTo>
                    <a:lnTo>
                      <a:pt x="605" y="895"/>
                    </a:lnTo>
                    <a:lnTo>
                      <a:pt x="616" y="896"/>
                    </a:lnTo>
                    <a:lnTo>
                      <a:pt x="626" y="898"/>
                    </a:lnTo>
                    <a:lnTo>
                      <a:pt x="644" y="902"/>
                    </a:lnTo>
                    <a:lnTo>
                      <a:pt x="660" y="909"/>
                    </a:lnTo>
                    <a:lnTo>
                      <a:pt x="674" y="916"/>
                    </a:lnTo>
                    <a:lnTo>
                      <a:pt x="686" y="924"/>
                    </a:lnTo>
                    <a:lnTo>
                      <a:pt x="697" y="934"/>
                    </a:lnTo>
                    <a:lnTo>
                      <a:pt x="708" y="943"/>
                    </a:lnTo>
                    <a:lnTo>
                      <a:pt x="729" y="916"/>
                    </a:lnTo>
                    <a:lnTo>
                      <a:pt x="756" y="881"/>
                    </a:lnTo>
                    <a:lnTo>
                      <a:pt x="778" y="851"/>
                    </a:lnTo>
                    <a:lnTo>
                      <a:pt x="787" y="838"/>
                    </a:lnTo>
                    <a:lnTo>
                      <a:pt x="1033" y="789"/>
                    </a:lnTo>
                    <a:lnTo>
                      <a:pt x="1146" y="763"/>
                    </a:lnTo>
                    <a:lnTo>
                      <a:pt x="1227" y="616"/>
                    </a:lnTo>
                    <a:lnTo>
                      <a:pt x="1199" y="567"/>
                    </a:lnTo>
                    <a:lnTo>
                      <a:pt x="1173" y="591"/>
                    </a:lnTo>
                    <a:lnTo>
                      <a:pt x="1000" y="573"/>
                    </a:lnTo>
                    <a:lnTo>
                      <a:pt x="940" y="480"/>
                    </a:lnTo>
                    <a:lnTo>
                      <a:pt x="940" y="4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1" name="Freeform 528"/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10322193" y="2661810"/>
                <a:ext cx="57150" cy="57150"/>
              </a:xfrm>
              <a:custGeom>
                <a:avLst/>
                <a:gdLst>
                  <a:gd name="T0" fmla="*/ 2147483647 w 146"/>
                  <a:gd name="T1" fmla="*/ 2147483647 h 81"/>
                  <a:gd name="T2" fmla="*/ 2147483647 w 146"/>
                  <a:gd name="T3" fmla="*/ 2147483647 h 81"/>
                  <a:gd name="T4" fmla="*/ 2147483647 w 146"/>
                  <a:gd name="T5" fmla="*/ 2147483647 h 81"/>
                  <a:gd name="T6" fmla="*/ 2147483647 w 146"/>
                  <a:gd name="T7" fmla="*/ 2147483647 h 81"/>
                  <a:gd name="T8" fmla="*/ 2147483647 w 146"/>
                  <a:gd name="T9" fmla="*/ 2147483647 h 81"/>
                  <a:gd name="T10" fmla="*/ 2147483647 w 146"/>
                  <a:gd name="T11" fmla="*/ 2147483647 h 81"/>
                  <a:gd name="T12" fmla="*/ 2147483647 w 146"/>
                  <a:gd name="T13" fmla="*/ 2147483647 h 81"/>
                  <a:gd name="T14" fmla="*/ 2147483647 w 146"/>
                  <a:gd name="T15" fmla="*/ 2147483647 h 81"/>
                  <a:gd name="T16" fmla="*/ 2147483647 w 146"/>
                  <a:gd name="T17" fmla="*/ 2147483647 h 81"/>
                  <a:gd name="T18" fmla="*/ 2147483647 w 146"/>
                  <a:gd name="T19" fmla="*/ 2147483647 h 81"/>
                  <a:gd name="T20" fmla="*/ 2147483647 w 146"/>
                  <a:gd name="T21" fmla="*/ 2147483647 h 81"/>
                  <a:gd name="T22" fmla="*/ 2147483647 w 146"/>
                  <a:gd name="T23" fmla="*/ 2147483647 h 81"/>
                  <a:gd name="T24" fmla="*/ 2147483647 w 146"/>
                  <a:gd name="T25" fmla="*/ 2147483647 h 81"/>
                  <a:gd name="T26" fmla="*/ 1259501058 w 146"/>
                  <a:gd name="T27" fmla="*/ 2147483647 h 81"/>
                  <a:gd name="T28" fmla="*/ 0 w 146"/>
                  <a:gd name="T29" fmla="*/ 2147483647 h 81"/>
                  <a:gd name="T30" fmla="*/ 0 w 146"/>
                  <a:gd name="T31" fmla="*/ 2147483647 h 81"/>
                  <a:gd name="T32" fmla="*/ 0 w 146"/>
                  <a:gd name="T33" fmla="*/ 2147483647 h 81"/>
                  <a:gd name="T34" fmla="*/ 0 w 146"/>
                  <a:gd name="T35" fmla="*/ 2147483647 h 81"/>
                  <a:gd name="T36" fmla="*/ 0 w 146"/>
                  <a:gd name="T37" fmla="*/ 2147483647 h 81"/>
                  <a:gd name="T38" fmla="*/ 839667372 w 146"/>
                  <a:gd name="T39" fmla="*/ 2147483647 h 81"/>
                  <a:gd name="T40" fmla="*/ 1319564925 w 146"/>
                  <a:gd name="T41" fmla="*/ 2147483647 h 81"/>
                  <a:gd name="T42" fmla="*/ 1859372901 w 146"/>
                  <a:gd name="T43" fmla="*/ 2147483647 h 81"/>
                  <a:gd name="T44" fmla="*/ 2147483647 w 146"/>
                  <a:gd name="T45" fmla="*/ 2147483647 h 81"/>
                  <a:gd name="T46" fmla="*/ 2147483647 w 146"/>
                  <a:gd name="T47" fmla="*/ 2147483647 h 81"/>
                  <a:gd name="T48" fmla="*/ 2147483647 w 146"/>
                  <a:gd name="T49" fmla="*/ 2147483647 h 81"/>
                  <a:gd name="T50" fmla="*/ 2147483647 w 146"/>
                  <a:gd name="T51" fmla="*/ 2147483647 h 81"/>
                  <a:gd name="T52" fmla="*/ 2147483647 w 146"/>
                  <a:gd name="T53" fmla="*/ 2147483647 h 81"/>
                  <a:gd name="T54" fmla="*/ 2147483647 w 146"/>
                  <a:gd name="T55" fmla="*/ 1756268889 h 81"/>
                  <a:gd name="T56" fmla="*/ 2147483647 w 146"/>
                  <a:gd name="T57" fmla="*/ 0 h 81"/>
                  <a:gd name="T58" fmla="*/ 2147483647 w 146"/>
                  <a:gd name="T59" fmla="*/ 1404816144 h 81"/>
                  <a:gd name="T60" fmla="*/ 2147483647 w 146"/>
                  <a:gd name="T61" fmla="*/ 2147483647 h 81"/>
                  <a:gd name="T62" fmla="*/ 2147483647 w 146"/>
                  <a:gd name="T63" fmla="*/ 2147483647 h 81"/>
                  <a:gd name="T64" fmla="*/ 2147483647 w 146"/>
                  <a:gd name="T65" fmla="*/ 2147483647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2" name="Freeform 529"/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10061843" y="2874535"/>
                <a:ext cx="15875" cy="57150"/>
              </a:xfrm>
              <a:custGeom>
                <a:avLst/>
                <a:gdLst>
                  <a:gd name="T0" fmla="*/ 2147483647 w 34"/>
                  <a:gd name="T1" fmla="*/ 2147483647 h 49"/>
                  <a:gd name="T2" fmla="*/ 2147483647 w 34"/>
                  <a:gd name="T3" fmla="*/ 2147483647 h 49"/>
                  <a:gd name="T4" fmla="*/ 2147483647 w 34"/>
                  <a:gd name="T5" fmla="*/ 2147483647 h 49"/>
                  <a:gd name="T6" fmla="*/ 2147483647 w 34"/>
                  <a:gd name="T7" fmla="*/ 2147483647 h 49"/>
                  <a:gd name="T8" fmla="*/ 2147483647 w 34"/>
                  <a:gd name="T9" fmla="*/ 2147483647 h 49"/>
                  <a:gd name="T10" fmla="*/ 2147483647 w 34"/>
                  <a:gd name="T11" fmla="*/ 2147483647 h 49"/>
                  <a:gd name="T12" fmla="*/ 2147483647 w 34"/>
                  <a:gd name="T13" fmla="*/ 2147483647 h 49"/>
                  <a:gd name="T14" fmla="*/ 2147483647 w 34"/>
                  <a:gd name="T15" fmla="*/ 2147483647 h 49"/>
                  <a:gd name="T16" fmla="*/ 2137554743 w 34"/>
                  <a:gd name="T17" fmla="*/ 0 h 49"/>
                  <a:gd name="T18" fmla="*/ 814254430 w 34"/>
                  <a:gd name="T19" fmla="*/ 0 h 49"/>
                  <a:gd name="T20" fmla="*/ 0 w 34"/>
                  <a:gd name="T21" fmla="*/ 0 h 49"/>
                  <a:gd name="T22" fmla="*/ 305427063 w 34"/>
                  <a:gd name="T23" fmla="*/ 2147483647 h 49"/>
                  <a:gd name="T24" fmla="*/ 712445721 w 34"/>
                  <a:gd name="T25" fmla="*/ 2147483647 h 49"/>
                  <a:gd name="T26" fmla="*/ 1017872783 w 34"/>
                  <a:gd name="T27" fmla="*/ 2147483647 h 49"/>
                  <a:gd name="T28" fmla="*/ 1425109022 w 34"/>
                  <a:gd name="T29" fmla="*/ 2147483647 h 49"/>
                  <a:gd name="T30" fmla="*/ 1933936390 w 34"/>
                  <a:gd name="T31" fmla="*/ 2147483647 h 49"/>
                  <a:gd name="T32" fmla="*/ 2147483647 w 34"/>
                  <a:gd name="T33" fmla="*/ 2147483647 h 49"/>
                  <a:gd name="T34" fmla="*/ 2147483647 w 34"/>
                  <a:gd name="T35" fmla="*/ 2147483647 h 49"/>
                  <a:gd name="T36" fmla="*/ 2147483647 w 34"/>
                  <a:gd name="T37" fmla="*/ 2147483647 h 4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3" name="Freeform 530"/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9653855" y="3220610"/>
                <a:ext cx="28575" cy="57150"/>
              </a:xfrm>
              <a:custGeom>
                <a:avLst/>
                <a:gdLst>
                  <a:gd name="T0" fmla="*/ 2147483647 w 60"/>
                  <a:gd name="T1" fmla="*/ 0 h 74"/>
                  <a:gd name="T2" fmla="*/ 2147483647 w 60"/>
                  <a:gd name="T3" fmla="*/ 1842412512 h 74"/>
                  <a:gd name="T4" fmla="*/ 2147483647 w 60"/>
                  <a:gd name="T5" fmla="*/ 2147483647 h 74"/>
                  <a:gd name="T6" fmla="*/ 2147483647 w 60"/>
                  <a:gd name="T7" fmla="*/ 2147483647 h 74"/>
                  <a:gd name="T8" fmla="*/ 2147483647 w 60"/>
                  <a:gd name="T9" fmla="*/ 2147483647 h 74"/>
                  <a:gd name="T10" fmla="*/ 2147483647 w 60"/>
                  <a:gd name="T11" fmla="*/ 2147483647 h 74"/>
                  <a:gd name="T12" fmla="*/ 2147483647 w 60"/>
                  <a:gd name="T13" fmla="*/ 2147483647 h 74"/>
                  <a:gd name="T14" fmla="*/ 2147483647 w 60"/>
                  <a:gd name="T15" fmla="*/ 2147483647 h 74"/>
                  <a:gd name="T16" fmla="*/ 2147483647 w 60"/>
                  <a:gd name="T17" fmla="*/ 2147483647 h 74"/>
                  <a:gd name="T18" fmla="*/ 2147483647 w 60"/>
                  <a:gd name="T19" fmla="*/ 2147483647 h 74"/>
                  <a:gd name="T20" fmla="*/ 2147483647 w 60"/>
                  <a:gd name="T21" fmla="*/ 2147483647 h 74"/>
                  <a:gd name="T22" fmla="*/ 2147483647 w 60"/>
                  <a:gd name="T23" fmla="*/ 2147483647 h 74"/>
                  <a:gd name="T24" fmla="*/ 1620359663 w 60"/>
                  <a:gd name="T25" fmla="*/ 2147483647 h 74"/>
                  <a:gd name="T26" fmla="*/ 864161816 w 60"/>
                  <a:gd name="T27" fmla="*/ 2147483647 h 74"/>
                  <a:gd name="T28" fmla="*/ 0 w 60"/>
                  <a:gd name="T29" fmla="*/ 2147483647 h 74"/>
                  <a:gd name="T30" fmla="*/ 540044164 w 60"/>
                  <a:gd name="T31" fmla="*/ 2147483647 h 74"/>
                  <a:gd name="T32" fmla="*/ 1296242486 w 60"/>
                  <a:gd name="T33" fmla="*/ 2147483647 h 74"/>
                  <a:gd name="T34" fmla="*/ 2052440333 w 60"/>
                  <a:gd name="T35" fmla="*/ 2147483647 h 74"/>
                  <a:gd name="T36" fmla="*/ 2147483647 w 60"/>
                  <a:gd name="T37" fmla="*/ 2147483647 h 74"/>
                  <a:gd name="T38" fmla="*/ 2147483647 w 60"/>
                  <a:gd name="T39" fmla="*/ 2147483647 h 74"/>
                  <a:gd name="T40" fmla="*/ 2147483647 w 60"/>
                  <a:gd name="T41" fmla="*/ 2147483647 h 74"/>
                  <a:gd name="T42" fmla="*/ 2147483647 w 60"/>
                  <a:gd name="T43" fmla="*/ 1381958824 h 74"/>
                  <a:gd name="T44" fmla="*/ 2147483647 w 60"/>
                  <a:gd name="T45" fmla="*/ 460454461 h 74"/>
                  <a:gd name="T46" fmla="*/ 2147483647 w 60"/>
                  <a:gd name="T47" fmla="*/ 0 h 74"/>
                  <a:gd name="T48" fmla="*/ 2147483647 w 60"/>
                  <a:gd name="T49" fmla="*/ 0 h 7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0" h="74">
                    <a:moveTo>
                      <a:pt x="60" y="0"/>
                    </a:moveTo>
                    <a:lnTo>
                      <a:pt x="56" y="4"/>
                    </a:lnTo>
                    <a:lnTo>
                      <a:pt x="51" y="10"/>
                    </a:lnTo>
                    <a:lnTo>
                      <a:pt x="48" y="15"/>
                    </a:lnTo>
                    <a:lnTo>
                      <a:pt x="46" y="21"/>
                    </a:lnTo>
                    <a:lnTo>
                      <a:pt x="41" y="31"/>
                    </a:lnTo>
                    <a:lnTo>
                      <a:pt x="37" y="42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29" y="56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9"/>
                    </a:lnTo>
                    <a:lnTo>
                      <a:pt x="8" y="72"/>
                    </a:lnTo>
                    <a:lnTo>
                      <a:pt x="0" y="74"/>
                    </a:lnTo>
                    <a:lnTo>
                      <a:pt x="5" y="60"/>
                    </a:lnTo>
                    <a:lnTo>
                      <a:pt x="12" y="47"/>
                    </a:lnTo>
                    <a:lnTo>
                      <a:pt x="19" y="34"/>
                    </a:lnTo>
                    <a:lnTo>
                      <a:pt x="27" y="23"/>
                    </a:lnTo>
                    <a:lnTo>
                      <a:pt x="36" y="14"/>
                    </a:lnTo>
                    <a:lnTo>
                      <a:pt x="43" y="6"/>
                    </a:lnTo>
                    <a:lnTo>
                      <a:pt x="48" y="3"/>
                    </a:lnTo>
                    <a:lnTo>
                      <a:pt x="52" y="1"/>
                    </a:lnTo>
                    <a:lnTo>
                      <a:pt x="56" y="0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4" name="Freeform 531"/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9595118" y="3236485"/>
                <a:ext cx="23812" cy="60325"/>
              </a:xfrm>
              <a:custGeom>
                <a:avLst/>
                <a:gdLst>
                  <a:gd name="T0" fmla="*/ 1690510141 w 47"/>
                  <a:gd name="T1" fmla="*/ 2147483647 h 45"/>
                  <a:gd name="T2" fmla="*/ 2147483647 w 47"/>
                  <a:gd name="T3" fmla="*/ 2147483647 h 45"/>
                  <a:gd name="T4" fmla="*/ 2147483647 w 47"/>
                  <a:gd name="T5" fmla="*/ 2147483647 h 45"/>
                  <a:gd name="T6" fmla="*/ 2147483647 w 47"/>
                  <a:gd name="T7" fmla="*/ 2147483647 h 45"/>
                  <a:gd name="T8" fmla="*/ 2147483647 w 47"/>
                  <a:gd name="T9" fmla="*/ 2147483647 h 45"/>
                  <a:gd name="T10" fmla="*/ 2147483647 w 47"/>
                  <a:gd name="T11" fmla="*/ 2147483647 h 45"/>
                  <a:gd name="T12" fmla="*/ 2147483647 w 47"/>
                  <a:gd name="T13" fmla="*/ 0 h 45"/>
                  <a:gd name="T14" fmla="*/ 2147483647 w 47"/>
                  <a:gd name="T15" fmla="*/ 2147483647 h 45"/>
                  <a:gd name="T16" fmla="*/ 2147483647 w 47"/>
                  <a:gd name="T17" fmla="*/ 2147483647 h 45"/>
                  <a:gd name="T18" fmla="*/ 2147483647 w 47"/>
                  <a:gd name="T19" fmla="*/ 2147483647 h 45"/>
                  <a:gd name="T20" fmla="*/ 2147483647 w 47"/>
                  <a:gd name="T21" fmla="*/ 2147483647 h 45"/>
                  <a:gd name="T22" fmla="*/ 2147483647 w 47"/>
                  <a:gd name="T23" fmla="*/ 2147483647 h 45"/>
                  <a:gd name="T24" fmla="*/ 2147483647 w 47"/>
                  <a:gd name="T25" fmla="*/ 2147483647 h 45"/>
                  <a:gd name="T26" fmla="*/ 2147483647 w 47"/>
                  <a:gd name="T27" fmla="*/ 2147483647 h 45"/>
                  <a:gd name="T28" fmla="*/ 2147483647 w 47"/>
                  <a:gd name="T29" fmla="*/ 2147483647 h 45"/>
                  <a:gd name="T30" fmla="*/ 2147483647 w 47"/>
                  <a:gd name="T31" fmla="*/ 2147483647 h 45"/>
                  <a:gd name="T32" fmla="*/ 2080667228 w 47"/>
                  <a:gd name="T33" fmla="*/ 2147483647 h 45"/>
                  <a:gd name="T34" fmla="*/ 910195461 w 47"/>
                  <a:gd name="T35" fmla="*/ 2147483647 h 45"/>
                  <a:gd name="T36" fmla="*/ 0 w 47"/>
                  <a:gd name="T37" fmla="*/ 2147483647 h 45"/>
                  <a:gd name="T38" fmla="*/ 260019440 w 47"/>
                  <a:gd name="T39" fmla="*/ 2147483647 h 45"/>
                  <a:gd name="T40" fmla="*/ 780314174 w 47"/>
                  <a:gd name="T41" fmla="*/ 2147483647 h 45"/>
                  <a:gd name="T42" fmla="*/ 1430490701 w 47"/>
                  <a:gd name="T43" fmla="*/ 2147483647 h 45"/>
                  <a:gd name="T44" fmla="*/ 1690510141 w 47"/>
                  <a:gd name="T45" fmla="*/ 2147483647 h 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7" h="45">
                    <a:moveTo>
                      <a:pt x="13" y="8"/>
                    </a:moveTo>
                    <a:lnTo>
                      <a:pt x="22" y="8"/>
                    </a:lnTo>
                    <a:lnTo>
                      <a:pt x="28" y="6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7" y="1"/>
                    </a:lnTo>
                    <a:lnTo>
                      <a:pt x="39" y="0"/>
                    </a:lnTo>
                    <a:lnTo>
                      <a:pt x="43" y="1"/>
                    </a:lnTo>
                    <a:lnTo>
                      <a:pt x="47" y="2"/>
                    </a:lnTo>
                    <a:lnTo>
                      <a:pt x="46" y="7"/>
                    </a:lnTo>
                    <a:lnTo>
                      <a:pt x="46" y="11"/>
                    </a:lnTo>
                    <a:lnTo>
                      <a:pt x="44" y="15"/>
                    </a:lnTo>
                    <a:lnTo>
                      <a:pt x="43" y="19"/>
                    </a:lnTo>
                    <a:lnTo>
                      <a:pt x="37" y="26"/>
                    </a:lnTo>
                    <a:lnTo>
                      <a:pt x="30" y="32"/>
                    </a:lnTo>
                    <a:lnTo>
                      <a:pt x="24" y="38"/>
                    </a:lnTo>
                    <a:lnTo>
                      <a:pt x="16" y="42"/>
                    </a:lnTo>
                    <a:lnTo>
                      <a:pt x="7" y="45"/>
                    </a:lnTo>
                    <a:lnTo>
                      <a:pt x="0" y="45"/>
                    </a:lnTo>
                    <a:lnTo>
                      <a:pt x="2" y="38"/>
                    </a:lnTo>
                    <a:lnTo>
                      <a:pt x="6" y="26"/>
                    </a:lnTo>
                    <a:lnTo>
                      <a:pt x="11" y="15"/>
                    </a:lnTo>
                    <a:lnTo>
                      <a:pt x="13" y="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5" name="Freeform 532"/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9569718" y="3230135"/>
                <a:ext cx="6350" cy="57150"/>
              </a:xfrm>
              <a:custGeom>
                <a:avLst/>
                <a:gdLst>
                  <a:gd name="T0" fmla="*/ 87385281 w 26"/>
                  <a:gd name="T1" fmla="*/ 2147483647 h 36"/>
                  <a:gd name="T2" fmla="*/ 72831081 w 26"/>
                  <a:gd name="T3" fmla="*/ 2147483647 h 36"/>
                  <a:gd name="T4" fmla="*/ 43722437 w 26"/>
                  <a:gd name="T5" fmla="*/ 2147483647 h 36"/>
                  <a:gd name="T6" fmla="*/ 14554200 w 26"/>
                  <a:gd name="T7" fmla="*/ 2147483647 h 36"/>
                  <a:gd name="T8" fmla="*/ 0 w 26"/>
                  <a:gd name="T9" fmla="*/ 0 h 36"/>
                  <a:gd name="T10" fmla="*/ 378768952 w 26"/>
                  <a:gd name="T11" fmla="*/ 0 h 36"/>
                  <a:gd name="T12" fmla="*/ 364214752 w 26"/>
                  <a:gd name="T13" fmla="*/ 2147483647 h 36"/>
                  <a:gd name="T14" fmla="*/ 349660552 w 26"/>
                  <a:gd name="T15" fmla="*/ 2147483647 h 36"/>
                  <a:gd name="T16" fmla="*/ 335046515 w 26"/>
                  <a:gd name="T17" fmla="*/ 2147483647 h 36"/>
                  <a:gd name="T18" fmla="*/ 335046515 w 26"/>
                  <a:gd name="T19" fmla="*/ 2147483647 h 36"/>
                  <a:gd name="T20" fmla="*/ 349660552 w 26"/>
                  <a:gd name="T21" fmla="*/ 2147483647 h 36"/>
                  <a:gd name="T22" fmla="*/ 378768952 w 26"/>
                  <a:gd name="T23" fmla="*/ 2147483647 h 36"/>
                  <a:gd name="T24" fmla="*/ 87385281 w 26"/>
                  <a:gd name="T25" fmla="*/ 2147483647 h 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6" name="Freeform 533"/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10841305" y="2958672"/>
                <a:ext cx="174625" cy="158750"/>
              </a:xfrm>
              <a:custGeom>
                <a:avLst/>
                <a:gdLst>
                  <a:gd name="T0" fmla="*/ 2084051499 w 405"/>
                  <a:gd name="T1" fmla="*/ 2147483647 h 302"/>
                  <a:gd name="T2" fmla="*/ 2147483647 w 405"/>
                  <a:gd name="T3" fmla="*/ 2147483647 h 302"/>
                  <a:gd name="T4" fmla="*/ 2147483647 w 405"/>
                  <a:gd name="T5" fmla="*/ 2147483647 h 302"/>
                  <a:gd name="T6" fmla="*/ 2147483647 w 405"/>
                  <a:gd name="T7" fmla="*/ 2147483647 h 302"/>
                  <a:gd name="T8" fmla="*/ 1442847470 w 405"/>
                  <a:gd name="T9" fmla="*/ 2147483647 h 302"/>
                  <a:gd name="T10" fmla="*/ 480949157 w 405"/>
                  <a:gd name="T11" fmla="*/ 2147483647 h 302"/>
                  <a:gd name="T12" fmla="*/ 160254440 w 405"/>
                  <a:gd name="T13" fmla="*/ 2147483647 h 302"/>
                  <a:gd name="T14" fmla="*/ 400822152 w 405"/>
                  <a:gd name="T15" fmla="*/ 2147483647 h 302"/>
                  <a:gd name="T16" fmla="*/ 480949157 w 405"/>
                  <a:gd name="T17" fmla="*/ 2147483647 h 302"/>
                  <a:gd name="T18" fmla="*/ 1362720466 w 405"/>
                  <a:gd name="T19" fmla="*/ 2147483647 h 302"/>
                  <a:gd name="T20" fmla="*/ 2147483647 w 405"/>
                  <a:gd name="T21" fmla="*/ 2147483647 h 302"/>
                  <a:gd name="T22" fmla="*/ 2147483647 w 405"/>
                  <a:gd name="T23" fmla="*/ 2147483647 h 302"/>
                  <a:gd name="T24" fmla="*/ 2147483647 w 405"/>
                  <a:gd name="T25" fmla="*/ 2147483647 h 302"/>
                  <a:gd name="T26" fmla="*/ 2147483647 w 405"/>
                  <a:gd name="T27" fmla="*/ 2147483647 h 302"/>
                  <a:gd name="T28" fmla="*/ 2147483647 w 405"/>
                  <a:gd name="T29" fmla="*/ 2147483647 h 302"/>
                  <a:gd name="T30" fmla="*/ 2147483647 w 405"/>
                  <a:gd name="T31" fmla="*/ 2147483647 h 302"/>
                  <a:gd name="T32" fmla="*/ 2147483647 w 405"/>
                  <a:gd name="T33" fmla="*/ 2147483647 h 302"/>
                  <a:gd name="T34" fmla="*/ 2147483647 w 405"/>
                  <a:gd name="T35" fmla="*/ 2147483647 h 302"/>
                  <a:gd name="T36" fmla="*/ 2147483647 w 405"/>
                  <a:gd name="T37" fmla="*/ 2147483647 h 302"/>
                  <a:gd name="T38" fmla="*/ 2147483647 w 405"/>
                  <a:gd name="T39" fmla="*/ 2147483647 h 302"/>
                  <a:gd name="T40" fmla="*/ 2147483647 w 405"/>
                  <a:gd name="T41" fmla="*/ 2147483647 h 302"/>
                  <a:gd name="T42" fmla="*/ 2147483647 w 405"/>
                  <a:gd name="T43" fmla="*/ 2147483647 h 302"/>
                  <a:gd name="T44" fmla="*/ 2147483647 w 405"/>
                  <a:gd name="T45" fmla="*/ 2147483647 h 302"/>
                  <a:gd name="T46" fmla="*/ 2147483647 w 405"/>
                  <a:gd name="T47" fmla="*/ 581102798 h 302"/>
                  <a:gd name="T48" fmla="*/ 2147483647 w 405"/>
                  <a:gd name="T49" fmla="*/ 435757711 h 302"/>
                  <a:gd name="T50" fmla="*/ 2147483647 w 405"/>
                  <a:gd name="T51" fmla="*/ 435757711 h 302"/>
                  <a:gd name="T52" fmla="*/ 2147483647 w 405"/>
                  <a:gd name="T53" fmla="*/ 145344561 h 302"/>
                  <a:gd name="T54" fmla="*/ 2147483647 w 405"/>
                  <a:gd name="T55" fmla="*/ 1161929098 h 302"/>
                  <a:gd name="T56" fmla="*/ 2147483647 w 405"/>
                  <a:gd name="T57" fmla="*/ 2147483647 h 302"/>
                  <a:gd name="T58" fmla="*/ 2147483647 w 405"/>
                  <a:gd name="T59" fmla="*/ 2147483647 h 302"/>
                  <a:gd name="T60" fmla="*/ 2147483647 w 405"/>
                  <a:gd name="T61" fmla="*/ 2147483647 h 302"/>
                  <a:gd name="T62" fmla="*/ 2147483647 w 405"/>
                  <a:gd name="T63" fmla="*/ 2147483647 h 302"/>
                  <a:gd name="T64" fmla="*/ 2147483647 w 405"/>
                  <a:gd name="T65" fmla="*/ 2147483647 h 302"/>
                  <a:gd name="T66" fmla="*/ 2147483647 w 405"/>
                  <a:gd name="T67" fmla="*/ 2147483647 h 302"/>
                  <a:gd name="T68" fmla="*/ 2147483647 w 405"/>
                  <a:gd name="T69" fmla="*/ 2147483647 h 302"/>
                  <a:gd name="T70" fmla="*/ 2147483647 w 405"/>
                  <a:gd name="T71" fmla="*/ 2147483647 h 302"/>
                  <a:gd name="T72" fmla="*/ 2147483647 w 405"/>
                  <a:gd name="T73" fmla="*/ 2147483647 h 302"/>
                  <a:gd name="T74" fmla="*/ 2147483647 w 405"/>
                  <a:gd name="T75" fmla="*/ 2147483647 h 302"/>
                  <a:gd name="T76" fmla="*/ 2147483647 w 405"/>
                  <a:gd name="T77" fmla="*/ 2147483647 h 302"/>
                  <a:gd name="T78" fmla="*/ 2147483647 w 405"/>
                  <a:gd name="T79" fmla="*/ 2147483647 h 302"/>
                  <a:gd name="T80" fmla="*/ 2147483647 w 405"/>
                  <a:gd name="T81" fmla="*/ 2147483647 h 302"/>
                  <a:gd name="T82" fmla="*/ 2147483647 w 405"/>
                  <a:gd name="T83" fmla="*/ 2147483647 h 302"/>
                  <a:gd name="T84" fmla="*/ 2147483647 w 405"/>
                  <a:gd name="T85" fmla="*/ 2147483647 h 302"/>
                  <a:gd name="T86" fmla="*/ 2147483647 w 405"/>
                  <a:gd name="T87" fmla="*/ 2147483647 h 302"/>
                  <a:gd name="T88" fmla="*/ 2147483647 w 405"/>
                  <a:gd name="T89" fmla="*/ 2147483647 h 302"/>
                  <a:gd name="T90" fmla="*/ 2084051499 w 405"/>
                  <a:gd name="T91" fmla="*/ 2147483647 h 30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05" h="302">
                    <a:moveTo>
                      <a:pt x="26" y="166"/>
                    </a:moveTo>
                    <a:lnTo>
                      <a:pt x="26" y="162"/>
                    </a:lnTo>
                    <a:lnTo>
                      <a:pt x="27" y="158"/>
                    </a:lnTo>
                    <a:lnTo>
                      <a:pt x="28" y="156"/>
                    </a:lnTo>
                    <a:lnTo>
                      <a:pt x="29" y="155"/>
                    </a:lnTo>
                    <a:lnTo>
                      <a:pt x="30" y="154"/>
                    </a:lnTo>
                    <a:lnTo>
                      <a:pt x="33" y="154"/>
                    </a:lnTo>
                    <a:lnTo>
                      <a:pt x="28" y="151"/>
                    </a:lnTo>
                    <a:lnTo>
                      <a:pt x="23" y="147"/>
                    </a:lnTo>
                    <a:lnTo>
                      <a:pt x="18" y="143"/>
                    </a:lnTo>
                    <a:lnTo>
                      <a:pt x="14" y="138"/>
                    </a:lnTo>
                    <a:lnTo>
                      <a:pt x="6" y="127"/>
                    </a:lnTo>
                    <a:lnTo>
                      <a:pt x="0" y="117"/>
                    </a:lnTo>
                    <a:lnTo>
                      <a:pt x="2" y="116"/>
                    </a:lnTo>
                    <a:lnTo>
                      <a:pt x="4" y="115"/>
                    </a:lnTo>
                    <a:lnTo>
                      <a:pt x="5" y="112"/>
                    </a:lnTo>
                    <a:lnTo>
                      <a:pt x="5" y="110"/>
                    </a:lnTo>
                    <a:lnTo>
                      <a:pt x="6" y="104"/>
                    </a:lnTo>
                    <a:lnTo>
                      <a:pt x="6" y="98"/>
                    </a:lnTo>
                    <a:lnTo>
                      <a:pt x="17" y="97"/>
                    </a:lnTo>
                    <a:lnTo>
                      <a:pt x="26" y="95"/>
                    </a:lnTo>
                    <a:lnTo>
                      <a:pt x="34" y="93"/>
                    </a:lnTo>
                    <a:lnTo>
                      <a:pt x="41" y="91"/>
                    </a:lnTo>
                    <a:lnTo>
                      <a:pt x="47" y="88"/>
                    </a:lnTo>
                    <a:lnTo>
                      <a:pt x="52" y="85"/>
                    </a:lnTo>
                    <a:lnTo>
                      <a:pt x="57" y="82"/>
                    </a:lnTo>
                    <a:lnTo>
                      <a:pt x="60" y="78"/>
                    </a:lnTo>
                    <a:lnTo>
                      <a:pt x="67" y="70"/>
                    </a:lnTo>
                    <a:lnTo>
                      <a:pt x="71" y="61"/>
                    </a:lnTo>
                    <a:lnTo>
                      <a:pt x="75" y="52"/>
                    </a:lnTo>
                    <a:lnTo>
                      <a:pt x="80" y="43"/>
                    </a:lnTo>
                    <a:lnTo>
                      <a:pt x="84" y="47"/>
                    </a:lnTo>
                    <a:lnTo>
                      <a:pt x="89" y="50"/>
                    </a:lnTo>
                    <a:lnTo>
                      <a:pt x="95" y="52"/>
                    </a:lnTo>
                    <a:lnTo>
                      <a:pt x="102" y="53"/>
                    </a:lnTo>
                    <a:lnTo>
                      <a:pt x="117" y="54"/>
                    </a:lnTo>
                    <a:lnTo>
                      <a:pt x="135" y="52"/>
                    </a:lnTo>
                    <a:lnTo>
                      <a:pt x="169" y="46"/>
                    </a:lnTo>
                    <a:lnTo>
                      <a:pt x="200" y="43"/>
                    </a:lnTo>
                    <a:lnTo>
                      <a:pt x="212" y="43"/>
                    </a:lnTo>
                    <a:lnTo>
                      <a:pt x="223" y="42"/>
                    </a:lnTo>
                    <a:lnTo>
                      <a:pt x="234" y="41"/>
                    </a:lnTo>
                    <a:lnTo>
                      <a:pt x="245" y="39"/>
                    </a:lnTo>
                    <a:lnTo>
                      <a:pt x="264" y="35"/>
                    </a:lnTo>
                    <a:lnTo>
                      <a:pt x="283" y="29"/>
                    </a:lnTo>
                    <a:lnTo>
                      <a:pt x="318" y="17"/>
                    </a:lnTo>
                    <a:lnTo>
                      <a:pt x="352" y="6"/>
                    </a:lnTo>
                    <a:lnTo>
                      <a:pt x="359" y="4"/>
                    </a:lnTo>
                    <a:lnTo>
                      <a:pt x="365" y="3"/>
                    </a:lnTo>
                    <a:lnTo>
                      <a:pt x="372" y="3"/>
                    </a:lnTo>
                    <a:lnTo>
                      <a:pt x="378" y="3"/>
                    </a:lnTo>
                    <a:lnTo>
                      <a:pt x="385" y="3"/>
                    </a:lnTo>
                    <a:lnTo>
                      <a:pt x="392" y="2"/>
                    </a:lnTo>
                    <a:lnTo>
                      <a:pt x="398" y="1"/>
                    </a:lnTo>
                    <a:lnTo>
                      <a:pt x="405" y="0"/>
                    </a:lnTo>
                    <a:lnTo>
                      <a:pt x="395" y="8"/>
                    </a:lnTo>
                    <a:lnTo>
                      <a:pt x="372" y="29"/>
                    </a:lnTo>
                    <a:lnTo>
                      <a:pt x="360" y="41"/>
                    </a:lnTo>
                    <a:lnTo>
                      <a:pt x="349" y="52"/>
                    </a:lnTo>
                    <a:lnTo>
                      <a:pt x="344" y="57"/>
                    </a:lnTo>
                    <a:lnTo>
                      <a:pt x="341" y="61"/>
                    </a:lnTo>
                    <a:lnTo>
                      <a:pt x="339" y="64"/>
                    </a:lnTo>
                    <a:lnTo>
                      <a:pt x="339" y="68"/>
                    </a:lnTo>
                    <a:lnTo>
                      <a:pt x="339" y="96"/>
                    </a:lnTo>
                    <a:lnTo>
                      <a:pt x="338" y="132"/>
                    </a:lnTo>
                    <a:lnTo>
                      <a:pt x="337" y="149"/>
                    </a:lnTo>
                    <a:lnTo>
                      <a:pt x="336" y="165"/>
                    </a:lnTo>
                    <a:lnTo>
                      <a:pt x="335" y="180"/>
                    </a:lnTo>
                    <a:lnTo>
                      <a:pt x="332" y="191"/>
                    </a:lnTo>
                    <a:lnTo>
                      <a:pt x="326" y="198"/>
                    </a:lnTo>
                    <a:lnTo>
                      <a:pt x="317" y="204"/>
                    </a:lnTo>
                    <a:lnTo>
                      <a:pt x="305" y="210"/>
                    </a:lnTo>
                    <a:lnTo>
                      <a:pt x="293" y="215"/>
                    </a:lnTo>
                    <a:lnTo>
                      <a:pt x="265" y="227"/>
                    </a:lnTo>
                    <a:lnTo>
                      <a:pt x="239" y="241"/>
                    </a:lnTo>
                    <a:lnTo>
                      <a:pt x="106" y="302"/>
                    </a:lnTo>
                    <a:lnTo>
                      <a:pt x="53" y="271"/>
                    </a:lnTo>
                    <a:lnTo>
                      <a:pt x="57" y="260"/>
                    </a:lnTo>
                    <a:lnTo>
                      <a:pt x="64" y="240"/>
                    </a:lnTo>
                    <a:lnTo>
                      <a:pt x="70" y="228"/>
                    </a:lnTo>
                    <a:lnTo>
                      <a:pt x="75" y="218"/>
                    </a:lnTo>
                    <a:lnTo>
                      <a:pt x="81" y="209"/>
                    </a:lnTo>
                    <a:lnTo>
                      <a:pt x="86" y="203"/>
                    </a:lnTo>
                    <a:lnTo>
                      <a:pt x="86" y="172"/>
                    </a:lnTo>
                    <a:lnTo>
                      <a:pt x="79" y="173"/>
                    </a:lnTo>
                    <a:lnTo>
                      <a:pt x="71" y="173"/>
                    </a:lnTo>
                    <a:lnTo>
                      <a:pt x="63" y="171"/>
                    </a:lnTo>
                    <a:lnTo>
                      <a:pt x="57" y="169"/>
                    </a:lnTo>
                    <a:lnTo>
                      <a:pt x="49" y="167"/>
                    </a:lnTo>
                    <a:lnTo>
                      <a:pt x="41" y="165"/>
                    </a:lnTo>
                    <a:lnTo>
                      <a:pt x="34" y="165"/>
                    </a:lnTo>
                    <a:lnTo>
                      <a:pt x="26" y="16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7" name="Freeform 534"/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12935218" y="3339672"/>
                <a:ext cx="42862" cy="79375"/>
              </a:xfrm>
              <a:custGeom>
                <a:avLst/>
                <a:gdLst>
                  <a:gd name="T0" fmla="*/ 2147483647 w 100"/>
                  <a:gd name="T1" fmla="*/ 134268702 h 155"/>
                  <a:gd name="T2" fmla="*/ 2147483647 w 100"/>
                  <a:gd name="T3" fmla="*/ 2147483647 h 155"/>
                  <a:gd name="T4" fmla="*/ 2147483647 w 100"/>
                  <a:gd name="T5" fmla="*/ 2147483647 h 155"/>
                  <a:gd name="T6" fmla="*/ 2147483647 w 100"/>
                  <a:gd name="T7" fmla="*/ 2147483647 h 155"/>
                  <a:gd name="T8" fmla="*/ 2147483647 w 100"/>
                  <a:gd name="T9" fmla="*/ 2147483647 h 155"/>
                  <a:gd name="T10" fmla="*/ 2147483647 w 100"/>
                  <a:gd name="T11" fmla="*/ 2147483647 h 155"/>
                  <a:gd name="T12" fmla="*/ 2147483647 w 100"/>
                  <a:gd name="T13" fmla="*/ 2147483647 h 155"/>
                  <a:gd name="T14" fmla="*/ 2147483647 w 100"/>
                  <a:gd name="T15" fmla="*/ 2147483647 h 155"/>
                  <a:gd name="T16" fmla="*/ 2147483647 w 100"/>
                  <a:gd name="T17" fmla="*/ 2147483647 h 155"/>
                  <a:gd name="T18" fmla="*/ 2147483647 w 100"/>
                  <a:gd name="T19" fmla="*/ 2147483647 h 155"/>
                  <a:gd name="T20" fmla="*/ 2147483647 w 100"/>
                  <a:gd name="T21" fmla="*/ 2147483647 h 155"/>
                  <a:gd name="T22" fmla="*/ 2147483647 w 100"/>
                  <a:gd name="T23" fmla="*/ 2147483647 h 155"/>
                  <a:gd name="T24" fmla="*/ 2147483647 w 100"/>
                  <a:gd name="T25" fmla="*/ 2147483647 h 155"/>
                  <a:gd name="T26" fmla="*/ 2147483647 w 100"/>
                  <a:gd name="T27" fmla="*/ 2147483647 h 155"/>
                  <a:gd name="T28" fmla="*/ 2147483647 w 100"/>
                  <a:gd name="T29" fmla="*/ 2147483647 h 155"/>
                  <a:gd name="T30" fmla="*/ 2147483647 w 100"/>
                  <a:gd name="T31" fmla="*/ 2147483647 h 155"/>
                  <a:gd name="T32" fmla="*/ 2147483647 w 100"/>
                  <a:gd name="T33" fmla="*/ 2147483647 h 155"/>
                  <a:gd name="T34" fmla="*/ 2047321003 w 100"/>
                  <a:gd name="T35" fmla="*/ 2147483647 h 155"/>
                  <a:gd name="T36" fmla="*/ 1732433606 w 100"/>
                  <a:gd name="T37" fmla="*/ 2147483647 h 155"/>
                  <a:gd name="T38" fmla="*/ 1181104415 w 100"/>
                  <a:gd name="T39" fmla="*/ 2147483647 h 155"/>
                  <a:gd name="T40" fmla="*/ 708772890 w 100"/>
                  <a:gd name="T41" fmla="*/ 2147483647 h 155"/>
                  <a:gd name="T42" fmla="*/ 393701614 w 100"/>
                  <a:gd name="T43" fmla="*/ 2147483647 h 155"/>
                  <a:gd name="T44" fmla="*/ 157443699 w 100"/>
                  <a:gd name="T45" fmla="*/ 2147483647 h 155"/>
                  <a:gd name="T46" fmla="*/ 0 w 100"/>
                  <a:gd name="T47" fmla="*/ 2147483647 h 155"/>
                  <a:gd name="T48" fmla="*/ 0 w 100"/>
                  <a:gd name="T49" fmla="*/ 2147483647 h 155"/>
                  <a:gd name="T50" fmla="*/ 0 w 100"/>
                  <a:gd name="T51" fmla="*/ 2147483647 h 155"/>
                  <a:gd name="T52" fmla="*/ 0 w 100"/>
                  <a:gd name="T53" fmla="*/ 2147483647 h 155"/>
                  <a:gd name="T54" fmla="*/ 0 w 100"/>
                  <a:gd name="T55" fmla="*/ 2147483647 h 155"/>
                  <a:gd name="T56" fmla="*/ 0 w 100"/>
                  <a:gd name="T57" fmla="*/ 2147483647 h 155"/>
                  <a:gd name="T58" fmla="*/ 1181104415 w 100"/>
                  <a:gd name="T59" fmla="*/ 2147483647 h 155"/>
                  <a:gd name="T60" fmla="*/ 2047321003 w 100"/>
                  <a:gd name="T61" fmla="*/ 2147483647 h 155"/>
                  <a:gd name="T62" fmla="*/ 2047321003 w 100"/>
                  <a:gd name="T63" fmla="*/ 2147483647 h 155"/>
                  <a:gd name="T64" fmla="*/ 2126134792 w 100"/>
                  <a:gd name="T65" fmla="*/ 2147483647 h 155"/>
                  <a:gd name="T66" fmla="*/ 2147483647 w 100"/>
                  <a:gd name="T67" fmla="*/ 2147483647 h 155"/>
                  <a:gd name="T68" fmla="*/ 2147483647 w 100"/>
                  <a:gd name="T69" fmla="*/ 2147483647 h 155"/>
                  <a:gd name="T70" fmla="*/ 2147483647 w 100"/>
                  <a:gd name="T71" fmla="*/ 1611484052 h 155"/>
                  <a:gd name="T72" fmla="*/ 2147483647 w 100"/>
                  <a:gd name="T73" fmla="*/ 940141569 h 155"/>
                  <a:gd name="T74" fmla="*/ 2147483647 w 100"/>
                  <a:gd name="T75" fmla="*/ 537073782 h 155"/>
                  <a:gd name="T76" fmla="*/ 2147483647 w 100"/>
                  <a:gd name="T77" fmla="*/ 268536891 h 155"/>
                  <a:gd name="T78" fmla="*/ 2147483647 w 100"/>
                  <a:gd name="T79" fmla="*/ 0 h 155"/>
                  <a:gd name="T80" fmla="*/ 2147483647 w 100"/>
                  <a:gd name="T81" fmla="*/ 0 h 155"/>
                  <a:gd name="T82" fmla="*/ 2147483647 w 100"/>
                  <a:gd name="T83" fmla="*/ 0 h 155"/>
                  <a:gd name="T84" fmla="*/ 2147483647 w 100"/>
                  <a:gd name="T85" fmla="*/ 134268702 h 15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00" h="155">
                    <a:moveTo>
                      <a:pt x="100" y="1"/>
                    </a:moveTo>
                    <a:lnTo>
                      <a:pt x="100" y="30"/>
                    </a:lnTo>
                    <a:lnTo>
                      <a:pt x="100" y="55"/>
                    </a:lnTo>
                    <a:lnTo>
                      <a:pt x="100" y="78"/>
                    </a:lnTo>
                    <a:lnTo>
                      <a:pt x="100" y="99"/>
                    </a:lnTo>
                    <a:lnTo>
                      <a:pt x="98" y="109"/>
                    </a:lnTo>
                    <a:lnTo>
                      <a:pt x="94" y="118"/>
                    </a:lnTo>
                    <a:lnTo>
                      <a:pt x="89" y="128"/>
                    </a:lnTo>
                    <a:lnTo>
                      <a:pt x="82" y="137"/>
                    </a:lnTo>
                    <a:lnTo>
                      <a:pt x="73" y="144"/>
                    </a:lnTo>
                    <a:lnTo>
                      <a:pt x="62" y="150"/>
                    </a:lnTo>
                    <a:lnTo>
                      <a:pt x="57" y="152"/>
                    </a:lnTo>
                    <a:lnTo>
                      <a:pt x="51" y="154"/>
                    </a:lnTo>
                    <a:lnTo>
                      <a:pt x="46" y="155"/>
                    </a:lnTo>
                    <a:lnTo>
                      <a:pt x="39" y="155"/>
                    </a:lnTo>
                    <a:lnTo>
                      <a:pt x="35" y="154"/>
                    </a:lnTo>
                    <a:lnTo>
                      <a:pt x="30" y="153"/>
                    </a:lnTo>
                    <a:lnTo>
                      <a:pt x="26" y="151"/>
                    </a:lnTo>
                    <a:lnTo>
                      <a:pt x="22" y="149"/>
                    </a:lnTo>
                    <a:lnTo>
                      <a:pt x="15" y="142"/>
                    </a:lnTo>
                    <a:lnTo>
                      <a:pt x="9" y="134"/>
                    </a:lnTo>
                    <a:lnTo>
                      <a:pt x="5" y="124"/>
                    </a:lnTo>
                    <a:lnTo>
                      <a:pt x="2" y="11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7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15" y="50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27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5" y="12"/>
                    </a:lnTo>
                    <a:lnTo>
                      <a:pt x="39" y="7"/>
                    </a:lnTo>
                    <a:lnTo>
                      <a:pt x="42" y="4"/>
                    </a:lnTo>
                    <a:lnTo>
                      <a:pt x="48" y="2"/>
                    </a:lnTo>
                    <a:lnTo>
                      <a:pt x="59" y="0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10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298" name="Group 535"/>
              <p:cNvGrpSpPr>
                <a:grpSpLocks/>
              </p:cNvGrpSpPr>
              <p:nvPr>
                <p:custDataLst>
                  <p:tags r:id="rId294"/>
                </p:custDataLst>
              </p:nvPr>
            </p:nvGrpSpPr>
            <p:grpSpPr bwMode="auto">
              <a:xfrm>
                <a:off x="10582543" y="2807860"/>
                <a:ext cx="482600" cy="201612"/>
                <a:chOff x="3289" y="1830"/>
                <a:chExt cx="363" cy="128"/>
              </a:xfrm>
            </p:grpSpPr>
            <p:sp>
              <p:nvSpPr>
                <p:cNvPr id="308" name="Freeform 536"/>
                <p:cNvSpPr>
                  <a:spLocks/>
                </p:cNvSpPr>
                <p:nvPr/>
              </p:nvSpPr>
              <p:spPr bwMode="auto">
                <a:xfrm>
                  <a:off x="3289" y="1871"/>
                  <a:ext cx="4" cy="3"/>
                </a:xfrm>
                <a:custGeom>
                  <a:avLst/>
                  <a:gdLst>
                    <a:gd name="T0" fmla="*/ 0 w 13"/>
                    <a:gd name="T1" fmla="*/ 0 h 7"/>
                    <a:gd name="T2" fmla="*/ 0 w 13"/>
                    <a:gd name="T3" fmla="*/ 0 h 7"/>
                    <a:gd name="T4" fmla="*/ 0 w 13"/>
                    <a:gd name="T5" fmla="*/ 0 h 7"/>
                    <a:gd name="T6" fmla="*/ 0 w 13"/>
                    <a:gd name="T7" fmla="*/ 0 h 7"/>
                    <a:gd name="T8" fmla="*/ 0 w 13"/>
                    <a:gd name="T9" fmla="*/ 0 h 7"/>
                    <a:gd name="T10" fmla="*/ 0 w 13"/>
                    <a:gd name="T11" fmla="*/ 0 h 7"/>
                    <a:gd name="T12" fmla="*/ 0 w 13"/>
                    <a:gd name="T13" fmla="*/ 0 h 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2" y="1"/>
                      </a:lnTo>
                      <a:lnTo>
                        <a:pt x="9" y="3"/>
                      </a:lnTo>
                      <a:lnTo>
                        <a:pt x="4" y="5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09" name="Freeform 537"/>
                <p:cNvSpPr>
                  <a:spLocks/>
                </p:cNvSpPr>
                <p:nvPr/>
              </p:nvSpPr>
              <p:spPr bwMode="auto">
                <a:xfrm>
                  <a:off x="3324" y="1937"/>
                  <a:ext cx="10" cy="3"/>
                </a:xfrm>
                <a:custGeom>
                  <a:avLst/>
                  <a:gdLst>
                    <a:gd name="T0" fmla="*/ 0 w 34"/>
                    <a:gd name="T1" fmla="*/ 0 h 8"/>
                    <a:gd name="T2" fmla="*/ 0 w 34"/>
                    <a:gd name="T3" fmla="*/ 0 h 8"/>
                    <a:gd name="T4" fmla="*/ 0 w 34"/>
                    <a:gd name="T5" fmla="*/ 0 h 8"/>
                    <a:gd name="T6" fmla="*/ 1 w 34"/>
                    <a:gd name="T7" fmla="*/ 0 h 8"/>
                    <a:gd name="T8" fmla="*/ 1 w 34"/>
                    <a:gd name="T9" fmla="*/ 0 h 8"/>
                    <a:gd name="T10" fmla="*/ 1 w 34"/>
                    <a:gd name="T11" fmla="*/ 0 h 8"/>
                    <a:gd name="T12" fmla="*/ 1 w 34"/>
                    <a:gd name="T13" fmla="*/ 0 h 8"/>
                    <a:gd name="T14" fmla="*/ 1 w 34"/>
                    <a:gd name="T15" fmla="*/ 0 h 8"/>
                    <a:gd name="T16" fmla="*/ 0 w 34"/>
                    <a:gd name="T17" fmla="*/ 0 h 8"/>
                    <a:gd name="T18" fmla="*/ 0 w 34"/>
                    <a:gd name="T19" fmla="*/ 0 h 8"/>
                    <a:gd name="T20" fmla="*/ 0 w 34"/>
                    <a:gd name="T21" fmla="*/ 0 h 8"/>
                    <a:gd name="T22" fmla="*/ 0 w 34"/>
                    <a:gd name="T23" fmla="*/ 0 h 8"/>
                    <a:gd name="T24" fmla="*/ 0 w 34"/>
                    <a:gd name="T25" fmla="*/ 0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4" h="8">
                      <a:moveTo>
                        <a:pt x="0" y="6"/>
                      </a:moveTo>
                      <a:lnTo>
                        <a:pt x="7" y="5"/>
                      </a:lnTo>
                      <a:lnTo>
                        <a:pt x="15" y="3"/>
                      </a:lnTo>
                      <a:lnTo>
                        <a:pt x="25" y="1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7" y="4"/>
                      </a:lnTo>
                      <a:lnTo>
                        <a:pt x="22" y="6"/>
                      </a:lnTo>
                      <a:lnTo>
                        <a:pt x="18" y="7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0" name="Freeform 538"/>
                <p:cNvSpPr>
                  <a:spLocks/>
                </p:cNvSpPr>
                <p:nvPr/>
              </p:nvSpPr>
              <p:spPr bwMode="auto">
                <a:xfrm>
                  <a:off x="3343" y="1948"/>
                  <a:ext cx="4" cy="8"/>
                </a:xfrm>
                <a:custGeom>
                  <a:avLst/>
                  <a:gdLst>
                    <a:gd name="T0" fmla="*/ 0 w 13"/>
                    <a:gd name="T1" fmla="*/ 1 h 24"/>
                    <a:gd name="T2" fmla="*/ 0 w 13"/>
                    <a:gd name="T3" fmla="*/ 0 h 24"/>
                    <a:gd name="T4" fmla="*/ 0 w 13"/>
                    <a:gd name="T5" fmla="*/ 0 h 24"/>
                    <a:gd name="T6" fmla="*/ 0 w 13"/>
                    <a:gd name="T7" fmla="*/ 1 h 2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3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13" y="12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1" name="Freeform 539"/>
                <p:cNvSpPr>
                  <a:spLocks/>
                </p:cNvSpPr>
                <p:nvPr/>
              </p:nvSpPr>
              <p:spPr bwMode="auto">
                <a:xfrm>
                  <a:off x="3313" y="1834"/>
                  <a:ext cx="34" cy="23"/>
                </a:xfrm>
                <a:custGeom>
                  <a:avLst/>
                  <a:gdLst>
                    <a:gd name="T0" fmla="*/ 0 w 107"/>
                    <a:gd name="T1" fmla="*/ 0 h 69"/>
                    <a:gd name="T2" fmla="*/ 0 w 107"/>
                    <a:gd name="T3" fmla="*/ 1 h 69"/>
                    <a:gd name="T4" fmla="*/ 0 w 107"/>
                    <a:gd name="T5" fmla="*/ 2 h 69"/>
                    <a:gd name="T6" fmla="*/ 0 w 107"/>
                    <a:gd name="T7" fmla="*/ 2 h 69"/>
                    <a:gd name="T8" fmla="*/ 0 w 107"/>
                    <a:gd name="T9" fmla="*/ 3 h 69"/>
                    <a:gd name="T10" fmla="*/ 1 w 107"/>
                    <a:gd name="T11" fmla="*/ 2 h 69"/>
                    <a:gd name="T12" fmla="*/ 2 w 107"/>
                    <a:gd name="T13" fmla="*/ 2 h 69"/>
                    <a:gd name="T14" fmla="*/ 3 w 107"/>
                    <a:gd name="T15" fmla="*/ 2 h 69"/>
                    <a:gd name="T16" fmla="*/ 3 w 107"/>
                    <a:gd name="T17" fmla="*/ 2 h 69"/>
                    <a:gd name="T18" fmla="*/ 3 w 107"/>
                    <a:gd name="T19" fmla="*/ 1 h 69"/>
                    <a:gd name="T20" fmla="*/ 3 w 107"/>
                    <a:gd name="T21" fmla="*/ 1 h 69"/>
                    <a:gd name="T22" fmla="*/ 3 w 107"/>
                    <a:gd name="T23" fmla="*/ 1 h 69"/>
                    <a:gd name="T24" fmla="*/ 3 w 107"/>
                    <a:gd name="T25" fmla="*/ 1 h 69"/>
                    <a:gd name="T26" fmla="*/ 2 w 107"/>
                    <a:gd name="T27" fmla="*/ 1 h 69"/>
                    <a:gd name="T28" fmla="*/ 2 w 107"/>
                    <a:gd name="T29" fmla="*/ 1 h 69"/>
                    <a:gd name="T30" fmla="*/ 2 w 107"/>
                    <a:gd name="T31" fmla="*/ 1 h 69"/>
                    <a:gd name="T32" fmla="*/ 2 w 107"/>
                    <a:gd name="T33" fmla="*/ 0 h 69"/>
                    <a:gd name="T34" fmla="*/ 2 w 107"/>
                    <a:gd name="T35" fmla="*/ 0 h 69"/>
                    <a:gd name="T36" fmla="*/ 2 w 107"/>
                    <a:gd name="T37" fmla="*/ 0 h 69"/>
                    <a:gd name="T38" fmla="*/ 2 w 107"/>
                    <a:gd name="T39" fmla="*/ 0 h 69"/>
                    <a:gd name="T40" fmla="*/ 1 w 107"/>
                    <a:gd name="T41" fmla="*/ 0 h 69"/>
                    <a:gd name="T42" fmla="*/ 1 w 107"/>
                    <a:gd name="T43" fmla="*/ 0 h 69"/>
                    <a:gd name="T44" fmla="*/ 0 w 107"/>
                    <a:gd name="T45" fmla="*/ 0 h 6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107" h="69">
                      <a:moveTo>
                        <a:pt x="0" y="13"/>
                      </a:moveTo>
                      <a:lnTo>
                        <a:pt x="0" y="27"/>
                      </a:lnTo>
                      <a:lnTo>
                        <a:pt x="0" y="45"/>
                      </a:lnTo>
                      <a:lnTo>
                        <a:pt x="0" y="62"/>
                      </a:lnTo>
                      <a:lnTo>
                        <a:pt x="0" y="69"/>
                      </a:lnTo>
                      <a:lnTo>
                        <a:pt x="16" y="66"/>
                      </a:lnTo>
                      <a:lnTo>
                        <a:pt x="49" y="58"/>
                      </a:lnTo>
                      <a:lnTo>
                        <a:pt x="85" y="50"/>
                      </a:lnTo>
                      <a:lnTo>
                        <a:pt x="107" y="44"/>
                      </a:lnTo>
                      <a:lnTo>
                        <a:pt x="101" y="38"/>
                      </a:lnTo>
                      <a:lnTo>
                        <a:pt x="94" y="34"/>
                      </a:lnTo>
                      <a:lnTo>
                        <a:pt x="86" y="30"/>
                      </a:lnTo>
                      <a:lnTo>
                        <a:pt x="78" y="27"/>
                      </a:lnTo>
                      <a:lnTo>
                        <a:pt x="72" y="23"/>
                      </a:lnTo>
                      <a:lnTo>
                        <a:pt x="65" y="18"/>
                      </a:lnTo>
                      <a:lnTo>
                        <a:pt x="63" y="15"/>
                      </a:lnTo>
                      <a:lnTo>
                        <a:pt x="62" y="11"/>
                      </a:lnTo>
                      <a:lnTo>
                        <a:pt x="61" y="7"/>
                      </a:lnTo>
                      <a:lnTo>
                        <a:pt x="61" y="0"/>
                      </a:lnTo>
                      <a:lnTo>
                        <a:pt x="54" y="1"/>
                      </a:lnTo>
                      <a:lnTo>
                        <a:pt x="38" y="4"/>
                      </a:lnTo>
                      <a:lnTo>
                        <a:pt x="18" y="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2" name="Freeform 540"/>
                <p:cNvSpPr>
                  <a:spLocks/>
                </p:cNvSpPr>
                <p:nvPr/>
              </p:nvSpPr>
              <p:spPr bwMode="auto">
                <a:xfrm>
                  <a:off x="3302" y="1830"/>
                  <a:ext cx="350" cy="128"/>
                </a:xfrm>
                <a:custGeom>
                  <a:avLst/>
                  <a:gdLst>
                    <a:gd name="T0" fmla="*/ 35 w 1070"/>
                    <a:gd name="T1" fmla="*/ 5 h 382"/>
                    <a:gd name="T2" fmla="*/ 34 w 1070"/>
                    <a:gd name="T3" fmla="*/ 4 h 382"/>
                    <a:gd name="T4" fmla="*/ 34 w 1070"/>
                    <a:gd name="T5" fmla="*/ 2 h 382"/>
                    <a:gd name="T6" fmla="*/ 33 w 1070"/>
                    <a:gd name="T7" fmla="*/ 1 h 382"/>
                    <a:gd name="T8" fmla="*/ 28 w 1070"/>
                    <a:gd name="T9" fmla="*/ 1 h 382"/>
                    <a:gd name="T10" fmla="*/ 26 w 1070"/>
                    <a:gd name="T11" fmla="*/ 2 h 382"/>
                    <a:gd name="T12" fmla="*/ 24 w 1070"/>
                    <a:gd name="T13" fmla="*/ 2 h 382"/>
                    <a:gd name="T14" fmla="*/ 22 w 1070"/>
                    <a:gd name="T15" fmla="*/ 2 h 382"/>
                    <a:gd name="T16" fmla="*/ 21 w 1070"/>
                    <a:gd name="T17" fmla="*/ 2 h 382"/>
                    <a:gd name="T18" fmla="*/ 20 w 1070"/>
                    <a:gd name="T19" fmla="*/ 1 h 382"/>
                    <a:gd name="T20" fmla="*/ 18 w 1070"/>
                    <a:gd name="T21" fmla="*/ 1 h 382"/>
                    <a:gd name="T22" fmla="*/ 17 w 1070"/>
                    <a:gd name="T23" fmla="*/ 1 h 382"/>
                    <a:gd name="T24" fmla="*/ 16 w 1070"/>
                    <a:gd name="T25" fmla="*/ 0 h 382"/>
                    <a:gd name="T26" fmla="*/ 14 w 1070"/>
                    <a:gd name="T27" fmla="*/ 1 h 382"/>
                    <a:gd name="T28" fmla="*/ 10 w 1070"/>
                    <a:gd name="T29" fmla="*/ 1 h 382"/>
                    <a:gd name="T30" fmla="*/ 9 w 1070"/>
                    <a:gd name="T31" fmla="*/ 2 h 382"/>
                    <a:gd name="T32" fmla="*/ 5 w 1070"/>
                    <a:gd name="T33" fmla="*/ 2 h 382"/>
                    <a:gd name="T34" fmla="*/ 6 w 1070"/>
                    <a:gd name="T35" fmla="*/ 3 h 382"/>
                    <a:gd name="T36" fmla="*/ 6 w 1070"/>
                    <a:gd name="T37" fmla="*/ 3 h 382"/>
                    <a:gd name="T38" fmla="*/ 4 w 1070"/>
                    <a:gd name="T39" fmla="*/ 3 h 382"/>
                    <a:gd name="T40" fmla="*/ 2 w 1070"/>
                    <a:gd name="T41" fmla="*/ 3 h 382"/>
                    <a:gd name="T42" fmla="*/ 0 w 1070"/>
                    <a:gd name="T43" fmla="*/ 4 h 382"/>
                    <a:gd name="T44" fmla="*/ 0 w 1070"/>
                    <a:gd name="T45" fmla="*/ 5 h 382"/>
                    <a:gd name="T46" fmla="*/ 1 w 1070"/>
                    <a:gd name="T47" fmla="*/ 6 h 382"/>
                    <a:gd name="T48" fmla="*/ 1 w 1070"/>
                    <a:gd name="T49" fmla="*/ 7 h 382"/>
                    <a:gd name="T50" fmla="*/ 1 w 1070"/>
                    <a:gd name="T51" fmla="*/ 8 h 382"/>
                    <a:gd name="T52" fmla="*/ 2 w 1070"/>
                    <a:gd name="T53" fmla="*/ 9 h 382"/>
                    <a:gd name="T54" fmla="*/ 2 w 1070"/>
                    <a:gd name="T55" fmla="*/ 10 h 382"/>
                    <a:gd name="T56" fmla="*/ 3 w 1070"/>
                    <a:gd name="T57" fmla="*/ 10 h 382"/>
                    <a:gd name="T58" fmla="*/ 3 w 1070"/>
                    <a:gd name="T59" fmla="*/ 11 h 382"/>
                    <a:gd name="T60" fmla="*/ 7 w 1070"/>
                    <a:gd name="T61" fmla="*/ 13 h 382"/>
                    <a:gd name="T62" fmla="*/ 9 w 1070"/>
                    <a:gd name="T63" fmla="*/ 14 h 382"/>
                    <a:gd name="T64" fmla="*/ 9 w 1070"/>
                    <a:gd name="T65" fmla="*/ 13 h 382"/>
                    <a:gd name="T66" fmla="*/ 10 w 1070"/>
                    <a:gd name="T67" fmla="*/ 13 h 382"/>
                    <a:gd name="T68" fmla="*/ 10 w 1070"/>
                    <a:gd name="T69" fmla="*/ 12 h 382"/>
                    <a:gd name="T70" fmla="*/ 12 w 1070"/>
                    <a:gd name="T71" fmla="*/ 12 h 382"/>
                    <a:gd name="T72" fmla="*/ 13 w 1070"/>
                    <a:gd name="T73" fmla="*/ 13 h 382"/>
                    <a:gd name="T74" fmla="*/ 14 w 1070"/>
                    <a:gd name="T75" fmla="*/ 14 h 382"/>
                    <a:gd name="T76" fmla="*/ 16 w 1070"/>
                    <a:gd name="T77" fmla="*/ 13 h 382"/>
                    <a:gd name="T78" fmla="*/ 17 w 1070"/>
                    <a:gd name="T79" fmla="*/ 13 h 382"/>
                    <a:gd name="T80" fmla="*/ 18 w 1070"/>
                    <a:gd name="T81" fmla="*/ 12 h 382"/>
                    <a:gd name="T82" fmla="*/ 20 w 1070"/>
                    <a:gd name="T83" fmla="*/ 12 h 382"/>
                    <a:gd name="T84" fmla="*/ 20 w 1070"/>
                    <a:gd name="T85" fmla="*/ 14 h 382"/>
                    <a:gd name="T86" fmla="*/ 21 w 1070"/>
                    <a:gd name="T87" fmla="*/ 14 h 382"/>
                    <a:gd name="T88" fmla="*/ 22 w 1070"/>
                    <a:gd name="T89" fmla="*/ 14 h 382"/>
                    <a:gd name="T90" fmla="*/ 23 w 1070"/>
                    <a:gd name="T91" fmla="*/ 13 h 382"/>
                    <a:gd name="T92" fmla="*/ 26 w 1070"/>
                    <a:gd name="T93" fmla="*/ 12 h 382"/>
                    <a:gd name="T94" fmla="*/ 29 w 1070"/>
                    <a:gd name="T95" fmla="*/ 12 h 382"/>
                    <a:gd name="T96" fmla="*/ 32 w 1070"/>
                    <a:gd name="T97" fmla="*/ 11 h 382"/>
                    <a:gd name="T98" fmla="*/ 34 w 1070"/>
                    <a:gd name="T99" fmla="*/ 11 h 382"/>
                    <a:gd name="T100" fmla="*/ 35 w 1070"/>
                    <a:gd name="T101" fmla="*/ 11 h 382"/>
                    <a:gd name="T102" fmla="*/ 37 w 1070"/>
                    <a:gd name="T103" fmla="*/ 12 h 382"/>
                    <a:gd name="T104" fmla="*/ 37 w 1070"/>
                    <a:gd name="T105" fmla="*/ 10 h 382"/>
                    <a:gd name="T106" fmla="*/ 36 w 1070"/>
                    <a:gd name="T107" fmla="*/ 8 h 382"/>
                    <a:gd name="T108" fmla="*/ 36 w 1070"/>
                    <a:gd name="T109" fmla="*/ 6 h 38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0" t="0" r="r" b="b"/>
                  <a:pathLst>
                    <a:path w="1070" h="382">
                      <a:moveTo>
                        <a:pt x="1011" y="142"/>
                      </a:moveTo>
                      <a:lnTo>
                        <a:pt x="1011" y="136"/>
                      </a:lnTo>
                      <a:lnTo>
                        <a:pt x="1011" y="123"/>
                      </a:lnTo>
                      <a:lnTo>
                        <a:pt x="1000" y="125"/>
                      </a:lnTo>
                      <a:lnTo>
                        <a:pt x="992" y="124"/>
                      </a:lnTo>
                      <a:lnTo>
                        <a:pt x="984" y="122"/>
                      </a:lnTo>
                      <a:lnTo>
                        <a:pt x="980" y="119"/>
                      </a:lnTo>
                      <a:lnTo>
                        <a:pt x="976" y="114"/>
                      </a:lnTo>
                      <a:lnTo>
                        <a:pt x="972" y="109"/>
                      </a:lnTo>
                      <a:lnTo>
                        <a:pt x="970" y="103"/>
                      </a:lnTo>
                      <a:lnTo>
                        <a:pt x="969" y="96"/>
                      </a:lnTo>
                      <a:lnTo>
                        <a:pt x="967" y="82"/>
                      </a:lnTo>
                      <a:lnTo>
                        <a:pt x="966" y="68"/>
                      </a:lnTo>
                      <a:lnTo>
                        <a:pt x="965" y="62"/>
                      </a:lnTo>
                      <a:lnTo>
                        <a:pt x="962" y="57"/>
                      </a:lnTo>
                      <a:lnTo>
                        <a:pt x="960" y="53"/>
                      </a:lnTo>
                      <a:lnTo>
                        <a:pt x="957" y="50"/>
                      </a:lnTo>
                      <a:lnTo>
                        <a:pt x="950" y="44"/>
                      </a:lnTo>
                      <a:lnTo>
                        <a:pt x="944" y="40"/>
                      </a:lnTo>
                      <a:lnTo>
                        <a:pt x="936" y="36"/>
                      </a:lnTo>
                      <a:lnTo>
                        <a:pt x="928" y="33"/>
                      </a:lnTo>
                      <a:lnTo>
                        <a:pt x="912" y="28"/>
                      </a:lnTo>
                      <a:lnTo>
                        <a:pt x="894" y="25"/>
                      </a:lnTo>
                      <a:lnTo>
                        <a:pt x="857" y="22"/>
                      </a:lnTo>
                      <a:lnTo>
                        <a:pt x="817" y="19"/>
                      </a:lnTo>
                      <a:lnTo>
                        <a:pt x="799" y="29"/>
                      </a:lnTo>
                      <a:lnTo>
                        <a:pt x="769" y="43"/>
                      </a:lnTo>
                      <a:lnTo>
                        <a:pt x="752" y="50"/>
                      </a:lnTo>
                      <a:lnTo>
                        <a:pt x="734" y="56"/>
                      </a:lnTo>
                      <a:lnTo>
                        <a:pt x="726" y="58"/>
                      </a:lnTo>
                      <a:lnTo>
                        <a:pt x="719" y="60"/>
                      </a:lnTo>
                      <a:lnTo>
                        <a:pt x="711" y="61"/>
                      </a:lnTo>
                      <a:lnTo>
                        <a:pt x="704" y="62"/>
                      </a:lnTo>
                      <a:lnTo>
                        <a:pt x="692" y="63"/>
                      </a:lnTo>
                      <a:lnTo>
                        <a:pt x="678" y="65"/>
                      </a:lnTo>
                      <a:lnTo>
                        <a:pt x="664" y="67"/>
                      </a:lnTo>
                      <a:lnTo>
                        <a:pt x="652" y="68"/>
                      </a:lnTo>
                      <a:lnTo>
                        <a:pt x="644" y="68"/>
                      </a:lnTo>
                      <a:lnTo>
                        <a:pt x="637" y="67"/>
                      </a:lnTo>
                      <a:lnTo>
                        <a:pt x="632" y="65"/>
                      </a:lnTo>
                      <a:lnTo>
                        <a:pt x="626" y="63"/>
                      </a:lnTo>
                      <a:lnTo>
                        <a:pt x="622" y="59"/>
                      </a:lnTo>
                      <a:lnTo>
                        <a:pt x="618" y="55"/>
                      </a:lnTo>
                      <a:lnTo>
                        <a:pt x="614" y="50"/>
                      </a:lnTo>
                      <a:lnTo>
                        <a:pt x="612" y="44"/>
                      </a:lnTo>
                      <a:lnTo>
                        <a:pt x="601" y="45"/>
                      </a:lnTo>
                      <a:lnTo>
                        <a:pt x="591" y="44"/>
                      </a:lnTo>
                      <a:lnTo>
                        <a:pt x="581" y="42"/>
                      </a:lnTo>
                      <a:lnTo>
                        <a:pt x="571" y="40"/>
                      </a:lnTo>
                      <a:lnTo>
                        <a:pt x="560" y="37"/>
                      </a:lnTo>
                      <a:lnTo>
                        <a:pt x="549" y="34"/>
                      </a:lnTo>
                      <a:lnTo>
                        <a:pt x="537" y="32"/>
                      </a:lnTo>
                      <a:lnTo>
                        <a:pt x="525" y="32"/>
                      </a:lnTo>
                      <a:lnTo>
                        <a:pt x="525" y="25"/>
                      </a:lnTo>
                      <a:lnTo>
                        <a:pt x="525" y="19"/>
                      </a:lnTo>
                      <a:lnTo>
                        <a:pt x="512" y="22"/>
                      </a:lnTo>
                      <a:lnTo>
                        <a:pt x="499" y="25"/>
                      </a:lnTo>
                      <a:lnTo>
                        <a:pt x="493" y="25"/>
                      </a:lnTo>
                      <a:lnTo>
                        <a:pt x="488" y="23"/>
                      </a:lnTo>
                      <a:lnTo>
                        <a:pt x="483" y="21"/>
                      </a:lnTo>
                      <a:lnTo>
                        <a:pt x="477" y="17"/>
                      </a:lnTo>
                      <a:lnTo>
                        <a:pt x="473" y="13"/>
                      </a:lnTo>
                      <a:lnTo>
                        <a:pt x="468" y="9"/>
                      </a:lnTo>
                      <a:lnTo>
                        <a:pt x="466" y="5"/>
                      </a:lnTo>
                      <a:lnTo>
                        <a:pt x="465" y="0"/>
                      </a:lnTo>
                      <a:lnTo>
                        <a:pt x="456" y="5"/>
                      </a:lnTo>
                      <a:lnTo>
                        <a:pt x="445" y="9"/>
                      </a:lnTo>
                      <a:lnTo>
                        <a:pt x="432" y="12"/>
                      </a:lnTo>
                      <a:lnTo>
                        <a:pt x="419" y="14"/>
                      </a:lnTo>
                      <a:lnTo>
                        <a:pt x="390" y="16"/>
                      </a:lnTo>
                      <a:lnTo>
                        <a:pt x="360" y="19"/>
                      </a:lnTo>
                      <a:lnTo>
                        <a:pt x="343" y="20"/>
                      </a:lnTo>
                      <a:lnTo>
                        <a:pt x="329" y="21"/>
                      </a:lnTo>
                      <a:lnTo>
                        <a:pt x="313" y="23"/>
                      </a:lnTo>
                      <a:lnTo>
                        <a:pt x="299" y="26"/>
                      </a:lnTo>
                      <a:lnTo>
                        <a:pt x="286" y="30"/>
                      </a:lnTo>
                      <a:lnTo>
                        <a:pt x="274" y="35"/>
                      </a:lnTo>
                      <a:lnTo>
                        <a:pt x="267" y="38"/>
                      </a:lnTo>
                      <a:lnTo>
                        <a:pt x="262" y="41"/>
                      </a:lnTo>
                      <a:lnTo>
                        <a:pt x="257" y="45"/>
                      </a:lnTo>
                      <a:lnTo>
                        <a:pt x="253" y="50"/>
                      </a:lnTo>
                      <a:lnTo>
                        <a:pt x="147" y="50"/>
                      </a:lnTo>
                      <a:lnTo>
                        <a:pt x="145" y="54"/>
                      </a:lnTo>
                      <a:lnTo>
                        <a:pt x="142" y="58"/>
                      </a:lnTo>
                      <a:lnTo>
                        <a:pt x="138" y="61"/>
                      </a:lnTo>
                      <a:lnTo>
                        <a:pt x="133" y="62"/>
                      </a:lnTo>
                      <a:lnTo>
                        <a:pt x="143" y="65"/>
                      </a:lnTo>
                      <a:lnTo>
                        <a:pt x="153" y="68"/>
                      </a:lnTo>
                      <a:lnTo>
                        <a:pt x="163" y="70"/>
                      </a:lnTo>
                      <a:lnTo>
                        <a:pt x="173" y="75"/>
                      </a:lnTo>
                      <a:lnTo>
                        <a:pt x="173" y="79"/>
                      </a:lnTo>
                      <a:lnTo>
                        <a:pt x="172" y="83"/>
                      </a:lnTo>
                      <a:lnTo>
                        <a:pt x="170" y="86"/>
                      </a:lnTo>
                      <a:lnTo>
                        <a:pt x="167" y="88"/>
                      </a:lnTo>
                      <a:lnTo>
                        <a:pt x="164" y="90"/>
                      </a:lnTo>
                      <a:lnTo>
                        <a:pt x="161" y="91"/>
                      </a:lnTo>
                      <a:lnTo>
                        <a:pt x="158" y="92"/>
                      </a:lnTo>
                      <a:lnTo>
                        <a:pt x="153" y="93"/>
                      </a:lnTo>
                      <a:lnTo>
                        <a:pt x="133" y="94"/>
                      </a:lnTo>
                      <a:lnTo>
                        <a:pt x="114" y="93"/>
                      </a:lnTo>
                      <a:lnTo>
                        <a:pt x="108" y="93"/>
                      </a:lnTo>
                      <a:lnTo>
                        <a:pt x="94" y="93"/>
                      </a:lnTo>
                      <a:lnTo>
                        <a:pt x="74" y="93"/>
                      </a:lnTo>
                      <a:lnTo>
                        <a:pt x="53" y="93"/>
                      </a:lnTo>
                      <a:lnTo>
                        <a:pt x="42" y="94"/>
                      </a:lnTo>
                      <a:lnTo>
                        <a:pt x="31" y="95"/>
                      </a:lnTo>
                      <a:lnTo>
                        <a:pt x="22" y="99"/>
                      </a:lnTo>
                      <a:lnTo>
                        <a:pt x="15" y="104"/>
                      </a:lnTo>
                      <a:lnTo>
                        <a:pt x="11" y="107"/>
                      </a:lnTo>
                      <a:lnTo>
                        <a:pt x="8" y="110"/>
                      </a:lnTo>
                      <a:lnTo>
                        <a:pt x="6" y="114"/>
                      </a:lnTo>
                      <a:lnTo>
                        <a:pt x="4" y="119"/>
                      </a:lnTo>
                      <a:lnTo>
                        <a:pt x="2" y="130"/>
                      </a:lnTo>
                      <a:lnTo>
                        <a:pt x="0" y="142"/>
                      </a:lnTo>
                      <a:lnTo>
                        <a:pt x="0" y="147"/>
                      </a:lnTo>
                      <a:lnTo>
                        <a:pt x="2" y="151"/>
                      </a:lnTo>
                      <a:lnTo>
                        <a:pt x="4" y="154"/>
                      </a:lnTo>
                      <a:lnTo>
                        <a:pt x="5" y="157"/>
                      </a:lnTo>
                      <a:lnTo>
                        <a:pt x="10" y="162"/>
                      </a:lnTo>
                      <a:lnTo>
                        <a:pt x="16" y="167"/>
                      </a:lnTo>
                      <a:lnTo>
                        <a:pt x="20" y="173"/>
                      </a:lnTo>
                      <a:lnTo>
                        <a:pt x="22" y="179"/>
                      </a:lnTo>
                      <a:lnTo>
                        <a:pt x="24" y="183"/>
                      </a:lnTo>
                      <a:lnTo>
                        <a:pt x="24" y="188"/>
                      </a:lnTo>
                      <a:lnTo>
                        <a:pt x="22" y="193"/>
                      </a:lnTo>
                      <a:lnTo>
                        <a:pt x="20" y="198"/>
                      </a:lnTo>
                      <a:lnTo>
                        <a:pt x="19" y="200"/>
                      </a:lnTo>
                      <a:lnTo>
                        <a:pt x="19" y="203"/>
                      </a:lnTo>
                      <a:lnTo>
                        <a:pt x="20" y="206"/>
                      </a:lnTo>
                      <a:lnTo>
                        <a:pt x="21" y="210"/>
                      </a:lnTo>
                      <a:lnTo>
                        <a:pt x="25" y="217"/>
                      </a:lnTo>
                      <a:lnTo>
                        <a:pt x="30" y="224"/>
                      </a:lnTo>
                      <a:lnTo>
                        <a:pt x="37" y="230"/>
                      </a:lnTo>
                      <a:lnTo>
                        <a:pt x="44" y="235"/>
                      </a:lnTo>
                      <a:lnTo>
                        <a:pt x="49" y="237"/>
                      </a:lnTo>
                      <a:lnTo>
                        <a:pt x="52" y="239"/>
                      </a:lnTo>
                      <a:lnTo>
                        <a:pt x="56" y="241"/>
                      </a:lnTo>
                      <a:lnTo>
                        <a:pt x="60" y="241"/>
                      </a:lnTo>
                      <a:lnTo>
                        <a:pt x="59" y="250"/>
                      </a:lnTo>
                      <a:lnTo>
                        <a:pt x="56" y="259"/>
                      </a:lnTo>
                      <a:lnTo>
                        <a:pt x="52" y="266"/>
                      </a:lnTo>
                      <a:lnTo>
                        <a:pt x="47" y="271"/>
                      </a:lnTo>
                      <a:lnTo>
                        <a:pt x="56" y="271"/>
                      </a:lnTo>
                      <a:lnTo>
                        <a:pt x="66" y="271"/>
                      </a:lnTo>
                      <a:lnTo>
                        <a:pt x="74" y="271"/>
                      </a:lnTo>
                      <a:lnTo>
                        <a:pt x="81" y="271"/>
                      </a:lnTo>
                      <a:lnTo>
                        <a:pt x="82" y="275"/>
                      </a:lnTo>
                      <a:lnTo>
                        <a:pt x="84" y="280"/>
                      </a:lnTo>
                      <a:lnTo>
                        <a:pt x="89" y="284"/>
                      </a:lnTo>
                      <a:lnTo>
                        <a:pt x="96" y="290"/>
                      </a:lnTo>
                      <a:lnTo>
                        <a:pt x="112" y="302"/>
                      </a:lnTo>
                      <a:lnTo>
                        <a:pt x="131" y="313"/>
                      </a:lnTo>
                      <a:lnTo>
                        <a:pt x="170" y="334"/>
                      </a:lnTo>
                      <a:lnTo>
                        <a:pt x="193" y="345"/>
                      </a:lnTo>
                      <a:lnTo>
                        <a:pt x="205" y="352"/>
                      </a:lnTo>
                      <a:lnTo>
                        <a:pt x="218" y="360"/>
                      </a:lnTo>
                      <a:lnTo>
                        <a:pt x="226" y="364"/>
                      </a:lnTo>
                      <a:lnTo>
                        <a:pt x="234" y="367"/>
                      </a:lnTo>
                      <a:lnTo>
                        <a:pt x="243" y="370"/>
                      </a:lnTo>
                      <a:lnTo>
                        <a:pt x="253" y="370"/>
                      </a:lnTo>
                      <a:lnTo>
                        <a:pt x="255" y="370"/>
                      </a:lnTo>
                      <a:lnTo>
                        <a:pt x="257" y="367"/>
                      </a:lnTo>
                      <a:lnTo>
                        <a:pt x="261" y="365"/>
                      </a:lnTo>
                      <a:lnTo>
                        <a:pt x="264" y="361"/>
                      </a:lnTo>
                      <a:lnTo>
                        <a:pt x="267" y="358"/>
                      </a:lnTo>
                      <a:lnTo>
                        <a:pt x="271" y="355"/>
                      </a:lnTo>
                      <a:lnTo>
                        <a:pt x="275" y="353"/>
                      </a:lnTo>
                      <a:lnTo>
                        <a:pt x="279" y="352"/>
                      </a:lnTo>
                      <a:lnTo>
                        <a:pt x="277" y="344"/>
                      </a:lnTo>
                      <a:lnTo>
                        <a:pt x="277" y="338"/>
                      </a:lnTo>
                      <a:lnTo>
                        <a:pt x="278" y="332"/>
                      </a:lnTo>
                      <a:lnTo>
                        <a:pt x="280" y="326"/>
                      </a:lnTo>
                      <a:lnTo>
                        <a:pt x="284" y="322"/>
                      </a:lnTo>
                      <a:lnTo>
                        <a:pt x="289" y="318"/>
                      </a:lnTo>
                      <a:lnTo>
                        <a:pt x="297" y="316"/>
                      </a:lnTo>
                      <a:lnTo>
                        <a:pt x="306" y="315"/>
                      </a:lnTo>
                      <a:lnTo>
                        <a:pt x="316" y="315"/>
                      </a:lnTo>
                      <a:lnTo>
                        <a:pt x="323" y="317"/>
                      </a:lnTo>
                      <a:lnTo>
                        <a:pt x="329" y="320"/>
                      </a:lnTo>
                      <a:lnTo>
                        <a:pt x="334" y="323"/>
                      </a:lnTo>
                      <a:lnTo>
                        <a:pt x="343" y="332"/>
                      </a:lnTo>
                      <a:lnTo>
                        <a:pt x="350" y="342"/>
                      </a:lnTo>
                      <a:lnTo>
                        <a:pt x="353" y="347"/>
                      </a:lnTo>
                      <a:lnTo>
                        <a:pt x="357" y="353"/>
                      </a:lnTo>
                      <a:lnTo>
                        <a:pt x="362" y="358"/>
                      </a:lnTo>
                      <a:lnTo>
                        <a:pt x="367" y="362"/>
                      </a:lnTo>
                      <a:lnTo>
                        <a:pt x="373" y="365"/>
                      </a:lnTo>
                      <a:lnTo>
                        <a:pt x="380" y="368"/>
                      </a:lnTo>
                      <a:lnTo>
                        <a:pt x="389" y="370"/>
                      </a:lnTo>
                      <a:lnTo>
                        <a:pt x="399" y="370"/>
                      </a:lnTo>
                      <a:lnTo>
                        <a:pt x="409" y="370"/>
                      </a:lnTo>
                      <a:lnTo>
                        <a:pt x="418" y="369"/>
                      </a:lnTo>
                      <a:lnTo>
                        <a:pt x="425" y="367"/>
                      </a:lnTo>
                      <a:lnTo>
                        <a:pt x="433" y="365"/>
                      </a:lnTo>
                      <a:lnTo>
                        <a:pt x="447" y="359"/>
                      </a:lnTo>
                      <a:lnTo>
                        <a:pt x="459" y="352"/>
                      </a:lnTo>
                      <a:lnTo>
                        <a:pt x="472" y="345"/>
                      </a:lnTo>
                      <a:lnTo>
                        <a:pt x="483" y="339"/>
                      </a:lnTo>
                      <a:lnTo>
                        <a:pt x="488" y="336"/>
                      </a:lnTo>
                      <a:lnTo>
                        <a:pt x="493" y="335"/>
                      </a:lnTo>
                      <a:lnTo>
                        <a:pt x="499" y="333"/>
                      </a:lnTo>
                      <a:lnTo>
                        <a:pt x="506" y="333"/>
                      </a:lnTo>
                      <a:lnTo>
                        <a:pt x="512" y="332"/>
                      </a:lnTo>
                      <a:lnTo>
                        <a:pt x="521" y="329"/>
                      </a:lnTo>
                      <a:lnTo>
                        <a:pt x="525" y="327"/>
                      </a:lnTo>
                      <a:lnTo>
                        <a:pt x="529" y="325"/>
                      </a:lnTo>
                      <a:lnTo>
                        <a:pt x="531" y="323"/>
                      </a:lnTo>
                      <a:lnTo>
                        <a:pt x="532" y="321"/>
                      </a:lnTo>
                      <a:lnTo>
                        <a:pt x="565" y="321"/>
                      </a:lnTo>
                      <a:lnTo>
                        <a:pt x="564" y="326"/>
                      </a:lnTo>
                      <a:lnTo>
                        <a:pt x="563" y="333"/>
                      </a:lnTo>
                      <a:lnTo>
                        <a:pt x="564" y="341"/>
                      </a:lnTo>
                      <a:lnTo>
                        <a:pt x="565" y="349"/>
                      </a:lnTo>
                      <a:lnTo>
                        <a:pt x="566" y="358"/>
                      </a:lnTo>
                      <a:lnTo>
                        <a:pt x="567" y="367"/>
                      </a:lnTo>
                      <a:lnTo>
                        <a:pt x="567" y="375"/>
                      </a:lnTo>
                      <a:lnTo>
                        <a:pt x="565" y="382"/>
                      </a:lnTo>
                      <a:lnTo>
                        <a:pt x="575" y="381"/>
                      </a:lnTo>
                      <a:lnTo>
                        <a:pt x="582" y="379"/>
                      </a:lnTo>
                      <a:lnTo>
                        <a:pt x="590" y="377"/>
                      </a:lnTo>
                      <a:lnTo>
                        <a:pt x="596" y="375"/>
                      </a:lnTo>
                      <a:lnTo>
                        <a:pt x="601" y="372"/>
                      </a:lnTo>
                      <a:lnTo>
                        <a:pt x="605" y="369"/>
                      </a:lnTo>
                      <a:lnTo>
                        <a:pt x="610" y="366"/>
                      </a:lnTo>
                      <a:lnTo>
                        <a:pt x="613" y="362"/>
                      </a:lnTo>
                      <a:lnTo>
                        <a:pt x="623" y="345"/>
                      </a:lnTo>
                      <a:lnTo>
                        <a:pt x="632" y="327"/>
                      </a:lnTo>
                      <a:lnTo>
                        <a:pt x="636" y="331"/>
                      </a:lnTo>
                      <a:lnTo>
                        <a:pt x="641" y="334"/>
                      </a:lnTo>
                      <a:lnTo>
                        <a:pt x="647" y="336"/>
                      </a:lnTo>
                      <a:lnTo>
                        <a:pt x="654" y="337"/>
                      </a:lnTo>
                      <a:lnTo>
                        <a:pt x="669" y="338"/>
                      </a:lnTo>
                      <a:lnTo>
                        <a:pt x="687" y="336"/>
                      </a:lnTo>
                      <a:lnTo>
                        <a:pt x="721" y="330"/>
                      </a:lnTo>
                      <a:lnTo>
                        <a:pt x="752" y="327"/>
                      </a:lnTo>
                      <a:lnTo>
                        <a:pt x="767" y="327"/>
                      </a:lnTo>
                      <a:lnTo>
                        <a:pt x="781" y="325"/>
                      </a:lnTo>
                      <a:lnTo>
                        <a:pt x="794" y="324"/>
                      </a:lnTo>
                      <a:lnTo>
                        <a:pt x="808" y="321"/>
                      </a:lnTo>
                      <a:lnTo>
                        <a:pt x="831" y="315"/>
                      </a:lnTo>
                      <a:lnTo>
                        <a:pt x="853" y="307"/>
                      </a:lnTo>
                      <a:lnTo>
                        <a:pt x="873" y="299"/>
                      </a:lnTo>
                      <a:lnTo>
                        <a:pt x="895" y="290"/>
                      </a:lnTo>
                      <a:lnTo>
                        <a:pt x="906" y="287"/>
                      </a:lnTo>
                      <a:lnTo>
                        <a:pt x="918" y="283"/>
                      </a:lnTo>
                      <a:lnTo>
                        <a:pt x="930" y="280"/>
                      </a:lnTo>
                      <a:lnTo>
                        <a:pt x="944" y="278"/>
                      </a:lnTo>
                      <a:lnTo>
                        <a:pt x="951" y="279"/>
                      </a:lnTo>
                      <a:lnTo>
                        <a:pt x="961" y="284"/>
                      </a:lnTo>
                      <a:lnTo>
                        <a:pt x="967" y="286"/>
                      </a:lnTo>
                      <a:lnTo>
                        <a:pt x="972" y="288"/>
                      </a:lnTo>
                      <a:lnTo>
                        <a:pt x="979" y="289"/>
                      </a:lnTo>
                      <a:lnTo>
                        <a:pt x="983" y="290"/>
                      </a:lnTo>
                      <a:lnTo>
                        <a:pt x="995" y="290"/>
                      </a:lnTo>
                      <a:lnTo>
                        <a:pt x="1005" y="293"/>
                      </a:lnTo>
                      <a:lnTo>
                        <a:pt x="1015" y="295"/>
                      </a:lnTo>
                      <a:lnTo>
                        <a:pt x="1024" y="300"/>
                      </a:lnTo>
                      <a:lnTo>
                        <a:pt x="1034" y="303"/>
                      </a:lnTo>
                      <a:lnTo>
                        <a:pt x="1045" y="306"/>
                      </a:lnTo>
                      <a:lnTo>
                        <a:pt x="1056" y="308"/>
                      </a:lnTo>
                      <a:lnTo>
                        <a:pt x="1070" y="309"/>
                      </a:lnTo>
                      <a:lnTo>
                        <a:pt x="1068" y="297"/>
                      </a:lnTo>
                      <a:lnTo>
                        <a:pt x="1063" y="286"/>
                      </a:lnTo>
                      <a:lnTo>
                        <a:pt x="1060" y="276"/>
                      </a:lnTo>
                      <a:lnTo>
                        <a:pt x="1056" y="268"/>
                      </a:lnTo>
                      <a:lnTo>
                        <a:pt x="1047" y="254"/>
                      </a:lnTo>
                      <a:lnTo>
                        <a:pt x="1038" y="241"/>
                      </a:lnTo>
                      <a:lnTo>
                        <a:pt x="1034" y="233"/>
                      </a:lnTo>
                      <a:lnTo>
                        <a:pt x="1030" y="226"/>
                      </a:lnTo>
                      <a:lnTo>
                        <a:pt x="1026" y="219"/>
                      </a:lnTo>
                      <a:lnTo>
                        <a:pt x="1024" y="211"/>
                      </a:lnTo>
                      <a:lnTo>
                        <a:pt x="1021" y="202"/>
                      </a:lnTo>
                      <a:lnTo>
                        <a:pt x="1018" y="192"/>
                      </a:lnTo>
                      <a:lnTo>
                        <a:pt x="1017" y="179"/>
                      </a:lnTo>
                      <a:lnTo>
                        <a:pt x="1017" y="167"/>
                      </a:lnTo>
                      <a:lnTo>
                        <a:pt x="1014" y="152"/>
                      </a:lnTo>
                      <a:lnTo>
                        <a:pt x="1011" y="142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299" name="Freeform 542"/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12516118" y="3396822"/>
                <a:ext cx="207962" cy="458788"/>
              </a:xfrm>
              <a:custGeom>
                <a:avLst/>
                <a:gdLst>
                  <a:gd name="T0" fmla="*/ 2147483647 w 478"/>
                  <a:gd name="T1" fmla="*/ 2147483647 h 875"/>
                  <a:gd name="T2" fmla="*/ 2147483647 w 478"/>
                  <a:gd name="T3" fmla="*/ 2147483647 h 875"/>
                  <a:gd name="T4" fmla="*/ 2147483647 w 478"/>
                  <a:gd name="T5" fmla="*/ 2147483647 h 875"/>
                  <a:gd name="T6" fmla="*/ 2147483647 w 478"/>
                  <a:gd name="T7" fmla="*/ 2147483647 h 875"/>
                  <a:gd name="T8" fmla="*/ 2147483647 w 478"/>
                  <a:gd name="T9" fmla="*/ 2147483647 h 875"/>
                  <a:gd name="T10" fmla="*/ 2147483647 w 478"/>
                  <a:gd name="T11" fmla="*/ 2147483647 h 875"/>
                  <a:gd name="T12" fmla="*/ 2147483647 w 478"/>
                  <a:gd name="T13" fmla="*/ 2147483647 h 875"/>
                  <a:gd name="T14" fmla="*/ 2147483647 w 478"/>
                  <a:gd name="T15" fmla="*/ 2147483647 h 875"/>
                  <a:gd name="T16" fmla="*/ 2147483647 w 478"/>
                  <a:gd name="T17" fmla="*/ 2147483647 h 875"/>
                  <a:gd name="T18" fmla="*/ 2147483647 w 478"/>
                  <a:gd name="T19" fmla="*/ 2147483647 h 875"/>
                  <a:gd name="T20" fmla="*/ 2147483647 w 478"/>
                  <a:gd name="T21" fmla="*/ 2147483647 h 875"/>
                  <a:gd name="T22" fmla="*/ 2147483647 w 478"/>
                  <a:gd name="T23" fmla="*/ 2147483647 h 875"/>
                  <a:gd name="T24" fmla="*/ 2147483647 w 478"/>
                  <a:gd name="T25" fmla="*/ 2147483647 h 875"/>
                  <a:gd name="T26" fmla="*/ 2147483647 w 478"/>
                  <a:gd name="T27" fmla="*/ 2147483647 h 875"/>
                  <a:gd name="T28" fmla="*/ 2147483647 w 478"/>
                  <a:gd name="T29" fmla="*/ 2147483647 h 875"/>
                  <a:gd name="T30" fmla="*/ 2147483647 w 478"/>
                  <a:gd name="T31" fmla="*/ 2147483647 h 875"/>
                  <a:gd name="T32" fmla="*/ 2147483647 w 478"/>
                  <a:gd name="T33" fmla="*/ 2147483647 h 875"/>
                  <a:gd name="T34" fmla="*/ 2147483647 w 478"/>
                  <a:gd name="T35" fmla="*/ 2147483647 h 875"/>
                  <a:gd name="T36" fmla="*/ 2147483647 w 478"/>
                  <a:gd name="T37" fmla="*/ 2147483647 h 875"/>
                  <a:gd name="T38" fmla="*/ 2147483647 w 478"/>
                  <a:gd name="T39" fmla="*/ 2147483647 h 875"/>
                  <a:gd name="T40" fmla="*/ 2147483647 w 478"/>
                  <a:gd name="T41" fmla="*/ 2147483647 h 875"/>
                  <a:gd name="T42" fmla="*/ 2147483647 w 478"/>
                  <a:gd name="T43" fmla="*/ 2147483647 h 875"/>
                  <a:gd name="T44" fmla="*/ 2147483647 w 478"/>
                  <a:gd name="T45" fmla="*/ 2147483647 h 875"/>
                  <a:gd name="T46" fmla="*/ 2147483647 w 478"/>
                  <a:gd name="T47" fmla="*/ 2147483647 h 875"/>
                  <a:gd name="T48" fmla="*/ 2147483647 w 478"/>
                  <a:gd name="T49" fmla="*/ 2147483647 h 875"/>
                  <a:gd name="T50" fmla="*/ 2147483647 w 478"/>
                  <a:gd name="T51" fmla="*/ 2147483647 h 875"/>
                  <a:gd name="T52" fmla="*/ 2147483647 w 478"/>
                  <a:gd name="T53" fmla="*/ 2147483647 h 875"/>
                  <a:gd name="T54" fmla="*/ 2147483647 w 478"/>
                  <a:gd name="T55" fmla="*/ 2147483647 h 875"/>
                  <a:gd name="T56" fmla="*/ 2147483647 w 478"/>
                  <a:gd name="T57" fmla="*/ 2147483647 h 875"/>
                  <a:gd name="T58" fmla="*/ 2147483647 w 478"/>
                  <a:gd name="T59" fmla="*/ 2147483647 h 875"/>
                  <a:gd name="T60" fmla="*/ 2147483647 w 478"/>
                  <a:gd name="T61" fmla="*/ 2147483647 h 875"/>
                  <a:gd name="T62" fmla="*/ 2147483647 w 478"/>
                  <a:gd name="T63" fmla="*/ 2147483647 h 875"/>
                  <a:gd name="T64" fmla="*/ 2147483647 w 478"/>
                  <a:gd name="T65" fmla="*/ 2147483647 h 875"/>
                  <a:gd name="T66" fmla="*/ 2147483647 w 478"/>
                  <a:gd name="T67" fmla="*/ 2147483647 h 875"/>
                  <a:gd name="T68" fmla="*/ 2147483647 w 478"/>
                  <a:gd name="T69" fmla="*/ 2147483647 h 875"/>
                  <a:gd name="T70" fmla="*/ 2147483647 w 478"/>
                  <a:gd name="T71" fmla="*/ 2147483647 h 875"/>
                  <a:gd name="T72" fmla="*/ 2147483647 w 478"/>
                  <a:gd name="T73" fmla="*/ 2147483647 h 875"/>
                  <a:gd name="T74" fmla="*/ 2147483647 w 478"/>
                  <a:gd name="T75" fmla="*/ 2147483647 h 875"/>
                  <a:gd name="T76" fmla="*/ 2147483647 w 478"/>
                  <a:gd name="T77" fmla="*/ 2147483647 h 875"/>
                  <a:gd name="T78" fmla="*/ 2147483647 w 478"/>
                  <a:gd name="T79" fmla="*/ 2147483647 h 875"/>
                  <a:gd name="T80" fmla="*/ 2147483647 w 478"/>
                  <a:gd name="T81" fmla="*/ 2147483647 h 875"/>
                  <a:gd name="T82" fmla="*/ 2147483647 w 478"/>
                  <a:gd name="T83" fmla="*/ 2147483647 h 875"/>
                  <a:gd name="T84" fmla="*/ 2147483647 w 478"/>
                  <a:gd name="T85" fmla="*/ 2147483647 h 875"/>
                  <a:gd name="T86" fmla="*/ 2147483647 w 478"/>
                  <a:gd name="T87" fmla="*/ 2147483647 h 875"/>
                  <a:gd name="T88" fmla="*/ 2147483647 w 478"/>
                  <a:gd name="T89" fmla="*/ 2147483647 h 875"/>
                  <a:gd name="T90" fmla="*/ 2147483647 w 478"/>
                  <a:gd name="T91" fmla="*/ 2147483647 h 875"/>
                  <a:gd name="T92" fmla="*/ 2147483647 w 478"/>
                  <a:gd name="T93" fmla="*/ 2147483647 h 875"/>
                  <a:gd name="T94" fmla="*/ 2147483647 w 478"/>
                  <a:gd name="T95" fmla="*/ 720842987 h 875"/>
                  <a:gd name="T96" fmla="*/ 2147483647 w 478"/>
                  <a:gd name="T97" fmla="*/ 2147483647 h 875"/>
                  <a:gd name="T98" fmla="*/ 2147483647 w 478"/>
                  <a:gd name="T99" fmla="*/ 2147483647 h 875"/>
                  <a:gd name="T100" fmla="*/ 2147483647 w 478"/>
                  <a:gd name="T101" fmla="*/ 2147483647 h 87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0" name="Freeform 543"/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12603430" y="4082622"/>
                <a:ext cx="25400" cy="57150"/>
              </a:xfrm>
              <a:custGeom>
                <a:avLst/>
                <a:gdLst>
                  <a:gd name="T0" fmla="*/ 2147483647 w 59"/>
                  <a:gd name="T1" fmla="*/ 2147483647 h 31"/>
                  <a:gd name="T2" fmla="*/ 2147483647 w 59"/>
                  <a:gd name="T3" fmla="*/ 2147483647 h 31"/>
                  <a:gd name="T4" fmla="*/ 2147483647 w 59"/>
                  <a:gd name="T5" fmla="*/ 2147483647 h 31"/>
                  <a:gd name="T6" fmla="*/ 2147483647 w 59"/>
                  <a:gd name="T7" fmla="*/ 2147483647 h 31"/>
                  <a:gd name="T8" fmla="*/ 2147483647 w 59"/>
                  <a:gd name="T9" fmla="*/ 2147483647 h 31"/>
                  <a:gd name="T10" fmla="*/ 2147483647 w 59"/>
                  <a:gd name="T11" fmla="*/ 2147483647 h 31"/>
                  <a:gd name="T12" fmla="*/ 2147483647 w 59"/>
                  <a:gd name="T13" fmla="*/ 2147483647 h 31"/>
                  <a:gd name="T14" fmla="*/ 2147483647 w 59"/>
                  <a:gd name="T15" fmla="*/ 2147483647 h 31"/>
                  <a:gd name="T16" fmla="*/ 2074483007 w 59"/>
                  <a:gd name="T17" fmla="*/ 2147483647 h 31"/>
                  <a:gd name="T18" fmla="*/ 1675636708 w 59"/>
                  <a:gd name="T19" fmla="*/ 2147483647 h 31"/>
                  <a:gd name="T20" fmla="*/ 1356485708 w 59"/>
                  <a:gd name="T21" fmla="*/ 2147483647 h 31"/>
                  <a:gd name="T22" fmla="*/ 1117029576 w 59"/>
                  <a:gd name="T23" fmla="*/ 2147483647 h 31"/>
                  <a:gd name="T24" fmla="*/ 877758563 w 59"/>
                  <a:gd name="T25" fmla="*/ 2147483647 h 31"/>
                  <a:gd name="T26" fmla="*/ 319151431 w 59"/>
                  <a:gd name="T27" fmla="*/ 2147483647 h 31"/>
                  <a:gd name="T28" fmla="*/ 0 w 59"/>
                  <a:gd name="T29" fmla="*/ 2147483647 h 31"/>
                  <a:gd name="T30" fmla="*/ 79880417 w 59"/>
                  <a:gd name="T31" fmla="*/ 2147483647 h 31"/>
                  <a:gd name="T32" fmla="*/ 239456132 w 59"/>
                  <a:gd name="T33" fmla="*/ 2147483647 h 31"/>
                  <a:gd name="T34" fmla="*/ 399031847 w 59"/>
                  <a:gd name="T35" fmla="*/ 2147483647 h 31"/>
                  <a:gd name="T36" fmla="*/ 638302431 w 59"/>
                  <a:gd name="T37" fmla="*/ 2147483647 h 31"/>
                  <a:gd name="T38" fmla="*/ 1276604861 w 59"/>
                  <a:gd name="T39" fmla="*/ 2147483647 h 31"/>
                  <a:gd name="T40" fmla="*/ 1914907722 w 59"/>
                  <a:gd name="T41" fmla="*/ 0 h 31"/>
                  <a:gd name="T42" fmla="*/ 2147483647 w 59"/>
                  <a:gd name="T43" fmla="*/ 0 h 31"/>
                  <a:gd name="T44" fmla="*/ 2147483647 w 59"/>
                  <a:gd name="T45" fmla="*/ 2147483647 h 31"/>
                  <a:gd name="T46" fmla="*/ 2147483647 w 59"/>
                  <a:gd name="T47" fmla="*/ 2147483647 h 31"/>
                  <a:gd name="T48" fmla="*/ 2147483647 w 59"/>
                  <a:gd name="T49" fmla="*/ 2147483647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1" name="Freeform 544"/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11295330" y="3341260"/>
                <a:ext cx="174625" cy="271462"/>
              </a:xfrm>
              <a:custGeom>
                <a:avLst/>
                <a:gdLst>
                  <a:gd name="T0" fmla="*/ 2147483647 w 399"/>
                  <a:gd name="T1" fmla="*/ 1151277155 h 518"/>
                  <a:gd name="T2" fmla="*/ 2147483647 w 399"/>
                  <a:gd name="T3" fmla="*/ 2147483647 h 518"/>
                  <a:gd name="T4" fmla="*/ 2147483647 w 399"/>
                  <a:gd name="T5" fmla="*/ 2147483647 h 518"/>
                  <a:gd name="T6" fmla="*/ 2147483647 w 399"/>
                  <a:gd name="T7" fmla="*/ 2147483647 h 518"/>
                  <a:gd name="T8" fmla="*/ 2147483647 w 399"/>
                  <a:gd name="T9" fmla="*/ 2147483647 h 518"/>
                  <a:gd name="T10" fmla="*/ 2147483647 w 399"/>
                  <a:gd name="T11" fmla="*/ 2147483647 h 518"/>
                  <a:gd name="T12" fmla="*/ 2147483647 w 399"/>
                  <a:gd name="T13" fmla="*/ 2147483647 h 518"/>
                  <a:gd name="T14" fmla="*/ 2147483647 w 399"/>
                  <a:gd name="T15" fmla="*/ 2147483647 h 518"/>
                  <a:gd name="T16" fmla="*/ 2147483647 w 399"/>
                  <a:gd name="T17" fmla="*/ 2147483647 h 518"/>
                  <a:gd name="T18" fmla="*/ 2147483647 w 399"/>
                  <a:gd name="T19" fmla="*/ 2147483647 h 518"/>
                  <a:gd name="T20" fmla="*/ 2147483647 w 399"/>
                  <a:gd name="T21" fmla="*/ 2147483647 h 518"/>
                  <a:gd name="T22" fmla="*/ 2147483647 w 399"/>
                  <a:gd name="T23" fmla="*/ 2147483647 h 518"/>
                  <a:gd name="T24" fmla="*/ 2147483647 w 399"/>
                  <a:gd name="T25" fmla="*/ 2147483647 h 518"/>
                  <a:gd name="T26" fmla="*/ 2147483647 w 399"/>
                  <a:gd name="T27" fmla="*/ 2147483647 h 518"/>
                  <a:gd name="T28" fmla="*/ 2147483647 w 399"/>
                  <a:gd name="T29" fmla="*/ 2147483647 h 518"/>
                  <a:gd name="T30" fmla="*/ 2147483647 w 399"/>
                  <a:gd name="T31" fmla="*/ 2147483647 h 518"/>
                  <a:gd name="T32" fmla="*/ 2147483647 w 399"/>
                  <a:gd name="T33" fmla="*/ 2147483647 h 518"/>
                  <a:gd name="T34" fmla="*/ 2147483647 w 399"/>
                  <a:gd name="T35" fmla="*/ 2147483647 h 518"/>
                  <a:gd name="T36" fmla="*/ 2147483647 w 399"/>
                  <a:gd name="T37" fmla="*/ 2147483647 h 518"/>
                  <a:gd name="T38" fmla="*/ 2147483647 w 399"/>
                  <a:gd name="T39" fmla="*/ 2147483647 h 518"/>
                  <a:gd name="T40" fmla="*/ 2147483647 w 399"/>
                  <a:gd name="T41" fmla="*/ 2147483647 h 518"/>
                  <a:gd name="T42" fmla="*/ 2147483647 w 399"/>
                  <a:gd name="T43" fmla="*/ 2147483647 h 518"/>
                  <a:gd name="T44" fmla="*/ 2147483647 w 399"/>
                  <a:gd name="T45" fmla="*/ 2147483647 h 518"/>
                  <a:gd name="T46" fmla="*/ 2147483647 w 399"/>
                  <a:gd name="T47" fmla="*/ 2147483647 h 518"/>
                  <a:gd name="T48" fmla="*/ 2147483647 w 399"/>
                  <a:gd name="T49" fmla="*/ 2147483647 h 518"/>
                  <a:gd name="T50" fmla="*/ 2147483647 w 399"/>
                  <a:gd name="T51" fmla="*/ 2147483647 h 518"/>
                  <a:gd name="T52" fmla="*/ 2147483647 w 399"/>
                  <a:gd name="T53" fmla="*/ 2147483647 h 518"/>
                  <a:gd name="T54" fmla="*/ 2147483647 w 399"/>
                  <a:gd name="T55" fmla="*/ 2147483647 h 518"/>
                  <a:gd name="T56" fmla="*/ 2147483647 w 399"/>
                  <a:gd name="T57" fmla="*/ 2147483647 h 518"/>
                  <a:gd name="T58" fmla="*/ 2147483647 w 399"/>
                  <a:gd name="T59" fmla="*/ 2147483647 h 518"/>
                  <a:gd name="T60" fmla="*/ 2147483647 w 399"/>
                  <a:gd name="T61" fmla="*/ 2147483647 h 518"/>
                  <a:gd name="T62" fmla="*/ 2147483647 w 399"/>
                  <a:gd name="T63" fmla="*/ 2147483647 h 518"/>
                  <a:gd name="T64" fmla="*/ 2147483647 w 399"/>
                  <a:gd name="T65" fmla="*/ 2147483647 h 518"/>
                  <a:gd name="T66" fmla="*/ 2147483647 w 399"/>
                  <a:gd name="T67" fmla="*/ 2147483647 h 518"/>
                  <a:gd name="T68" fmla="*/ 2147483647 w 399"/>
                  <a:gd name="T69" fmla="*/ 2147483647 h 518"/>
                  <a:gd name="T70" fmla="*/ 2147483647 w 399"/>
                  <a:gd name="T71" fmla="*/ 2147483647 h 518"/>
                  <a:gd name="T72" fmla="*/ 2147483647 w 399"/>
                  <a:gd name="T73" fmla="*/ 2147483647 h 518"/>
                  <a:gd name="T74" fmla="*/ 2147483647 w 399"/>
                  <a:gd name="T75" fmla="*/ 2147483647 h 518"/>
                  <a:gd name="T76" fmla="*/ 2147483647 w 399"/>
                  <a:gd name="T77" fmla="*/ 2147483647 h 518"/>
                  <a:gd name="T78" fmla="*/ 2147483647 w 399"/>
                  <a:gd name="T79" fmla="*/ 2147483647 h 518"/>
                  <a:gd name="T80" fmla="*/ 2147483647 w 399"/>
                  <a:gd name="T81" fmla="*/ 2147483647 h 518"/>
                  <a:gd name="T82" fmla="*/ 2147483647 w 399"/>
                  <a:gd name="T83" fmla="*/ 2147483647 h 518"/>
                  <a:gd name="T84" fmla="*/ 1425082238 w 399"/>
                  <a:gd name="T85" fmla="*/ 2147483647 h 518"/>
                  <a:gd name="T86" fmla="*/ 0 w 399"/>
                  <a:gd name="T87" fmla="*/ 2147483647 h 518"/>
                  <a:gd name="T88" fmla="*/ 2147483647 w 399"/>
                  <a:gd name="T89" fmla="*/ 2147483647 h 518"/>
                  <a:gd name="T90" fmla="*/ 2147483647 w 399"/>
                  <a:gd name="T91" fmla="*/ 0 h 51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99" h="518">
                    <a:moveTo>
                      <a:pt x="200" y="0"/>
                    </a:moveTo>
                    <a:lnTo>
                      <a:pt x="200" y="8"/>
                    </a:lnTo>
                    <a:lnTo>
                      <a:pt x="201" y="15"/>
                    </a:lnTo>
                    <a:lnTo>
                      <a:pt x="202" y="22"/>
                    </a:lnTo>
                    <a:lnTo>
                      <a:pt x="205" y="29"/>
                    </a:lnTo>
                    <a:lnTo>
                      <a:pt x="208" y="36"/>
                    </a:lnTo>
                    <a:lnTo>
                      <a:pt x="211" y="42"/>
                    </a:lnTo>
                    <a:lnTo>
                      <a:pt x="214" y="49"/>
                    </a:lnTo>
                    <a:lnTo>
                      <a:pt x="219" y="56"/>
                    </a:lnTo>
                    <a:lnTo>
                      <a:pt x="224" y="63"/>
                    </a:lnTo>
                    <a:lnTo>
                      <a:pt x="230" y="69"/>
                    </a:lnTo>
                    <a:lnTo>
                      <a:pt x="235" y="75"/>
                    </a:lnTo>
                    <a:lnTo>
                      <a:pt x="242" y="81"/>
                    </a:lnTo>
                    <a:lnTo>
                      <a:pt x="249" y="86"/>
                    </a:lnTo>
                    <a:lnTo>
                      <a:pt x="256" y="91"/>
                    </a:lnTo>
                    <a:lnTo>
                      <a:pt x="264" y="95"/>
                    </a:lnTo>
                    <a:lnTo>
                      <a:pt x="273" y="98"/>
                    </a:lnTo>
                    <a:lnTo>
                      <a:pt x="316" y="106"/>
                    </a:lnTo>
                    <a:lnTo>
                      <a:pt x="356" y="116"/>
                    </a:lnTo>
                    <a:lnTo>
                      <a:pt x="365" y="119"/>
                    </a:lnTo>
                    <a:lnTo>
                      <a:pt x="374" y="123"/>
                    </a:lnTo>
                    <a:lnTo>
                      <a:pt x="380" y="127"/>
                    </a:lnTo>
                    <a:lnTo>
                      <a:pt x="387" y="132"/>
                    </a:lnTo>
                    <a:lnTo>
                      <a:pt x="392" y="137"/>
                    </a:lnTo>
                    <a:lnTo>
                      <a:pt x="396" y="144"/>
                    </a:lnTo>
                    <a:lnTo>
                      <a:pt x="398" y="151"/>
                    </a:lnTo>
                    <a:lnTo>
                      <a:pt x="399" y="160"/>
                    </a:lnTo>
                    <a:lnTo>
                      <a:pt x="398" y="174"/>
                    </a:lnTo>
                    <a:lnTo>
                      <a:pt x="396" y="187"/>
                    </a:lnTo>
                    <a:lnTo>
                      <a:pt x="390" y="200"/>
                    </a:lnTo>
                    <a:lnTo>
                      <a:pt x="385" y="213"/>
                    </a:lnTo>
                    <a:lnTo>
                      <a:pt x="369" y="239"/>
                    </a:lnTo>
                    <a:lnTo>
                      <a:pt x="353" y="263"/>
                    </a:lnTo>
                    <a:lnTo>
                      <a:pt x="344" y="276"/>
                    </a:lnTo>
                    <a:lnTo>
                      <a:pt x="335" y="290"/>
                    </a:lnTo>
                    <a:lnTo>
                      <a:pt x="328" y="303"/>
                    </a:lnTo>
                    <a:lnTo>
                      <a:pt x="321" y="316"/>
                    </a:lnTo>
                    <a:lnTo>
                      <a:pt x="314" y="330"/>
                    </a:lnTo>
                    <a:lnTo>
                      <a:pt x="310" y="345"/>
                    </a:lnTo>
                    <a:lnTo>
                      <a:pt x="307" y="360"/>
                    </a:lnTo>
                    <a:lnTo>
                      <a:pt x="306" y="376"/>
                    </a:lnTo>
                    <a:lnTo>
                      <a:pt x="297" y="377"/>
                    </a:lnTo>
                    <a:lnTo>
                      <a:pt x="284" y="381"/>
                    </a:lnTo>
                    <a:lnTo>
                      <a:pt x="268" y="387"/>
                    </a:lnTo>
                    <a:lnTo>
                      <a:pt x="254" y="395"/>
                    </a:lnTo>
                    <a:lnTo>
                      <a:pt x="246" y="399"/>
                    </a:lnTo>
                    <a:lnTo>
                      <a:pt x="241" y="403"/>
                    </a:lnTo>
                    <a:lnTo>
                      <a:pt x="235" y="408"/>
                    </a:lnTo>
                    <a:lnTo>
                      <a:pt x="231" y="413"/>
                    </a:lnTo>
                    <a:lnTo>
                      <a:pt x="227" y="417"/>
                    </a:lnTo>
                    <a:lnTo>
                      <a:pt x="225" y="422"/>
                    </a:lnTo>
                    <a:lnTo>
                      <a:pt x="224" y="427"/>
                    </a:lnTo>
                    <a:lnTo>
                      <a:pt x="227" y="431"/>
                    </a:lnTo>
                    <a:lnTo>
                      <a:pt x="213" y="438"/>
                    </a:lnTo>
                    <a:lnTo>
                      <a:pt x="197" y="446"/>
                    </a:lnTo>
                    <a:lnTo>
                      <a:pt x="188" y="450"/>
                    </a:lnTo>
                    <a:lnTo>
                      <a:pt x="179" y="454"/>
                    </a:lnTo>
                    <a:lnTo>
                      <a:pt x="173" y="456"/>
                    </a:lnTo>
                    <a:lnTo>
                      <a:pt x="166" y="456"/>
                    </a:lnTo>
                    <a:lnTo>
                      <a:pt x="166" y="467"/>
                    </a:lnTo>
                    <a:lnTo>
                      <a:pt x="163" y="475"/>
                    </a:lnTo>
                    <a:lnTo>
                      <a:pt x="158" y="481"/>
                    </a:lnTo>
                    <a:lnTo>
                      <a:pt x="153" y="486"/>
                    </a:lnTo>
                    <a:lnTo>
                      <a:pt x="146" y="490"/>
                    </a:lnTo>
                    <a:lnTo>
                      <a:pt x="139" y="493"/>
                    </a:lnTo>
                    <a:lnTo>
                      <a:pt x="131" y="494"/>
                    </a:lnTo>
                    <a:lnTo>
                      <a:pt x="122" y="496"/>
                    </a:lnTo>
                    <a:lnTo>
                      <a:pt x="102" y="498"/>
                    </a:lnTo>
                    <a:lnTo>
                      <a:pt x="83" y="501"/>
                    </a:lnTo>
                    <a:lnTo>
                      <a:pt x="73" y="504"/>
                    </a:lnTo>
                    <a:lnTo>
                      <a:pt x="64" y="507"/>
                    </a:lnTo>
                    <a:lnTo>
                      <a:pt x="55" y="512"/>
                    </a:lnTo>
                    <a:lnTo>
                      <a:pt x="46" y="518"/>
                    </a:lnTo>
                    <a:lnTo>
                      <a:pt x="46" y="514"/>
                    </a:lnTo>
                    <a:lnTo>
                      <a:pt x="45" y="510"/>
                    </a:lnTo>
                    <a:lnTo>
                      <a:pt x="43" y="506"/>
                    </a:lnTo>
                    <a:lnTo>
                      <a:pt x="40" y="501"/>
                    </a:lnTo>
                    <a:lnTo>
                      <a:pt x="38" y="497"/>
                    </a:lnTo>
                    <a:lnTo>
                      <a:pt x="36" y="492"/>
                    </a:lnTo>
                    <a:lnTo>
                      <a:pt x="34" y="487"/>
                    </a:lnTo>
                    <a:lnTo>
                      <a:pt x="33" y="481"/>
                    </a:lnTo>
                    <a:lnTo>
                      <a:pt x="33" y="468"/>
                    </a:lnTo>
                    <a:lnTo>
                      <a:pt x="31" y="456"/>
                    </a:lnTo>
                    <a:lnTo>
                      <a:pt x="29" y="445"/>
                    </a:lnTo>
                    <a:lnTo>
                      <a:pt x="26" y="436"/>
                    </a:lnTo>
                    <a:lnTo>
                      <a:pt x="17" y="418"/>
                    </a:lnTo>
                    <a:lnTo>
                      <a:pt x="7" y="401"/>
                    </a:lnTo>
                    <a:lnTo>
                      <a:pt x="0" y="358"/>
                    </a:lnTo>
                    <a:lnTo>
                      <a:pt x="113" y="332"/>
                    </a:lnTo>
                    <a:lnTo>
                      <a:pt x="194" y="185"/>
                    </a:lnTo>
                    <a:lnTo>
                      <a:pt x="166" y="136"/>
                    </a:lnTo>
                    <a:lnTo>
                      <a:pt x="20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2" name="Freeform 545"/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10022155" y="3395235"/>
                <a:ext cx="376238" cy="385762"/>
              </a:xfrm>
              <a:custGeom>
                <a:avLst/>
                <a:gdLst>
                  <a:gd name="T0" fmla="*/ 2147483647 w 866"/>
                  <a:gd name="T1" fmla="*/ 2147483647 h 740"/>
                  <a:gd name="T2" fmla="*/ 2147483647 w 866"/>
                  <a:gd name="T3" fmla="*/ 2147483647 h 740"/>
                  <a:gd name="T4" fmla="*/ 2147483647 w 866"/>
                  <a:gd name="T5" fmla="*/ 2147483647 h 740"/>
                  <a:gd name="T6" fmla="*/ 2147483647 w 866"/>
                  <a:gd name="T7" fmla="*/ 141583516 h 740"/>
                  <a:gd name="T8" fmla="*/ 2147483647 w 866"/>
                  <a:gd name="T9" fmla="*/ 850045334 h 740"/>
                  <a:gd name="T10" fmla="*/ 2147483647 w 866"/>
                  <a:gd name="T11" fmla="*/ 2147483647 h 740"/>
                  <a:gd name="T12" fmla="*/ 2147483647 w 866"/>
                  <a:gd name="T13" fmla="*/ 2147483647 h 740"/>
                  <a:gd name="T14" fmla="*/ 2147483647 w 866"/>
                  <a:gd name="T15" fmla="*/ 2147483647 h 740"/>
                  <a:gd name="T16" fmla="*/ 2147483647 w 866"/>
                  <a:gd name="T17" fmla="*/ 2147483647 h 740"/>
                  <a:gd name="T18" fmla="*/ 2147483647 w 866"/>
                  <a:gd name="T19" fmla="*/ 2147483647 h 740"/>
                  <a:gd name="T20" fmla="*/ 2147483647 w 866"/>
                  <a:gd name="T21" fmla="*/ 2147483647 h 740"/>
                  <a:gd name="T22" fmla="*/ 2147483647 w 866"/>
                  <a:gd name="T23" fmla="*/ 2147483647 h 740"/>
                  <a:gd name="T24" fmla="*/ 2147483647 w 866"/>
                  <a:gd name="T25" fmla="*/ 2147483647 h 740"/>
                  <a:gd name="T26" fmla="*/ 2147483647 w 866"/>
                  <a:gd name="T27" fmla="*/ 2147483647 h 740"/>
                  <a:gd name="T28" fmla="*/ 2147483647 w 866"/>
                  <a:gd name="T29" fmla="*/ 2147483647 h 740"/>
                  <a:gd name="T30" fmla="*/ 2147483647 w 866"/>
                  <a:gd name="T31" fmla="*/ 2147483647 h 740"/>
                  <a:gd name="T32" fmla="*/ 2147483647 w 866"/>
                  <a:gd name="T33" fmla="*/ 2147483647 h 740"/>
                  <a:gd name="T34" fmla="*/ 2147483647 w 866"/>
                  <a:gd name="T35" fmla="*/ 2147483647 h 740"/>
                  <a:gd name="T36" fmla="*/ 2147483647 w 866"/>
                  <a:gd name="T37" fmla="*/ 2147483647 h 740"/>
                  <a:gd name="T38" fmla="*/ 2147483647 w 866"/>
                  <a:gd name="T39" fmla="*/ 2147483647 h 740"/>
                  <a:gd name="T40" fmla="*/ 2147483647 w 866"/>
                  <a:gd name="T41" fmla="*/ 2147483647 h 740"/>
                  <a:gd name="T42" fmla="*/ 2147483647 w 866"/>
                  <a:gd name="T43" fmla="*/ 2147483647 h 740"/>
                  <a:gd name="T44" fmla="*/ 2147483647 w 866"/>
                  <a:gd name="T45" fmla="*/ 2147483647 h 740"/>
                  <a:gd name="T46" fmla="*/ 2147483647 w 866"/>
                  <a:gd name="T47" fmla="*/ 2147483647 h 740"/>
                  <a:gd name="T48" fmla="*/ 2147483647 w 866"/>
                  <a:gd name="T49" fmla="*/ 2147483647 h 740"/>
                  <a:gd name="T50" fmla="*/ 2147483647 w 866"/>
                  <a:gd name="T51" fmla="*/ 2147483647 h 740"/>
                  <a:gd name="T52" fmla="*/ 2147483647 w 866"/>
                  <a:gd name="T53" fmla="*/ 2147483647 h 740"/>
                  <a:gd name="T54" fmla="*/ 2147483647 w 866"/>
                  <a:gd name="T55" fmla="*/ 2147483647 h 740"/>
                  <a:gd name="T56" fmla="*/ 2147483647 w 866"/>
                  <a:gd name="T57" fmla="*/ 2147483647 h 740"/>
                  <a:gd name="T58" fmla="*/ 2147483647 w 866"/>
                  <a:gd name="T59" fmla="*/ 2147483647 h 740"/>
                  <a:gd name="T60" fmla="*/ 2147483647 w 866"/>
                  <a:gd name="T61" fmla="*/ 2147483647 h 740"/>
                  <a:gd name="T62" fmla="*/ 2147483647 w 866"/>
                  <a:gd name="T63" fmla="*/ 2147483647 h 740"/>
                  <a:gd name="T64" fmla="*/ 2147483647 w 866"/>
                  <a:gd name="T65" fmla="*/ 2147483647 h 740"/>
                  <a:gd name="T66" fmla="*/ 2147483647 w 866"/>
                  <a:gd name="T67" fmla="*/ 2147483647 h 740"/>
                  <a:gd name="T68" fmla="*/ 2147483647 w 866"/>
                  <a:gd name="T69" fmla="*/ 2147483647 h 740"/>
                  <a:gd name="T70" fmla="*/ 2147483647 w 866"/>
                  <a:gd name="T71" fmla="*/ 2147483647 h 740"/>
                  <a:gd name="T72" fmla="*/ 2147483647 w 866"/>
                  <a:gd name="T73" fmla="*/ 2147483647 h 740"/>
                  <a:gd name="T74" fmla="*/ 2147483647 w 866"/>
                  <a:gd name="T75" fmla="*/ 2147483647 h 740"/>
                  <a:gd name="T76" fmla="*/ 2147483647 w 866"/>
                  <a:gd name="T77" fmla="*/ 2147483647 h 740"/>
                  <a:gd name="T78" fmla="*/ 2147483647 w 866"/>
                  <a:gd name="T79" fmla="*/ 2147483647 h 740"/>
                  <a:gd name="T80" fmla="*/ 2147483647 w 866"/>
                  <a:gd name="T81" fmla="*/ 2147483647 h 740"/>
                  <a:gd name="T82" fmla="*/ 2147483647 w 866"/>
                  <a:gd name="T83" fmla="*/ 2147483647 h 740"/>
                  <a:gd name="T84" fmla="*/ 2147483647 w 866"/>
                  <a:gd name="T85" fmla="*/ 2147483647 h 740"/>
                  <a:gd name="T86" fmla="*/ 1640058371 w 866"/>
                  <a:gd name="T87" fmla="*/ 2147483647 h 740"/>
                  <a:gd name="T88" fmla="*/ 409967346 w 866"/>
                  <a:gd name="T89" fmla="*/ 2147483647 h 740"/>
                  <a:gd name="T90" fmla="*/ 2147483647 w 866"/>
                  <a:gd name="T91" fmla="*/ 2147483647 h 740"/>
                  <a:gd name="T92" fmla="*/ 2147483647 w 866"/>
                  <a:gd name="T93" fmla="*/ 2147483647 h 740"/>
                  <a:gd name="T94" fmla="*/ 2147483647 w 866"/>
                  <a:gd name="T95" fmla="*/ 2147483647 h 740"/>
                  <a:gd name="T96" fmla="*/ 2147483647 w 866"/>
                  <a:gd name="T97" fmla="*/ 2147483647 h 740"/>
                  <a:gd name="T98" fmla="*/ 2147483647 w 866"/>
                  <a:gd name="T99" fmla="*/ 2147483647 h 740"/>
                  <a:gd name="T100" fmla="*/ 2147483647 w 866"/>
                  <a:gd name="T101" fmla="*/ 2147483647 h 740"/>
                  <a:gd name="T102" fmla="*/ 2147483647 w 866"/>
                  <a:gd name="T103" fmla="*/ 2147483647 h 740"/>
                  <a:gd name="T104" fmla="*/ 2147483647 w 866"/>
                  <a:gd name="T105" fmla="*/ 2147483647 h 7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3" name="Freeform 546"/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9691955" y="3012647"/>
                <a:ext cx="300038" cy="260350"/>
              </a:xfrm>
              <a:custGeom>
                <a:avLst/>
                <a:gdLst>
                  <a:gd name="T0" fmla="*/ 2147483647 w 697"/>
                  <a:gd name="T1" fmla="*/ 2147483647 h 500"/>
                  <a:gd name="T2" fmla="*/ 2147483647 w 697"/>
                  <a:gd name="T3" fmla="*/ 2147483647 h 500"/>
                  <a:gd name="T4" fmla="*/ 2147483647 w 697"/>
                  <a:gd name="T5" fmla="*/ 2147483647 h 500"/>
                  <a:gd name="T6" fmla="*/ 2147483647 w 697"/>
                  <a:gd name="T7" fmla="*/ 2147483647 h 500"/>
                  <a:gd name="T8" fmla="*/ 2147483647 w 697"/>
                  <a:gd name="T9" fmla="*/ 2147483647 h 500"/>
                  <a:gd name="T10" fmla="*/ 2147483647 w 697"/>
                  <a:gd name="T11" fmla="*/ 2147483647 h 500"/>
                  <a:gd name="T12" fmla="*/ 2147483647 w 697"/>
                  <a:gd name="T13" fmla="*/ 2147483647 h 500"/>
                  <a:gd name="T14" fmla="*/ 2147483647 w 697"/>
                  <a:gd name="T15" fmla="*/ 2147483647 h 500"/>
                  <a:gd name="T16" fmla="*/ 2147483647 w 697"/>
                  <a:gd name="T17" fmla="*/ 2147483647 h 500"/>
                  <a:gd name="T18" fmla="*/ 2147483647 w 697"/>
                  <a:gd name="T19" fmla="*/ 2147483647 h 500"/>
                  <a:gd name="T20" fmla="*/ 2147483647 w 697"/>
                  <a:gd name="T21" fmla="*/ 2147483647 h 500"/>
                  <a:gd name="T22" fmla="*/ 2147483647 w 697"/>
                  <a:gd name="T23" fmla="*/ 2147483647 h 500"/>
                  <a:gd name="T24" fmla="*/ 2147483647 w 697"/>
                  <a:gd name="T25" fmla="*/ 2147483647 h 500"/>
                  <a:gd name="T26" fmla="*/ 2147483647 w 697"/>
                  <a:gd name="T27" fmla="*/ 2147483647 h 500"/>
                  <a:gd name="T28" fmla="*/ 2147483647 w 697"/>
                  <a:gd name="T29" fmla="*/ 2147483647 h 500"/>
                  <a:gd name="T30" fmla="*/ 2147483647 w 697"/>
                  <a:gd name="T31" fmla="*/ 2147483647 h 500"/>
                  <a:gd name="T32" fmla="*/ 2147483647 w 697"/>
                  <a:gd name="T33" fmla="*/ 2147483647 h 500"/>
                  <a:gd name="T34" fmla="*/ 2147483647 w 697"/>
                  <a:gd name="T35" fmla="*/ 2147483647 h 500"/>
                  <a:gd name="T36" fmla="*/ 2147483647 w 697"/>
                  <a:gd name="T37" fmla="*/ 2147483647 h 500"/>
                  <a:gd name="T38" fmla="*/ 2147483647 w 697"/>
                  <a:gd name="T39" fmla="*/ 2147483647 h 500"/>
                  <a:gd name="T40" fmla="*/ 2147483647 w 697"/>
                  <a:gd name="T41" fmla="*/ 2147483647 h 500"/>
                  <a:gd name="T42" fmla="*/ 2147483647 w 697"/>
                  <a:gd name="T43" fmla="*/ 2147483647 h 500"/>
                  <a:gd name="T44" fmla="*/ 398776330 w 697"/>
                  <a:gd name="T45" fmla="*/ 2147483647 h 500"/>
                  <a:gd name="T46" fmla="*/ 2147483647 w 697"/>
                  <a:gd name="T47" fmla="*/ 2147483647 h 500"/>
                  <a:gd name="T48" fmla="*/ 2147483647 w 697"/>
                  <a:gd name="T49" fmla="*/ 2147483647 h 500"/>
                  <a:gd name="T50" fmla="*/ 2147483647 w 697"/>
                  <a:gd name="T51" fmla="*/ 2147483647 h 500"/>
                  <a:gd name="T52" fmla="*/ 2147483647 w 697"/>
                  <a:gd name="T53" fmla="*/ 2147483647 h 500"/>
                  <a:gd name="T54" fmla="*/ 2147483647 w 697"/>
                  <a:gd name="T55" fmla="*/ 2147483647 h 500"/>
                  <a:gd name="T56" fmla="*/ 2147483647 w 697"/>
                  <a:gd name="T57" fmla="*/ 2147483647 h 500"/>
                  <a:gd name="T58" fmla="*/ 2147483647 w 697"/>
                  <a:gd name="T59" fmla="*/ 2147483647 h 500"/>
                  <a:gd name="T60" fmla="*/ 2147483647 w 697"/>
                  <a:gd name="T61" fmla="*/ 2147483647 h 500"/>
                  <a:gd name="T62" fmla="*/ 2147483647 w 697"/>
                  <a:gd name="T63" fmla="*/ 2147483647 h 500"/>
                  <a:gd name="T64" fmla="*/ 2147483647 w 697"/>
                  <a:gd name="T65" fmla="*/ 2147483647 h 500"/>
                  <a:gd name="T66" fmla="*/ 2147483647 w 697"/>
                  <a:gd name="T67" fmla="*/ 2147483647 h 500"/>
                  <a:gd name="T68" fmla="*/ 2147483647 w 697"/>
                  <a:gd name="T69" fmla="*/ 2147483647 h 500"/>
                  <a:gd name="T70" fmla="*/ 2147483647 w 697"/>
                  <a:gd name="T71" fmla="*/ 2147483647 h 500"/>
                  <a:gd name="T72" fmla="*/ 2147483647 w 697"/>
                  <a:gd name="T73" fmla="*/ 2147483647 h 500"/>
                  <a:gd name="T74" fmla="*/ 2147483647 w 697"/>
                  <a:gd name="T75" fmla="*/ 2147483647 h 500"/>
                  <a:gd name="T76" fmla="*/ 2147483647 w 697"/>
                  <a:gd name="T77" fmla="*/ 2147483647 h 500"/>
                  <a:gd name="T78" fmla="*/ 2147483647 w 697"/>
                  <a:gd name="T79" fmla="*/ 2147483647 h 500"/>
                  <a:gd name="T80" fmla="*/ 2147483647 w 697"/>
                  <a:gd name="T81" fmla="*/ 2147483647 h 500"/>
                  <a:gd name="T82" fmla="*/ 2147483647 w 697"/>
                  <a:gd name="T83" fmla="*/ 2147483647 h 500"/>
                  <a:gd name="T84" fmla="*/ 2147483647 w 697"/>
                  <a:gd name="T85" fmla="*/ 2147483647 h 500"/>
                  <a:gd name="T86" fmla="*/ 2147483647 w 697"/>
                  <a:gd name="T87" fmla="*/ 1694011014 h 500"/>
                  <a:gd name="T88" fmla="*/ 2147483647 w 697"/>
                  <a:gd name="T89" fmla="*/ 1129521185 h 500"/>
                  <a:gd name="T90" fmla="*/ 2147483647 w 697"/>
                  <a:gd name="T91" fmla="*/ 2147483647 h 500"/>
                  <a:gd name="T92" fmla="*/ 2147483647 w 697"/>
                  <a:gd name="T93" fmla="*/ 2147483647 h 500"/>
                  <a:gd name="T94" fmla="*/ 2147483647 w 697"/>
                  <a:gd name="T95" fmla="*/ 1835268593 h 500"/>
                  <a:gd name="T96" fmla="*/ 2147483647 w 697"/>
                  <a:gd name="T97" fmla="*/ 2147483647 h 500"/>
                  <a:gd name="T98" fmla="*/ 2147483647 w 697"/>
                  <a:gd name="T99" fmla="*/ 2147483647 h 500"/>
                  <a:gd name="T100" fmla="*/ 2147483647 w 697"/>
                  <a:gd name="T101" fmla="*/ 2147483647 h 500"/>
                  <a:gd name="T102" fmla="*/ 2147483647 w 697"/>
                  <a:gd name="T103" fmla="*/ 2147483647 h 50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4" name="Freeform 547"/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10392043" y="1942672"/>
                <a:ext cx="236537" cy="92075"/>
              </a:xfrm>
              <a:custGeom>
                <a:avLst/>
                <a:gdLst>
                  <a:gd name="T0" fmla="*/ 2147483647 w 546"/>
                  <a:gd name="T1" fmla="*/ 2147483647 h 173"/>
                  <a:gd name="T2" fmla="*/ 2147483647 w 546"/>
                  <a:gd name="T3" fmla="*/ 2147483647 h 173"/>
                  <a:gd name="T4" fmla="*/ 2147483647 w 546"/>
                  <a:gd name="T5" fmla="*/ 2147483647 h 173"/>
                  <a:gd name="T6" fmla="*/ 2147483647 w 546"/>
                  <a:gd name="T7" fmla="*/ 2147483647 h 173"/>
                  <a:gd name="T8" fmla="*/ 2147483647 w 546"/>
                  <a:gd name="T9" fmla="*/ 2147483647 h 173"/>
                  <a:gd name="T10" fmla="*/ 2147483647 w 546"/>
                  <a:gd name="T11" fmla="*/ 2147483647 h 173"/>
                  <a:gd name="T12" fmla="*/ 2147483647 w 546"/>
                  <a:gd name="T13" fmla="*/ 2147483647 h 173"/>
                  <a:gd name="T14" fmla="*/ 2147483647 w 546"/>
                  <a:gd name="T15" fmla="*/ 2147483647 h 173"/>
                  <a:gd name="T16" fmla="*/ 2147483647 w 546"/>
                  <a:gd name="T17" fmla="*/ 2110599566 h 173"/>
                  <a:gd name="T18" fmla="*/ 2147483647 w 546"/>
                  <a:gd name="T19" fmla="*/ 1658227108 h 173"/>
                  <a:gd name="T20" fmla="*/ 2147483647 w 546"/>
                  <a:gd name="T21" fmla="*/ 452372458 h 173"/>
                  <a:gd name="T22" fmla="*/ 2147483647 w 546"/>
                  <a:gd name="T23" fmla="*/ 753765335 h 173"/>
                  <a:gd name="T24" fmla="*/ 2147483647 w 546"/>
                  <a:gd name="T25" fmla="*/ 1809206690 h 173"/>
                  <a:gd name="T26" fmla="*/ 2147483647 w 546"/>
                  <a:gd name="T27" fmla="*/ 1055441355 h 173"/>
                  <a:gd name="T28" fmla="*/ 2147483647 w 546"/>
                  <a:gd name="T29" fmla="*/ 0 h 173"/>
                  <a:gd name="T30" fmla="*/ 2147483647 w 546"/>
                  <a:gd name="T31" fmla="*/ 1055441355 h 173"/>
                  <a:gd name="T32" fmla="*/ 2147483647 w 546"/>
                  <a:gd name="T33" fmla="*/ 1055441355 h 173"/>
                  <a:gd name="T34" fmla="*/ 2147483647 w 546"/>
                  <a:gd name="T35" fmla="*/ 150696438 h 173"/>
                  <a:gd name="T36" fmla="*/ 2147483647 w 546"/>
                  <a:gd name="T37" fmla="*/ 904461773 h 173"/>
                  <a:gd name="T38" fmla="*/ 2147483647 w 546"/>
                  <a:gd name="T39" fmla="*/ 1809206690 h 173"/>
                  <a:gd name="T40" fmla="*/ 2147483647 w 546"/>
                  <a:gd name="T41" fmla="*/ 2147483647 h 173"/>
                  <a:gd name="T42" fmla="*/ 2147483647 w 546"/>
                  <a:gd name="T43" fmla="*/ 2147483647 h 173"/>
                  <a:gd name="T44" fmla="*/ 2147483647 w 546"/>
                  <a:gd name="T45" fmla="*/ 2147483647 h 173"/>
                  <a:gd name="T46" fmla="*/ 2147483647 w 546"/>
                  <a:gd name="T47" fmla="*/ 2147483647 h 173"/>
                  <a:gd name="T48" fmla="*/ 2147483647 w 546"/>
                  <a:gd name="T49" fmla="*/ 2147483647 h 173"/>
                  <a:gd name="T50" fmla="*/ 2147483647 w 546"/>
                  <a:gd name="T51" fmla="*/ 2147483647 h 173"/>
                  <a:gd name="T52" fmla="*/ 2147483647 w 546"/>
                  <a:gd name="T53" fmla="*/ 2147483647 h 173"/>
                  <a:gd name="T54" fmla="*/ 2147483647 w 546"/>
                  <a:gd name="T55" fmla="*/ 2147483647 h 173"/>
                  <a:gd name="T56" fmla="*/ 2147483647 w 546"/>
                  <a:gd name="T57" fmla="*/ 2147483647 h 173"/>
                  <a:gd name="T58" fmla="*/ 2147483647 w 546"/>
                  <a:gd name="T59" fmla="*/ 2147483647 h 173"/>
                  <a:gd name="T60" fmla="*/ 2147483647 w 546"/>
                  <a:gd name="T61" fmla="*/ 2147483647 h 173"/>
                  <a:gd name="T62" fmla="*/ 2147483647 w 546"/>
                  <a:gd name="T63" fmla="*/ 2147483647 h 173"/>
                  <a:gd name="T64" fmla="*/ 2147483647 w 546"/>
                  <a:gd name="T65" fmla="*/ 2147483647 h 173"/>
                  <a:gd name="T66" fmla="*/ 2147483647 w 546"/>
                  <a:gd name="T67" fmla="*/ 2147483647 h 173"/>
                  <a:gd name="T68" fmla="*/ 2147483647 w 546"/>
                  <a:gd name="T69" fmla="*/ 2147483647 h 173"/>
                  <a:gd name="T70" fmla="*/ 2147483647 w 546"/>
                  <a:gd name="T71" fmla="*/ 2147483647 h 173"/>
                  <a:gd name="T72" fmla="*/ 2147483647 w 546"/>
                  <a:gd name="T73" fmla="*/ 2147483647 h 173"/>
                  <a:gd name="T74" fmla="*/ 2147483647 w 546"/>
                  <a:gd name="T75" fmla="*/ 2147483647 h 173"/>
                  <a:gd name="T76" fmla="*/ 2147483647 w 546"/>
                  <a:gd name="T77" fmla="*/ 2147483647 h 173"/>
                  <a:gd name="T78" fmla="*/ 2147483647 w 546"/>
                  <a:gd name="T79" fmla="*/ 2147483647 h 173"/>
                  <a:gd name="T80" fmla="*/ 2147483647 w 546"/>
                  <a:gd name="T81" fmla="*/ 2147483647 h 173"/>
                  <a:gd name="T82" fmla="*/ 2147483647 w 546"/>
                  <a:gd name="T83" fmla="*/ 2147483647 h 173"/>
                  <a:gd name="T84" fmla="*/ 2147483647 w 546"/>
                  <a:gd name="T85" fmla="*/ 2147483647 h 173"/>
                  <a:gd name="T86" fmla="*/ 2147483647 w 546"/>
                  <a:gd name="T87" fmla="*/ 2147483647 h 173"/>
                  <a:gd name="T88" fmla="*/ 2147483647 w 546"/>
                  <a:gd name="T89" fmla="*/ 2147483647 h 173"/>
                  <a:gd name="T90" fmla="*/ 2147483647 w 546"/>
                  <a:gd name="T91" fmla="*/ 2147483647 h 173"/>
                  <a:gd name="T92" fmla="*/ 2147483647 w 546"/>
                  <a:gd name="T93" fmla="*/ 2147483647 h 173"/>
                  <a:gd name="T94" fmla="*/ 1300794942 w 546"/>
                  <a:gd name="T95" fmla="*/ 2147483647 h 173"/>
                  <a:gd name="T96" fmla="*/ 894284880 w 546"/>
                  <a:gd name="T97" fmla="*/ 2147483647 h 173"/>
                  <a:gd name="T98" fmla="*/ 2147483647 w 546"/>
                  <a:gd name="T99" fmla="*/ 2147483647 h 173"/>
                  <a:gd name="T100" fmla="*/ 2147483647 w 546"/>
                  <a:gd name="T101" fmla="*/ 1809206690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5" name="Freeform 548"/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10903218" y="1926797"/>
                <a:ext cx="107950" cy="60325"/>
              </a:xfrm>
              <a:custGeom>
                <a:avLst/>
                <a:gdLst>
                  <a:gd name="T0" fmla="*/ 2147483647 w 246"/>
                  <a:gd name="T1" fmla="*/ 2147483647 h 42"/>
                  <a:gd name="T2" fmla="*/ 2147483647 w 246"/>
                  <a:gd name="T3" fmla="*/ 2147483647 h 42"/>
                  <a:gd name="T4" fmla="*/ 2147483647 w 246"/>
                  <a:gd name="T5" fmla="*/ 2147483647 h 42"/>
                  <a:gd name="T6" fmla="*/ 2147483647 w 246"/>
                  <a:gd name="T7" fmla="*/ 2147483647 h 42"/>
                  <a:gd name="T8" fmla="*/ 2147483647 w 246"/>
                  <a:gd name="T9" fmla="*/ 2147483647 h 42"/>
                  <a:gd name="T10" fmla="*/ 2147483647 w 246"/>
                  <a:gd name="T11" fmla="*/ 2147483647 h 42"/>
                  <a:gd name="T12" fmla="*/ 2147483647 w 246"/>
                  <a:gd name="T13" fmla="*/ 2147483647 h 42"/>
                  <a:gd name="T14" fmla="*/ 2147483647 w 246"/>
                  <a:gd name="T15" fmla="*/ 2147483647 h 42"/>
                  <a:gd name="T16" fmla="*/ 2147483647 w 246"/>
                  <a:gd name="T17" fmla="*/ 2147483647 h 42"/>
                  <a:gd name="T18" fmla="*/ 2147483647 w 246"/>
                  <a:gd name="T19" fmla="*/ 2147483647 h 42"/>
                  <a:gd name="T20" fmla="*/ 2147483647 w 246"/>
                  <a:gd name="T21" fmla="*/ 2147483647 h 42"/>
                  <a:gd name="T22" fmla="*/ 2147483647 w 246"/>
                  <a:gd name="T23" fmla="*/ 2147483647 h 42"/>
                  <a:gd name="T24" fmla="*/ 2147483647 w 246"/>
                  <a:gd name="T25" fmla="*/ 2147483647 h 42"/>
                  <a:gd name="T26" fmla="*/ 2147483647 w 246"/>
                  <a:gd name="T27" fmla="*/ 2147483647 h 42"/>
                  <a:gd name="T28" fmla="*/ 2147483647 w 246"/>
                  <a:gd name="T29" fmla="*/ 2147483647 h 42"/>
                  <a:gd name="T30" fmla="*/ 2147483647 w 246"/>
                  <a:gd name="T31" fmla="*/ 2147483647 h 42"/>
                  <a:gd name="T32" fmla="*/ 2147483647 w 246"/>
                  <a:gd name="T33" fmla="*/ 2147483647 h 42"/>
                  <a:gd name="T34" fmla="*/ 2147483647 w 246"/>
                  <a:gd name="T35" fmla="*/ 2147483647 h 42"/>
                  <a:gd name="T36" fmla="*/ 2147483647 w 246"/>
                  <a:gd name="T37" fmla="*/ 2147483647 h 42"/>
                  <a:gd name="T38" fmla="*/ 2147483647 w 246"/>
                  <a:gd name="T39" fmla="*/ 2147483647 h 42"/>
                  <a:gd name="T40" fmla="*/ 2147483647 w 246"/>
                  <a:gd name="T41" fmla="*/ 2147483647 h 42"/>
                  <a:gd name="T42" fmla="*/ 2147483647 w 246"/>
                  <a:gd name="T43" fmla="*/ 2147483647 h 42"/>
                  <a:gd name="T44" fmla="*/ 2147483647 w 246"/>
                  <a:gd name="T45" fmla="*/ 2147483647 h 42"/>
                  <a:gd name="T46" fmla="*/ 2147483647 w 246"/>
                  <a:gd name="T47" fmla="*/ 2147483647 h 42"/>
                  <a:gd name="T48" fmla="*/ 2147483647 w 246"/>
                  <a:gd name="T49" fmla="*/ 2147483647 h 42"/>
                  <a:gd name="T50" fmla="*/ 2147483647 w 246"/>
                  <a:gd name="T51" fmla="*/ 2147483647 h 42"/>
                  <a:gd name="T52" fmla="*/ 2147483647 w 246"/>
                  <a:gd name="T53" fmla="*/ 2147483647 h 42"/>
                  <a:gd name="T54" fmla="*/ 2147483647 w 246"/>
                  <a:gd name="T55" fmla="*/ 2147483647 h 42"/>
                  <a:gd name="T56" fmla="*/ 2147483647 w 246"/>
                  <a:gd name="T57" fmla="*/ 2147483647 h 42"/>
                  <a:gd name="T58" fmla="*/ 2147483647 w 246"/>
                  <a:gd name="T59" fmla="*/ 2147483647 h 42"/>
                  <a:gd name="T60" fmla="*/ 2147483647 w 246"/>
                  <a:gd name="T61" fmla="*/ 2147483647 h 42"/>
                  <a:gd name="T62" fmla="*/ 2147483647 w 246"/>
                  <a:gd name="T63" fmla="*/ 2147483647 h 42"/>
                  <a:gd name="T64" fmla="*/ 2147483647 w 246"/>
                  <a:gd name="T65" fmla="*/ 0 h 42"/>
                  <a:gd name="T66" fmla="*/ 2147483647 w 246"/>
                  <a:gd name="T67" fmla="*/ 2147483647 h 42"/>
                  <a:gd name="T68" fmla="*/ 2147483647 w 246"/>
                  <a:gd name="T69" fmla="*/ 2147483647 h 42"/>
                  <a:gd name="T70" fmla="*/ 2147483647 w 246"/>
                  <a:gd name="T71" fmla="*/ 2147483647 h 42"/>
                  <a:gd name="T72" fmla="*/ 2147483647 w 246"/>
                  <a:gd name="T73" fmla="*/ 2147483647 h 42"/>
                  <a:gd name="T74" fmla="*/ 2147483647 w 246"/>
                  <a:gd name="T75" fmla="*/ 2147483647 h 42"/>
                  <a:gd name="T76" fmla="*/ 2147483647 w 246"/>
                  <a:gd name="T77" fmla="*/ 2147483647 h 42"/>
                  <a:gd name="T78" fmla="*/ 2147483647 w 246"/>
                  <a:gd name="T79" fmla="*/ 2147483647 h 42"/>
                  <a:gd name="T80" fmla="*/ 2147483647 w 246"/>
                  <a:gd name="T81" fmla="*/ 2147483647 h 42"/>
                  <a:gd name="T82" fmla="*/ 2147483647 w 246"/>
                  <a:gd name="T83" fmla="*/ 2147483647 h 42"/>
                  <a:gd name="T84" fmla="*/ 2147483647 w 246"/>
                  <a:gd name="T85" fmla="*/ 2147483647 h 42"/>
                  <a:gd name="T86" fmla="*/ 2147483647 w 246"/>
                  <a:gd name="T87" fmla="*/ 2147483647 h 42"/>
                  <a:gd name="T88" fmla="*/ 2147483647 w 246"/>
                  <a:gd name="T89" fmla="*/ 2147483647 h 42"/>
                  <a:gd name="T90" fmla="*/ 1182920488 w 246"/>
                  <a:gd name="T91" fmla="*/ 2147483647 h 42"/>
                  <a:gd name="T92" fmla="*/ 0 w 246"/>
                  <a:gd name="T93" fmla="*/ 2147483647 h 42"/>
                  <a:gd name="T94" fmla="*/ 84535382 w 246"/>
                  <a:gd name="T95" fmla="*/ 2147483647 h 42"/>
                  <a:gd name="T96" fmla="*/ 253414380 w 246"/>
                  <a:gd name="T97" fmla="*/ 2147483647 h 42"/>
                  <a:gd name="T98" fmla="*/ 422485583 w 246"/>
                  <a:gd name="T99" fmla="*/ 2147483647 h 42"/>
                  <a:gd name="T100" fmla="*/ 760435345 w 246"/>
                  <a:gd name="T101" fmla="*/ 2147483647 h 42"/>
                  <a:gd name="T102" fmla="*/ 1436527511 w 246"/>
                  <a:gd name="T103" fmla="*/ 2147483647 h 42"/>
                  <a:gd name="T104" fmla="*/ 2147483647 w 246"/>
                  <a:gd name="T105" fmla="*/ 2147483647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6" name="Freeform 549"/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11046093" y="1909335"/>
                <a:ext cx="63500" cy="57150"/>
              </a:xfrm>
              <a:custGeom>
                <a:avLst/>
                <a:gdLst>
                  <a:gd name="T0" fmla="*/ 2147483647 w 149"/>
                  <a:gd name="T1" fmla="*/ 0 h 61"/>
                  <a:gd name="T2" fmla="*/ 2147483647 w 149"/>
                  <a:gd name="T3" fmla="*/ 822455019 h 61"/>
                  <a:gd name="T4" fmla="*/ 2147483647 w 149"/>
                  <a:gd name="T5" fmla="*/ 2147483647 h 61"/>
                  <a:gd name="T6" fmla="*/ 2147483647 w 149"/>
                  <a:gd name="T7" fmla="*/ 2147483647 h 61"/>
                  <a:gd name="T8" fmla="*/ 2147483647 w 149"/>
                  <a:gd name="T9" fmla="*/ 2147483647 h 61"/>
                  <a:gd name="T10" fmla="*/ 2147483647 w 149"/>
                  <a:gd name="T11" fmla="*/ 2147483647 h 61"/>
                  <a:gd name="T12" fmla="*/ 2147483647 w 149"/>
                  <a:gd name="T13" fmla="*/ 2147483647 h 61"/>
                  <a:gd name="T14" fmla="*/ 2147483647 w 149"/>
                  <a:gd name="T15" fmla="*/ 2147483647 h 61"/>
                  <a:gd name="T16" fmla="*/ 2147483647 w 149"/>
                  <a:gd name="T17" fmla="*/ 2147483647 h 61"/>
                  <a:gd name="T18" fmla="*/ 2147483647 w 149"/>
                  <a:gd name="T19" fmla="*/ 2147483647 h 61"/>
                  <a:gd name="T20" fmla="*/ 2147483647 w 149"/>
                  <a:gd name="T21" fmla="*/ 2147483647 h 61"/>
                  <a:gd name="T22" fmla="*/ 2147483647 w 149"/>
                  <a:gd name="T23" fmla="*/ 2147483647 h 61"/>
                  <a:gd name="T24" fmla="*/ 2147483647 w 149"/>
                  <a:gd name="T25" fmla="*/ 2147483647 h 61"/>
                  <a:gd name="T26" fmla="*/ 2147483647 w 149"/>
                  <a:gd name="T27" fmla="*/ 2147483647 h 61"/>
                  <a:gd name="T28" fmla="*/ 2147483647 w 149"/>
                  <a:gd name="T29" fmla="*/ 2147483647 h 61"/>
                  <a:gd name="T30" fmla="*/ 2147483647 w 149"/>
                  <a:gd name="T31" fmla="*/ 2147483647 h 61"/>
                  <a:gd name="T32" fmla="*/ 2147483647 w 149"/>
                  <a:gd name="T33" fmla="*/ 2147483647 h 61"/>
                  <a:gd name="T34" fmla="*/ 2147483647 w 149"/>
                  <a:gd name="T35" fmla="*/ 2147483647 h 61"/>
                  <a:gd name="T36" fmla="*/ 2147483647 w 149"/>
                  <a:gd name="T37" fmla="*/ 2147483647 h 61"/>
                  <a:gd name="T38" fmla="*/ 2147483647 w 149"/>
                  <a:gd name="T39" fmla="*/ 2147483647 h 61"/>
                  <a:gd name="T40" fmla="*/ 2147483647 w 149"/>
                  <a:gd name="T41" fmla="*/ 2147483647 h 61"/>
                  <a:gd name="T42" fmla="*/ 2147483647 w 149"/>
                  <a:gd name="T43" fmla="*/ 2147483647 h 61"/>
                  <a:gd name="T44" fmla="*/ 2147483647 w 149"/>
                  <a:gd name="T45" fmla="*/ 2147483647 h 61"/>
                  <a:gd name="T46" fmla="*/ 2147483647 w 149"/>
                  <a:gd name="T47" fmla="*/ 2147483647 h 61"/>
                  <a:gd name="T48" fmla="*/ 2147483647 w 149"/>
                  <a:gd name="T49" fmla="*/ 2147483647 h 61"/>
                  <a:gd name="T50" fmla="*/ 2147483647 w 149"/>
                  <a:gd name="T51" fmla="*/ 2147483647 h 61"/>
                  <a:gd name="T52" fmla="*/ 2147483647 w 149"/>
                  <a:gd name="T53" fmla="*/ 2147483647 h 61"/>
                  <a:gd name="T54" fmla="*/ 2147483647 w 149"/>
                  <a:gd name="T55" fmla="*/ 2147483647 h 61"/>
                  <a:gd name="T56" fmla="*/ 1935029534 w 149"/>
                  <a:gd name="T57" fmla="*/ 2147483647 h 61"/>
                  <a:gd name="T58" fmla="*/ 928828564 w 149"/>
                  <a:gd name="T59" fmla="*/ 2147483647 h 61"/>
                  <a:gd name="T60" fmla="*/ 232297916 w 149"/>
                  <a:gd name="T61" fmla="*/ 2147483647 h 61"/>
                  <a:gd name="T62" fmla="*/ 77371980 w 149"/>
                  <a:gd name="T63" fmla="*/ 2147483647 h 61"/>
                  <a:gd name="T64" fmla="*/ 0 w 149"/>
                  <a:gd name="T65" fmla="*/ 2147483647 h 61"/>
                  <a:gd name="T66" fmla="*/ 0 w 149"/>
                  <a:gd name="T67" fmla="*/ 2147483647 h 61"/>
                  <a:gd name="T68" fmla="*/ 232297916 w 149"/>
                  <a:gd name="T69" fmla="*/ 2147483647 h 61"/>
                  <a:gd name="T70" fmla="*/ 1470615252 w 149"/>
                  <a:gd name="T71" fmla="*/ 2147483647 h 61"/>
                  <a:gd name="T72" fmla="*/ 2147483647 w 149"/>
                  <a:gd name="T73" fmla="*/ 2147483647 h 61"/>
                  <a:gd name="T74" fmla="*/ 2147483647 w 149"/>
                  <a:gd name="T75" fmla="*/ 2147483647 h 61"/>
                  <a:gd name="T76" fmla="*/ 2147483647 w 149"/>
                  <a:gd name="T77" fmla="*/ 2147483647 h 61"/>
                  <a:gd name="T78" fmla="*/ 2147483647 w 149"/>
                  <a:gd name="T79" fmla="*/ 2147483647 h 61"/>
                  <a:gd name="T80" fmla="*/ 2147483647 w 149"/>
                  <a:gd name="T81" fmla="*/ 2147483647 h 61"/>
                  <a:gd name="T82" fmla="*/ 2147483647 w 149"/>
                  <a:gd name="T83" fmla="*/ 2147483647 h 61"/>
                  <a:gd name="T84" fmla="*/ 2147483647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7" name="Freeform 550"/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11082605" y="1917272"/>
                <a:ext cx="130175" cy="57150"/>
              </a:xfrm>
              <a:custGeom>
                <a:avLst/>
                <a:gdLst>
                  <a:gd name="T0" fmla="*/ 2147483647 w 299"/>
                  <a:gd name="T1" fmla="*/ 2147483647 h 74"/>
                  <a:gd name="T2" fmla="*/ 2147483647 w 299"/>
                  <a:gd name="T3" fmla="*/ 2147483647 h 74"/>
                  <a:gd name="T4" fmla="*/ 2147483647 w 299"/>
                  <a:gd name="T5" fmla="*/ 2147483647 h 74"/>
                  <a:gd name="T6" fmla="*/ 2147483647 w 299"/>
                  <a:gd name="T7" fmla="*/ 2147483647 h 74"/>
                  <a:gd name="T8" fmla="*/ 2147483647 w 299"/>
                  <a:gd name="T9" fmla="*/ 2147483647 h 74"/>
                  <a:gd name="T10" fmla="*/ 2147483647 w 299"/>
                  <a:gd name="T11" fmla="*/ 2147483647 h 74"/>
                  <a:gd name="T12" fmla="*/ 2147483647 w 299"/>
                  <a:gd name="T13" fmla="*/ 2147483647 h 74"/>
                  <a:gd name="T14" fmla="*/ 2147483647 w 299"/>
                  <a:gd name="T15" fmla="*/ 2147483647 h 74"/>
                  <a:gd name="T16" fmla="*/ 2147483647 w 299"/>
                  <a:gd name="T17" fmla="*/ 2147483647 h 74"/>
                  <a:gd name="T18" fmla="*/ 2147483647 w 299"/>
                  <a:gd name="T19" fmla="*/ 2147483647 h 74"/>
                  <a:gd name="T20" fmla="*/ 2147483647 w 299"/>
                  <a:gd name="T21" fmla="*/ 2147483647 h 74"/>
                  <a:gd name="T22" fmla="*/ 2147483647 w 299"/>
                  <a:gd name="T23" fmla="*/ 2147483647 h 74"/>
                  <a:gd name="T24" fmla="*/ 2147483647 w 299"/>
                  <a:gd name="T25" fmla="*/ 2147483647 h 74"/>
                  <a:gd name="T26" fmla="*/ 2147483647 w 299"/>
                  <a:gd name="T27" fmla="*/ 2147483647 h 74"/>
                  <a:gd name="T28" fmla="*/ 2147483647 w 299"/>
                  <a:gd name="T29" fmla="*/ 2147483647 h 74"/>
                  <a:gd name="T30" fmla="*/ 2147483647 w 299"/>
                  <a:gd name="T31" fmla="*/ 2147483647 h 74"/>
                  <a:gd name="T32" fmla="*/ 2147483647 w 299"/>
                  <a:gd name="T33" fmla="*/ 2147483647 h 74"/>
                  <a:gd name="T34" fmla="*/ 2147483647 w 299"/>
                  <a:gd name="T35" fmla="*/ 2147483647 h 74"/>
                  <a:gd name="T36" fmla="*/ 2147483647 w 299"/>
                  <a:gd name="T37" fmla="*/ 2147483647 h 74"/>
                  <a:gd name="T38" fmla="*/ 2147483647 w 299"/>
                  <a:gd name="T39" fmla="*/ 2147483647 h 74"/>
                  <a:gd name="T40" fmla="*/ 2147483647 w 299"/>
                  <a:gd name="T41" fmla="*/ 2147483647 h 74"/>
                  <a:gd name="T42" fmla="*/ 2147483647 w 299"/>
                  <a:gd name="T43" fmla="*/ 2147483647 h 74"/>
                  <a:gd name="T44" fmla="*/ 2147483647 w 299"/>
                  <a:gd name="T45" fmla="*/ 0 h 74"/>
                  <a:gd name="T46" fmla="*/ 2147483647 w 299"/>
                  <a:gd name="T47" fmla="*/ 1381958824 h 74"/>
                  <a:gd name="T48" fmla="*/ 2147483647 w 299"/>
                  <a:gd name="T49" fmla="*/ 2147483647 h 74"/>
                  <a:gd name="T50" fmla="*/ 2147483647 w 299"/>
                  <a:gd name="T51" fmla="*/ 2147483647 h 74"/>
                  <a:gd name="T52" fmla="*/ 2147483647 w 299"/>
                  <a:gd name="T53" fmla="*/ 2147483647 h 74"/>
                  <a:gd name="T54" fmla="*/ 2147483647 w 299"/>
                  <a:gd name="T55" fmla="*/ 2147483647 h 74"/>
                  <a:gd name="T56" fmla="*/ 2147483647 w 299"/>
                  <a:gd name="T57" fmla="*/ 2147483647 h 74"/>
                  <a:gd name="T58" fmla="*/ 2147483647 w 299"/>
                  <a:gd name="T59" fmla="*/ 2147483647 h 74"/>
                  <a:gd name="T60" fmla="*/ 2147483647 w 299"/>
                  <a:gd name="T61" fmla="*/ 2147483647 h 74"/>
                  <a:gd name="T62" fmla="*/ 990184192 w 299"/>
                  <a:gd name="T63" fmla="*/ 2147483647 h 74"/>
                  <a:gd name="T64" fmla="*/ 165093682 w 299"/>
                  <a:gd name="T65" fmla="*/ 2147483647 h 74"/>
                  <a:gd name="T66" fmla="*/ 2147483647 w 299"/>
                  <a:gd name="T67" fmla="*/ 2147483647 h 74"/>
                  <a:gd name="T68" fmla="*/ 2147483647 w 299"/>
                  <a:gd name="T69" fmla="*/ 2147483647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</p:grpSp>
      </p:grpSp>
      <p:sp>
        <p:nvSpPr>
          <p:cNvPr id="511" name="TextBox 510"/>
          <p:cNvSpPr txBox="1"/>
          <p:nvPr/>
        </p:nvSpPr>
        <p:spPr>
          <a:xfrm>
            <a:off x="4818089" y="4505278"/>
            <a:ext cx="2283087" cy="1669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/>
              <a:t>31 países</a:t>
            </a:r>
          </a:p>
          <a:p>
            <a:pPr algn="ctr"/>
            <a:r>
              <a:rPr lang="es-MX" sz="2000" b="1" dirty="0"/>
              <a:t>645,146</a:t>
            </a:r>
          </a:p>
          <a:p>
            <a:pPr algn="ctr"/>
            <a:r>
              <a:rPr lang="es-MX" sz="2000" b="1" dirty="0">
                <a:solidFill>
                  <a:schemeClr val="accent1"/>
                </a:solidFill>
              </a:rPr>
              <a:t> </a:t>
            </a:r>
            <a:r>
              <a:rPr lang="es-MX" sz="2000" dirty="0"/>
              <a:t>participantes</a:t>
            </a:r>
          </a:p>
          <a:p>
            <a:pPr algn="ctr"/>
            <a:r>
              <a:rPr lang="es-MX" sz="1050" dirty="0"/>
              <a:t>(1997-2014)</a:t>
            </a:r>
          </a:p>
          <a:p>
            <a:pPr algn="ctr"/>
            <a:endParaRPr lang="es-MX" sz="1600" dirty="0"/>
          </a:p>
          <a:p>
            <a:pPr algn="ctr"/>
            <a:endParaRPr lang="es-MX" sz="1600" b="1" dirty="0"/>
          </a:p>
        </p:txBody>
      </p:sp>
      <p:sp>
        <p:nvSpPr>
          <p:cNvPr id="517" name="Title 516"/>
          <p:cNvSpPr>
            <a:spLocks noGrp="1"/>
          </p:cNvSpPr>
          <p:nvPr>
            <p:ph type="title"/>
          </p:nvPr>
        </p:nvSpPr>
        <p:spPr>
          <a:xfrm>
            <a:off x="692066" y="-57414"/>
            <a:ext cx="11185251" cy="1737360"/>
          </a:xfrm>
        </p:spPr>
        <p:txBody>
          <a:bodyPr>
            <a:noAutofit/>
          </a:bodyPr>
          <a:lstStyle/>
          <a:p>
            <a:r>
              <a:rPr lang="es-MX" sz="2800" dirty="0" smtClean="0"/>
              <a:t>¿Cómo podemos innovar </a:t>
            </a:r>
            <a:r>
              <a:rPr lang="en-US" sz="2800" dirty="0" smtClean="0"/>
              <a:t>y </a:t>
            </a:r>
            <a:r>
              <a:rPr lang="en-US" sz="2800" dirty="0" err="1" smtClean="0"/>
              <a:t>brindar</a:t>
            </a:r>
            <a:r>
              <a:rPr lang="en-US" sz="2800" dirty="0" smtClean="0"/>
              <a:t> </a:t>
            </a:r>
            <a:r>
              <a:rPr lang="en-US" sz="2800" dirty="0" err="1" smtClean="0"/>
              <a:t>soluciones</a:t>
            </a:r>
            <a:r>
              <a:rPr lang="en-US" sz="2800" dirty="0" smtClean="0"/>
              <a:t> a los </a:t>
            </a:r>
            <a:r>
              <a:rPr lang="en-US" sz="2800" dirty="0" err="1" smtClean="0"/>
              <a:t>retos</a:t>
            </a:r>
            <a:r>
              <a:rPr lang="en-US" sz="2800" dirty="0" smtClean="0"/>
              <a:t>?</a:t>
            </a:r>
            <a:br>
              <a:rPr lang="en-US" sz="2800" dirty="0" smtClean="0"/>
            </a:br>
            <a:r>
              <a:rPr lang="es-MX" sz="2800" dirty="0" smtClean="0">
                <a:solidFill>
                  <a:schemeClr val="accent1">
                    <a:lumMod val="75000"/>
                  </a:schemeClr>
                </a:solidFill>
              </a:rPr>
              <a:t>Creando </a:t>
            </a:r>
            <a:r>
              <a:rPr lang="es-MX" sz="2800" dirty="0">
                <a:solidFill>
                  <a:schemeClr val="accent1">
                    <a:lumMod val="75000"/>
                  </a:schemeClr>
                </a:solidFill>
              </a:rPr>
              <a:t>comunidades </a:t>
            </a:r>
            <a:r>
              <a:rPr lang="es-MX" sz="2800" dirty="0" smtClean="0">
                <a:solidFill>
                  <a:schemeClr val="accent1">
                    <a:lumMod val="75000"/>
                  </a:schemeClr>
                </a:solidFill>
              </a:rPr>
              <a:t>virtuales de </a:t>
            </a:r>
            <a:r>
              <a:rPr lang="es-MX" sz="2800" dirty="0">
                <a:solidFill>
                  <a:schemeClr val="accent1">
                    <a:lumMod val="75000"/>
                  </a:schemeClr>
                </a:solidFill>
              </a:rPr>
              <a:t>aprendizaje que permitan informar, capacitar, innovar y transformar la cultura a través de modelos educativos </a:t>
            </a:r>
            <a:r>
              <a:rPr lang="es-MX" sz="2800" dirty="0" smtClean="0">
                <a:solidFill>
                  <a:schemeClr val="accent1">
                    <a:lumMod val="75000"/>
                  </a:schemeClr>
                </a:solidFill>
              </a:rPr>
              <a:t>innovadores</a:t>
            </a:r>
            <a:r>
              <a:rPr lang="es-MX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s-MX" sz="2800" dirty="0" smtClean="0">
                <a:solidFill>
                  <a:schemeClr val="accent1">
                    <a:lumMod val="75000"/>
                  </a:schemeClr>
                </a:solidFill>
              </a:rPr>
              <a:t>que desarrollen capacidades. </a:t>
            </a:r>
            <a:endParaRPr lang="es-MX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20" name="Picture 2"/>
          <p:cNvPicPr>
            <a:picLocks noChangeAspect="1" noChangeArrowheads="1"/>
          </p:cNvPicPr>
          <p:nvPr/>
        </p:nvPicPr>
        <p:blipFill>
          <a:blip r:embed="rId35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002" y="3171797"/>
            <a:ext cx="967335" cy="8202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1" name="Rectangle 520"/>
          <p:cNvSpPr/>
          <p:nvPr/>
        </p:nvSpPr>
        <p:spPr>
          <a:xfrm>
            <a:off x="676190" y="2168895"/>
            <a:ext cx="3946642" cy="7269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1400" b="1" dirty="0">
                <a:solidFill>
                  <a:schemeClr val="tx1"/>
                </a:solidFill>
                <a:latin typeface="Calibri" pitchFamily="34" charset="0"/>
              </a:rPr>
              <a:t>Participación ciudadana organizada y Organizaciones de la Sociedad Civil </a:t>
            </a:r>
            <a:endParaRPr lang="es-MX" sz="1400" b="1" dirty="0" smtClean="0">
              <a:solidFill>
                <a:schemeClr val="tx1"/>
              </a:solidFill>
              <a:latin typeface="Calibri" pitchFamily="34" charset="0"/>
            </a:endParaRPr>
          </a:p>
          <a:p>
            <a:pPr algn="ctr"/>
            <a:r>
              <a:rPr lang="es-MX" sz="1400" b="1" dirty="0" smtClean="0">
                <a:solidFill>
                  <a:schemeClr val="tx1"/>
                </a:solidFill>
                <a:latin typeface="Calibri" pitchFamily="34" charset="0"/>
              </a:rPr>
              <a:t>Profesionales e </a:t>
            </a:r>
            <a:r>
              <a:rPr lang="es-MX" sz="1400" b="1" dirty="0">
                <a:solidFill>
                  <a:schemeClr val="tx1"/>
                </a:solidFill>
                <a:latin typeface="Calibri" pitchFamily="34" charset="0"/>
              </a:rPr>
              <a:t>innovadoras</a:t>
            </a:r>
          </a:p>
        </p:txBody>
      </p:sp>
      <p:pic>
        <p:nvPicPr>
          <p:cNvPr id="522" name="Picture 2" descr="https://encrypted-tbn3.gstatic.com/images?q=tbn:ANd9GcTh8nX6JEk8GiGQhAfesoBskY_ai1zKCKR04OVYzCzaeFjyzc5q"/>
          <p:cNvPicPr>
            <a:picLocks noChangeAspect="1" noChangeArrowheads="1"/>
          </p:cNvPicPr>
          <p:nvPr/>
        </p:nvPicPr>
        <p:blipFill rotWithShape="1">
          <a:blip r:embed="rId35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16364" y="3459846"/>
            <a:ext cx="815804" cy="20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3" name="TextBox 522"/>
          <p:cNvSpPr txBox="1"/>
          <p:nvPr/>
        </p:nvSpPr>
        <p:spPr>
          <a:xfrm>
            <a:off x="2385389" y="3110306"/>
            <a:ext cx="21248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 smtClean="0"/>
              <a:t>Aliados:</a:t>
            </a:r>
            <a:endParaRPr lang="es-MX" sz="1200" dirty="0"/>
          </a:p>
        </p:txBody>
      </p:sp>
      <p:pic>
        <p:nvPicPr>
          <p:cNvPr id="524" name="Picture 4" descr="http://www.massociedad.org.mx/LogosSocios/fundemex.JPG"/>
          <p:cNvPicPr>
            <a:picLocks noChangeAspect="1" noChangeArrowheads="1"/>
          </p:cNvPicPr>
          <p:nvPr/>
        </p:nvPicPr>
        <p:blipFill>
          <a:blip r:embed="rId358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6365" y="3718496"/>
            <a:ext cx="769613" cy="312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5" name="Picture 10" descr="http://www.educacionyculturaaz.com/wp-content/uploads/2013/02/LogoBID.jpg"/>
          <p:cNvPicPr>
            <a:picLocks noChangeAspect="1" noChangeArrowheads="1"/>
          </p:cNvPicPr>
          <p:nvPr/>
        </p:nvPicPr>
        <p:blipFill>
          <a:blip r:embed="rId35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1418" y="3414240"/>
            <a:ext cx="589453" cy="310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6" name="Picture 2" descr="http://directorio.cemefi.org/attachments/Logo/LOGO_cemefi.jpg?template=generic"/>
          <p:cNvPicPr>
            <a:picLocks noChangeAspect="1" noChangeArrowheads="1"/>
          </p:cNvPicPr>
          <p:nvPr/>
        </p:nvPicPr>
        <p:blipFill>
          <a:blip r:embed="rId360" cstate="email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242" y="3311212"/>
            <a:ext cx="630487" cy="448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7" name="Picture 4" descr="http://www.usmexicofound.org/a/i/logo-u-s-mexico-foundation.png"/>
          <p:cNvPicPr>
            <a:picLocks noChangeAspect="1" noChangeArrowheads="1"/>
          </p:cNvPicPr>
          <p:nvPr/>
        </p:nvPicPr>
        <p:blipFill rotWithShape="1">
          <a:blip r:embed="rId361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3011"/>
          <a:stretch/>
        </p:blipFill>
        <p:spPr bwMode="auto">
          <a:xfrm>
            <a:off x="3325104" y="3799118"/>
            <a:ext cx="720863" cy="240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8" name="TextBox 14"/>
          <p:cNvSpPr txBox="1">
            <a:spLocks noChangeArrowheads="1"/>
          </p:cNvSpPr>
          <p:nvPr/>
        </p:nvSpPr>
        <p:spPr bwMode="auto">
          <a:xfrm>
            <a:off x="1419990" y="4185113"/>
            <a:ext cx="25715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MX" b="1" dirty="0">
                <a:latin typeface="Arial Narrow" pitchFamily="34" charset="0"/>
                <a:hlinkClick r:id="rId362"/>
              </a:rPr>
              <a:t>www.massociedad.org.mx</a:t>
            </a:r>
            <a:r>
              <a:rPr lang="es-MX" sz="1050" b="1" dirty="0">
                <a:latin typeface="Arial Narrow" pitchFamily="34" charset="0"/>
              </a:rPr>
              <a:t> </a:t>
            </a:r>
          </a:p>
        </p:txBody>
      </p:sp>
      <p:pic>
        <p:nvPicPr>
          <p:cNvPr id="530" name="Picture 1"/>
          <p:cNvPicPr>
            <a:picLocks noChangeAspect="1" noChangeArrowheads="1"/>
          </p:cNvPicPr>
          <p:nvPr/>
        </p:nvPicPr>
        <p:blipFill>
          <a:blip r:embed="rId36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3167" y="3297846"/>
            <a:ext cx="1114436" cy="105762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531" name="Straight Connector 530"/>
          <p:cNvCxnSpPr/>
          <p:nvPr/>
        </p:nvCxnSpPr>
        <p:spPr>
          <a:xfrm>
            <a:off x="7363802" y="2185356"/>
            <a:ext cx="4218133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" name="Straight Connector 531"/>
          <p:cNvCxnSpPr/>
          <p:nvPr/>
        </p:nvCxnSpPr>
        <p:spPr>
          <a:xfrm>
            <a:off x="7380283" y="4645113"/>
            <a:ext cx="4218133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3" name="Rectangle 532"/>
          <p:cNvSpPr/>
          <p:nvPr/>
        </p:nvSpPr>
        <p:spPr>
          <a:xfrm>
            <a:off x="7404696" y="2351118"/>
            <a:ext cx="4128843" cy="5848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s-MX" sz="1400" b="1" dirty="0">
                <a:solidFill>
                  <a:schemeClr val="tx1"/>
                </a:solidFill>
                <a:latin typeface="Calibri" pitchFamily="34" charset="0"/>
              </a:rPr>
              <a:t>Profesores  competentes y educación </a:t>
            </a:r>
          </a:p>
          <a:p>
            <a:r>
              <a:rPr lang="es-MX" sz="1400" b="1" dirty="0">
                <a:solidFill>
                  <a:schemeClr val="tx1"/>
                </a:solidFill>
                <a:latin typeface="Calibri" pitchFamily="34" charset="0"/>
              </a:rPr>
              <a:t>de excelencia</a:t>
            </a:r>
          </a:p>
        </p:txBody>
      </p:sp>
      <p:sp>
        <p:nvSpPr>
          <p:cNvPr id="534" name="TextBox 533"/>
          <p:cNvSpPr txBox="1"/>
          <p:nvPr/>
        </p:nvSpPr>
        <p:spPr>
          <a:xfrm>
            <a:off x="9134018" y="3259981"/>
            <a:ext cx="24479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 smtClean="0"/>
              <a:t>Aliados:</a:t>
            </a:r>
            <a:endParaRPr lang="es-MX" sz="1200" dirty="0"/>
          </a:p>
        </p:txBody>
      </p:sp>
      <p:pic>
        <p:nvPicPr>
          <p:cNvPr id="535" name="Picture 6" descr="http://3.bp.blogspot.com/_-AS-sViD1uc/TUmUCd50tGI/AAAAAAAAALY/tuIqBQ1Dvh0/s1600/LOGO.jpg"/>
          <p:cNvPicPr>
            <a:picLocks noChangeAspect="1" noChangeArrowheads="1"/>
          </p:cNvPicPr>
          <p:nvPr/>
        </p:nvPicPr>
        <p:blipFill>
          <a:blip r:embed="rId364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08240" y="4134812"/>
            <a:ext cx="464636" cy="423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6" name="Picture 8" descr="http://portalaltonivel.files.wordpress.com/2010/09/logo_asociacion_bancos_mexico.jpg"/>
          <p:cNvPicPr>
            <a:picLocks noChangeAspect="1" noChangeArrowheads="1"/>
          </p:cNvPicPr>
          <p:nvPr/>
        </p:nvPicPr>
        <p:blipFill>
          <a:blip r:embed="rId365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69813" y="3643062"/>
            <a:ext cx="547962" cy="439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7" name="Picture 12" descr="http://www.devcarib.com/wp-content/uploads/2013/01/OAS-logo_104255.jpg"/>
          <p:cNvPicPr>
            <a:picLocks noChangeAspect="1" noChangeArrowheads="1"/>
          </p:cNvPicPr>
          <p:nvPr/>
        </p:nvPicPr>
        <p:blipFill>
          <a:blip r:embed="rId36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81605" y="3555342"/>
            <a:ext cx="524485" cy="57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8" name="Picture 20" descr="http://t0.gstatic.com/images?q=tbn:ANd9GcQV7BixvBOIIFrQhRIs6-BmzFGXW1ZpcUNEKvZG_YqiQdQ7QBWqRg"/>
          <p:cNvPicPr>
            <a:picLocks noChangeAspect="1" noChangeArrowheads="1"/>
          </p:cNvPicPr>
          <p:nvPr/>
        </p:nvPicPr>
        <p:blipFill>
          <a:blip r:embed="rId36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6111" y="3643063"/>
            <a:ext cx="534359" cy="400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9" name="Picture 538" descr="http://t0.gstatic.com/images?q=tbn:ANd9GcShlfG9NyVT57QeKVkn7TcewrSu-JDFPiS94Va8PT5N7bCklP5k"/>
          <p:cNvPicPr>
            <a:picLocks noChangeAspect="1" noChangeArrowheads="1"/>
          </p:cNvPicPr>
          <p:nvPr/>
        </p:nvPicPr>
        <p:blipFill>
          <a:blip r:embed="rId368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29673" y="4317286"/>
            <a:ext cx="852679" cy="202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0" name="TextBox 14"/>
          <p:cNvSpPr txBox="1">
            <a:spLocks noChangeArrowheads="1"/>
          </p:cNvSpPr>
          <p:nvPr/>
        </p:nvSpPr>
        <p:spPr bwMode="auto">
          <a:xfrm>
            <a:off x="8426167" y="2868042"/>
            <a:ext cx="3324500" cy="369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MX" b="1" dirty="0">
                <a:latin typeface="Arial Narrow" pitchFamily="34" charset="0"/>
                <a:hlinkClick r:id="rId369"/>
              </a:rPr>
              <a:t>www.formandoformadores.org.mx</a:t>
            </a:r>
            <a:r>
              <a:rPr lang="es-MX" b="1" dirty="0">
                <a:latin typeface="Arial Narrow" pitchFamily="34" charset="0"/>
              </a:rPr>
              <a:t> </a:t>
            </a:r>
          </a:p>
        </p:txBody>
      </p:sp>
      <p:sp>
        <p:nvSpPr>
          <p:cNvPr id="513" name="Rectangle 512"/>
          <p:cNvSpPr/>
          <p:nvPr/>
        </p:nvSpPr>
        <p:spPr>
          <a:xfrm>
            <a:off x="4297383" y="1738592"/>
            <a:ext cx="40508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2400" b="1" dirty="0">
                <a:solidFill>
                  <a:schemeClr val="accent1">
                    <a:lumMod val="75000"/>
                  </a:schemeClr>
                </a:solidFill>
              </a:rPr>
              <a:t>EJEMPLOS DE COMUNIDADES:</a:t>
            </a:r>
            <a:endParaRPr lang="es-MX" sz="2400" b="1" dirty="0"/>
          </a:p>
        </p:txBody>
      </p:sp>
    </p:spTree>
    <p:extLst>
      <p:ext uri="{BB962C8B-B14F-4D97-AF65-F5344CB8AC3E}">
        <p14:creationId xmlns:p14="http://schemas.microsoft.com/office/powerpoint/2010/main" val="4182495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3342051" y="2889424"/>
            <a:ext cx="4895891" cy="2901182"/>
            <a:chOff x="5868471" y="1124744"/>
            <a:chExt cx="8856657" cy="4810948"/>
          </a:xfrm>
        </p:grpSpPr>
        <p:grpSp>
          <p:nvGrpSpPr>
            <p:cNvPr id="3" name="Group 15"/>
            <p:cNvGrpSpPr>
              <a:grpSpLocks/>
            </p:cNvGrpSpPr>
            <p:nvPr/>
          </p:nvGrpSpPr>
          <p:grpSpPr bwMode="auto">
            <a:xfrm>
              <a:off x="5868471" y="1124744"/>
              <a:ext cx="3096017" cy="4810948"/>
              <a:chOff x="5868471" y="1124744"/>
              <a:chExt cx="3096017" cy="4810948"/>
            </a:xfrm>
          </p:grpSpPr>
          <p:sp>
            <p:nvSpPr>
              <p:cNvPr id="410" name="Freeform 4"/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8181015" y="5863994"/>
                <a:ext cx="41864" cy="64528"/>
              </a:xfrm>
              <a:custGeom>
                <a:avLst/>
                <a:gdLst>
                  <a:gd name="T0" fmla="*/ 0 w 73"/>
                  <a:gd name="T1" fmla="*/ 0 h 20"/>
                  <a:gd name="T2" fmla="*/ 188447642 w 73"/>
                  <a:gd name="T3" fmla="*/ 2147483647 h 20"/>
                  <a:gd name="T4" fmla="*/ 754447775 w 73"/>
                  <a:gd name="T5" fmla="*/ 2147483647 h 20"/>
                  <a:gd name="T6" fmla="*/ 1508895550 w 73"/>
                  <a:gd name="T7" fmla="*/ 2147483647 h 20"/>
                  <a:gd name="T8" fmla="*/ 2147483647 w 73"/>
                  <a:gd name="T9" fmla="*/ 2147483647 h 20"/>
                  <a:gd name="T10" fmla="*/ 2147483647 w 73"/>
                  <a:gd name="T11" fmla="*/ 2147483647 h 20"/>
                  <a:gd name="T12" fmla="*/ 2147483647 w 73"/>
                  <a:gd name="T13" fmla="*/ 2147483647 h 20"/>
                  <a:gd name="T14" fmla="*/ 2147483647 w 73"/>
                  <a:gd name="T15" fmla="*/ 2147483647 h 20"/>
                  <a:gd name="T16" fmla="*/ 2147483647 w 73"/>
                  <a:gd name="T17" fmla="*/ 2147483647 h 20"/>
                  <a:gd name="T18" fmla="*/ 2147483647 w 73"/>
                  <a:gd name="T19" fmla="*/ 2147483647 h 20"/>
                  <a:gd name="T20" fmla="*/ 2147483647 w 73"/>
                  <a:gd name="T21" fmla="*/ 2147483647 h 20"/>
                  <a:gd name="T22" fmla="*/ 2147483647 w 73"/>
                  <a:gd name="T23" fmla="*/ 2147483647 h 20"/>
                  <a:gd name="T24" fmla="*/ 2147483647 w 73"/>
                  <a:gd name="T25" fmla="*/ 2147483647 h 20"/>
                  <a:gd name="T26" fmla="*/ 2147483647 w 73"/>
                  <a:gd name="T27" fmla="*/ 2147483647 h 20"/>
                  <a:gd name="T28" fmla="*/ 2147483647 w 73"/>
                  <a:gd name="T29" fmla="*/ 2147483647 h 20"/>
                  <a:gd name="T30" fmla="*/ 2147483647 w 73"/>
                  <a:gd name="T31" fmla="*/ 2147483647 h 20"/>
                  <a:gd name="T32" fmla="*/ 2147483647 w 73"/>
                  <a:gd name="T33" fmla="*/ 0 h 20"/>
                  <a:gd name="T34" fmla="*/ 0 w 73"/>
                  <a:gd name="T35" fmla="*/ 0 h 2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3" h="20">
                    <a:moveTo>
                      <a:pt x="0" y="0"/>
                    </a:moveTo>
                    <a:lnTo>
                      <a:pt x="1" y="5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13" y="20"/>
                    </a:lnTo>
                    <a:lnTo>
                      <a:pt x="16" y="17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7" y="10"/>
                    </a:lnTo>
                    <a:lnTo>
                      <a:pt x="36" y="8"/>
                    </a:lnTo>
                    <a:lnTo>
                      <a:pt x="46" y="7"/>
                    </a:lnTo>
                    <a:lnTo>
                      <a:pt x="54" y="7"/>
                    </a:lnTo>
                    <a:lnTo>
                      <a:pt x="63" y="6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1" name="Freeform 5"/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5868471" y="1461725"/>
                <a:ext cx="984825" cy="503680"/>
              </a:xfrm>
              <a:custGeom>
                <a:avLst/>
                <a:gdLst>
                  <a:gd name="T0" fmla="*/ 2147483647 w 1808"/>
                  <a:gd name="T1" fmla="*/ 2147483647 h 850"/>
                  <a:gd name="T2" fmla="*/ 2147483647 w 1808"/>
                  <a:gd name="T3" fmla="*/ 2147483647 h 850"/>
                  <a:gd name="T4" fmla="*/ 2147483647 w 1808"/>
                  <a:gd name="T5" fmla="*/ 2147483647 h 850"/>
                  <a:gd name="T6" fmla="*/ 2147483647 w 1808"/>
                  <a:gd name="T7" fmla="*/ 2147483647 h 850"/>
                  <a:gd name="T8" fmla="*/ 2147483647 w 1808"/>
                  <a:gd name="T9" fmla="*/ 2147483647 h 850"/>
                  <a:gd name="T10" fmla="*/ 2147483647 w 1808"/>
                  <a:gd name="T11" fmla="*/ 2147483647 h 850"/>
                  <a:gd name="T12" fmla="*/ 2147483647 w 1808"/>
                  <a:gd name="T13" fmla="*/ 2147483647 h 850"/>
                  <a:gd name="T14" fmla="*/ 2147483647 w 1808"/>
                  <a:gd name="T15" fmla="*/ 2147483647 h 850"/>
                  <a:gd name="T16" fmla="*/ 2147483647 w 1808"/>
                  <a:gd name="T17" fmla="*/ 2147483647 h 850"/>
                  <a:gd name="T18" fmla="*/ 2147483647 w 1808"/>
                  <a:gd name="T19" fmla="*/ 2147483647 h 850"/>
                  <a:gd name="T20" fmla="*/ 2147483647 w 1808"/>
                  <a:gd name="T21" fmla="*/ 2147483647 h 850"/>
                  <a:gd name="T22" fmla="*/ 2147483647 w 1808"/>
                  <a:gd name="T23" fmla="*/ 2147483647 h 850"/>
                  <a:gd name="T24" fmla="*/ 2147483647 w 1808"/>
                  <a:gd name="T25" fmla="*/ 2147483647 h 850"/>
                  <a:gd name="T26" fmla="*/ 2147483647 w 1808"/>
                  <a:gd name="T27" fmla="*/ 2147483647 h 850"/>
                  <a:gd name="T28" fmla="*/ 2147483647 w 1808"/>
                  <a:gd name="T29" fmla="*/ 2147483647 h 850"/>
                  <a:gd name="T30" fmla="*/ 2147483647 w 1808"/>
                  <a:gd name="T31" fmla="*/ 2147483647 h 850"/>
                  <a:gd name="T32" fmla="*/ 2147483647 w 1808"/>
                  <a:gd name="T33" fmla="*/ 2147483647 h 850"/>
                  <a:gd name="T34" fmla="*/ 2147483647 w 1808"/>
                  <a:gd name="T35" fmla="*/ 2147483647 h 850"/>
                  <a:gd name="T36" fmla="*/ 2147483647 w 1808"/>
                  <a:gd name="T37" fmla="*/ 2147483647 h 850"/>
                  <a:gd name="T38" fmla="*/ 2147483647 w 1808"/>
                  <a:gd name="T39" fmla="*/ 2147483647 h 850"/>
                  <a:gd name="T40" fmla="*/ 2147483647 w 1808"/>
                  <a:gd name="T41" fmla="*/ 2147483647 h 850"/>
                  <a:gd name="T42" fmla="*/ 2147483647 w 1808"/>
                  <a:gd name="T43" fmla="*/ 2147483647 h 850"/>
                  <a:gd name="T44" fmla="*/ 646514735 w 1808"/>
                  <a:gd name="T45" fmla="*/ 2147483647 h 850"/>
                  <a:gd name="T46" fmla="*/ 2147483647 w 1808"/>
                  <a:gd name="T47" fmla="*/ 2147483647 h 850"/>
                  <a:gd name="T48" fmla="*/ 2147483647 w 1808"/>
                  <a:gd name="T49" fmla="*/ 2147483647 h 850"/>
                  <a:gd name="T50" fmla="*/ 2147483647 w 1808"/>
                  <a:gd name="T51" fmla="*/ 2147483647 h 850"/>
                  <a:gd name="T52" fmla="*/ 2147483647 w 1808"/>
                  <a:gd name="T53" fmla="*/ 2147483647 h 850"/>
                  <a:gd name="T54" fmla="*/ 2147483647 w 1808"/>
                  <a:gd name="T55" fmla="*/ 2147483647 h 850"/>
                  <a:gd name="T56" fmla="*/ 2147483647 w 1808"/>
                  <a:gd name="T57" fmla="*/ 2147483647 h 850"/>
                  <a:gd name="T58" fmla="*/ 2147483647 w 1808"/>
                  <a:gd name="T59" fmla="*/ 2147483647 h 850"/>
                  <a:gd name="T60" fmla="*/ 2147483647 w 1808"/>
                  <a:gd name="T61" fmla="*/ 2147483647 h 850"/>
                  <a:gd name="T62" fmla="*/ 2147483647 w 1808"/>
                  <a:gd name="T63" fmla="*/ 2147483647 h 850"/>
                  <a:gd name="T64" fmla="*/ 2147483647 w 1808"/>
                  <a:gd name="T65" fmla="*/ 2147483647 h 850"/>
                  <a:gd name="T66" fmla="*/ 2147483647 w 1808"/>
                  <a:gd name="T67" fmla="*/ 2147483647 h 850"/>
                  <a:gd name="T68" fmla="*/ 2147483647 w 1808"/>
                  <a:gd name="T69" fmla="*/ 2147483647 h 850"/>
                  <a:gd name="T70" fmla="*/ 2147483647 w 1808"/>
                  <a:gd name="T71" fmla="*/ 2147483647 h 850"/>
                  <a:gd name="T72" fmla="*/ 2147483647 w 1808"/>
                  <a:gd name="T73" fmla="*/ 2147483647 h 850"/>
                  <a:gd name="T74" fmla="*/ 2147483647 w 1808"/>
                  <a:gd name="T75" fmla="*/ 2147483647 h 850"/>
                  <a:gd name="T76" fmla="*/ 2147483647 w 1808"/>
                  <a:gd name="T77" fmla="*/ 2147483647 h 850"/>
                  <a:gd name="T78" fmla="*/ 2147483647 w 1808"/>
                  <a:gd name="T79" fmla="*/ 2147483647 h 850"/>
                  <a:gd name="T80" fmla="*/ 2147483647 w 1808"/>
                  <a:gd name="T81" fmla="*/ 2147483647 h 850"/>
                  <a:gd name="T82" fmla="*/ 2147483647 w 1808"/>
                  <a:gd name="T83" fmla="*/ 2147483647 h 850"/>
                  <a:gd name="T84" fmla="*/ 2147483647 w 1808"/>
                  <a:gd name="T85" fmla="*/ 2147483647 h 850"/>
                  <a:gd name="T86" fmla="*/ 2147483647 w 1808"/>
                  <a:gd name="T87" fmla="*/ 2147483647 h 850"/>
                  <a:gd name="T88" fmla="*/ 2147483647 w 1808"/>
                  <a:gd name="T89" fmla="*/ 2147483647 h 850"/>
                  <a:gd name="T90" fmla="*/ 2147483647 w 1808"/>
                  <a:gd name="T91" fmla="*/ 1872592170 h 850"/>
                  <a:gd name="T92" fmla="*/ 2147483647 w 1808"/>
                  <a:gd name="T93" fmla="*/ 416092418 h 850"/>
                  <a:gd name="T94" fmla="*/ 2147483647 w 1808"/>
                  <a:gd name="T95" fmla="*/ 2080813482 h 850"/>
                  <a:gd name="T96" fmla="*/ 2147483647 w 1808"/>
                  <a:gd name="T97" fmla="*/ 2147483647 h 850"/>
                  <a:gd name="T98" fmla="*/ 2147483647 w 1808"/>
                  <a:gd name="T99" fmla="*/ 2147483647 h 850"/>
                  <a:gd name="T100" fmla="*/ 2147483647 w 1808"/>
                  <a:gd name="T101" fmla="*/ 2147483647 h 850"/>
                  <a:gd name="T102" fmla="*/ 2147483647 w 1808"/>
                  <a:gd name="T103" fmla="*/ 2147483647 h 850"/>
                  <a:gd name="T104" fmla="*/ 2147483647 w 1808"/>
                  <a:gd name="T105" fmla="*/ 2147483647 h 850"/>
                  <a:gd name="T106" fmla="*/ 2147483647 w 1808"/>
                  <a:gd name="T107" fmla="*/ 2147483647 h 850"/>
                  <a:gd name="T108" fmla="*/ 2147483647 w 1808"/>
                  <a:gd name="T109" fmla="*/ 2147483647 h 850"/>
                  <a:gd name="T110" fmla="*/ 2147483647 w 1808"/>
                  <a:gd name="T111" fmla="*/ 2147483647 h 850"/>
                  <a:gd name="T112" fmla="*/ 2147483647 w 1808"/>
                  <a:gd name="T113" fmla="*/ 2147483647 h 850"/>
                  <a:gd name="T114" fmla="*/ 2147483647 w 1808"/>
                  <a:gd name="T115" fmla="*/ 2147483647 h 850"/>
                  <a:gd name="T116" fmla="*/ 2147483647 w 1808"/>
                  <a:gd name="T117" fmla="*/ 2147483647 h 850"/>
                  <a:gd name="T118" fmla="*/ 2147483647 w 1808"/>
                  <a:gd name="T119" fmla="*/ 2147483647 h 850"/>
                  <a:gd name="T120" fmla="*/ 2147483647 w 1808"/>
                  <a:gd name="T121" fmla="*/ 2147483647 h 85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808" h="850">
                    <a:moveTo>
                      <a:pt x="1410" y="842"/>
                    </a:moveTo>
                    <a:lnTo>
                      <a:pt x="1405" y="841"/>
                    </a:lnTo>
                    <a:lnTo>
                      <a:pt x="1403" y="838"/>
                    </a:lnTo>
                    <a:lnTo>
                      <a:pt x="1401" y="834"/>
                    </a:lnTo>
                    <a:lnTo>
                      <a:pt x="1399" y="830"/>
                    </a:lnTo>
                    <a:lnTo>
                      <a:pt x="1396" y="819"/>
                    </a:lnTo>
                    <a:lnTo>
                      <a:pt x="1395" y="807"/>
                    </a:lnTo>
                    <a:lnTo>
                      <a:pt x="1396" y="795"/>
                    </a:lnTo>
                    <a:lnTo>
                      <a:pt x="1398" y="784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399" y="764"/>
                    </a:lnTo>
                    <a:lnTo>
                      <a:pt x="1396" y="760"/>
                    </a:lnTo>
                    <a:lnTo>
                      <a:pt x="1394" y="753"/>
                    </a:lnTo>
                    <a:lnTo>
                      <a:pt x="1392" y="746"/>
                    </a:lnTo>
                    <a:lnTo>
                      <a:pt x="1390" y="729"/>
                    </a:lnTo>
                    <a:lnTo>
                      <a:pt x="1389" y="708"/>
                    </a:lnTo>
                    <a:lnTo>
                      <a:pt x="1389" y="670"/>
                    </a:lnTo>
                    <a:lnTo>
                      <a:pt x="1389" y="645"/>
                    </a:lnTo>
                    <a:lnTo>
                      <a:pt x="1382" y="647"/>
                    </a:lnTo>
                    <a:lnTo>
                      <a:pt x="1373" y="648"/>
                    </a:lnTo>
                    <a:lnTo>
                      <a:pt x="1362" y="648"/>
                    </a:lnTo>
                    <a:lnTo>
                      <a:pt x="1351" y="648"/>
                    </a:lnTo>
                    <a:lnTo>
                      <a:pt x="1340" y="647"/>
                    </a:lnTo>
                    <a:lnTo>
                      <a:pt x="1332" y="645"/>
                    </a:lnTo>
                    <a:lnTo>
                      <a:pt x="1327" y="644"/>
                    </a:lnTo>
                    <a:lnTo>
                      <a:pt x="1325" y="642"/>
                    </a:lnTo>
                    <a:lnTo>
                      <a:pt x="1323" y="641"/>
                    </a:lnTo>
                    <a:lnTo>
                      <a:pt x="1323" y="638"/>
                    </a:lnTo>
                    <a:lnTo>
                      <a:pt x="1290" y="682"/>
                    </a:lnTo>
                    <a:lnTo>
                      <a:pt x="1284" y="668"/>
                    </a:lnTo>
                    <a:lnTo>
                      <a:pt x="1279" y="659"/>
                    </a:lnTo>
                    <a:lnTo>
                      <a:pt x="1273" y="650"/>
                    </a:lnTo>
                    <a:lnTo>
                      <a:pt x="1268" y="645"/>
                    </a:lnTo>
                    <a:lnTo>
                      <a:pt x="1264" y="639"/>
                    </a:lnTo>
                    <a:lnTo>
                      <a:pt x="1259" y="631"/>
                    </a:lnTo>
                    <a:lnTo>
                      <a:pt x="1257" y="622"/>
                    </a:lnTo>
                    <a:lnTo>
                      <a:pt x="1256" y="608"/>
                    </a:lnTo>
                    <a:lnTo>
                      <a:pt x="1226" y="602"/>
                    </a:lnTo>
                    <a:lnTo>
                      <a:pt x="1195" y="595"/>
                    </a:lnTo>
                    <a:lnTo>
                      <a:pt x="1165" y="588"/>
                    </a:lnTo>
                    <a:lnTo>
                      <a:pt x="1134" y="582"/>
                    </a:lnTo>
                    <a:lnTo>
                      <a:pt x="1104" y="576"/>
                    </a:lnTo>
                    <a:lnTo>
                      <a:pt x="1074" y="569"/>
                    </a:lnTo>
                    <a:lnTo>
                      <a:pt x="1045" y="561"/>
                    </a:lnTo>
                    <a:lnTo>
                      <a:pt x="1018" y="553"/>
                    </a:lnTo>
                    <a:lnTo>
                      <a:pt x="984" y="553"/>
                    </a:lnTo>
                    <a:lnTo>
                      <a:pt x="977" y="546"/>
                    </a:lnTo>
                    <a:lnTo>
                      <a:pt x="973" y="537"/>
                    </a:lnTo>
                    <a:lnTo>
                      <a:pt x="969" y="528"/>
                    </a:lnTo>
                    <a:lnTo>
                      <a:pt x="966" y="521"/>
                    </a:lnTo>
                    <a:lnTo>
                      <a:pt x="962" y="514"/>
                    </a:lnTo>
                    <a:lnTo>
                      <a:pt x="956" y="508"/>
                    </a:lnTo>
                    <a:lnTo>
                      <a:pt x="952" y="506"/>
                    </a:lnTo>
                    <a:lnTo>
                      <a:pt x="948" y="505"/>
                    </a:lnTo>
                    <a:lnTo>
                      <a:pt x="943" y="504"/>
                    </a:lnTo>
                    <a:lnTo>
                      <a:pt x="937" y="503"/>
                    </a:lnTo>
                    <a:lnTo>
                      <a:pt x="929" y="504"/>
                    </a:lnTo>
                    <a:lnTo>
                      <a:pt x="922" y="505"/>
                    </a:lnTo>
                    <a:lnTo>
                      <a:pt x="916" y="507"/>
                    </a:lnTo>
                    <a:lnTo>
                      <a:pt x="910" y="509"/>
                    </a:lnTo>
                    <a:lnTo>
                      <a:pt x="906" y="512"/>
                    </a:lnTo>
                    <a:lnTo>
                      <a:pt x="901" y="516"/>
                    </a:lnTo>
                    <a:lnTo>
                      <a:pt x="898" y="519"/>
                    </a:lnTo>
                    <a:lnTo>
                      <a:pt x="895" y="523"/>
                    </a:lnTo>
                    <a:lnTo>
                      <a:pt x="886" y="539"/>
                    </a:lnTo>
                    <a:lnTo>
                      <a:pt x="877" y="553"/>
                    </a:lnTo>
                    <a:lnTo>
                      <a:pt x="870" y="559"/>
                    </a:lnTo>
                    <a:lnTo>
                      <a:pt x="861" y="564"/>
                    </a:lnTo>
                    <a:lnTo>
                      <a:pt x="849" y="570"/>
                    </a:lnTo>
                    <a:lnTo>
                      <a:pt x="835" y="576"/>
                    </a:lnTo>
                    <a:lnTo>
                      <a:pt x="806" y="587"/>
                    </a:lnTo>
                    <a:lnTo>
                      <a:pt x="772" y="597"/>
                    </a:lnTo>
                    <a:lnTo>
                      <a:pt x="738" y="607"/>
                    </a:lnTo>
                    <a:lnTo>
                      <a:pt x="705" y="614"/>
                    </a:lnTo>
                    <a:lnTo>
                      <a:pt x="689" y="617"/>
                    </a:lnTo>
                    <a:lnTo>
                      <a:pt x="675" y="619"/>
                    </a:lnTo>
                    <a:lnTo>
                      <a:pt x="663" y="620"/>
                    </a:lnTo>
                    <a:lnTo>
                      <a:pt x="652" y="620"/>
                    </a:lnTo>
                    <a:lnTo>
                      <a:pt x="656" y="614"/>
                    </a:lnTo>
                    <a:lnTo>
                      <a:pt x="667" y="597"/>
                    </a:lnTo>
                    <a:lnTo>
                      <a:pt x="673" y="589"/>
                    </a:lnTo>
                    <a:lnTo>
                      <a:pt x="677" y="581"/>
                    </a:lnTo>
                    <a:lnTo>
                      <a:pt x="678" y="578"/>
                    </a:lnTo>
                    <a:lnTo>
                      <a:pt x="679" y="575"/>
                    </a:lnTo>
                    <a:lnTo>
                      <a:pt x="679" y="572"/>
                    </a:lnTo>
                    <a:lnTo>
                      <a:pt x="678" y="571"/>
                    </a:lnTo>
                    <a:lnTo>
                      <a:pt x="689" y="562"/>
                    </a:lnTo>
                    <a:lnTo>
                      <a:pt x="700" y="555"/>
                    </a:lnTo>
                    <a:lnTo>
                      <a:pt x="711" y="551"/>
                    </a:lnTo>
                    <a:lnTo>
                      <a:pt x="721" y="548"/>
                    </a:lnTo>
                    <a:lnTo>
                      <a:pt x="732" y="546"/>
                    </a:lnTo>
                    <a:lnTo>
                      <a:pt x="742" y="546"/>
                    </a:lnTo>
                    <a:lnTo>
                      <a:pt x="751" y="546"/>
                    </a:lnTo>
                    <a:lnTo>
                      <a:pt x="761" y="546"/>
                    </a:lnTo>
                    <a:lnTo>
                      <a:pt x="769" y="546"/>
                    </a:lnTo>
                    <a:lnTo>
                      <a:pt x="778" y="546"/>
                    </a:lnTo>
                    <a:lnTo>
                      <a:pt x="786" y="545"/>
                    </a:lnTo>
                    <a:lnTo>
                      <a:pt x="794" y="543"/>
                    </a:lnTo>
                    <a:lnTo>
                      <a:pt x="800" y="538"/>
                    </a:lnTo>
                    <a:lnTo>
                      <a:pt x="807" y="533"/>
                    </a:lnTo>
                    <a:lnTo>
                      <a:pt x="812" y="525"/>
                    </a:lnTo>
                    <a:lnTo>
                      <a:pt x="818" y="515"/>
                    </a:lnTo>
                    <a:lnTo>
                      <a:pt x="744" y="515"/>
                    </a:lnTo>
                    <a:lnTo>
                      <a:pt x="724" y="528"/>
                    </a:lnTo>
                    <a:lnTo>
                      <a:pt x="705" y="540"/>
                    </a:lnTo>
                    <a:lnTo>
                      <a:pt x="685" y="551"/>
                    </a:lnTo>
                    <a:lnTo>
                      <a:pt x="664" y="560"/>
                    </a:lnTo>
                    <a:lnTo>
                      <a:pt x="643" y="568"/>
                    </a:lnTo>
                    <a:lnTo>
                      <a:pt x="622" y="575"/>
                    </a:lnTo>
                    <a:lnTo>
                      <a:pt x="600" y="582"/>
                    </a:lnTo>
                    <a:lnTo>
                      <a:pt x="578" y="589"/>
                    </a:lnTo>
                    <a:lnTo>
                      <a:pt x="573" y="592"/>
                    </a:lnTo>
                    <a:lnTo>
                      <a:pt x="567" y="594"/>
                    </a:lnTo>
                    <a:lnTo>
                      <a:pt x="564" y="599"/>
                    </a:lnTo>
                    <a:lnTo>
                      <a:pt x="560" y="602"/>
                    </a:lnTo>
                    <a:lnTo>
                      <a:pt x="554" y="609"/>
                    </a:lnTo>
                    <a:lnTo>
                      <a:pt x="550" y="617"/>
                    </a:lnTo>
                    <a:lnTo>
                      <a:pt x="547" y="625"/>
                    </a:lnTo>
                    <a:lnTo>
                      <a:pt x="543" y="633"/>
                    </a:lnTo>
                    <a:lnTo>
                      <a:pt x="541" y="636"/>
                    </a:lnTo>
                    <a:lnTo>
                      <a:pt x="539" y="639"/>
                    </a:lnTo>
                    <a:lnTo>
                      <a:pt x="536" y="642"/>
                    </a:lnTo>
                    <a:lnTo>
                      <a:pt x="532" y="645"/>
                    </a:lnTo>
                    <a:lnTo>
                      <a:pt x="529" y="648"/>
                    </a:lnTo>
                    <a:lnTo>
                      <a:pt x="526" y="650"/>
                    </a:lnTo>
                    <a:lnTo>
                      <a:pt x="521" y="652"/>
                    </a:lnTo>
                    <a:lnTo>
                      <a:pt x="517" y="654"/>
                    </a:lnTo>
                    <a:lnTo>
                      <a:pt x="507" y="655"/>
                    </a:lnTo>
                    <a:lnTo>
                      <a:pt x="496" y="655"/>
                    </a:lnTo>
                    <a:lnTo>
                      <a:pt x="474" y="652"/>
                    </a:lnTo>
                    <a:lnTo>
                      <a:pt x="459" y="651"/>
                    </a:lnTo>
                    <a:lnTo>
                      <a:pt x="452" y="654"/>
                    </a:lnTo>
                    <a:lnTo>
                      <a:pt x="444" y="657"/>
                    </a:lnTo>
                    <a:lnTo>
                      <a:pt x="438" y="661"/>
                    </a:lnTo>
                    <a:lnTo>
                      <a:pt x="430" y="665"/>
                    </a:lnTo>
                    <a:lnTo>
                      <a:pt x="417" y="674"/>
                    </a:lnTo>
                    <a:lnTo>
                      <a:pt x="405" y="684"/>
                    </a:lnTo>
                    <a:lnTo>
                      <a:pt x="394" y="694"/>
                    </a:lnTo>
                    <a:lnTo>
                      <a:pt x="383" y="702"/>
                    </a:lnTo>
                    <a:lnTo>
                      <a:pt x="374" y="708"/>
                    </a:lnTo>
                    <a:lnTo>
                      <a:pt x="367" y="713"/>
                    </a:lnTo>
                    <a:lnTo>
                      <a:pt x="335" y="722"/>
                    </a:lnTo>
                    <a:lnTo>
                      <a:pt x="309" y="729"/>
                    </a:lnTo>
                    <a:lnTo>
                      <a:pt x="287" y="737"/>
                    </a:lnTo>
                    <a:lnTo>
                      <a:pt x="270" y="743"/>
                    </a:lnTo>
                    <a:lnTo>
                      <a:pt x="252" y="750"/>
                    </a:lnTo>
                    <a:lnTo>
                      <a:pt x="235" y="757"/>
                    </a:lnTo>
                    <a:lnTo>
                      <a:pt x="216" y="766"/>
                    </a:lnTo>
                    <a:lnTo>
                      <a:pt x="193" y="775"/>
                    </a:lnTo>
                    <a:lnTo>
                      <a:pt x="168" y="786"/>
                    </a:lnTo>
                    <a:lnTo>
                      <a:pt x="145" y="795"/>
                    </a:lnTo>
                    <a:lnTo>
                      <a:pt x="124" y="802"/>
                    </a:lnTo>
                    <a:lnTo>
                      <a:pt x="105" y="807"/>
                    </a:lnTo>
                    <a:lnTo>
                      <a:pt x="87" y="812"/>
                    </a:lnTo>
                    <a:lnTo>
                      <a:pt x="68" y="818"/>
                    </a:lnTo>
                    <a:lnTo>
                      <a:pt x="48" y="826"/>
                    </a:lnTo>
                    <a:lnTo>
                      <a:pt x="27" y="836"/>
                    </a:lnTo>
                    <a:lnTo>
                      <a:pt x="1" y="824"/>
                    </a:lnTo>
                    <a:lnTo>
                      <a:pt x="4" y="817"/>
                    </a:lnTo>
                    <a:lnTo>
                      <a:pt x="4" y="813"/>
                    </a:lnTo>
                    <a:lnTo>
                      <a:pt x="3" y="810"/>
                    </a:lnTo>
                    <a:lnTo>
                      <a:pt x="2" y="808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799"/>
                    </a:lnTo>
                    <a:lnTo>
                      <a:pt x="7" y="793"/>
                    </a:lnTo>
                    <a:lnTo>
                      <a:pt x="14" y="789"/>
                    </a:lnTo>
                    <a:lnTo>
                      <a:pt x="21" y="785"/>
                    </a:lnTo>
                    <a:lnTo>
                      <a:pt x="28" y="782"/>
                    </a:lnTo>
                    <a:lnTo>
                      <a:pt x="36" y="779"/>
                    </a:lnTo>
                    <a:lnTo>
                      <a:pt x="52" y="774"/>
                    </a:lnTo>
                    <a:lnTo>
                      <a:pt x="70" y="771"/>
                    </a:lnTo>
                    <a:lnTo>
                      <a:pt x="102" y="766"/>
                    </a:lnTo>
                    <a:lnTo>
                      <a:pt x="127" y="761"/>
                    </a:lnTo>
                    <a:lnTo>
                      <a:pt x="143" y="757"/>
                    </a:lnTo>
                    <a:lnTo>
                      <a:pt x="158" y="751"/>
                    </a:lnTo>
                    <a:lnTo>
                      <a:pt x="173" y="746"/>
                    </a:lnTo>
                    <a:lnTo>
                      <a:pt x="188" y="739"/>
                    </a:lnTo>
                    <a:lnTo>
                      <a:pt x="215" y="726"/>
                    </a:lnTo>
                    <a:lnTo>
                      <a:pt x="240" y="712"/>
                    </a:lnTo>
                    <a:lnTo>
                      <a:pt x="265" y="696"/>
                    </a:lnTo>
                    <a:lnTo>
                      <a:pt x="291" y="681"/>
                    </a:lnTo>
                    <a:lnTo>
                      <a:pt x="315" y="666"/>
                    </a:lnTo>
                    <a:lnTo>
                      <a:pt x="339" y="651"/>
                    </a:lnTo>
                    <a:lnTo>
                      <a:pt x="327" y="643"/>
                    </a:lnTo>
                    <a:lnTo>
                      <a:pt x="317" y="636"/>
                    </a:lnTo>
                    <a:lnTo>
                      <a:pt x="308" y="631"/>
                    </a:lnTo>
                    <a:lnTo>
                      <a:pt x="300" y="626"/>
                    </a:lnTo>
                    <a:lnTo>
                      <a:pt x="292" y="629"/>
                    </a:lnTo>
                    <a:lnTo>
                      <a:pt x="285" y="634"/>
                    </a:lnTo>
                    <a:lnTo>
                      <a:pt x="280" y="639"/>
                    </a:lnTo>
                    <a:lnTo>
                      <a:pt x="273" y="644"/>
                    </a:lnTo>
                    <a:lnTo>
                      <a:pt x="267" y="649"/>
                    </a:lnTo>
                    <a:lnTo>
                      <a:pt x="260" y="654"/>
                    </a:lnTo>
                    <a:lnTo>
                      <a:pt x="253" y="657"/>
                    </a:lnTo>
                    <a:lnTo>
                      <a:pt x="247" y="658"/>
                    </a:lnTo>
                    <a:lnTo>
                      <a:pt x="225" y="657"/>
                    </a:lnTo>
                    <a:lnTo>
                      <a:pt x="192" y="652"/>
                    </a:lnTo>
                    <a:lnTo>
                      <a:pt x="174" y="650"/>
                    </a:lnTo>
                    <a:lnTo>
                      <a:pt x="160" y="646"/>
                    </a:lnTo>
                    <a:lnTo>
                      <a:pt x="155" y="645"/>
                    </a:lnTo>
                    <a:lnTo>
                      <a:pt x="150" y="643"/>
                    </a:lnTo>
                    <a:lnTo>
                      <a:pt x="148" y="641"/>
                    </a:lnTo>
                    <a:lnTo>
                      <a:pt x="147" y="638"/>
                    </a:lnTo>
                    <a:lnTo>
                      <a:pt x="148" y="635"/>
                    </a:lnTo>
                    <a:lnTo>
                      <a:pt x="150" y="631"/>
                    </a:lnTo>
                    <a:lnTo>
                      <a:pt x="155" y="626"/>
                    </a:lnTo>
                    <a:lnTo>
                      <a:pt x="159" y="621"/>
                    </a:lnTo>
                    <a:lnTo>
                      <a:pt x="172" y="610"/>
                    </a:lnTo>
                    <a:lnTo>
                      <a:pt x="189" y="597"/>
                    </a:lnTo>
                    <a:lnTo>
                      <a:pt x="204" y="584"/>
                    </a:lnTo>
                    <a:lnTo>
                      <a:pt x="219" y="571"/>
                    </a:lnTo>
                    <a:lnTo>
                      <a:pt x="226" y="565"/>
                    </a:lnTo>
                    <a:lnTo>
                      <a:pt x="231" y="559"/>
                    </a:lnTo>
                    <a:lnTo>
                      <a:pt x="237" y="553"/>
                    </a:lnTo>
                    <a:lnTo>
                      <a:pt x="240" y="547"/>
                    </a:lnTo>
                    <a:lnTo>
                      <a:pt x="223" y="550"/>
                    </a:lnTo>
                    <a:lnTo>
                      <a:pt x="207" y="556"/>
                    </a:lnTo>
                    <a:lnTo>
                      <a:pt x="191" y="562"/>
                    </a:lnTo>
                    <a:lnTo>
                      <a:pt x="175" y="568"/>
                    </a:lnTo>
                    <a:lnTo>
                      <a:pt x="168" y="571"/>
                    </a:lnTo>
                    <a:lnTo>
                      <a:pt x="160" y="573"/>
                    </a:lnTo>
                    <a:lnTo>
                      <a:pt x="152" y="575"/>
                    </a:lnTo>
                    <a:lnTo>
                      <a:pt x="144" y="576"/>
                    </a:lnTo>
                    <a:lnTo>
                      <a:pt x="135" y="576"/>
                    </a:lnTo>
                    <a:lnTo>
                      <a:pt x="126" y="575"/>
                    </a:lnTo>
                    <a:lnTo>
                      <a:pt x="116" y="574"/>
                    </a:lnTo>
                    <a:lnTo>
                      <a:pt x="107" y="571"/>
                    </a:lnTo>
                    <a:lnTo>
                      <a:pt x="107" y="565"/>
                    </a:lnTo>
                    <a:lnTo>
                      <a:pt x="143" y="536"/>
                    </a:lnTo>
                    <a:lnTo>
                      <a:pt x="182" y="508"/>
                    </a:lnTo>
                    <a:lnTo>
                      <a:pt x="223" y="476"/>
                    </a:lnTo>
                    <a:lnTo>
                      <a:pt x="267" y="442"/>
                    </a:lnTo>
                    <a:lnTo>
                      <a:pt x="286" y="426"/>
                    </a:lnTo>
                    <a:lnTo>
                      <a:pt x="306" y="411"/>
                    </a:lnTo>
                    <a:lnTo>
                      <a:pt x="326" y="395"/>
                    </a:lnTo>
                    <a:lnTo>
                      <a:pt x="346" y="380"/>
                    </a:lnTo>
                    <a:lnTo>
                      <a:pt x="386" y="411"/>
                    </a:lnTo>
                    <a:lnTo>
                      <a:pt x="393" y="405"/>
                    </a:lnTo>
                    <a:lnTo>
                      <a:pt x="399" y="400"/>
                    </a:lnTo>
                    <a:lnTo>
                      <a:pt x="406" y="396"/>
                    </a:lnTo>
                    <a:lnTo>
                      <a:pt x="414" y="393"/>
                    </a:lnTo>
                    <a:lnTo>
                      <a:pt x="428" y="386"/>
                    </a:lnTo>
                    <a:lnTo>
                      <a:pt x="444" y="382"/>
                    </a:lnTo>
                    <a:lnTo>
                      <a:pt x="476" y="374"/>
                    </a:lnTo>
                    <a:lnTo>
                      <a:pt x="509" y="370"/>
                    </a:lnTo>
                    <a:lnTo>
                      <a:pt x="524" y="367"/>
                    </a:lnTo>
                    <a:lnTo>
                      <a:pt x="539" y="363"/>
                    </a:lnTo>
                    <a:lnTo>
                      <a:pt x="552" y="359"/>
                    </a:lnTo>
                    <a:lnTo>
                      <a:pt x="563" y="353"/>
                    </a:lnTo>
                    <a:lnTo>
                      <a:pt x="569" y="349"/>
                    </a:lnTo>
                    <a:lnTo>
                      <a:pt x="574" y="345"/>
                    </a:lnTo>
                    <a:lnTo>
                      <a:pt x="578" y="340"/>
                    </a:lnTo>
                    <a:lnTo>
                      <a:pt x="582" y="335"/>
                    </a:lnTo>
                    <a:lnTo>
                      <a:pt x="585" y="329"/>
                    </a:lnTo>
                    <a:lnTo>
                      <a:pt x="588" y="322"/>
                    </a:lnTo>
                    <a:lnTo>
                      <a:pt x="590" y="314"/>
                    </a:lnTo>
                    <a:lnTo>
                      <a:pt x="592" y="306"/>
                    </a:lnTo>
                    <a:lnTo>
                      <a:pt x="559" y="306"/>
                    </a:lnTo>
                    <a:lnTo>
                      <a:pt x="548" y="312"/>
                    </a:lnTo>
                    <a:lnTo>
                      <a:pt x="535" y="321"/>
                    </a:lnTo>
                    <a:lnTo>
                      <a:pt x="528" y="325"/>
                    </a:lnTo>
                    <a:lnTo>
                      <a:pt x="520" y="328"/>
                    </a:lnTo>
                    <a:lnTo>
                      <a:pt x="513" y="330"/>
                    </a:lnTo>
                    <a:lnTo>
                      <a:pt x="506" y="331"/>
                    </a:lnTo>
                    <a:lnTo>
                      <a:pt x="495" y="330"/>
                    </a:lnTo>
                    <a:lnTo>
                      <a:pt x="485" y="327"/>
                    </a:lnTo>
                    <a:lnTo>
                      <a:pt x="474" y="324"/>
                    </a:lnTo>
                    <a:lnTo>
                      <a:pt x="463" y="321"/>
                    </a:lnTo>
                    <a:lnTo>
                      <a:pt x="453" y="318"/>
                    </a:lnTo>
                    <a:lnTo>
                      <a:pt x="443" y="317"/>
                    </a:lnTo>
                    <a:lnTo>
                      <a:pt x="438" y="318"/>
                    </a:lnTo>
                    <a:lnTo>
                      <a:pt x="433" y="319"/>
                    </a:lnTo>
                    <a:lnTo>
                      <a:pt x="430" y="322"/>
                    </a:lnTo>
                    <a:lnTo>
                      <a:pt x="426" y="325"/>
                    </a:lnTo>
                    <a:lnTo>
                      <a:pt x="432" y="316"/>
                    </a:lnTo>
                    <a:lnTo>
                      <a:pt x="443" y="307"/>
                    </a:lnTo>
                    <a:lnTo>
                      <a:pt x="457" y="297"/>
                    </a:lnTo>
                    <a:lnTo>
                      <a:pt x="472" y="287"/>
                    </a:lnTo>
                    <a:lnTo>
                      <a:pt x="506" y="265"/>
                    </a:lnTo>
                    <a:lnTo>
                      <a:pt x="539" y="244"/>
                    </a:lnTo>
                    <a:lnTo>
                      <a:pt x="698" y="250"/>
                    </a:lnTo>
                    <a:lnTo>
                      <a:pt x="701" y="246"/>
                    </a:lnTo>
                    <a:lnTo>
                      <a:pt x="704" y="243"/>
                    </a:lnTo>
                    <a:lnTo>
                      <a:pt x="708" y="240"/>
                    </a:lnTo>
                    <a:lnTo>
                      <a:pt x="711" y="238"/>
                    </a:lnTo>
                    <a:lnTo>
                      <a:pt x="719" y="236"/>
                    </a:lnTo>
                    <a:lnTo>
                      <a:pt x="728" y="234"/>
                    </a:lnTo>
                    <a:lnTo>
                      <a:pt x="745" y="234"/>
                    </a:lnTo>
                    <a:lnTo>
                      <a:pt x="758" y="232"/>
                    </a:lnTo>
                    <a:lnTo>
                      <a:pt x="756" y="224"/>
                    </a:lnTo>
                    <a:lnTo>
                      <a:pt x="753" y="216"/>
                    </a:lnTo>
                    <a:lnTo>
                      <a:pt x="749" y="210"/>
                    </a:lnTo>
                    <a:lnTo>
                      <a:pt x="742" y="204"/>
                    </a:lnTo>
                    <a:lnTo>
                      <a:pt x="737" y="199"/>
                    </a:lnTo>
                    <a:lnTo>
                      <a:pt x="729" y="195"/>
                    </a:lnTo>
                    <a:lnTo>
                      <a:pt x="721" y="191"/>
                    </a:lnTo>
                    <a:lnTo>
                      <a:pt x="713" y="188"/>
                    </a:lnTo>
                    <a:lnTo>
                      <a:pt x="698" y="182"/>
                    </a:lnTo>
                    <a:lnTo>
                      <a:pt x="684" y="176"/>
                    </a:lnTo>
                    <a:lnTo>
                      <a:pt x="678" y="172"/>
                    </a:lnTo>
                    <a:lnTo>
                      <a:pt x="673" y="168"/>
                    </a:lnTo>
                    <a:lnTo>
                      <a:pt x="668" y="164"/>
                    </a:lnTo>
                    <a:lnTo>
                      <a:pt x="665" y="159"/>
                    </a:lnTo>
                    <a:lnTo>
                      <a:pt x="687" y="143"/>
                    </a:lnTo>
                    <a:lnTo>
                      <a:pt x="712" y="127"/>
                    </a:lnTo>
                    <a:lnTo>
                      <a:pt x="739" y="109"/>
                    </a:lnTo>
                    <a:lnTo>
                      <a:pt x="765" y="90"/>
                    </a:lnTo>
                    <a:lnTo>
                      <a:pt x="812" y="78"/>
                    </a:lnTo>
                    <a:lnTo>
                      <a:pt x="858" y="65"/>
                    </a:lnTo>
                    <a:lnTo>
                      <a:pt x="902" y="52"/>
                    </a:lnTo>
                    <a:lnTo>
                      <a:pt x="945" y="38"/>
                    </a:lnTo>
                    <a:lnTo>
                      <a:pt x="966" y="33"/>
                    </a:lnTo>
                    <a:lnTo>
                      <a:pt x="988" y="27"/>
                    </a:lnTo>
                    <a:lnTo>
                      <a:pt x="1010" y="22"/>
                    </a:lnTo>
                    <a:lnTo>
                      <a:pt x="1033" y="18"/>
                    </a:lnTo>
                    <a:lnTo>
                      <a:pt x="1056" y="15"/>
                    </a:lnTo>
                    <a:lnTo>
                      <a:pt x="1080" y="12"/>
                    </a:lnTo>
                    <a:lnTo>
                      <a:pt x="1104" y="11"/>
                    </a:lnTo>
                    <a:lnTo>
                      <a:pt x="1130" y="10"/>
                    </a:lnTo>
                    <a:lnTo>
                      <a:pt x="1157" y="9"/>
                    </a:lnTo>
                    <a:lnTo>
                      <a:pt x="1176" y="7"/>
                    </a:lnTo>
                    <a:lnTo>
                      <a:pt x="1192" y="5"/>
                    </a:lnTo>
                    <a:lnTo>
                      <a:pt x="1216" y="4"/>
                    </a:lnTo>
                    <a:lnTo>
                      <a:pt x="1241" y="3"/>
                    </a:lnTo>
                    <a:lnTo>
                      <a:pt x="1262" y="0"/>
                    </a:lnTo>
                    <a:lnTo>
                      <a:pt x="1270" y="0"/>
                    </a:lnTo>
                    <a:lnTo>
                      <a:pt x="1277" y="2"/>
                    </a:lnTo>
                    <a:lnTo>
                      <a:pt x="1280" y="3"/>
                    </a:lnTo>
                    <a:lnTo>
                      <a:pt x="1281" y="5"/>
                    </a:lnTo>
                    <a:lnTo>
                      <a:pt x="1282" y="7"/>
                    </a:lnTo>
                    <a:lnTo>
                      <a:pt x="1283" y="10"/>
                    </a:lnTo>
                    <a:lnTo>
                      <a:pt x="1306" y="10"/>
                    </a:lnTo>
                    <a:lnTo>
                      <a:pt x="1333" y="10"/>
                    </a:lnTo>
                    <a:lnTo>
                      <a:pt x="1354" y="10"/>
                    </a:lnTo>
                    <a:lnTo>
                      <a:pt x="1362" y="10"/>
                    </a:lnTo>
                    <a:lnTo>
                      <a:pt x="1380" y="11"/>
                    </a:lnTo>
                    <a:lnTo>
                      <a:pt x="1399" y="12"/>
                    </a:lnTo>
                    <a:lnTo>
                      <a:pt x="1417" y="15"/>
                    </a:lnTo>
                    <a:lnTo>
                      <a:pt x="1437" y="18"/>
                    </a:lnTo>
                    <a:lnTo>
                      <a:pt x="1475" y="26"/>
                    </a:lnTo>
                    <a:lnTo>
                      <a:pt x="1516" y="34"/>
                    </a:lnTo>
                    <a:lnTo>
                      <a:pt x="1557" y="44"/>
                    </a:lnTo>
                    <a:lnTo>
                      <a:pt x="1597" y="52"/>
                    </a:lnTo>
                    <a:lnTo>
                      <a:pt x="1617" y="55"/>
                    </a:lnTo>
                    <a:lnTo>
                      <a:pt x="1637" y="58"/>
                    </a:lnTo>
                    <a:lnTo>
                      <a:pt x="1656" y="59"/>
                    </a:lnTo>
                    <a:lnTo>
                      <a:pt x="1675" y="60"/>
                    </a:lnTo>
                    <a:lnTo>
                      <a:pt x="1761" y="41"/>
                    </a:lnTo>
                    <a:lnTo>
                      <a:pt x="1772" y="46"/>
                    </a:lnTo>
                    <a:lnTo>
                      <a:pt x="1784" y="51"/>
                    </a:lnTo>
                    <a:lnTo>
                      <a:pt x="1797" y="55"/>
                    </a:lnTo>
                    <a:lnTo>
                      <a:pt x="1808" y="60"/>
                    </a:lnTo>
                    <a:lnTo>
                      <a:pt x="1223" y="540"/>
                    </a:lnTo>
                    <a:lnTo>
                      <a:pt x="1258" y="540"/>
                    </a:lnTo>
                    <a:lnTo>
                      <a:pt x="1287" y="540"/>
                    </a:lnTo>
                    <a:lnTo>
                      <a:pt x="1309" y="540"/>
                    </a:lnTo>
                    <a:lnTo>
                      <a:pt x="1329" y="540"/>
                    </a:lnTo>
                    <a:lnTo>
                      <a:pt x="1328" y="547"/>
                    </a:lnTo>
                    <a:lnTo>
                      <a:pt x="1327" y="553"/>
                    </a:lnTo>
                    <a:lnTo>
                      <a:pt x="1325" y="559"/>
                    </a:lnTo>
                    <a:lnTo>
                      <a:pt x="1323" y="565"/>
                    </a:lnTo>
                    <a:lnTo>
                      <a:pt x="1321" y="571"/>
                    </a:lnTo>
                    <a:lnTo>
                      <a:pt x="1318" y="576"/>
                    </a:lnTo>
                    <a:lnTo>
                      <a:pt x="1316" y="583"/>
                    </a:lnTo>
                    <a:lnTo>
                      <a:pt x="1316" y="589"/>
                    </a:lnTo>
                    <a:lnTo>
                      <a:pt x="1317" y="592"/>
                    </a:lnTo>
                    <a:lnTo>
                      <a:pt x="1320" y="595"/>
                    </a:lnTo>
                    <a:lnTo>
                      <a:pt x="1323" y="599"/>
                    </a:lnTo>
                    <a:lnTo>
                      <a:pt x="1327" y="601"/>
                    </a:lnTo>
                    <a:lnTo>
                      <a:pt x="1336" y="606"/>
                    </a:lnTo>
                    <a:lnTo>
                      <a:pt x="1343" y="608"/>
                    </a:lnTo>
                    <a:lnTo>
                      <a:pt x="1351" y="608"/>
                    </a:lnTo>
                    <a:lnTo>
                      <a:pt x="1358" y="607"/>
                    </a:lnTo>
                    <a:lnTo>
                      <a:pt x="1365" y="605"/>
                    </a:lnTo>
                    <a:lnTo>
                      <a:pt x="1371" y="604"/>
                    </a:lnTo>
                    <a:lnTo>
                      <a:pt x="1382" y="599"/>
                    </a:lnTo>
                    <a:lnTo>
                      <a:pt x="1391" y="592"/>
                    </a:lnTo>
                    <a:lnTo>
                      <a:pt x="1400" y="587"/>
                    </a:lnTo>
                    <a:lnTo>
                      <a:pt x="1409" y="582"/>
                    </a:lnTo>
                    <a:lnTo>
                      <a:pt x="1413" y="580"/>
                    </a:lnTo>
                    <a:lnTo>
                      <a:pt x="1417" y="578"/>
                    </a:lnTo>
                    <a:lnTo>
                      <a:pt x="1423" y="577"/>
                    </a:lnTo>
                    <a:lnTo>
                      <a:pt x="1429" y="577"/>
                    </a:lnTo>
                    <a:lnTo>
                      <a:pt x="1441" y="596"/>
                    </a:lnTo>
                    <a:lnTo>
                      <a:pt x="1457" y="617"/>
                    </a:lnTo>
                    <a:lnTo>
                      <a:pt x="1465" y="629"/>
                    </a:lnTo>
                    <a:lnTo>
                      <a:pt x="1470" y="643"/>
                    </a:lnTo>
                    <a:lnTo>
                      <a:pt x="1472" y="650"/>
                    </a:lnTo>
                    <a:lnTo>
                      <a:pt x="1474" y="659"/>
                    </a:lnTo>
                    <a:lnTo>
                      <a:pt x="1475" y="667"/>
                    </a:lnTo>
                    <a:lnTo>
                      <a:pt x="1475" y="676"/>
                    </a:lnTo>
                    <a:lnTo>
                      <a:pt x="1475" y="681"/>
                    </a:lnTo>
                    <a:lnTo>
                      <a:pt x="1474" y="686"/>
                    </a:lnTo>
                    <a:lnTo>
                      <a:pt x="1473" y="690"/>
                    </a:lnTo>
                    <a:lnTo>
                      <a:pt x="1471" y="694"/>
                    </a:lnTo>
                    <a:lnTo>
                      <a:pt x="1467" y="700"/>
                    </a:lnTo>
                    <a:lnTo>
                      <a:pt x="1462" y="706"/>
                    </a:lnTo>
                    <a:lnTo>
                      <a:pt x="1457" y="713"/>
                    </a:lnTo>
                    <a:lnTo>
                      <a:pt x="1454" y="719"/>
                    </a:lnTo>
                    <a:lnTo>
                      <a:pt x="1451" y="723"/>
                    </a:lnTo>
                    <a:lnTo>
                      <a:pt x="1450" y="727"/>
                    </a:lnTo>
                    <a:lnTo>
                      <a:pt x="1449" y="732"/>
                    </a:lnTo>
                    <a:lnTo>
                      <a:pt x="1449" y="737"/>
                    </a:lnTo>
                    <a:lnTo>
                      <a:pt x="1449" y="742"/>
                    </a:lnTo>
                    <a:lnTo>
                      <a:pt x="1450" y="746"/>
                    </a:lnTo>
                    <a:lnTo>
                      <a:pt x="1452" y="750"/>
                    </a:lnTo>
                    <a:lnTo>
                      <a:pt x="1455" y="754"/>
                    </a:lnTo>
                    <a:lnTo>
                      <a:pt x="1459" y="761"/>
                    </a:lnTo>
                    <a:lnTo>
                      <a:pt x="1466" y="769"/>
                    </a:lnTo>
                    <a:lnTo>
                      <a:pt x="1471" y="775"/>
                    </a:lnTo>
                    <a:lnTo>
                      <a:pt x="1477" y="783"/>
                    </a:lnTo>
                    <a:lnTo>
                      <a:pt x="1479" y="786"/>
                    </a:lnTo>
                    <a:lnTo>
                      <a:pt x="1481" y="790"/>
                    </a:lnTo>
                    <a:lnTo>
                      <a:pt x="1482" y="794"/>
                    </a:lnTo>
                    <a:lnTo>
                      <a:pt x="1482" y="799"/>
                    </a:lnTo>
                    <a:lnTo>
                      <a:pt x="1482" y="802"/>
                    </a:lnTo>
                    <a:lnTo>
                      <a:pt x="1480" y="807"/>
                    </a:lnTo>
                    <a:lnTo>
                      <a:pt x="1477" y="811"/>
                    </a:lnTo>
                    <a:lnTo>
                      <a:pt x="1473" y="816"/>
                    </a:lnTo>
                    <a:lnTo>
                      <a:pt x="1463" y="826"/>
                    </a:lnTo>
                    <a:lnTo>
                      <a:pt x="1452" y="835"/>
                    </a:lnTo>
                    <a:lnTo>
                      <a:pt x="1446" y="839"/>
                    </a:lnTo>
                    <a:lnTo>
                      <a:pt x="1439" y="843"/>
                    </a:lnTo>
                    <a:lnTo>
                      <a:pt x="1433" y="846"/>
                    </a:lnTo>
                    <a:lnTo>
                      <a:pt x="1426" y="848"/>
                    </a:lnTo>
                    <a:lnTo>
                      <a:pt x="1419" y="850"/>
                    </a:lnTo>
                    <a:lnTo>
                      <a:pt x="1414" y="850"/>
                    </a:lnTo>
                    <a:lnTo>
                      <a:pt x="1407" y="850"/>
                    </a:lnTo>
                    <a:lnTo>
                      <a:pt x="1402" y="848"/>
                    </a:lnTo>
                    <a:lnTo>
                      <a:pt x="1410" y="8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2" name="Freeform 6"/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6446607" y="2157198"/>
                <a:ext cx="1734408" cy="869341"/>
              </a:xfrm>
              <a:custGeom>
                <a:avLst/>
                <a:gdLst>
                  <a:gd name="T0" fmla="*/ 2147483647 w 3175"/>
                  <a:gd name="T1" fmla="*/ 2147483647 h 1472"/>
                  <a:gd name="T2" fmla="*/ 2147483647 w 3175"/>
                  <a:gd name="T3" fmla="*/ 2147483647 h 1472"/>
                  <a:gd name="T4" fmla="*/ 2147483647 w 3175"/>
                  <a:gd name="T5" fmla="*/ 2147483647 h 1472"/>
                  <a:gd name="T6" fmla="*/ 2147483647 w 3175"/>
                  <a:gd name="T7" fmla="*/ 2147483647 h 1472"/>
                  <a:gd name="T8" fmla="*/ 2147483647 w 3175"/>
                  <a:gd name="T9" fmla="*/ 2147483647 h 1472"/>
                  <a:gd name="T10" fmla="*/ 2147483647 w 3175"/>
                  <a:gd name="T11" fmla="*/ 2147483647 h 1472"/>
                  <a:gd name="T12" fmla="*/ 2147483647 w 3175"/>
                  <a:gd name="T13" fmla="*/ 2147483647 h 1472"/>
                  <a:gd name="T14" fmla="*/ 2147483647 w 3175"/>
                  <a:gd name="T15" fmla="*/ 2147483647 h 1472"/>
                  <a:gd name="T16" fmla="*/ 2147483647 w 3175"/>
                  <a:gd name="T17" fmla="*/ 2147483647 h 1472"/>
                  <a:gd name="T18" fmla="*/ 2147483647 w 3175"/>
                  <a:gd name="T19" fmla="*/ 2147483647 h 1472"/>
                  <a:gd name="T20" fmla="*/ 2147483647 w 3175"/>
                  <a:gd name="T21" fmla="*/ 2147483647 h 1472"/>
                  <a:gd name="T22" fmla="*/ 2147483647 w 3175"/>
                  <a:gd name="T23" fmla="*/ 2147483647 h 1472"/>
                  <a:gd name="T24" fmla="*/ 2147483647 w 3175"/>
                  <a:gd name="T25" fmla="*/ 2147483647 h 1472"/>
                  <a:gd name="T26" fmla="*/ 2147483647 w 3175"/>
                  <a:gd name="T27" fmla="*/ 2147483647 h 1472"/>
                  <a:gd name="T28" fmla="*/ 2147483647 w 3175"/>
                  <a:gd name="T29" fmla="*/ 2147483647 h 1472"/>
                  <a:gd name="T30" fmla="*/ 2147483647 w 3175"/>
                  <a:gd name="T31" fmla="*/ 2147483647 h 1472"/>
                  <a:gd name="T32" fmla="*/ 2147483647 w 3175"/>
                  <a:gd name="T33" fmla="*/ 2147483647 h 1472"/>
                  <a:gd name="T34" fmla="*/ 2147483647 w 3175"/>
                  <a:gd name="T35" fmla="*/ 2147483647 h 1472"/>
                  <a:gd name="T36" fmla="*/ 2147483647 w 3175"/>
                  <a:gd name="T37" fmla="*/ 2147483647 h 1472"/>
                  <a:gd name="T38" fmla="*/ 2147483647 w 3175"/>
                  <a:gd name="T39" fmla="*/ 2147483647 h 1472"/>
                  <a:gd name="T40" fmla="*/ 2147483647 w 3175"/>
                  <a:gd name="T41" fmla="*/ 2147483647 h 1472"/>
                  <a:gd name="T42" fmla="*/ 2147483647 w 3175"/>
                  <a:gd name="T43" fmla="*/ 2147483647 h 1472"/>
                  <a:gd name="T44" fmla="*/ 2147483647 w 3175"/>
                  <a:gd name="T45" fmla="*/ 2147483647 h 1472"/>
                  <a:gd name="T46" fmla="*/ 2147483647 w 3175"/>
                  <a:gd name="T47" fmla="*/ 2147483647 h 1472"/>
                  <a:gd name="T48" fmla="*/ 2147483647 w 3175"/>
                  <a:gd name="T49" fmla="*/ 2147483647 h 1472"/>
                  <a:gd name="T50" fmla="*/ 2147483647 w 3175"/>
                  <a:gd name="T51" fmla="*/ 2147483647 h 1472"/>
                  <a:gd name="T52" fmla="*/ 2147483647 w 3175"/>
                  <a:gd name="T53" fmla="*/ 2147483647 h 1472"/>
                  <a:gd name="T54" fmla="*/ 2147483647 w 3175"/>
                  <a:gd name="T55" fmla="*/ 2147483647 h 1472"/>
                  <a:gd name="T56" fmla="*/ 2147483647 w 3175"/>
                  <a:gd name="T57" fmla="*/ 2147483647 h 1472"/>
                  <a:gd name="T58" fmla="*/ 2147483647 w 3175"/>
                  <a:gd name="T59" fmla="*/ 2147483647 h 1472"/>
                  <a:gd name="T60" fmla="*/ 2147483647 w 3175"/>
                  <a:gd name="T61" fmla="*/ 2147483647 h 1472"/>
                  <a:gd name="T62" fmla="*/ 2147483647 w 3175"/>
                  <a:gd name="T63" fmla="*/ 2147483647 h 1472"/>
                  <a:gd name="T64" fmla="*/ 2147483647 w 3175"/>
                  <a:gd name="T65" fmla="*/ 2147483647 h 1472"/>
                  <a:gd name="T66" fmla="*/ 2147483647 w 3175"/>
                  <a:gd name="T67" fmla="*/ 2147483647 h 1472"/>
                  <a:gd name="T68" fmla="*/ 2147483647 w 3175"/>
                  <a:gd name="T69" fmla="*/ 2147483647 h 1472"/>
                  <a:gd name="T70" fmla="*/ 0 w 3175"/>
                  <a:gd name="T71" fmla="*/ 2147483647 h 1472"/>
                  <a:gd name="T72" fmla="*/ 2147483647 w 3175"/>
                  <a:gd name="T73" fmla="*/ 2147483647 h 1472"/>
                  <a:gd name="T74" fmla="*/ 2147483647 w 3175"/>
                  <a:gd name="T75" fmla="*/ 2147483647 h 1472"/>
                  <a:gd name="T76" fmla="*/ 2147483647 w 3175"/>
                  <a:gd name="T77" fmla="*/ 2147483647 h 1472"/>
                  <a:gd name="T78" fmla="*/ 2147483647 w 3175"/>
                  <a:gd name="T79" fmla="*/ 2147483647 h 1472"/>
                  <a:gd name="T80" fmla="*/ 2147483647 w 3175"/>
                  <a:gd name="T81" fmla="*/ 0 h 1472"/>
                  <a:gd name="T82" fmla="*/ 2147483647 w 3175"/>
                  <a:gd name="T83" fmla="*/ 2147483647 h 1472"/>
                  <a:gd name="T84" fmla="*/ 2147483647 w 3175"/>
                  <a:gd name="T85" fmla="*/ 2147483647 h 1472"/>
                  <a:gd name="T86" fmla="*/ 2147483647 w 3175"/>
                  <a:gd name="T87" fmla="*/ 2147483647 h 1472"/>
                  <a:gd name="T88" fmla="*/ 2147483647 w 3175"/>
                  <a:gd name="T89" fmla="*/ 2147483647 h 1472"/>
                  <a:gd name="T90" fmla="*/ 2147483647 w 3175"/>
                  <a:gd name="T91" fmla="*/ 2147483647 h 1472"/>
                  <a:gd name="T92" fmla="*/ 2147483647 w 3175"/>
                  <a:gd name="T93" fmla="*/ 2147483647 h 1472"/>
                  <a:gd name="T94" fmla="*/ 2147483647 w 3175"/>
                  <a:gd name="T95" fmla="*/ 2147483647 h 1472"/>
                  <a:gd name="T96" fmla="*/ 2147483647 w 3175"/>
                  <a:gd name="T97" fmla="*/ 2147483647 h 1472"/>
                  <a:gd name="T98" fmla="*/ 2147483647 w 3175"/>
                  <a:gd name="T99" fmla="*/ 2147483647 h 1472"/>
                  <a:gd name="T100" fmla="*/ 2147483647 w 3175"/>
                  <a:gd name="T101" fmla="*/ 2147483647 h 1472"/>
                  <a:gd name="T102" fmla="*/ 2147483647 w 3175"/>
                  <a:gd name="T103" fmla="*/ 2147483647 h 1472"/>
                  <a:gd name="T104" fmla="*/ 2147483647 w 3175"/>
                  <a:gd name="T105" fmla="*/ 2147483647 h 1472"/>
                  <a:gd name="T106" fmla="*/ 2147483647 w 3175"/>
                  <a:gd name="T107" fmla="*/ 2147483647 h 1472"/>
                  <a:gd name="T108" fmla="*/ 2147483647 w 3175"/>
                  <a:gd name="T109" fmla="*/ 2147483647 h 1472"/>
                  <a:gd name="T110" fmla="*/ 2147483647 w 3175"/>
                  <a:gd name="T111" fmla="*/ 2147483647 h 1472"/>
                  <a:gd name="T112" fmla="*/ 2147483647 w 3175"/>
                  <a:gd name="T113" fmla="*/ 2147483647 h 1472"/>
                  <a:gd name="T114" fmla="*/ 2147483647 w 3175"/>
                  <a:gd name="T115" fmla="*/ 2147483647 h 1472"/>
                  <a:gd name="T116" fmla="*/ 2147483647 w 3175"/>
                  <a:gd name="T117" fmla="*/ 2147483647 h 1472"/>
                  <a:gd name="T118" fmla="*/ 2147483647 w 3175"/>
                  <a:gd name="T119" fmla="*/ 2147483647 h 1472"/>
                  <a:gd name="T120" fmla="*/ 2147483647 w 3175"/>
                  <a:gd name="T121" fmla="*/ 2147483647 h 1472"/>
                  <a:gd name="T122" fmla="*/ 2147483647 w 3175"/>
                  <a:gd name="T123" fmla="*/ 2147483647 h 147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75" h="1472">
                    <a:moveTo>
                      <a:pt x="3155" y="258"/>
                    </a:moveTo>
                    <a:lnTo>
                      <a:pt x="3129" y="270"/>
                    </a:lnTo>
                    <a:lnTo>
                      <a:pt x="3104" y="281"/>
                    </a:lnTo>
                    <a:lnTo>
                      <a:pt x="3079" y="291"/>
                    </a:lnTo>
                    <a:lnTo>
                      <a:pt x="3055" y="300"/>
                    </a:lnTo>
                    <a:lnTo>
                      <a:pt x="3032" y="309"/>
                    </a:lnTo>
                    <a:lnTo>
                      <a:pt x="3008" y="317"/>
                    </a:lnTo>
                    <a:lnTo>
                      <a:pt x="2983" y="326"/>
                    </a:lnTo>
                    <a:lnTo>
                      <a:pt x="2956" y="333"/>
                    </a:lnTo>
                    <a:lnTo>
                      <a:pt x="2948" y="337"/>
                    </a:lnTo>
                    <a:lnTo>
                      <a:pt x="2940" y="341"/>
                    </a:lnTo>
                    <a:lnTo>
                      <a:pt x="2933" y="347"/>
                    </a:lnTo>
                    <a:lnTo>
                      <a:pt x="2928" y="353"/>
                    </a:lnTo>
                    <a:lnTo>
                      <a:pt x="2917" y="366"/>
                    </a:lnTo>
                    <a:lnTo>
                      <a:pt x="2909" y="382"/>
                    </a:lnTo>
                    <a:lnTo>
                      <a:pt x="2900" y="397"/>
                    </a:lnTo>
                    <a:lnTo>
                      <a:pt x="2894" y="410"/>
                    </a:lnTo>
                    <a:lnTo>
                      <a:pt x="2889" y="416"/>
                    </a:lnTo>
                    <a:lnTo>
                      <a:pt x="2885" y="422"/>
                    </a:lnTo>
                    <a:lnTo>
                      <a:pt x="2881" y="427"/>
                    </a:lnTo>
                    <a:lnTo>
                      <a:pt x="2876" y="431"/>
                    </a:lnTo>
                    <a:lnTo>
                      <a:pt x="2876" y="436"/>
                    </a:lnTo>
                    <a:lnTo>
                      <a:pt x="2877" y="440"/>
                    </a:lnTo>
                    <a:lnTo>
                      <a:pt x="2880" y="445"/>
                    </a:lnTo>
                    <a:lnTo>
                      <a:pt x="2883" y="450"/>
                    </a:lnTo>
                    <a:lnTo>
                      <a:pt x="2896" y="440"/>
                    </a:lnTo>
                    <a:lnTo>
                      <a:pt x="2909" y="431"/>
                    </a:lnTo>
                    <a:lnTo>
                      <a:pt x="2910" y="438"/>
                    </a:lnTo>
                    <a:lnTo>
                      <a:pt x="2910" y="443"/>
                    </a:lnTo>
                    <a:lnTo>
                      <a:pt x="2909" y="448"/>
                    </a:lnTo>
                    <a:lnTo>
                      <a:pt x="2907" y="451"/>
                    </a:lnTo>
                    <a:lnTo>
                      <a:pt x="2905" y="455"/>
                    </a:lnTo>
                    <a:lnTo>
                      <a:pt x="2902" y="457"/>
                    </a:lnTo>
                    <a:lnTo>
                      <a:pt x="2898" y="459"/>
                    </a:lnTo>
                    <a:lnTo>
                      <a:pt x="2894" y="460"/>
                    </a:lnTo>
                    <a:lnTo>
                      <a:pt x="2883" y="462"/>
                    </a:lnTo>
                    <a:lnTo>
                      <a:pt x="2871" y="462"/>
                    </a:lnTo>
                    <a:lnTo>
                      <a:pt x="2858" y="462"/>
                    </a:lnTo>
                    <a:lnTo>
                      <a:pt x="2843" y="462"/>
                    </a:lnTo>
                    <a:lnTo>
                      <a:pt x="2820" y="463"/>
                    </a:lnTo>
                    <a:lnTo>
                      <a:pt x="2796" y="466"/>
                    </a:lnTo>
                    <a:lnTo>
                      <a:pt x="2773" y="470"/>
                    </a:lnTo>
                    <a:lnTo>
                      <a:pt x="2750" y="476"/>
                    </a:lnTo>
                    <a:lnTo>
                      <a:pt x="2728" y="483"/>
                    </a:lnTo>
                    <a:lnTo>
                      <a:pt x="2708" y="491"/>
                    </a:lnTo>
                    <a:lnTo>
                      <a:pt x="2691" y="498"/>
                    </a:lnTo>
                    <a:lnTo>
                      <a:pt x="2678" y="505"/>
                    </a:lnTo>
                    <a:lnTo>
                      <a:pt x="2678" y="542"/>
                    </a:lnTo>
                    <a:lnTo>
                      <a:pt x="2675" y="549"/>
                    </a:lnTo>
                    <a:lnTo>
                      <a:pt x="2673" y="555"/>
                    </a:lnTo>
                    <a:lnTo>
                      <a:pt x="2670" y="561"/>
                    </a:lnTo>
                    <a:lnTo>
                      <a:pt x="2667" y="566"/>
                    </a:lnTo>
                    <a:lnTo>
                      <a:pt x="2658" y="575"/>
                    </a:lnTo>
                    <a:lnTo>
                      <a:pt x="2649" y="584"/>
                    </a:lnTo>
                    <a:lnTo>
                      <a:pt x="2639" y="592"/>
                    </a:lnTo>
                    <a:lnTo>
                      <a:pt x="2628" y="602"/>
                    </a:lnTo>
                    <a:lnTo>
                      <a:pt x="2619" y="611"/>
                    </a:lnTo>
                    <a:lnTo>
                      <a:pt x="2611" y="622"/>
                    </a:lnTo>
                    <a:lnTo>
                      <a:pt x="2611" y="613"/>
                    </a:lnTo>
                    <a:lnTo>
                      <a:pt x="2611" y="604"/>
                    </a:lnTo>
                    <a:lnTo>
                      <a:pt x="2606" y="603"/>
                    </a:lnTo>
                    <a:lnTo>
                      <a:pt x="2602" y="600"/>
                    </a:lnTo>
                    <a:lnTo>
                      <a:pt x="2598" y="595"/>
                    </a:lnTo>
                    <a:lnTo>
                      <a:pt x="2596" y="590"/>
                    </a:lnTo>
                    <a:lnTo>
                      <a:pt x="2595" y="585"/>
                    </a:lnTo>
                    <a:lnTo>
                      <a:pt x="2595" y="580"/>
                    </a:lnTo>
                    <a:lnTo>
                      <a:pt x="2595" y="576"/>
                    </a:lnTo>
                    <a:lnTo>
                      <a:pt x="2597" y="573"/>
                    </a:lnTo>
                    <a:lnTo>
                      <a:pt x="2578" y="573"/>
                    </a:lnTo>
                    <a:lnTo>
                      <a:pt x="2575" y="587"/>
                    </a:lnTo>
                    <a:lnTo>
                      <a:pt x="2574" y="600"/>
                    </a:lnTo>
                    <a:lnTo>
                      <a:pt x="2574" y="610"/>
                    </a:lnTo>
                    <a:lnTo>
                      <a:pt x="2574" y="619"/>
                    </a:lnTo>
                    <a:lnTo>
                      <a:pt x="2577" y="633"/>
                    </a:lnTo>
                    <a:lnTo>
                      <a:pt x="2578" y="646"/>
                    </a:lnTo>
                    <a:lnTo>
                      <a:pt x="2577" y="658"/>
                    </a:lnTo>
                    <a:lnTo>
                      <a:pt x="2574" y="668"/>
                    </a:lnTo>
                    <a:lnTo>
                      <a:pt x="2570" y="677"/>
                    </a:lnTo>
                    <a:lnTo>
                      <a:pt x="2564" y="685"/>
                    </a:lnTo>
                    <a:lnTo>
                      <a:pt x="2559" y="693"/>
                    </a:lnTo>
                    <a:lnTo>
                      <a:pt x="2552" y="700"/>
                    </a:lnTo>
                    <a:lnTo>
                      <a:pt x="2545" y="707"/>
                    </a:lnTo>
                    <a:lnTo>
                      <a:pt x="2537" y="715"/>
                    </a:lnTo>
                    <a:lnTo>
                      <a:pt x="2538" y="684"/>
                    </a:lnTo>
                    <a:lnTo>
                      <a:pt x="2538" y="657"/>
                    </a:lnTo>
                    <a:lnTo>
                      <a:pt x="2540" y="630"/>
                    </a:lnTo>
                    <a:lnTo>
                      <a:pt x="2544" y="604"/>
                    </a:lnTo>
                    <a:lnTo>
                      <a:pt x="2535" y="607"/>
                    </a:lnTo>
                    <a:lnTo>
                      <a:pt x="2527" y="611"/>
                    </a:lnTo>
                    <a:lnTo>
                      <a:pt x="2519" y="615"/>
                    </a:lnTo>
                    <a:lnTo>
                      <a:pt x="2514" y="621"/>
                    </a:lnTo>
                    <a:lnTo>
                      <a:pt x="2510" y="628"/>
                    </a:lnTo>
                    <a:lnTo>
                      <a:pt x="2506" y="635"/>
                    </a:lnTo>
                    <a:lnTo>
                      <a:pt x="2505" y="643"/>
                    </a:lnTo>
                    <a:lnTo>
                      <a:pt x="2504" y="653"/>
                    </a:lnTo>
                    <a:lnTo>
                      <a:pt x="2491" y="653"/>
                    </a:lnTo>
                    <a:lnTo>
                      <a:pt x="2478" y="653"/>
                    </a:lnTo>
                    <a:lnTo>
                      <a:pt x="2478" y="658"/>
                    </a:lnTo>
                    <a:lnTo>
                      <a:pt x="2479" y="662"/>
                    </a:lnTo>
                    <a:lnTo>
                      <a:pt x="2480" y="666"/>
                    </a:lnTo>
                    <a:lnTo>
                      <a:pt x="2482" y="670"/>
                    </a:lnTo>
                    <a:lnTo>
                      <a:pt x="2486" y="678"/>
                    </a:lnTo>
                    <a:lnTo>
                      <a:pt x="2493" y="684"/>
                    </a:lnTo>
                    <a:lnTo>
                      <a:pt x="2499" y="690"/>
                    </a:lnTo>
                    <a:lnTo>
                      <a:pt x="2505" y="695"/>
                    </a:lnTo>
                    <a:lnTo>
                      <a:pt x="2512" y="699"/>
                    </a:lnTo>
                    <a:lnTo>
                      <a:pt x="2517" y="702"/>
                    </a:lnTo>
                    <a:lnTo>
                      <a:pt x="2517" y="727"/>
                    </a:lnTo>
                    <a:lnTo>
                      <a:pt x="2496" y="730"/>
                    </a:lnTo>
                    <a:lnTo>
                      <a:pt x="2479" y="730"/>
                    </a:lnTo>
                    <a:lnTo>
                      <a:pt x="2472" y="730"/>
                    </a:lnTo>
                    <a:lnTo>
                      <a:pt x="2466" y="730"/>
                    </a:lnTo>
                    <a:lnTo>
                      <a:pt x="2458" y="731"/>
                    </a:lnTo>
                    <a:lnTo>
                      <a:pt x="2451" y="733"/>
                    </a:lnTo>
                    <a:lnTo>
                      <a:pt x="2455" y="737"/>
                    </a:lnTo>
                    <a:lnTo>
                      <a:pt x="2459" y="741"/>
                    </a:lnTo>
                    <a:lnTo>
                      <a:pt x="2465" y="744"/>
                    </a:lnTo>
                    <a:lnTo>
                      <a:pt x="2471" y="747"/>
                    </a:lnTo>
                    <a:lnTo>
                      <a:pt x="2483" y="750"/>
                    </a:lnTo>
                    <a:lnTo>
                      <a:pt x="2491" y="751"/>
                    </a:lnTo>
                    <a:lnTo>
                      <a:pt x="2492" y="756"/>
                    </a:lnTo>
                    <a:lnTo>
                      <a:pt x="2493" y="760"/>
                    </a:lnTo>
                    <a:lnTo>
                      <a:pt x="2495" y="765"/>
                    </a:lnTo>
                    <a:lnTo>
                      <a:pt x="2499" y="769"/>
                    </a:lnTo>
                    <a:lnTo>
                      <a:pt x="2505" y="777"/>
                    </a:lnTo>
                    <a:lnTo>
                      <a:pt x="2511" y="782"/>
                    </a:lnTo>
                    <a:lnTo>
                      <a:pt x="2500" y="792"/>
                    </a:lnTo>
                    <a:lnTo>
                      <a:pt x="2489" y="802"/>
                    </a:lnTo>
                    <a:lnTo>
                      <a:pt x="2480" y="812"/>
                    </a:lnTo>
                    <a:lnTo>
                      <a:pt x="2471" y="823"/>
                    </a:lnTo>
                    <a:lnTo>
                      <a:pt x="2456" y="841"/>
                    </a:lnTo>
                    <a:lnTo>
                      <a:pt x="2441" y="859"/>
                    </a:lnTo>
                    <a:lnTo>
                      <a:pt x="2434" y="867"/>
                    </a:lnTo>
                    <a:lnTo>
                      <a:pt x="2425" y="876"/>
                    </a:lnTo>
                    <a:lnTo>
                      <a:pt x="2416" y="884"/>
                    </a:lnTo>
                    <a:lnTo>
                      <a:pt x="2406" y="892"/>
                    </a:lnTo>
                    <a:lnTo>
                      <a:pt x="2395" y="899"/>
                    </a:lnTo>
                    <a:lnTo>
                      <a:pt x="2382" y="905"/>
                    </a:lnTo>
                    <a:lnTo>
                      <a:pt x="2368" y="912"/>
                    </a:lnTo>
                    <a:lnTo>
                      <a:pt x="2351" y="917"/>
                    </a:lnTo>
                    <a:lnTo>
                      <a:pt x="2346" y="919"/>
                    </a:lnTo>
                    <a:lnTo>
                      <a:pt x="2339" y="923"/>
                    </a:lnTo>
                    <a:lnTo>
                      <a:pt x="2332" y="928"/>
                    </a:lnTo>
                    <a:lnTo>
                      <a:pt x="2324" y="935"/>
                    </a:lnTo>
                    <a:lnTo>
                      <a:pt x="2307" y="950"/>
                    </a:lnTo>
                    <a:lnTo>
                      <a:pt x="2289" y="967"/>
                    </a:lnTo>
                    <a:lnTo>
                      <a:pt x="2271" y="984"/>
                    </a:lnTo>
                    <a:lnTo>
                      <a:pt x="2255" y="999"/>
                    </a:lnTo>
                    <a:lnTo>
                      <a:pt x="2248" y="1006"/>
                    </a:lnTo>
                    <a:lnTo>
                      <a:pt x="2242" y="1011"/>
                    </a:lnTo>
                    <a:lnTo>
                      <a:pt x="2236" y="1014"/>
                    </a:lnTo>
                    <a:lnTo>
                      <a:pt x="2232" y="1016"/>
                    </a:lnTo>
                    <a:lnTo>
                      <a:pt x="2208" y="1025"/>
                    </a:lnTo>
                    <a:lnTo>
                      <a:pt x="2186" y="1034"/>
                    </a:lnTo>
                    <a:lnTo>
                      <a:pt x="2175" y="1039"/>
                    </a:lnTo>
                    <a:lnTo>
                      <a:pt x="2165" y="1045"/>
                    </a:lnTo>
                    <a:lnTo>
                      <a:pt x="2156" y="1051"/>
                    </a:lnTo>
                    <a:lnTo>
                      <a:pt x="2147" y="1057"/>
                    </a:lnTo>
                    <a:lnTo>
                      <a:pt x="2140" y="1064"/>
                    </a:lnTo>
                    <a:lnTo>
                      <a:pt x="2133" y="1072"/>
                    </a:lnTo>
                    <a:lnTo>
                      <a:pt x="2126" y="1080"/>
                    </a:lnTo>
                    <a:lnTo>
                      <a:pt x="2122" y="1090"/>
                    </a:lnTo>
                    <a:lnTo>
                      <a:pt x="2118" y="1101"/>
                    </a:lnTo>
                    <a:lnTo>
                      <a:pt x="2114" y="1113"/>
                    </a:lnTo>
                    <a:lnTo>
                      <a:pt x="2113" y="1125"/>
                    </a:lnTo>
                    <a:lnTo>
                      <a:pt x="2112" y="1139"/>
                    </a:lnTo>
                    <a:lnTo>
                      <a:pt x="2112" y="1151"/>
                    </a:lnTo>
                    <a:lnTo>
                      <a:pt x="2112" y="1174"/>
                    </a:lnTo>
                    <a:lnTo>
                      <a:pt x="2112" y="1195"/>
                    </a:lnTo>
                    <a:lnTo>
                      <a:pt x="2112" y="1207"/>
                    </a:lnTo>
                    <a:lnTo>
                      <a:pt x="2114" y="1223"/>
                    </a:lnTo>
                    <a:lnTo>
                      <a:pt x="2118" y="1240"/>
                    </a:lnTo>
                    <a:lnTo>
                      <a:pt x="2120" y="1249"/>
                    </a:lnTo>
                    <a:lnTo>
                      <a:pt x="2121" y="1259"/>
                    </a:lnTo>
                    <a:lnTo>
                      <a:pt x="2121" y="1270"/>
                    </a:lnTo>
                    <a:lnTo>
                      <a:pt x="2119" y="1281"/>
                    </a:lnTo>
                    <a:lnTo>
                      <a:pt x="2132" y="1343"/>
                    </a:lnTo>
                    <a:lnTo>
                      <a:pt x="2126" y="1379"/>
                    </a:lnTo>
                    <a:lnTo>
                      <a:pt x="2118" y="1417"/>
                    </a:lnTo>
                    <a:lnTo>
                      <a:pt x="2112" y="1435"/>
                    </a:lnTo>
                    <a:lnTo>
                      <a:pt x="2105" y="1450"/>
                    </a:lnTo>
                    <a:lnTo>
                      <a:pt x="2103" y="1457"/>
                    </a:lnTo>
                    <a:lnTo>
                      <a:pt x="2100" y="1463"/>
                    </a:lnTo>
                    <a:lnTo>
                      <a:pt x="2096" y="1468"/>
                    </a:lnTo>
                    <a:lnTo>
                      <a:pt x="2092" y="1472"/>
                    </a:lnTo>
                    <a:lnTo>
                      <a:pt x="2059" y="1472"/>
                    </a:lnTo>
                    <a:lnTo>
                      <a:pt x="2058" y="1464"/>
                    </a:lnTo>
                    <a:lnTo>
                      <a:pt x="2057" y="1456"/>
                    </a:lnTo>
                    <a:lnTo>
                      <a:pt x="2055" y="1450"/>
                    </a:lnTo>
                    <a:lnTo>
                      <a:pt x="2053" y="1445"/>
                    </a:lnTo>
                    <a:lnTo>
                      <a:pt x="2047" y="1437"/>
                    </a:lnTo>
                    <a:lnTo>
                      <a:pt x="2040" y="1430"/>
                    </a:lnTo>
                    <a:lnTo>
                      <a:pt x="2033" y="1425"/>
                    </a:lnTo>
                    <a:lnTo>
                      <a:pt x="2029" y="1418"/>
                    </a:lnTo>
                    <a:lnTo>
                      <a:pt x="2026" y="1414"/>
                    </a:lnTo>
                    <a:lnTo>
                      <a:pt x="2025" y="1410"/>
                    </a:lnTo>
                    <a:lnTo>
                      <a:pt x="2025" y="1405"/>
                    </a:lnTo>
                    <a:lnTo>
                      <a:pt x="2026" y="1398"/>
                    </a:lnTo>
                    <a:lnTo>
                      <a:pt x="2026" y="1373"/>
                    </a:lnTo>
                    <a:lnTo>
                      <a:pt x="2022" y="1373"/>
                    </a:lnTo>
                    <a:lnTo>
                      <a:pt x="2019" y="1372"/>
                    </a:lnTo>
                    <a:lnTo>
                      <a:pt x="2015" y="1370"/>
                    </a:lnTo>
                    <a:lnTo>
                      <a:pt x="2012" y="1367"/>
                    </a:lnTo>
                    <a:lnTo>
                      <a:pt x="2007" y="1361"/>
                    </a:lnTo>
                    <a:lnTo>
                      <a:pt x="2002" y="1353"/>
                    </a:lnTo>
                    <a:lnTo>
                      <a:pt x="1998" y="1344"/>
                    </a:lnTo>
                    <a:lnTo>
                      <a:pt x="1995" y="1335"/>
                    </a:lnTo>
                    <a:lnTo>
                      <a:pt x="1993" y="1326"/>
                    </a:lnTo>
                    <a:lnTo>
                      <a:pt x="1992" y="1318"/>
                    </a:lnTo>
                    <a:lnTo>
                      <a:pt x="1992" y="1298"/>
                    </a:lnTo>
                    <a:lnTo>
                      <a:pt x="1992" y="1281"/>
                    </a:lnTo>
                    <a:lnTo>
                      <a:pt x="1992" y="1265"/>
                    </a:lnTo>
                    <a:lnTo>
                      <a:pt x="1992" y="1244"/>
                    </a:lnTo>
                    <a:lnTo>
                      <a:pt x="1991" y="1234"/>
                    </a:lnTo>
                    <a:lnTo>
                      <a:pt x="1989" y="1224"/>
                    </a:lnTo>
                    <a:lnTo>
                      <a:pt x="1985" y="1212"/>
                    </a:lnTo>
                    <a:lnTo>
                      <a:pt x="1978" y="1201"/>
                    </a:lnTo>
                    <a:lnTo>
                      <a:pt x="1974" y="1196"/>
                    </a:lnTo>
                    <a:lnTo>
                      <a:pt x="1969" y="1191"/>
                    </a:lnTo>
                    <a:lnTo>
                      <a:pt x="1964" y="1187"/>
                    </a:lnTo>
                    <a:lnTo>
                      <a:pt x="1959" y="1184"/>
                    </a:lnTo>
                    <a:lnTo>
                      <a:pt x="1953" y="1181"/>
                    </a:lnTo>
                    <a:lnTo>
                      <a:pt x="1947" y="1178"/>
                    </a:lnTo>
                    <a:lnTo>
                      <a:pt x="1940" y="1177"/>
                    </a:lnTo>
                    <a:lnTo>
                      <a:pt x="1933" y="1177"/>
                    </a:lnTo>
                    <a:lnTo>
                      <a:pt x="1918" y="1177"/>
                    </a:lnTo>
                    <a:lnTo>
                      <a:pt x="1906" y="1177"/>
                    </a:lnTo>
                    <a:lnTo>
                      <a:pt x="1897" y="1177"/>
                    </a:lnTo>
                    <a:lnTo>
                      <a:pt x="1894" y="1177"/>
                    </a:lnTo>
                    <a:lnTo>
                      <a:pt x="1880" y="1176"/>
                    </a:lnTo>
                    <a:lnTo>
                      <a:pt x="1869" y="1175"/>
                    </a:lnTo>
                    <a:lnTo>
                      <a:pt x="1857" y="1173"/>
                    </a:lnTo>
                    <a:lnTo>
                      <a:pt x="1845" y="1171"/>
                    </a:lnTo>
                    <a:lnTo>
                      <a:pt x="1832" y="1168"/>
                    </a:lnTo>
                    <a:lnTo>
                      <a:pt x="1818" y="1166"/>
                    </a:lnTo>
                    <a:lnTo>
                      <a:pt x="1804" y="1165"/>
                    </a:lnTo>
                    <a:lnTo>
                      <a:pt x="1787" y="1164"/>
                    </a:lnTo>
                    <a:lnTo>
                      <a:pt x="1773" y="1164"/>
                    </a:lnTo>
                    <a:lnTo>
                      <a:pt x="1762" y="1162"/>
                    </a:lnTo>
                    <a:lnTo>
                      <a:pt x="1753" y="1159"/>
                    </a:lnTo>
                    <a:lnTo>
                      <a:pt x="1745" y="1155"/>
                    </a:lnTo>
                    <a:lnTo>
                      <a:pt x="1738" y="1151"/>
                    </a:lnTo>
                    <a:lnTo>
                      <a:pt x="1731" y="1148"/>
                    </a:lnTo>
                    <a:lnTo>
                      <a:pt x="1722" y="1146"/>
                    </a:lnTo>
                    <a:lnTo>
                      <a:pt x="1713" y="1145"/>
                    </a:lnTo>
                    <a:lnTo>
                      <a:pt x="1688" y="1144"/>
                    </a:lnTo>
                    <a:lnTo>
                      <a:pt x="1653" y="1143"/>
                    </a:lnTo>
                    <a:lnTo>
                      <a:pt x="1644" y="1144"/>
                    </a:lnTo>
                    <a:lnTo>
                      <a:pt x="1636" y="1144"/>
                    </a:lnTo>
                    <a:lnTo>
                      <a:pt x="1628" y="1146"/>
                    </a:lnTo>
                    <a:lnTo>
                      <a:pt x="1621" y="1148"/>
                    </a:lnTo>
                    <a:lnTo>
                      <a:pt x="1616" y="1151"/>
                    </a:lnTo>
                    <a:lnTo>
                      <a:pt x="1611" y="1155"/>
                    </a:lnTo>
                    <a:lnTo>
                      <a:pt x="1608" y="1159"/>
                    </a:lnTo>
                    <a:lnTo>
                      <a:pt x="1607" y="1164"/>
                    </a:lnTo>
                    <a:lnTo>
                      <a:pt x="1608" y="1169"/>
                    </a:lnTo>
                    <a:lnTo>
                      <a:pt x="1608" y="1173"/>
                    </a:lnTo>
                    <a:lnTo>
                      <a:pt x="1610" y="1176"/>
                    </a:lnTo>
                    <a:lnTo>
                      <a:pt x="1611" y="1180"/>
                    </a:lnTo>
                    <a:lnTo>
                      <a:pt x="1616" y="1186"/>
                    </a:lnTo>
                    <a:lnTo>
                      <a:pt x="1621" y="1192"/>
                    </a:lnTo>
                    <a:lnTo>
                      <a:pt x="1627" y="1197"/>
                    </a:lnTo>
                    <a:lnTo>
                      <a:pt x="1632" y="1204"/>
                    </a:lnTo>
                    <a:lnTo>
                      <a:pt x="1638" y="1212"/>
                    </a:lnTo>
                    <a:lnTo>
                      <a:pt x="1641" y="1220"/>
                    </a:lnTo>
                    <a:lnTo>
                      <a:pt x="1628" y="1221"/>
                    </a:lnTo>
                    <a:lnTo>
                      <a:pt x="1615" y="1223"/>
                    </a:lnTo>
                    <a:lnTo>
                      <a:pt x="1601" y="1226"/>
                    </a:lnTo>
                    <a:lnTo>
                      <a:pt x="1589" y="1229"/>
                    </a:lnTo>
                    <a:lnTo>
                      <a:pt x="1577" y="1232"/>
                    </a:lnTo>
                    <a:lnTo>
                      <a:pt x="1565" y="1235"/>
                    </a:lnTo>
                    <a:lnTo>
                      <a:pt x="1555" y="1237"/>
                    </a:lnTo>
                    <a:lnTo>
                      <a:pt x="1548" y="1238"/>
                    </a:lnTo>
                    <a:lnTo>
                      <a:pt x="1544" y="1237"/>
                    </a:lnTo>
                    <a:lnTo>
                      <a:pt x="1539" y="1233"/>
                    </a:lnTo>
                    <a:lnTo>
                      <a:pt x="1533" y="1228"/>
                    </a:lnTo>
                    <a:lnTo>
                      <a:pt x="1528" y="1222"/>
                    </a:lnTo>
                    <a:lnTo>
                      <a:pt x="1516" y="1210"/>
                    </a:lnTo>
                    <a:lnTo>
                      <a:pt x="1508" y="1201"/>
                    </a:lnTo>
                    <a:lnTo>
                      <a:pt x="1474" y="1214"/>
                    </a:lnTo>
                    <a:lnTo>
                      <a:pt x="1468" y="1213"/>
                    </a:lnTo>
                    <a:lnTo>
                      <a:pt x="1461" y="1210"/>
                    </a:lnTo>
                    <a:lnTo>
                      <a:pt x="1454" y="1205"/>
                    </a:lnTo>
                    <a:lnTo>
                      <a:pt x="1448" y="1201"/>
                    </a:lnTo>
                    <a:lnTo>
                      <a:pt x="1441" y="1196"/>
                    </a:lnTo>
                    <a:lnTo>
                      <a:pt x="1436" y="1192"/>
                    </a:lnTo>
                    <a:lnTo>
                      <a:pt x="1428" y="1190"/>
                    </a:lnTo>
                    <a:lnTo>
                      <a:pt x="1421" y="1189"/>
                    </a:lnTo>
                    <a:lnTo>
                      <a:pt x="1406" y="1190"/>
                    </a:lnTo>
                    <a:lnTo>
                      <a:pt x="1390" y="1192"/>
                    </a:lnTo>
                    <a:lnTo>
                      <a:pt x="1372" y="1197"/>
                    </a:lnTo>
                    <a:lnTo>
                      <a:pt x="1354" y="1203"/>
                    </a:lnTo>
                    <a:lnTo>
                      <a:pt x="1337" y="1211"/>
                    </a:lnTo>
                    <a:lnTo>
                      <a:pt x="1318" y="1219"/>
                    </a:lnTo>
                    <a:lnTo>
                      <a:pt x="1301" y="1228"/>
                    </a:lnTo>
                    <a:lnTo>
                      <a:pt x="1283" y="1238"/>
                    </a:lnTo>
                    <a:lnTo>
                      <a:pt x="1265" y="1249"/>
                    </a:lnTo>
                    <a:lnTo>
                      <a:pt x="1248" y="1259"/>
                    </a:lnTo>
                    <a:lnTo>
                      <a:pt x="1231" y="1272"/>
                    </a:lnTo>
                    <a:lnTo>
                      <a:pt x="1217" y="1283"/>
                    </a:lnTo>
                    <a:lnTo>
                      <a:pt x="1203" y="1294"/>
                    </a:lnTo>
                    <a:lnTo>
                      <a:pt x="1190" y="1304"/>
                    </a:lnTo>
                    <a:lnTo>
                      <a:pt x="1179" y="1314"/>
                    </a:lnTo>
                    <a:lnTo>
                      <a:pt x="1169" y="1325"/>
                    </a:lnTo>
                    <a:lnTo>
                      <a:pt x="1166" y="1328"/>
                    </a:lnTo>
                    <a:lnTo>
                      <a:pt x="1163" y="1333"/>
                    </a:lnTo>
                    <a:lnTo>
                      <a:pt x="1162" y="1337"/>
                    </a:lnTo>
                    <a:lnTo>
                      <a:pt x="1161" y="1342"/>
                    </a:lnTo>
                    <a:lnTo>
                      <a:pt x="1161" y="1354"/>
                    </a:lnTo>
                    <a:lnTo>
                      <a:pt x="1161" y="1366"/>
                    </a:lnTo>
                    <a:lnTo>
                      <a:pt x="1161" y="1379"/>
                    </a:lnTo>
                    <a:lnTo>
                      <a:pt x="1160" y="1392"/>
                    </a:lnTo>
                    <a:lnTo>
                      <a:pt x="1159" y="1399"/>
                    </a:lnTo>
                    <a:lnTo>
                      <a:pt x="1157" y="1405"/>
                    </a:lnTo>
                    <a:lnTo>
                      <a:pt x="1153" y="1411"/>
                    </a:lnTo>
                    <a:lnTo>
                      <a:pt x="1149" y="1417"/>
                    </a:lnTo>
                    <a:lnTo>
                      <a:pt x="1143" y="1416"/>
                    </a:lnTo>
                    <a:lnTo>
                      <a:pt x="1136" y="1415"/>
                    </a:lnTo>
                    <a:lnTo>
                      <a:pt x="1129" y="1414"/>
                    </a:lnTo>
                    <a:lnTo>
                      <a:pt x="1124" y="1412"/>
                    </a:lnTo>
                    <a:lnTo>
                      <a:pt x="1111" y="1408"/>
                    </a:lnTo>
                    <a:lnTo>
                      <a:pt x="1100" y="1401"/>
                    </a:lnTo>
                    <a:lnTo>
                      <a:pt x="1090" y="1394"/>
                    </a:lnTo>
                    <a:lnTo>
                      <a:pt x="1082" y="1386"/>
                    </a:lnTo>
                    <a:lnTo>
                      <a:pt x="1080" y="1382"/>
                    </a:lnTo>
                    <a:lnTo>
                      <a:pt x="1078" y="1377"/>
                    </a:lnTo>
                    <a:lnTo>
                      <a:pt x="1077" y="1372"/>
                    </a:lnTo>
                    <a:lnTo>
                      <a:pt x="1076" y="1367"/>
                    </a:lnTo>
                    <a:lnTo>
                      <a:pt x="1076" y="1356"/>
                    </a:lnTo>
                    <a:lnTo>
                      <a:pt x="1074" y="1344"/>
                    </a:lnTo>
                    <a:lnTo>
                      <a:pt x="1072" y="1330"/>
                    </a:lnTo>
                    <a:lnTo>
                      <a:pt x="1070" y="1315"/>
                    </a:lnTo>
                    <a:lnTo>
                      <a:pt x="1066" y="1300"/>
                    </a:lnTo>
                    <a:lnTo>
                      <a:pt x="1061" y="1285"/>
                    </a:lnTo>
                    <a:lnTo>
                      <a:pt x="1057" y="1270"/>
                    </a:lnTo>
                    <a:lnTo>
                      <a:pt x="1051" y="1254"/>
                    </a:lnTo>
                    <a:lnTo>
                      <a:pt x="1044" y="1240"/>
                    </a:lnTo>
                    <a:lnTo>
                      <a:pt x="1037" y="1227"/>
                    </a:lnTo>
                    <a:lnTo>
                      <a:pt x="1028" y="1215"/>
                    </a:lnTo>
                    <a:lnTo>
                      <a:pt x="1020" y="1203"/>
                    </a:lnTo>
                    <a:lnTo>
                      <a:pt x="1015" y="1199"/>
                    </a:lnTo>
                    <a:lnTo>
                      <a:pt x="1010" y="1195"/>
                    </a:lnTo>
                    <a:lnTo>
                      <a:pt x="1005" y="1191"/>
                    </a:lnTo>
                    <a:lnTo>
                      <a:pt x="1000" y="1188"/>
                    </a:lnTo>
                    <a:lnTo>
                      <a:pt x="994" y="1186"/>
                    </a:lnTo>
                    <a:lnTo>
                      <a:pt x="988" y="1184"/>
                    </a:lnTo>
                    <a:lnTo>
                      <a:pt x="982" y="1183"/>
                    </a:lnTo>
                    <a:lnTo>
                      <a:pt x="977" y="1183"/>
                    </a:lnTo>
                    <a:lnTo>
                      <a:pt x="964" y="1183"/>
                    </a:lnTo>
                    <a:lnTo>
                      <a:pt x="951" y="1186"/>
                    </a:lnTo>
                    <a:lnTo>
                      <a:pt x="940" y="1190"/>
                    </a:lnTo>
                    <a:lnTo>
                      <a:pt x="931" y="1195"/>
                    </a:lnTo>
                    <a:lnTo>
                      <a:pt x="926" y="1199"/>
                    </a:lnTo>
                    <a:lnTo>
                      <a:pt x="922" y="1202"/>
                    </a:lnTo>
                    <a:lnTo>
                      <a:pt x="919" y="1206"/>
                    </a:lnTo>
                    <a:lnTo>
                      <a:pt x="915" y="1212"/>
                    </a:lnTo>
                    <a:lnTo>
                      <a:pt x="913" y="1216"/>
                    </a:lnTo>
                    <a:lnTo>
                      <a:pt x="911" y="1221"/>
                    </a:lnTo>
                    <a:lnTo>
                      <a:pt x="910" y="1227"/>
                    </a:lnTo>
                    <a:lnTo>
                      <a:pt x="910" y="1232"/>
                    </a:lnTo>
                    <a:lnTo>
                      <a:pt x="883" y="1232"/>
                    </a:lnTo>
                    <a:lnTo>
                      <a:pt x="878" y="1229"/>
                    </a:lnTo>
                    <a:lnTo>
                      <a:pt x="872" y="1225"/>
                    </a:lnTo>
                    <a:lnTo>
                      <a:pt x="867" y="1219"/>
                    </a:lnTo>
                    <a:lnTo>
                      <a:pt x="861" y="1212"/>
                    </a:lnTo>
                    <a:lnTo>
                      <a:pt x="850" y="1196"/>
                    </a:lnTo>
                    <a:lnTo>
                      <a:pt x="839" y="1179"/>
                    </a:lnTo>
                    <a:lnTo>
                      <a:pt x="830" y="1161"/>
                    </a:lnTo>
                    <a:lnTo>
                      <a:pt x="821" y="1144"/>
                    </a:lnTo>
                    <a:lnTo>
                      <a:pt x="814" y="1131"/>
                    </a:lnTo>
                    <a:lnTo>
                      <a:pt x="810" y="1121"/>
                    </a:lnTo>
                    <a:lnTo>
                      <a:pt x="805" y="1120"/>
                    </a:lnTo>
                    <a:lnTo>
                      <a:pt x="801" y="1118"/>
                    </a:lnTo>
                    <a:lnTo>
                      <a:pt x="798" y="1115"/>
                    </a:lnTo>
                    <a:lnTo>
                      <a:pt x="794" y="1111"/>
                    </a:lnTo>
                    <a:lnTo>
                      <a:pt x="789" y="1100"/>
                    </a:lnTo>
                    <a:lnTo>
                      <a:pt x="782" y="1087"/>
                    </a:lnTo>
                    <a:lnTo>
                      <a:pt x="779" y="1081"/>
                    </a:lnTo>
                    <a:lnTo>
                      <a:pt x="775" y="1075"/>
                    </a:lnTo>
                    <a:lnTo>
                      <a:pt x="770" y="1069"/>
                    </a:lnTo>
                    <a:lnTo>
                      <a:pt x="765" y="1064"/>
                    </a:lnTo>
                    <a:lnTo>
                      <a:pt x="757" y="1060"/>
                    </a:lnTo>
                    <a:lnTo>
                      <a:pt x="749" y="1056"/>
                    </a:lnTo>
                    <a:lnTo>
                      <a:pt x="741" y="1054"/>
                    </a:lnTo>
                    <a:lnTo>
                      <a:pt x="731" y="1054"/>
                    </a:lnTo>
                    <a:lnTo>
                      <a:pt x="718" y="1054"/>
                    </a:lnTo>
                    <a:lnTo>
                      <a:pt x="706" y="1055"/>
                    </a:lnTo>
                    <a:lnTo>
                      <a:pt x="696" y="1057"/>
                    </a:lnTo>
                    <a:lnTo>
                      <a:pt x="687" y="1059"/>
                    </a:lnTo>
                    <a:lnTo>
                      <a:pt x="670" y="1065"/>
                    </a:lnTo>
                    <a:lnTo>
                      <a:pt x="656" y="1072"/>
                    </a:lnTo>
                    <a:lnTo>
                      <a:pt x="642" y="1078"/>
                    </a:lnTo>
                    <a:lnTo>
                      <a:pt x="624" y="1084"/>
                    </a:lnTo>
                    <a:lnTo>
                      <a:pt x="615" y="1087"/>
                    </a:lnTo>
                    <a:lnTo>
                      <a:pt x="604" y="1088"/>
                    </a:lnTo>
                    <a:lnTo>
                      <a:pt x="591" y="1089"/>
                    </a:lnTo>
                    <a:lnTo>
                      <a:pt x="577" y="1090"/>
                    </a:lnTo>
                    <a:lnTo>
                      <a:pt x="555" y="1089"/>
                    </a:lnTo>
                    <a:lnTo>
                      <a:pt x="533" y="1086"/>
                    </a:lnTo>
                    <a:lnTo>
                      <a:pt x="514" y="1083"/>
                    </a:lnTo>
                    <a:lnTo>
                      <a:pt x="496" y="1078"/>
                    </a:lnTo>
                    <a:lnTo>
                      <a:pt x="478" y="1072"/>
                    </a:lnTo>
                    <a:lnTo>
                      <a:pt x="462" y="1065"/>
                    </a:lnTo>
                    <a:lnTo>
                      <a:pt x="445" y="1058"/>
                    </a:lnTo>
                    <a:lnTo>
                      <a:pt x="430" y="1051"/>
                    </a:lnTo>
                    <a:lnTo>
                      <a:pt x="415" y="1043"/>
                    </a:lnTo>
                    <a:lnTo>
                      <a:pt x="398" y="1035"/>
                    </a:lnTo>
                    <a:lnTo>
                      <a:pt x="383" y="1028"/>
                    </a:lnTo>
                    <a:lnTo>
                      <a:pt x="366" y="1023"/>
                    </a:lnTo>
                    <a:lnTo>
                      <a:pt x="350" y="1017"/>
                    </a:lnTo>
                    <a:lnTo>
                      <a:pt x="331" y="1014"/>
                    </a:lnTo>
                    <a:lnTo>
                      <a:pt x="312" y="1011"/>
                    </a:lnTo>
                    <a:lnTo>
                      <a:pt x="292" y="1010"/>
                    </a:lnTo>
                    <a:lnTo>
                      <a:pt x="263" y="1012"/>
                    </a:lnTo>
                    <a:lnTo>
                      <a:pt x="234" y="1015"/>
                    </a:lnTo>
                    <a:lnTo>
                      <a:pt x="220" y="1016"/>
                    </a:lnTo>
                    <a:lnTo>
                      <a:pt x="205" y="1015"/>
                    </a:lnTo>
                    <a:lnTo>
                      <a:pt x="189" y="1014"/>
                    </a:lnTo>
                    <a:lnTo>
                      <a:pt x="172" y="1010"/>
                    </a:lnTo>
                    <a:lnTo>
                      <a:pt x="173" y="998"/>
                    </a:lnTo>
                    <a:lnTo>
                      <a:pt x="175" y="988"/>
                    </a:lnTo>
                    <a:lnTo>
                      <a:pt x="175" y="982"/>
                    </a:lnTo>
                    <a:lnTo>
                      <a:pt x="175" y="979"/>
                    </a:lnTo>
                    <a:lnTo>
                      <a:pt x="174" y="975"/>
                    </a:lnTo>
                    <a:lnTo>
                      <a:pt x="172" y="973"/>
                    </a:lnTo>
                    <a:lnTo>
                      <a:pt x="141" y="952"/>
                    </a:lnTo>
                    <a:lnTo>
                      <a:pt x="107" y="931"/>
                    </a:lnTo>
                    <a:lnTo>
                      <a:pt x="97" y="925"/>
                    </a:lnTo>
                    <a:lnTo>
                      <a:pt x="88" y="920"/>
                    </a:lnTo>
                    <a:lnTo>
                      <a:pt x="79" y="916"/>
                    </a:lnTo>
                    <a:lnTo>
                      <a:pt x="69" y="912"/>
                    </a:lnTo>
                    <a:lnTo>
                      <a:pt x="59" y="909"/>
                    </a:lnTo>
                    <a:lnTo>
                      <a:pt x="48" y="907"/>
                    </a:lnTo>
                    <a:lnTo>
                      <a:pt x="37" y="906"/>
                    </a:lnTo>
                    <a:lnTo>
                      <a:pt x="26" y="905"/>
                    </a:lnTo>
                    <a:lnTo>
                      <a:pt x="27" y="899"/>
                    </a:lnTo>
                    <a:lnTo>
                      <a:pt x="28" y="893"/>
                    </a:lnTo>
                    <a:lnTo>
                      <a:pt x="30" y="888"/>
                    </a:lnTo>
                    <a:lnTo>
                      <a:pt x="32" y="883"/>
                    </a:lnTo>
                    <a:lnTo>
                      <a:pt x="37" y="874"/>
                    </a:lnTo>
                    <a:lnTo>
                      <a:pt x="39" y="868"/>
                    </a:lnTo>
                    <a:lnTo>
                      <a:pt x="39" y="848"/>
                    </a:lnTo>
                    <a:lnTo>
                      <a:pt x="36" y="826"/>
                    </a:lnTo>
                    <a:lnTo>
                      <a:pt x="32" y="801"/>
                    </a:lnTo>
                    <a:lnTo>
                      <a:pt x="29" y="777"/>
                    </a:lnTo>
                    <a:lnTo>
                      <a:pt x="24" y="752"/>
                    </a:lnTo>
                    <a:lnTo>
                      <a:pt x="19" y="729"/>
                    </a:lnTo>
                    <a:lnTo>
                      <a:pt x="16" y="707"/>
                    </a:lnTo>
                    <a:lnTo>
                      <a:pt x="13" y="690"/>
                    </a:lnTo>
                    <a:lnTo>
                      <a:pt x="17" y="687"/>
                    </a:lnTo>
                    <a:lnTo>
                      <a:pt x="25" y="680"/>
                    </a:lnTo>
                    <a:lnTo>
                      <a:pt x="28" y="675"/>
                    </a:lnTo>
                    <a:lnTo>
                      <a:pt x="29" y="669"/>
                    </a:lnTo>
                    <a:lnTo>
                      <a:pt x="30" y="666"/>
                    </a:lnTo>
                    <a:lnTo>
                      <a:pt x="29" y="662"/>
                    </a:lnTo>
                    <a:lnTo>
                      <a:pt x="28" y="658"/>
                    </a:lnTo>
                    <a:lnTo>
                      <a:pt x="26" y="653"/>
                    </a:lnTo>
                    <a:lnTo>
                      <a:pt x="21" y="658"/>
                    </a:lnTo>
                    <a:lnTo>
                      <a:pt x="16" y="663"/>
                    </a:lnTo>
                    <a:lnTo>
                      <a:pt x="12" y="669"/>
                    </a:lnTo>
                    <a:lnTo>
                      <a:pt x="6" y="677"/>
                    </a:lnTo>
                    <a:lnTo>
                      <a:pt x="4" y="672"/>
                    </a:lnTo>
                    <a:lnTo>
                      <a:pt x="3" y="667"/>
                    </a:lnTo>
                    <a:lnTo>
                      <a:pt x="2" y="660"/>
                    </a:lnTo>
                    <a:lnTo>
                      <a:pt x="1" y="653"/>
                    </a:lnTo>
                    <a:lnTo>
                      <a:pt x="0" y="639"/>
                    </a:lnTo>
                    <a:lnTo>
                      <a:pt x="0" y="628"/>
                    </a:lnTo>
                    <a:lnTo>
                      <a:pt x="0" y="604"/>
                    </a:lnTo>
                    <a:lnTo>
                      <a:pt x="2" y="581"/>
                    </a:lnTo>
                    <a:lnTo>
                      <a:pt x="3" y="570"/>
                    </a:lnTo>
                    <a:lnTo>
                      <a:pt x="5" y="558"/>
                    </a:lnTo>
                    <a:lnTo>
                      <a:pt x="8" y="545"/>
                    </a:lnTo>
                    <a:lnTo>
                      <a:pt x="13" y="529"/>
                    </a:lnTo>
                    <a:lnTo>
                      <a:pt x="26" y="514"/>
                    </a:lnTo>
                    <a:lnTo>
                      <a:pt x="38" y="499"/>
                    </a:lnTo>
                    <a:lnTo>
                      <a:pt x="50" y="482"/>
                    </a:lnTo>
                    <a:lnTo>
                      <a:pt x="61" y="467"/>
                    </a:lnTo>
                    <a:lnTo>
                      <a:pt x="81" y="434"/>
                    </a:lnTo>
                    <a:lnTo>
                      <a:pt x="101" y="401"/>
                    </a:lnTo>
                    <a:lnTo>
                      <a:pt x="119" y="368"/>
                    </a:lnTo>
                    <a:lnTo>
                      <a:pt x="141" y="336"/>
                    </a:lnTo>
                    <a:lnTo>
                      <a:pt x="152" y="321"/>
                    </a:lnTo>
                    <a:lnTo>
                      <a:pt x="164" y="305"/>
                    </a:lnTo>
                    <a:lnTo>
                      <a:pt x="177" y="291"/>
                    </a:lnTo>
                    <a:lnTo>
                      <a:pt x="193" y="277"/>
                    </a:lnTo>
                    <a:lnTo>
                      <a:pt x="198" y="271"/>
                    </a:lnTo>
                    <a:lnTo>
                      <a:pt x="204" y="265"/>
                    </a:lnTo>
                    <a:lnTo>
                      <a:pt x="208" y="257"/>
                    </a:lnTo>
                    <a:lnTo>
                      <a:pt x="213" y="250"/>
                    </a:lnTo>
                    <a:lnTo>
                      <a:pt x="219" y="234"/>
                    </a:lnTo>
                    <a:lnTo>
                      <a:pt x="227" y="218"/>
                    </a:lnTo>
                    <a:lnTo>
                      <a:pt x="233" y="200"/>
                    </a:lnTo>
                    <a:lnTo>
                      <a:pt x="242" y="184"/>
                    </a:lnTo>
                    <a:lnTo>
                      <a:pt x="247" y="176"/>
                    </a:lnTo>
                    <a:lnTo>
                      <a:pt x="252" y="169"/>
                    </a:lnTo>
                    <a:lnTo>
                      <a:pt x="259" y="161"/>
                    </a:lnTo>
                    <a:lnTo>
                      <a:pt x="265" y="154"/>
                    </a:lnTo>
                    <a:lnTo>
                      <a:pt x="266" y="131"/>
                    </a:lnTo>
                    <a:lnTo>
                      <a:pt x="270" y="109"/>
                    </a:lnTo>
                    <a:lnTo>
                      <a:pt x="274" y="89"/>
                    </a:lnTo>
                    <a:lnTo>
                      <a:pt x="278" y="73"/>
                    </a:lnTo>
                    <a:lnTo>
                      <a:pt x="299" y="74"/>
                    </a:lnTo>
                    <a:lnTo>
                      <a:pt x="326" y="77"/>
                    </a:lnTo>
                    <a:lnTo>
                      <a:pt x="349" y="79"/>
                    </a:lnTo>
                    <a:lnTo>
                      <a:pt x="359" y="80"/>
                    </a:lnTo>
                    <a:lnTo>
                      <a:pt x="357" y="91"/>
                    </a:lnTo>
                    <a:lnTo>
                      <a:pt x="355" y="102"/>
                    </a:lnTo>
                    <a:lnTo>
                      <a:pt x="352" y="112"/>
                    </a:lnTo>
                    <a:lnTo>
                      <a:pt x="349" y="121"/>
                    </a:lnTo>
                    <a:lnTo>
                      <a:pt x="344" y="130"/>
                    </a:lnTo>
                    <a:lnTo>
                      <a:pt x="341" y="138"/>
                    </a:lnTo>
                    <a:lnTo>
                      <a:pt x="339" y="146"/>
                    </a:lnTo>
                    <a:lnTo>
                      <a:pt x="339" y="154"/>
                    </a:lnTo>
                    <a:lnTo>
                      <a:pt x="343" y="153"/>
                    </a:lnTo>
                    <a:lnTo>
                      <a:pt x="348" y="150"/>
                    </a:lnTo>
                    <a:lnTo>
                      <a:pt x="352" y="147"/>
                    </a:lnTo>
                    <a:lnTo>
                      <a:pt x="356" y="144"/>
                    </a:lnTo>
                    <a:lnTo>
                      <a:pt x="364" y="137"/>
                    </a:lnTo>
                    <a:lnTo>
                      <a:pt x="371" y="129"/>
                    </a:lnTo>
                    <a:lnTo>
                      <a:pt x="376" y="120"/>
                    </a:lnTo>
                    <a:lnTo>
                      <a:pt x="381" y="110"/>
                    </a:lnTo>
                    <a:lnTo>
                      <a:pt x="385" y="99"/>
                    </a:lnTo>
                    <a:lnTo>
                      <a:pt x="388" y="87"/>
                    </a:lnTo>
                    <a:lnTo>
                      <a:pt x="394" y="66"/>
                    </a:lnTo>
                    <a:lnTo>
                      <a:pt x="396" y="48"/>
                    </a:lnTo>
                    <a:lnTo>
                      <a:pt x="398" y="35"/>
                    </a:lnTo>
                    <a:lnTo>
                      <a:pt x="398" y="30"/>
                    </a:lnTo>
                    <a:lnTo>
                      <a:pt x="1827" y="30"/>
                    </a:lnTo>
                    <a:lnTo>
                      <a:pt x="1825" y="21"/>
                    </a:lnTo>
                    <a:lnTo>
                      <a:pt x="1823" y="13"/>
                    </a:lnTo>
                    <a:lnTo>
                      <a:pt x="1821" y="5"/>
                    </a:lnTo>
                    <a:lnTo>
                      <a:pt x="1820" y="0"/>
                    </a:lnTo>
                    <a:lnTo>
                      <a:pt x="1827" y="0"/>
                    </a:lnTo>
                    <a:lnTo>
                      <a:pt x="1853" y="0"/>
                    </a:lnTo>
                    <a:lnTo>
                      <a:pt x="1854" y="11"/>
                    </a:lnTo>
                    <a:lnTo>
                      <a:pt x="1856" y="21"/>
                    </a:lnTo>
                    <a:lnTo>
                      <a:pt x="1861" y="30"/>
                    </a:lnTo>
                    <a:lnTo>
                      <a:pt x="1866" y="38"/>
                    </a:lnTo>
                    <a:lnTo>
                      <a:pt x="1873" y="46"/>
                    </a:lnTo>
                    <a:lnTo>
                      <a:pt x="1881" y="51"/>
                    </a:lnTo>
                    <a:lnTo>
                      <a:pt x="1886" y="53"/>
                    </a:lnTo>
                    <a:lnTo>
                      <a:pt x="1890" y="54"/>
                    </a:lnTo>
                    <a:lnTo>
                      <a:pt x="1895" y="55"/>
                    </a:lnTo>
                    <a:lnTo>
                      <a:pt x="1900" y="55"/>
                    </a:lnTo>
                    <a:lnTo>
                      <a:pt x="1910" y="55"/>
                    </a:lnTo>
                    <a:lnTo>
                      <a:pt x="1926" y="55"/>
                    </a:lnTo>
                    <a:lnTo>
                      <a:pt x="1935" y="56"/>
                    </a:lnTo>
                    <a:lnTo>
                      <a:pt x="1944" y="58"/>
                    </a:lnTo>
                    <a:lnTo>
                      <a:pt x="1952" y="61"/>
                    </a:lnTo>
                    <a:lnTo>
                      <a:pt x="1958" y="64"/>
                    </a:lnTo>
                    <a:lnTo>
                      <a:pt x="1965" y="68"/>
                    </a:lnTo>
                    <a:lnTo>
                      <a:pt x="1972" y="71"/>
                    </a:lnTo>
                    <a:lnTo>
                      <a:pt x="1979" y="73"/>
                    </a:lnTo>
                    <a:lnTo>
                      <a:pt x="1986" y="73"/>
                    </a:lnTo>
                    <a:lnTo>
                      <a:pt x="1992" y="72"/>
                    </a:lnTo>
                    <a:lnTo>
                      <a:pt x="1999" y="67"/>
                    </a:lnTo>
                    <a:lnTo>
                      <a:pt x="2003" y="63"/>
                    </a:lnTo>
                    <a:lnTo>
                      <a:pt x="2006" y="61"/>
                    </a:lnTo>
                    <a:lnTo>
                      <a:pt x="2015" y="69"/>
                    </a:lnTo>
                    <a:lnTo>
                      <a:pt x="2024" y="75"/>
                    </a:lnTo>
                    <a:lnTo>
                      <a:pt x="2035" y="81"/>
                    </a:lnTo>
                    <a:lnTo>
                      <a:pt x="2046" y="86"/>
                    </a:lnTo>
                    <a:lnTo>
                      <a:pt x="2038" y="93"/>
                    </a:lnTo>
                    <a:lnTo>
                      <a:pt x="2031" y="100"/>
                    </a:lnTo>
                    <a:lnTo>
                      <a:pt x="2021" y="104"/>
                    </a:lnTo>
                    <a:lnTo>
                      <a:pt x="2011" y="108"/>
                    </a:lnTo>
                    <a:lnTo>
                      <a:pt x="1989" y="114"/>
                    </a:lnTo>
                    <a:lnTo>
                      <a:pt x="1967" y="118"/>
                    </a:lnTo>
                    <a:lnTo>
                      <a:pt x="1956" y="120"/>
                    </a:lnTo>
                    <a:lnTo>
                      <a:pt x="1946" y="122"/>
                    </a:lnTo>
                    <a:lnTo>
                      <a:pt x="1937" y="125"/>
                    </a:lnTo>
                    <a:lnTo>
                      <a:pt x="1929" y="128"/>
                    </a:lnTo>
                    <a:lnTo>
                      <a:pt x="1922" y="133"/>
                    </a:lnTo>
                    <a:lnTo>
                      <a:pt x="1918" y="138"/>
                    </a:lnTo>
                    <a:lnTo>
                      <a:pt x="1916" y="141"/>
                    </a:lnTo>
                    <a:lnTo>
                      <a:pt x="1914" y="145"/>
                    </a:lnTo>
                    <a:lnTo>
                      <a:pt x="1913" y="149"/>
                    </a:lnTo>
                    <a:lnTo>
                      <a:pt x="1913" y="154"/>
                    </a:lnTo>
                    <a:lnTo>
                      <a:pt x="1926" y="155"/>
                    </a:lnTo>
                    <a:lnTo>
                      <a:pt x="1937" y="156"/>
                    </a:lnTo>
                    <a:lnTo>
                      <a:pt x="1946" y="158"/>
                    </a:lnTo>
                    <a:lnTo>
                      <a:pt x="1954" y="160"/>
                    </a:lnTo>
                    <a:lnTo>
                      <a:pt x="1962" y="162"/>
                    </a:lnTo>
                    <a:lnTo>
                      <a:pt x="1969" y="164"/>
                    </a:lnTo>
                    <a:lnTo>
                      <a:pt x="1977" y="166"/>
                    </a:lnTo>
                    <a:lnTo>
                      <a:pt x="1986" y="166"/>
                    </a:lnTo>
                    <a:lnTo>
                      <a:pt x="1996" y="165"/>
                    </a:lnTo>
                    <a:lnTo>
                      <a:pt x="2011" y="161"/>
                    </a:lnTo>
                    <a:lnTo>
                      <a:pt x="2028" y="155"/>
                    </a:lnTo>
                    <a:lnTo>
                      <a:pt x="2047" y="147"/>
                    </a:lnTo>
                    <a:lnTo>
                      <a:pt x="2067" y="140"/>
                    </a:lnTo>
                    <a:lnTo>
                      <a:pt x="2087" y="135"/>
                    </a:lnTo>
                    <a:lnTo>
                      <a:pt x="2104" y="130"/>
                    </a:lnTo>
                    <a:lnTo>
                      <a:pt x="2119" y="129"/>
                    </a:lnTo>
                    <a:lnTo>
                      <a:pt x="2109" y="140"/>
                    </a:lnTo>
                    <a:lnTo>
                      <a:pt x="2101" y="147"/>
                    </a:lnTo>
                    <a:lnTo>
                      <a:pt x="2097" y="151"/>
                    </a:lnTo>
                    <a:lnTo>
                      <a:pt x="2094" y="155"/>
                    </a:lnTo>
                    <a:lnTo>
                      <a:pt x="2093" y="160"/>
                    </a:lnTo>
                    <a:lnTo>
                      <a:pt x="2092" y="166"/>
                    </a:lnTo>
                    <a:lnTo>
                      <a:pt x="2102" y="166"/>
                    </a:lnTo>
                    <a:lnTo>
                      <a:pt x="2112" y="166"/>
                    </a:lnTo>
                    <a:lnTo>
                      <a:pt x="2121" y="167"/>
                    </a:lnTo>
                    <a:lnTo>
                      <a:pt x="2138" y="169"/>
                    </a:lnTo>
                    <a:lnTo>
                      <a:pt x="2163" y="172"/>
                    </a:lnTo>
                    <a:lnTo>
                      <a:pt x="2191" y="175"/>
                    </a:lnTo>
                    <a:lnTo>
                      <a:pt x="2221" y="179"/>
                    </a:lnTo>
                    <a:lnTo>
                      <a:pt x="2248" y="182"/>
                    </a:lnTo>
                    <a:lnTo>
                      <a:pt x="2270" y="184"/>
                    </a:lnTo>
                    <a:lnTo>
                      <a:pt x="2286" y="184"/>
                    </a:lnTo>
                    <a:lnTo>
                      <a:pt x="2284" y="193"/>
                    </a:lnTo>
                    <a:lnTo>
                      <a:pt x="2282" y="199"/>
                    </a:lnTo>
                    <a:lnTo>
                      <a:pt x="2279" y="205"/>
                    </a:lnTo>
                    <a:lnTo>
                      <a:pt x="2275" y="210"/>
                    </a:lnTo>
                    <a:lnTo>
                      <a:pt x="2269" y="212"/>
                    </a:lnTo>
                    <a:lnTo>
                      <a:pt x="2262" y="214"/>
                    </a:lnTo>
                    <a:lnTo>
                      <a:pt x="2255" y="215"/>
                    </a:lnTo>
                    <a:lnTo>
                      <a:pt x="2245" y="216"/>
                    </a:lnTo>
                    <a:lnTo>
                      <a:pt x="2238" y="215"/>
                    </a:lnTo>
                    <a:lnTo>
                      <a:pt x="2233" y="214"/>
                    </a:lnTo>
                    <a:lnTo>
                      <a:pt x="2228" y="212"/>
                    </a:lnTo>
                    <a:lnTo>
                      <a:pt x="2225" y="210"/>
                    </a:lnTo>
                    <a:lnTo>
                      <a:pt x="2222" y="206"/>
                    </a:lnTo>
                    <a:lnTo>
                      <a:pt x="2217" y="204"/>
                    </a:lnTo>
                    <a:lnTo>
                      <a:pt x="2212" y="203"/>
                    </a:lnTo>
                    <a:lnTo>
                      <a:pt x="2205" y="203"/>
                    </a:lnTo>
                    <a:lnTo>
                      <a:pt x="2194" y="203"/>
                    </a:lnTo>
                    <a:lnTo>
                      <a:pt x="2185" y="205"/>
                    </a:lnTo>
                    <a:lnTo>
                      <a:pt x="2175" y="209"/>
                    </a:lnTo>
                    <a:lnTo>
                      <a:pt x="2166" y="213"/>
                    </a:lnTo>
                    <a:lnTo>
                      <a:pt x="2149" y="223"/>
                    </a:lnTo>
                    <a:lnTo>
                      <a:pt x="2135" y="234"/>
                    </a:lnTo>
                    <a:lnTo>
                      <a:pt x="2121" y="245"/>
                    </a:lnTo>
                    <a:lnTo>
                      <a:pt x="2108" y="255"/>
                    </a:lnTo>
                    <a:lnTo>
                      <a:pt x="2100" y="258"/>
                    </a:lnTo>
                    <a:lnTo>
                      <a:pt x="2093" y="261"/>
                    </a:lnTo>
                    <a:lnTo>
                      <a:pt x="2087" y="264"/>
                    </a:lnTo>
                    <a:lnTo>
                      <a:pt x="2079" y="265"/>
                    </a:lnTo>
                    <a:lnTo>
                      <a:pt x="2073" y="266"/>
                    </a:lnTo>
                    <a:lnTo>
                      <a:pt x="2068" y="268"/>
                    </a:lnTo>
                    <a:lnTo>
                      <a:pt x="2066" y="271"/>
                    </a:lnTo>
                    <a:lnTo>
                      <a:pt x="2064" y="276"/>
                    </a:lnTo>
                    <a:lnTo>
                      <a:pt x="2063" y="285"/>
                    </a:lnTo>
                    <a:lnTo>
                      <a:pt x="2059" y="295"/>
                    </a:lnTo>
                    <a:lnTo>
                      <a:pt x="2056" y="304"/>
                    </a:lnTo>
                    <a:lnTo>
                      <a:pt x="2053" y="312"/>
                    </a:lnTo>
                    <a:lnTo>
                      <a:pt x="2048" y="321"/>
                    </a:lnTo>
                    <a:lnTo>
                      <a:pt x="2043" y="328"/>
                    </a:lnTo>
                    <a:lnTo>
                      <a:pt x="2032" y="342"/>
                    </a:lnTo>
                    <a:lnTo>
                      <a:pt x="2021" y="355"/>
                    </a:lnTo>
                    <a:lnTo>
                      <a:pt x="2015" y="362"/>
                    </a:lnTo>
                    <a:lnTo>
                      <a:pt x="2010" y="369"/>
                    </a:lnTo>
                    <a:lnTo>
                      <a:pt x="2006" y="378"/>
                    </a:lnTo>
                    <a:lnTo>
                      <a:pt x="2001" y="386"/>
                    </a:lnTo>
                    <a:lnTo>
                      <a:pt x="1998" y="394"/>
                    </a:lnTo>
                    <a:lnTo>
                      <a:pt x="1995" y="404"/>
                    </a:lnTo>
                    <a:lnTo>
                      <a:pt x="1993" y="414"/>
                    </a:lnTo>
                    <a:lnTo>
                      <a:pt x="1992" y="424"/>
                    </a:lnTo>
                    <a:lnTo>
                      <a:pt x="1993" y="432"/>
                    </a:lnTo>
                    <a:lnTo>
                      <a:pt x="1997" y="438"/>
                    </a:lnTo>
                    <a:lnTo>
                      <a:pt x="2001" y="443"/>
                    </a:lnTo>
                    <a:lnTo>
                      <a:pt x="2007" y="447"/>
                    </a:lnTo>
                    <a:lnTo>
                      <a:pt x="2012" y="451"/>
                    </a:lnTo>
                    <a:lnTo>
                      <a:pt x="2018" y="453"/>
                    </a:lnTo>
                    <a:lnTo>
                      <a:pt x="2022" y="455"/>
                    </a:lnTo>
                    <a:lnTo>
                      <a:pt x="2026" y="456"/>
                    </a:lnTo>
                    <a:lnTo>
                      <a:pt x="2032" y="455"/>
                    </a:lnTo>
                    <a:lnTo>
                      <a:pt x="2037" y="454"/>
                    </a:lnTo>
                    <a:lnTo>
                      <a:pt x="2043" y="453"/>
                    </a:lnTo>
                    <a:lnTo>
                      <a:pt x="2047" y="451"/>
                    </a:lnTo>
                    <a:lnTo>
                      <a:pt x="2052" y="448"/>
                    </a:lnTo>
                    <a:lnTo>
                      <a:pt x="2056" y="445"/>
                    </a:lnTo>
                    <a:lnTo>
                      <a:pt x="2060" y="441"/>
                    </a:lnTo>
                    <a:lnTo>
                      <a:pt x="2064" y="437"/>
                    </a:lnTo>
                    <a:lnTo>
                      <a:pt x="2070" y="427"/>
                    </a:lnTo>
                    <a:lnTo>
                      <a:pt x="2076" y="417"/>
                    </a:lnTo>
                    <a:lnTo>
                      <a:pt x="2080" y="405"/>
                    </a:lnTo>
                    <a:lnTo>
                      <a:pt x="2085" y="393"/>
                    </a:lnTo>
                    <a:lnTo>
                      <a:pt x="2092" y="368"/>
                    </a:lnTo>
                    <a:lnTo>
                      <a:pt x="2100" y="344"/>
                    </a:lnTo>
                    <a:lnTo>
                      <a:pt x="2103" y="333"/>
                    </a:lnTo>
                    <a:lnTo>
                      <a:pt x="2108" y="323"/>
                    </a:lnTo>
                    <a:lnTo>
                      <a:pt x="2113" y="314"/>
                    </a:lnTo>
                    <a:lnTo>
                      <a:pt x="2119" y="307"/>
                    </a:lnTo>
                    <a:lnTo>
                      <a:pt x="2135" y="295"/>
                    </a:lnTo>
                    <a:lnTo>
                      <a:pt x="2152" y="283"/>
                    </a:lnTo>
                    <a:lnTo>
                      <a:pt x="2169" y="273"/>
                    </a:lnTo>
                    <a:lnTo>
                      <a:pt x="2188" y="262"/>
                    </a:lnTo>
                    <a:lnTo>
                      <a:pt x="2205" y="252"/>
                    </a:lnTo>
                    <a:lnTo>
                      <a:pt x="2223" y="243"/>
                    </a:lnTo>
                    <a:lnTo>
                      <a:pt x="2238" y="233"/>
                    </a:lnTo>
                    <a:lnTo>
                      <a:pt x="2251" y="222"/>
                    </a:lnTo>
                    <a:lnTo>
                      <a:pt x="2266" y="237"/>
                    </a:lnTo>
                    <a:lnTo>
                      <a:pt x="2278" y="249"/>
                    </a:lnTo>
                    <a:lnTo>
                      <a:pt x="2283" y="255"/>
                    </a:lnTo>
                    <a:lnTo>
                      <a:pt x="2288" y="261"/>
                    </a:lnTo>
                    <a:lnTo>
                      <a:pt x="2293" y="269"/>
                    </a:lnTo>
                    <a:lnTo>
                      <a:pt x="2299" y="277"/>
                    </a:lnTo>
                    <a:lnTo>
                      <a:pt x="2289" y="284"/>
                    </a:lnTo>
                    <a:lnTo>
                      <a:pt x="2281" y="290"/>
                    </a:lnTo>
                    <a:lnTo>
                      <a:pt x="2273" y="296"/>
                    </a:lnTo>
                    <a:lnTo>
                      <a:pt x="2267" y="303"/>
                    </a:lnTo>
                    <a:lnTo>
                      <a:pt x="2260" y="310"/>
                    </a:lnTo>
                    <a:lnTo>
                      <a:pt x="2255" y="318"/>
                    </a:lnTo>
                    <a:lnTo>
                      <a:pt x="2250" y="328"/>
                    </a:lnTo>
                    <a:lnTo>
                      <a:pt x="2245" y="339"/>
                    </a:lnTo>
                    <a:lnTo>
                      <a:pt x="2259" y="338"/>
                    </a:lnTo>
                    <a:lnTo>
                      <a:pt x="2271" y="336"/>
                    </a:lnTo>
                    <a:lnTo>
                      <a:pt x="2284" y="334"/>
                    </a:lnTo>
                    <a:lnTo>
                      <a:pt x="2299" y="333"/>
                    </a:lnTo>
                    <a:lnTo>
                      <a:pt x="2299" y="347"/>
                    </a:lnTo>
                    <a:lnTo>
                      <a:pt x="2299" y="363"/>
                    </a:lnTo>
                    <a:lnTo>
                      <a:pt x="2299" y="380"/>
                    </a:lnTo>
                    <a:lnTo>
                      <a:pt x="2299" y="394"/>
                    </a:lnTo>
                    <a:lnTo>
                      <a:pt x="2293" y="399"/>
                    </a:lnTo>
                    <a:lnTo>
                      <a:pt x="2288" y="404"/>
                    </a:lnTo>
                    <a:lnTo>
                      <a:pt x="2281" y="411"/>
                    </a:lnTo>
                    <a:lnTo>
                      <a:pt x="2276" y="418"/>
                    </a:lnTo>
                    <a:lnTo>
                      <a:pt x="2250" y="426"/>
                    </a:lnTo>
                    <a:lnTo>
                      <a:pt x="2228" y="435"/>
                    </a:lnTo>
                    <a:lnTo>
                      <a:pt x="2219" y="439"/>
                    </a:lnTo>
                    <a:lnTo>
                      <a:pt x="2212" y="443"/>
                    </a:lnTo>
                    <a:lnTo>
                      <a:pt x="2206" y="446"/>
                    </a:lnTo>
                    <a:lnTo>
                      <a:pt x="2205" y="450"/>
                    </a:lnTo>
                    <a:lnTo>
                      <a:pt x="2205" y="452"/>
                    </a:lnTo>
                    <a:lnTo>
                      <a:pt x="2206" y="454"/>
                    </a:lnTo>
                    <a:lnTo>
                      <a:pt x="2209" y="456"/>
                    </a:lnTo>
                    <a:lnTo>
                      <a:pt x="2212" y="458"/>
                    </a:lnTo>
                    <a:lnTo>
                      <a:pt x="2219" y="463"/>
                    </a:lnTo>
                    <a:lnTo>
                      <a:pt x="2227" y="466"/>
                    </a:lnTo>
                    <a:lnTo>
                      <a:pt x="2236" y="469"/>
                    </a:lnTo>
                    <a:lnTo>
                      <a:pt x="2245" y="472"/>
                    </a:lnTo>
                    <a:lnTo>
                      <a:pt x="2253" y="473"/>
                    </a:lnTo>
                    <a:lnTo>
                      <a:pt x="2258" y="474"/>
                    </a:lnTo>
                    <a:lnTo>
                      <a:pt x="2265" y="473"/>
                    </a:lnTo>
                    <a:lnTo>
                      <a:pt x="2273" y="472"/>
                    </a:lnTo>
                    <a:lnTo>
                      <a:pt x="2283" y="469"/>
                    </a:lnTo>
                    <a:lnTo>
                      <a:pt x="2293" y="466"/>
                    </a:lnTo>
                    <a:lnTo>
                      <a:pt x="2317" y="457"/>
                    </a:lnTo>
                    <a:lnTo>
                      <a:pt x="2343" y="447"/>
                    </a:lnTo>
                    <a:lnTo>
                      <a:pt x="2369" y="436"/>
                    </a:lnTo>
                    <a:lnTo>
                      <a:pt x="2393" y="425"/>
                    </a:lnTo>
                    <a:lnTo>
                      <a:pt x="2415" y="415"/>
                    </a:lnTo>
                    <a:lnTo>
                      <a:pt x="2433" y="408"/>
                    </a:lnTo>
                    <a:lnTo>
                      <a:pt x="2439" y="407"/>
                    </a:lnTo>
                    <a:lnTo>
                      <a:pt x="2446" y="405"/>
                    </a:lnTo>
                    <a:lnTo>
                      <a:pt x="2452" y="403"/>
                    </a:lnTo>
                    <a:lnTo>
                      <a:pt x="2458" y="400"/>
                    </a:lnTo>
                    <a:lnTo>
                      <a:pt x="2530" y="382"/>
                    </a:lnTo>
                    <a:lnTo>
                      <a:pt x="2544" y="380"/>
                    </a:lnTo>
                    <a:lnTo>
                      <a:pt x="2557" y="378"/>
                    </a:lnTo>
                    <a:lnTo>
                      <a:pt x="2570" y="373"/>
                    </a:lnTo>
                    <a:lnTo>
                      <a:pt x="2583" y="369"/>
                    </a:lnTo>
                    <a:lnTo>
                      <a:pt x="2597" y="364"/>
                    </a:lnTo>
                    <a:lnTo>
                      <a:pt x="2611" y="357"/>
                    </a:lnTo>
                    <a:lnTo>
                      <a:pt x="2625" y="350"/>
                    </a:lnTo>
                    <a:lnTo>
                      <a:pt x="2638" y="342"/>
                    </a:lnTo>
                    <a:lnTo>
                      <a:pt x="2651" y="334"/>
                    </a:lnTo>
                    <a:lnTo>
                      <a:pt x="2664" y="324"/>
                    </a:lnTo>
                    <a:lnTo>
                      <a:pt x="2676" y="313"/>
                    </a:lnTo>
                    <a:lnTo>
                      <a:pt x="2689" y="303"/>
                    </a:lnTo>
                    <a:lnTo>
                      <a:pt x="2701" y="291"/>
                    </a:lnTo>
                    <a:lnTo>
                      <a:pt x="2710" y="279"/>
                    </a:lnTo>
                    <a:lnTo>
                      <a:pt x="2721" y="266"/>
                    </a:lnTo>
                    <a:lnTo>
                      <a:pt x="2730" y="252"/>
                    </a:lnTo>
                    <a:lnTo>
                      <a:pt x="2817" y="252"/>
                    </a:lnTo>
                    <a:lnTo>
                      <a:pt x="2850" y="248"/>
                    </a:lnTo>
                    <a:lnTo>
                      <a:pt x="2880" y="246"/>
                    </a:lnTo>
                    <a:lnTo>
                      <a:pt x="2906" y="244"/>
                    </a:lnTo>
                    <a:lnTo>
                      <a:pt x="2931" y="241"/>
                    </a:lnTo>
                    <a:lnTo>
                      <a:pt x="2942" y="239"/>
                    </a:lnTo>
                    <a:lnTo>
                      <a:pt x="2954" y="237"/>
                    </a:lnTo>
                    <a:lnTo>
                      <a:pt x="2965" y="234"/>
                    </a:lnTo>
                    <a:lnTo>
                      <a:pt x="2975" y="230"/>
                    </a:lnTo>
                    <a:lnTo>
                      <a:pt x="2986" y="225"/>
                    </a:lnTo>
                    <a:lnTo>
                      <a:pt x="2996" y="219"/>
                    </a:lnTo>
                    <a:lnTo>
                      <a:pt x="3006" y="212"/>
                    </a:lnTo>
                    <a:lnTo>
                      <a:pt x="3016" y="203"/>
                    </a:lnTo>
                    <a:lnTo>
                      <a:pt x="3028" y="190"/>
                    </a:lnTo>
                    <a:lnTo>
                      <a:pt x="3038" y="177"/>
                    </a:lnTo>
                    <a:lnTo>
                      <a:pt x="3048" y="162"/>
                    </a:lnTo>
                    <a:lnTo>
                      <a:pt x="3059" y="148"/>
                    </a:lnTo>
                    <a:lnTo>
                      <a:pt x="3064" y="142"/>
                    </a:lnTo>
                    <a:lnTo>
                      <a:pt x="3070" y="136"/>
                    </a:lnTo>
                    <a:lnTo>
                      <a:pt x="3075" y="130"/>
                    </a:lnTo>
                    <a:lnTo>
                      <a:pt x="3082" y="126"/>
                    </a:lnTo>
                    <a:lnTo>
                      <a:pt x="3089" y="122"/>
                    </a:lnTo>
                    <a:lnTo>
                      <a:pt x="3097" y="119"/>
                    </a:lnTo>
                    <a:lnTo>
                      <a:pt x="3106" y="117"/>
                    </a:lnTo>
                    <a:lnTo>
                      <a:pt x="3116" y="117"/>
                    </a:lnTo>
                    <a:lnTo>
                      <a:pt x="3136" y="118"/>
                    </a:lnTo>
                    <a:lnTo>
                      <a:pt x="3153" y="119"/>
                    </a:lnTo>
                    <a:lnTo>
                      <a:pt x="3160" y="120"/>
                    </a:lnTo>
                    <a:lnTo>
                      <a:pt x="3165" y="119"/>
                    </a:lnTo>
                    <a:lnTo>
                      <a:pt x="3171" y="119"/>
                    </a:lnTo>
                    <a:lnTo>
                      <a:pt x="3175" y="117"/>
                    </a:lnTo>
                    <a:lnTo>
                      <a:pt x="3175" y="125"/>
                    </a:lnTo>
                    <a:lnTo>
                      <a:pt x="3172" y="134"/>
                    </a:lnTo>
                    <a:lnTo>
                      <a:pt x="3168" y="144"/>
                    </a:lnTo>
                    <a:lnTo>
                      <a:pt x="3164" y="156"/>
                    </a:lnTo>
                    <a:lnTo>
                      <a:pt x="3160" y="165"/>
                    </a:lnTo>
                    <a:lnTo>
                      <a:pt x="3155" y="174"/>
                    </a:lnTo>
                    <a:lnTo>
                      <a:pt x="3152" y="181"/>
                    </a:lnTo>
                    <a:lnTo>
                      <a:pt x="3149" y="184"/>
                    </a:lnTo>
                    <a:lnTo>
                      <a:pt x="3149" y="252"/>
                    </a:lnTo>
                    <a:lnTo>
                      <a:pt x="3155" y="258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3" name="Freeform 7"/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7493232" y="3908426"/>
                <a:ext cx="426624" cy="666793"/>
              </a:xfrm>
              <a:custGeom>
                <a:avLst/>
                <a:gdLst>
                  <a:gd name="T0" fmla="*/ 2147483647 w 784"/>
                  <a:gd name="T1" fmla="*/ 2147483647 h 1128"/>
                  <a:gd name="T2" fmla="*/ 2147483647 w 784"/>
                  <a:gd name="T3" fmla="*/ 2147483647 h 1128"/>
                  <a:gd name="T4" fmla="*/ 2147483647 w 784"/>
                  <a:gd name="T5" fmla="*/ 2147483647 h 1128"/>
                  <a:gd name="T6" fmla="*/ 2147483647 w 784"/>
                  <a:gd name="T7" fmla="*/ 2147483647 h 1128"/>
                  <a:gd name="T8" fmla="*/ 2147483647 w 784"/>
                  <a:gd name="T9" fmla="*/ 2147483647 h 1128"/>
                  <a:gd name="T10" fmla="*/ 2147483647 w 784"/>
                  <a:gd name="T11" fmla="*/ 2147483647 h 1128"/>
                  <a:gd name="T12" fmla="*/ 2147483647 w 784"/>
                  <a:gd name="T13" fmla="*/ 2147483647 h 1128"/>
                  <a:gd name="T14" fmla="*/ 2147483647 w 784"/>
                  <a:gd name="T15" fmla="*/ 2147483647 h 1128"/>
                  <a:gd name="T16" fmla="*/ 2147483647 w 784"/>
                  <a:gd name="T17" fmla="*/ 2147483647 h 1128"/>
                  <a:gd name="T18" fmla="*/ 2147483647 w 784"/>
                  <a:gd name="T19" fmla="*/ 2147483647 h 1128"/>
                  <a:gd name="T20" fmla="*/ 2147483647 w 784"/>
                  <a:gd name="T21" fmla="*/ 2147483647 h 1128"/>
                  <a:gd name="T22" fmla="*/ 2147483647 w 784"/>
                  <a:gd name="T23" fmla="*/ 2147483647 h 1128"/>
                  <a:gd name="T24" fmla="*/ 2147483647 w 784"/>
                  <a:gd name="T25" fmla="*/ 2147483647 h 1128"/>
                  <a:gd name="T26" fmla="*/ 2147483647 w 784"/>
                  <a:gd name="T27" fmla="*/ 2147483647 h 1128"/>
                  <a:gd name="T28" fmla="*/ 2147483647 w 784"/>
                  <a:gd name="T29" fmla="*/ 2147483647 h 1128"/>
                  <a:gd name="T30" fmla="*/ 2147483647 w 784"/>
                  <a:gd name="T31" fmla="*/ 2147483647 h 1128"/>
                  <a:gd name="T32" fmla="*/ 2147483647 w 784"/>
                  <a:gd name="T33" fmla="*/ 2147483647 h 1128"/>
                  <a:gd name="T34" fmla="*/ 2147483647 w 784"/>
                  <a:gd name="T35" fmla="*/ 2147483647 h 1128"/>
                  <a:gd name="T36" fmla="*/ 2147483647 w 784"/>
                  <a:gd name="T37" fmla="*/ 2147483647 h 1128"/>
                  <a:gd name="T38" fmla="*/ 2147483647 w 784"/>
                  <a:gd name="T39" fmla="*/ 2147483647 h 1128"/>
                  <a:gd name="T40" fmla="*/ 2147483647 w 784"/>
                  <a:gd name="T41" fmla="*/ 2147483647 h 1128"/>
                  <a:gd name="T42" fmla="*/ 2147483647 w 784"/>
                  <a:gd name="T43" fmla="*/ 2147483647 h 1128"/>
                  <a:gd name="T44" fmla="*/ 2147483647 w 784"/>
                  <a:gd name="T45" fmla="*/ 2147483647 h 1128"/>
                  <a:gd name="T46" fmla="*/ 2147483647 w 784"/>
                  <a:gd name="T47" fmla="*/ 2147483647 h 1128"/>
                  <a:gd name="T48" fmla="*/ 2147483647 w 784"/>
                  <a:gd name="T49" fmla="*/ 2147483647 h 1128"/>
                  <a:gd name="T50" fmla="*/ 2147483647 w 784"/>
                  <a:gd name="T51" fmla="*/ 2147483647 h 1128"/>
                  <a:gd name="T52" fmla="*/ 2147483647 w 784"/>
                  <a:gd name="T53" fmla="*/ 2147483647 h 1128"/>
                  <a:gd name="T54" fmla="*/ 2147483647 w 784"/>
                  <a:gd name="T55" fmla="*/ 2147483647 h 1128"/>
                  <a:gd name="T56" fmla="*/ 2147483647 w 784"/>
                  <a:gd name="T57" fmla="*/ 2147483647 h 1128"/>
                  <a:gd name="T58" fmla="*/ 2147483647 w 784"/>
                  <a:gd name="T59" fmla="*/ 2147483647 h 1128"/>
                  <a:gd name="T60" fmla="*/ 2147483647 w 784"/>
                  <a:gd name="T61" fmla="*/ 2147483647 h 1128"/>
                  <a:gd name="T62" fmla="*/ 2147483647 w 784"/>
                  <a:gd name="T63" fmla="*/ 2147483647 h 1128"/>
                  <a:gd name="T64" fmla="*/ 2147483647 w 784"/>
                  <a:gd name="T65" fmla="*/ 2147483647 h 1128"/>
                  <a:gd name="T66" fmla="*/ 2147483647 w 784"/>
                  <a:gd name="T67" fmla="*/ 2147483647 h 1128"/>
                  <a:gd name="T68" fmla="*/ 0 w 784"/>
                  <a:gd name="T69" fmla="*/ 2147483647 h 1128"/>
                  <a:gd name="T70" fmla="*/ 2094708059 w 784"/>
                  <a:gd name="T71" fmla="*/ 2147483647 h 1128"/>
                  <a:gd name="T72" fmla="*/ 2147483647 w 784"/>
                  <a:gd name="T73" fmla="*/ 2147483647 h 1128"/>
                  <a:gd name="T74" fmla="*/ 2147483647 w 784"/>
                  <a:gd name="T75" fmla="*/ 2147483647 h 1128"/>
                  <a:gd name="T76" fmla="*/ 2147483647 w 784"/>
                  <a:gd name="T77" fmla="*/ 2147483647 h 1128"/>
                  <a:gd name="T78" fmla="*/ 2147483647 w 784"/>
                  <a:gd name="T79" fmla="*/ 2147483647 h 1128"/>
                  <a:gd name="T80" fmla="*/ 2147483647 w 784"/>
                  <a:gd name="T81" fmla="*/ 2147483647 h 1128"/>
                  <a:gd name="T82" fmla="*/ 2147483647 w 784"/>
                  <a:gd name="T83" fmla="*/ 2147483647 h 1128"/>
                  <a:gd name="T84" fmla="*/ 2147483647 w 784"/>
                  <a:gd name="T85" fmla="*/ 2147483647 h 1128"/>
                  <a:gd name="T86" fmla="*/ 2147483647 w 784"/>
                  <a:gd name="T87" fmla="*/ 2147483647 h 1128"/>
                  <a:gd name="T88" fmla="*/ 2147483647 w 784"/>
                  <a:gd name="T89" fmla="*/ 2147483647 h 1128"/>
                  <a:gd name="T90" fmla="*/ 2147483647 w 784"/>
                  <a:gd name="T91" fmla="*/ 1032923834 h 1128"/>
                  <a:gd name="T92" fmla="*/ 2147483647 w 784"/>
                  <a:gd name="T93" fmla="*/ 2147483647 h 1128"/>
                  <a:gd name="T94" fmla="*/ 2147483647 w 784"/>
                  <a:gd name="T95" fmla="*/ 2147483647 h 1128"/>
                  <a:gd name="T96" fmla="*/ 2147483647 w 784"/>
                  <a:gd name="T97" fmla="*/ 2147483647 h 1128"/>
                  <a:gd name="T98" fmla="*/ 2147483647 w 784"/>
                  <a:gd name="T99" fmla="*/ 2147483647 h 1128"/>
                  <a:gd name="T100" fmla="*/ 2147483647 w 784"/>
                  <a:gd name="T101" fmla="*/ 2147483647 h 1128"/>
                  <a:gd name="T102" fmla="*/ 2147483647 w 784"/>
                  <a:gd name="T103" fmla="*/ 2147483647 h 1128"/>
                  <a:gd name="T104" fmla="*/ 2147483647 w 784"/>
                  <a:gd name="T105" fmla="*/ 2147483647 h 1128"/>
                  <a:gd name="T106" fmla="*/ 2147483647 w 784"/>
                  <a:gd name="T107" fmla="*/ 2147483647 h 1128"/>
                  <a:gd name="T108" fmla="*/ 2147483647 w 784"/>
                  <a:gd name="T109" fmla="*/ 2147483647 h 11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84" h="1128">
                    <a:moveTo>
                      <a:pt x="644" y="259"/>
                    </a:moveTo>
                    <a:lnTo>
                      <a:pt x="632" y="265"/>
                    </a:lnTo>
                    <a:lnTo>
                      <a:pt x="621" y="270"/>
                    </a:lnTo>
                    <a:lnTo>
                      <a:pt x="611" y="273"/>
                    </a:lnTo>
                    <a:lnTo>
                      <a:pt x="602" y="275"/>
                    </a:lnTo>
                    <a:lnTo>
                      <a:pt x="583" y="277"/>
                    </a:lnTo>
                    <a:lnTo>
                      <a:pt x="564" y="278"/>
                    </a:lnTo>
                    <a:lnTo>
                      <a:pt x="560" y="278"/>
                    </a:lnTo>
                    <a:lnTo>
                      <a:pt x="557" y="280"/>
                    </a:lnTo>
                    <a:lnTo>
                      <a:pt x="554" y="284"/>
                    </a:lnTo>
                    <a:lnTo>
                      <a:pt x="552" y="287"/>
                    </a:lnTo>
                    <a:lnTo>
                      <a:pt x="549" y="295"/>
                    </a:lnTo>
                    <a:lnTo>
                      <a:pt x="545" y="302"/>
                    </a:lnTo>
                    <a:lnTo>
                      <a:pt x="529" y="318"/>
                    </a:lnTo>
                    <a:lnTo>
                      <a:pt x="515" y="335"/>
                    </a:lnTo>
                    <a:lnTo>
                      <a:pt x="502" y="354"/>
                    </a:lnTo>
                    <a:lnTo>
                      <a:pt x="490" y="376"/>
                    </a:lnTo>
                    <a:lnTo>
                      <a:pt x="484" y="387"/>
                    </a:lnTo>
                    <a:lnTo>
                      <a:pt x="480" y="398"/>
                    </a:lnTo>
                    <a:lnTo>
                      <a:pt x="475" y="410"/>
                    </a:lnTo>
                    <a:lnTo>
                      <a:pt x="471" y="422"/>
                    </a:lnTo>
                    <a:lnTo>
                      <a:pt x="469" y="434"/>
                    </a:lnTo>
                    <a:lnTo>
                      <a:pt x="467" y="445"/>
                    </a:lnTo>
                    <a:lnTo>
                      <a:pt x="465" y="457"/>
                    </a:lnTo>
                    <a:lnTo>
                      <a:pt x="464" y="468"/>
                    </a:lnTo>
                    <a:lnTo>
                      <a:pt x="465" y="478"/>
                    </a:lnTo>
                    <a:lnTo>
                      <a:pt x="468" y="488"/>
                    </a:lnTo>
                    <a:lnTo>
                      <a:pt x="471" y="498"/>
                    </a:lnTo>
                    <a:lnTo>
                      <a:pt x="475" y="510"/>
                    </a:lnTo>
                    <a:lnTo>
                      <a:pt x="481" y="522"/>
                    </a:lnTo>
                    <a:lnTo>
                      <a:pt x="486" y="535"/>
                    </a:lnTo>
                    <a:lnTo>
                      <a:pt x="494" y="547"/>
                    </a:lnTo>
                    <a:lnTo>
                      <a:pt x="502" y="559"/>
                    </a:lnTo>
                    <a:lnTo>
                      <a:pt x="510" y="570"/>
                    </a:lnTo>
                    <a:lnTo>
                      <a:pt x="520" y="581"/>
                    </a:lnTo>
                    <a:lnTo>
                      <a:pt x="530" y="591"/>
                    </a:lnTo>
                    <a:lnTo>
                      <a:pt x="540" y="600"/>
                    </a:lnTo>
                    <a:lnTo>
                      <a:pt x="551" y="607"/>
                    </a:lnTo>
                    <a:lnTo>
                      <a:pt x="562" y="612"/>
                    </a:lnTo>
                    <a:lnTo>
                      <a:pt x="568" y="614"/>
                    </a:lnTo>
                    <a:lnTo>
                      <a:pt x="573" y="615"/>
                    </a:lnTo>
                    <a:lnTo>
                      <a:pt x="579" y="616"/>
                    </a:lnTo>
                    <a:lnTo>
                      <a:pt x="584" y="616"/>
                    </a:lnTo>
                    <a:lnTo>
                      <a:pt x="594" y="615"/>
                    </a:lnTo>
                    <a:lnTo>
                      <a:pt x="602" y="613"/>
                    </a:lnTo>
                    <a:lnTo>
                      <a:pt x="610" y="609"/>
                    </a:lnTo>
                    <a:lnTo>
                      <a:pt x="617" y="604"/>
                    </a:lnTo>
                    <a:lnTo>
                      <a:pt x="625" y="600"/>
                    </a:lnTo>
                    <a:lnTo>
                      <a:pt x="632" y="596"/>
                    </a:lnTo>
                    <a:lnTo>
                      <a:pt x="641" y="593"/>
                    </a:lnTo>
                    <a:lnTo>
                      <a:pt x="651" y="592"/>
                    </a:lnTo>
                    <a:lnTo>
                      <a:pt x="653" y="614"/>
                    </a:lnTo>
                    <a:lnTo>
                      <a:pt x="654" y="645"/>
                    </a:lnTo>
                    <a:lnTo>
                      <a:pt x="654" y="653"/>
                    </a:lnTo>
                    <a:lnTo>
                      <a:pt x="655" y="660"/>
                    </a:lnTo>
                    <a:lnTo>
                      <a:pt x="658" y="667"/>
                    </a:lnTo>
                    <a:lnTo>
                      <a:pt x="660" y="672"/>
                    </a:lnTo>
                    <a:lnTo>
                      <a:pt x="663" y="677"/>
                    </a:lnTo>
                    <a:lnTo>
                      <a:pt x="666" y="681"/>
                    </a:lnTo>
                    <a:lnTo>
                      <a:pt x="672" y="683"/>
                    </a:lnTo>
                    <a:lnTo>
                      <a:pt x="677" y="684"/>
                    </a:lnTo>
                    <a:lnTo>
                      <a:pt x="687" y="684"/>
                    </a:lnTo>
                    <a:lnTo>
                      <a:pt x="697" y="684"/>
                    </a:lnTo>
                    <a:lnTo>
                      <a:pt x="703" y="684"/>
                    </a:lnTo>
                    <a:lnTo>
                      <a:pt x="708" y="685"/>
                    </a:lnTo>
                    <a:lnTo>
                      <a:pt x="714" y="687"/>
                    </a:lnTo>
                    <a:lnTo>
                      <a:pt x="720" y="689"/>
                    </a:lnTo>
                    <a:lnTo>
                      <a:pt x="726" y="692"/>
                    </a:lnTo>
                    <a:lnTo>
                      <a:pt x="732" y="696"/>
                    </a:lnTo>
                    <a:lnTo>
                      <a:pt x="738" y="701"/>
                    </a:lnTo>
                    <a:lnTo>
                      <a:pt x="743" y="706"/>
                    </a:lnTo>
                    <a:lnTo>
                      <a:pt x="749" y="712"/>
                    </a:lnTo>
                    <a:lnTo>
                      <a:pt x="754" y="717"/>
                    </a:lnTo>
                    <a:lnTo>
                      <a:pt x="759" y="724"/>
                    </a:lnTo>
                    <a:lnTo>
                      <a:pt x="763" y="731"/>
                    </a:lnTo>
                    <a:lnTo>
                      <a:pt x="765" y="738"/>
                    </a:lnTo>
                    <a:lnTo>
                      <a:pt x="769" y="746"/>
                    </a:lnTo>
                    <a:lnTo>
                      <a:pt x="770" y="756"/>
                    </a:lnTo>
                    <a:lnTo>
                      <a:pt x="771" y="765"/>
                    </a:lnTo>
                    <a:lnTo>
                      <a:pt x="770" y="773"/>
                    </a:lnTo>
                    <a:lnTo>
                      <a:pt x="769" y="779"/>
                    </a:lnTo>
                    <a:lnTo>
                      <a:pt x="766" y="784"/>
                    </a:lnTo>
                    <a:lnTo>
                      <a:pt x="764" y="787"/>
                    </a:lnTo>
                    <a:lnTo>
                      <a:pt x="761" y="790"/>
                    </a:lnTo>
                    <a:lnTo>
                      <a:pt x="759" y="794"/>
                    </a:lnTo>
                    <a:lnTo>
                      <a:pt x="758" y="797"/>
                    </a:lnTo>
                    <a:lnTo>
                      <a:pt x="758" y="801"/>
                    </a:lnTo>
                    <a:lnTo>
                      <a:pt x="758" y="809"/>
                    </a:lnTo>
                    <a:lnTo>
                      <a:pt x="759" y="818"/>
                    </a:lnTo>
                    <a:lnTo>
                      <a:pt x="760" y="825"/>
                    </a:lnTo>
                    <a:lnTo>
                      <a:pt x="761" y="831"/>
                    </a:lnTo>
                    <a:lnTo>
                      <a:pt x="765" y="844"/>
                    </a:lnTo>
                    <a:lnTo>
                      <a:pt x="771" y="856"/>
                    </a:lnTo>
                    <a:lnTo>
                      <a:pt x="774" y="866"/>
                    </a:lnTo>
                    <a:lnTo>
                      <a:pt x="777" y="875"/>
                    </a:lnTo>
                    <a:lnTo>
                      <a:pt x="772" y="882"/>
                    </a:lnTo>
                    <a:lnTo>
                      <a:pt x="769" y="889"/>
                    </a:lnTo>
                    <a:lnTo>
                      <a:pt x="765" y="897"/>
                    </a:lnTo>
                    <a:lnTo>
                      <a:pt x="762" y="904"/>
                    </a:lnTo>
                    <a:lnTo>
                      <a:pt x="760" y="912"/>
                    </a:lnTo>
                    <a:lnTo>
                      <a:pt x="759" y="922"/>
                    </a:lnTo>
                    <a:lnTo>
                      <a:pt x="758" y="932"/>
                    </a:lnTo>
                    <a:lnTo>
                      <a:pt x="758" y="943"/>
                    </a:lnTo>
                    <a:lnTo>
                      <a:pt x="758" y="956"/>
                    </a:lnTo>
                    <a:lnTo>
                      <a:pt x="760" y="967"/>
                    </a:lnTo>
                    <a:lnTo>
                      <a:pt x="762" y="978"/>
                    </a:lnTo>
                    <a:lnTo>
                      <a:pt x="765" y="986"/>
                    </a:lnTo>
                    <a:lnTo>
                      <a:pt x="770" y="994"/>
                    </a:lnTo>
                    <a:lnTo>
                      <a:pt x="774" y="1000"/>
                    </a:lnTo>
                    <a:lnTo>
                      <a:pt x="778" y="1006"/>
                    </a:lnTo>
                    <a:lnTo>
                      <a:pt x="784" y="1011"/>
                    </a:lnTo>
                    <a:lnTo>
                      <a:pt x="775" y="1026"/>
                    </a:lnTo>
                    <a:lnTo>
                      <a:pt x="769" y="1041"/>
                    </a:lnTo>
                    <a:lnTo>
                      <a:pt x="763" y="1054"/>
                    </a:lnTo>
                    <a:lnTo>
                      <a:pt x="759" y="1067"/>
                    </a:lnTo>
                    <a:lnTo>
                      <a:pt x="753" y="1080"/>
                    </a:lnTo>
                    <a:lnTo>
                      <a:pt x="747" y="1095"/>
                    </a:lnTo>
                    <a:lnTo>
                      <a:pt x="737" y="1110"/>
                    </a:lnTo>
                    <a:lnTo>
                      <a:pt x="723" y="1128"/>
                    </a:lnTo>
                    <a:lnTo>
                      <a:pt x="691" y="1122"/>
                    </a:lnTo>
                    <a:lnTo>
                      <a:pt x="681" y="1121"/>
                    </a:lnTo>
                    <a:lnTo>
                      <a:pt x="673" y="1119"/>
                    </a:lnTo>
                    <a:lnTo>
                      <a:pt x="665" y="1116"/>
                    </a:lnTo>
                    <a:lnTo>
                      <a:pt x="659" y="1113"/>
                    </a:lnTo>
                    <a:lnTo>
                      <a:pt x="653" y="1108"/>
                    </a:lnTo>
                    <a:lnTo>
                      <a:pt x="648" y="1103"/>
                    </a:lnTo>
                    <a:lnTo>
                      <a:pt x="642" y="1098"/>
                    </a:lnTo>
                    <a:lnTo>
                      <a:pt x="638" y="1092"/>
                    </a:lnTo>
                    <a:lnTo>
                      <a:pt x="627" y="1079"/>
                    </a:lnTo>
                    <a:lnTo>
                      <a:pt x="616" y="1067"/>
                    </a:lnTo>
                    <a:lnTo>
                      <a:pt x="609" y="1061"/>
                    </a:lnTo>
                    <a:lnTo>
                      <a:pt x="602" y="1056"/>
                    </a:lnTo>
                    <a:lnTo>
                      <a:pt x="594" y="1052"/>
                    </a:lnTo>
                    <a:lnTo>
                      <a:pt x="584" y="1048"/>
                    </a:lnTo>
                    <a:lnTo>
                      <a:pt x="554" y="1038"/>
                    </a:lnTo>
                    <a:lnTo>
                      <a:pt x="507" y="1018"/>
                    </a:lnTo>
                    <a:lnTo>
                      <a:pt x="483" y="1008"/>
                    </a:lnTo>
                    <a:lnTo>
                      <a:pt x="463" y="998"/>
                    </a:lnTo>
                    <a:lnTo>
                      <a:pt x="456" y="993"/>
                    </a:lnTo>
                    <a:lnTo>
                      <a:pt x="450" y="988"/>
                    </a:lnTo>
                    <a:lnTo>
                      <a:pt x="446" y="984"/>
                    </a:lnTo>
                    <a:lnTo>
                      <a:pt x="445" y="980"/>
                    </a:lnTo>
                    <a:lnTo>
                      <a:pt x="436" y="975"/>
                    </a:lnTo>
                    <a:lnTo>
                      <a:pt x="425" y="967"/>
                    </a:lnTo>
                    <a:lnTo>
                      <a:pt x="413" y="956"/>
                    </a:lnTo>
                    <a:lnTo>
                      <a:pt x="398" y="944"/>
                    </a:lnTo>
                    <a:lnTo>
                      <a:pt x="383" y="931"/>
                    </a:lnTo>
                    <a:lnTo>
                      <a:pt x="367" y="916"/>
                    </a:lnTo>
                    <a:lnTo>
                      <a:pt x="349" y="904"/>
                    </a:lnTo>
                    <a:lnTo>
                      <a:pt x="331" y="894"/>
                    </a:lnTo>
                    <a:lnTo>
                      <a:pt x="326" y="890"/>
                    </a:lnTo>
                    <a:lnTo>
                      <a:pt x="323" y="886"/>
                    </a:lnTo>
                    <a:lnTo>
                      <a:pt x="319" y="882"/>
                    </a:lnTo>
                    <a:lnTo>
                      <a:pt x="318" y="877"/>
                    </a:lnTo>
                    <a:lnTo>
                      <a:pt x="318" y="872"/>
                    </a:lnTo>
                    <a:lnTo>
                      <a:pt x="318" y="867"/>
                    </a:lnTo>
                    <a:lnTo>
                      <a:pt x="319" y="860"/>
                    </a:lnTo>
                    <a:lnTo>
                      <a:pt x="321" y="854"/>
                    </a:lnTo>
                    <a:lnTo>
                      <a:pt x="324" y="842"/>
                    </a:lnTo>
                    <a:lnTo>
                      <a:pt x="327" y="829"/>
                    </a:lnTo>
                    <a:lnTo>
                      <a:pt x="328" y="822"/>
                    </a:lnTo>
                    <a:lnTo>
                      <a:pt x="328" y="815"/>
                    </a:lnTo>
                    <a:lnTo>
                      <a:pt x="327" y="808"/>
                    </a:lnTo>
                    <a:lnTo>
                      <a:pt x="325" y="801"/>
                    </a:lnTo>
                    <a:lnTo>
                      <a:pt x="318" y="795"/>
                    </a:lnTo>
                    <a:lnTo>
                      <a:pt x="310" y="789"/>
                    </a:lnTo>
                    <a:lnTo>
                      <a:pt x="300" y="784"/>
                    </a:lnTo>
                    <a:lnTo>
                      <a:pt x="290" y="778"/>
                    </a:lnTo>
                    <a:lnTo>
                      <a:pt x="279" y="772"/>
                    </a:lnTo>
                    <a:lnTo>
                      <a:pt x="270" y="765"/>
                    </a:lnTo>
                    <a:lnTo>
                      <a:pt x="266" y="761"/>
                    </a:lnTo>
                    <a:lnTo>
                      <a:pt x="263" y="757"/>
                    </a:lnTo>
                    <a:lnTo>
                      <a:pt x="260" y="751"/>
                    </a:lnTo>
                    <a:lnTo>
                      <a:pt x="259" y="745"/>
                    </a:lnTo>
                    <a:lnTo>
                      <a:pt x="255" y="735"/>
                    </a:lnTo>
                    <a:lnTo>
                      <a:pt x="251" y="725"/>
                    </a:lnTo>
                    <a:lnTo>
                      <a:pt x="249" y="716"/>
                    </a:lnTo>
                    <a:lnTo>
                      <a:pt x="248" y="707"/>
                    </a:lnTo>
                    <a:lnTo>
                      <a:pt x="246" y="697"/>
                    </a:lnTo>
                    <a:lnTo>
                      <a:pt x="243" y="689"/>
                    </a:lnTo>
                    <a:lnTo>
                      <a:pt x="238" y="681"/>
                    </a:lnTo>
                    <a:lnTo>
                      <a:pt x="232" y="672"/>
                    </a:lnTo>
                    <a:lnTo>
                      <a:pt x="211" y="635"/>
                    </a:lnTo>
                    <a:lnTo>
                      <a:pt x="192" y="603"/>
                    </a:lnTo>
                    <a:lnTo>
                      <a:pt x="174" y="570"/>
                    </a:lnTo>
                    <a:lnTo>
                      <a:pt x="153" y="530"/>
                    </a:lnTo>
                    <a:lnTo>
                      <a:pt x="146" y="521"/>
                    </a:lnTo>
                    <a:lnTo>
                      <a:pt x="138" y="513"/>
                    </a:lnTo>
                    <a:lnTo>
                      <a:pt x="134" y="508"/>
                    </a:lnTo>
                    <a:lnTo>
                      <a:pt x="129" y="502"/>
                    </a:lnTo>
                    <a:lnTo>
                      <a:pt x="124" y="496"/>
                    </a:lnTo>
                    <a:lnTo>
                      <a:pt x="120" y="487"/>
                    </a:lnTo>
                    <a:lnTo>
                      <a:pt x="116" y="478"/>
                    </a:lnTo>
                    <a:lnTo>
                      <a:pt x="113" y="467"/>
                    </a:lnTo>
                    <a:lnTo>
                      <a:pt x="109" y="458"/>
                    </a:lnTo>
                    <a:lnTo>
                      <a:pt x="103" y="448"/>
                    </a:lnTo>
                    <a:lnTo>
                      <a:pt x="98" y="440"/>
                    </a:lnTo>
                    <a:lnTo>
                      <a:pt x="90" y="432"/>
                    </a:lnTo>
                    <a:lnTo>
                      <a:pt x="82" y="425"/>
                    </a:lnTo>
                    <a:lnTo>
                      <a:pt x="72" y="419"/>
                    </a:lnTo>
                    <a:lnTo>
                      <a:pt x="52" y="411"/>
                    </a:lnTo>
                    <a:lnTo>
                      <a:pt x="31" y="403"/>
                    </a:lnTo>
                    <a:lnTo>
                      <a:pt x="26" y="400"/>
                    </a:lnTo>
                    <a:lnTo>
                      <a:pt x="22" y="397"/>
                    </a:lnTo>
                    <a:lnTo>
                      <a:pt x="17" y="393"/>
                    </a:lnTo>
                    <a:lnTo>
                      <a:pt x="13" y="389"/>
                    </a:lnTo>
                    <a:lnTo>
                      <a:pt x="9" y="384"/>
                    </a:lnTo>
                    <a:lnTo>
                      <a:pt x="5" y="378"/>
                    </a:lnTo>
                    <a:lnTo>
                      <a:pt x="2" y="372"/>
                    </a:lnTo>
                    <a:lnTo>
                      <a:pt x="0" y="363"/>
                    </a:lnTo>
                    <a:lnTo>
                      <a:pt x="20" y="345"/>
                    </a:lnTo>
                    <a:lnTo>
                      <a:pt x="15" y="331"/>
                    </a:lnTo>
                    <a:lnTo>
                      <a:pt x="14" y="317"/>
                    </a:lnTo>
                    <a:lnTo>
                      <a:pt x="13" y="301"/>
                    </a:lnTo>
                    <a:lnTo>
                      <a:pt x="13" y="284"/>
                    </a:lnTo>
                    <a:lnTo>
                      <a:pt x="13" y="276"/>
                    </a:lnTo>
                    <a:lnTo>
                      <a:pt x="14" y="270"/>
                    </a:lnTo>
                    <a:lnTo>
                      <a:pt x="16" y="264"/>
                    </a:lnTo>
                    <a:lnTo>
                      <a:pt x="19" y="259"/>
                    </a:lnTo>
                    <a:lnTo>
                      <a:pt x="21" y="254"/>
                    </a:lnTo>
                    <a:lnTo>
                      <a:pt x="24" y="249"/>
                    </a:lnTo>
                    <a:lnTo>
                      <a:pt x="28" y="246"/>
                    </a:lnTo>
                    <a:lnTo>
                      <a:pt x="32" y="243"/>
                    </a:lnTo>
                    <a:lnTo>
                      <a:pt x="41" y="237"/>
                    </a:lnTo>
                    <a:lnTo>
                      <a:pt x="49" y="231"/>
                    </a:lnTo>
                    <a:lnTo>
                      <a:pt x="58" y="224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9" y="228"/>
                    </a:lnTo>
                    <a:lnTo>
                      <a:pt x="83" y="235"/>
                    </a:lnTo>
                    <a:lnTo>
                      <a:pt x="86" y="240"/>
                    </a:lnTo>
                    <a:lnTo>
                      <a:pt x="86" y="252"/>
                    </a:lnTo>
                    <a:lnTo>
                      <a:pt x="86" y="265"/>
                    </a:lnTo>
                    <a:lnTo>
                      <a:pt x="95" y="272"/>
                    </a:lnTo>
                    <a:lnTo>
                      <a:pt x="116" y="287"/>
                    </a:lnTo>
                    <a:lnTo>
                      <a:pt x="128" y="294"/>
                    </a:lnTo>
                    <a:lnTo>
                      <a:pt x="139" y="301"/>
                    </a:lnTo>
                    <a:lnTo>
                      <a:pt x="148" y="306"/>
                    </a:lnTo>
                    <a:lnTo>
                      <a:pt x="153" y="308"/>
                    </a:lnTo>
                    <a:lnTo>
                      <a:pt x="158" y="307"/>
                    </a:lnTo>
                    <a:lnTo>
                      <a:pt x="164" y="303"/>
                    </a:lnTo>
                    <a:lnTo>
                      <a:pt x="169" y="298"/>
                    </a:lnTo>
                    <a:lnTo>
                      <a:pt x="174" y="291"/>
                    </a:lnTo>
                    <a:lnTo>
                      <a:pt x="179" y="284"/>
                    </a:lnTo>
                    <a:lnTo>
                      <a:pt x="182" y="277"/>
                    </a:lnTo>
                    <a:lnTo>
                      <a:pt x="184" y="271"/>
                    </a:lnTo>
                    <a:lnTo>
                      <a:pt x="185" y="265"/>
                    </a:lnTo>
                    <a:lnTo>
                      <a:pt x="187" y="259"/>
                    </a:lnTo>
                    <a:lnTo>
                      <a:pt x="188" y="251"/>
                    </a:lnTo>
                    <a:lnTo>
                      <a:pt x="190" y="244"/>
                    </a:lnTo>
                    <a:lnTo>
                      <a:pt x="193" y="238"/>
                    </a:lnTo>
                    <a:lnTo>
                      <a:pt x="201" y="225"/>
                    </a:lnTo>
                    <a:lnTo>
                      <a:pt x="212" y="213"/>
                    </a:lnTo>
                    <a:lnTo>
                      <a:pt x="222" y="202"/>
                    </a:lnTo>
                    <a:lnTo>
                      <a:pt x="234" y="192"/>
                    </a:lnTo>
                    <a:lnTo>
                      <a:pt x="244" y="184"/>
                    </a:lnTo>
                    <a:lnTo>
                      <a:pt x="252" y="179"/>
                    </a:lnTo>
                    <a:lnTo>
                      <a:pt x="270" y="170"/>
                    </a:lnTo>
                    <a:lnTo>
                      <a:pt x="289" y="160"/>
                    </a:lnTo>
                    <a:lnTo>
                      <a:pt x="306" y="150"/>
                    </a:lnTo>
                    <a:lnTo>
                      <a:pt x="323" y="138"/>
                    </a:lnTo>
                    <a:lnTo>
                      <a:pt x="330" y="133"/>
                    </a:lnTo>
                    <a:lnTo>
                      <a:pt x="337" y="126"/>
                    </a:lnTo>
                    <a:lnTo>
                      <a:pt x="344" y="120"/>
                    </a:lnTo>
                    <a:lnTo>
                      <a:pt x="348" y="113"/>
                    </a:lnTo>
                    <a:lnTo>
                      <a:pt x="352" y="106"/>
                    </a:lnTo>
                    <a:lnTo>
                      <a:pt x="356" y="98"/>
                    </a:lnTo>
                    <a:lnTo>
                      <a:pt x="358" y="90"/>
                    </a:lnTo>
                    <a:lnTo>
                      <a:pt x="358" y="80"/>
                    </a:lnTo>
                    <a:lnTo>
                      <a:pt x="357" y="70"/>
                    </a:lnTo>
                    <a:lnTo>
                      <a:pt x="355" y="58"/>
                    </a:lnTo>
                    <a:lnTo>
                      <a:pt x="350" y="46"/>
                    </a:lnTo>
                    <a:lnTo>
                      <a:pt x="345" y="34"/>
                    </a:lnTo>
                    <a:lnTo>
                      <a:pt x="336" y="12"/>
                    </a:lnTo>
                    <a:lnTo>
                      <a:pt x="331" y="0"/>
                    </a:lnTo>
                    <a:lnTo>
                      <a:pt x="347" y="5"/>
                    </a:lnTo>
                    <a:lnTo>
                      <a:pt x="360" y="11"/>
                    </a:lnTo>
                    <a:lnTo>
                      <a:pt x="374" y="18"/>
                    </a:lnTo>
                    <a:lnTo>
                      <a:pt x="386" y="26"/>
                    </a:lnTo>
                    <a:lnTo>
                      <a:pt x="398" y="35"/>
                    </a:lnTo>
                    <a:lnTo>
                      <a:pt x="411" y="44"/>
                    </a:lnTo>
                    <a:lnTo>
                      <a:pt x="422" y="53"/>
                    </a:lnTo>
                    <a:lnTo>
                      <a:pt x="431" y="62"/>
                    </a:lnTo>
                    <a:lnTo>
                      <a:pt x="438" y="68"/>
                    </a:lnTo>
                    <a:lnTo>
                      <a:pt x="445" y="75"/>
                    </a:lnTo>
                    <a:lnTo>
                      <a:pt x="451" y="82"/>
                    </a:lnTo>
                    <a:lnTo>
                      <a:pt x="457" y="91"/>
                    </a:lnTo>
                    <a:lnTo>
                      <a:pt x="467" y="107"/>
                    </a:lnTo>
                    <a:lnTo>
                      <a:pt x="476" y="123"/>
                    </a:lnTo>
                    <a:lnTo>
                      <a:pt x="481" y="130"/>
                    </a:lnTo>
                    <a:lnTo>
                      <a:pt x="486" y="137"/>
                    </a:lnTo>
                    <a:lnTo>
                      <a:pt x="493" y="144"/>
                    </a:lnTo>
                    <a:lnTo>
                      <a:pt x="498" y="150"/>
                    </a:lnTo>
                    <a:lnTo>
                      <a:pt x="506" y="154"/>
                    </a:lnTo>
                    <a:lnTo>
                      <a:pt x="513" y="158"/>
                    </a:lnTo>
                    <a:lnTo>
                      <a:pt x="521" y="160"/>
                    </a:lnTo>
                    <a:lnTo>
                      <a:pt x="531" y="161"/>
                    </a:lnTo>
                    <a:lnTo>
                      <a:pt x="541" y="160"/>
                    </a:lnTo>
                    <a:lnTo>
                      <a:pt x="551" y="159"/>
                    </a:lnTo>
                    <a:lnTo>
                      <a:pt x="561" y="157"/>
                    </a:lnTo>
                    <a:lnTo>
                      <a:pt x="571" y="155"/>
                    </a:lnTo>
                    <a:lnTo>
                      <a:pt x="581" y="152"/>
                    </a:lnTo>
                    <a:lnTo>
                      <a:pt x="591" y="150"/>
                    </a:lnTo>
                    <a:lnTo>
                      <a:pt x="601" y="149"/>
                    </a:lnTo>
                    <a:lnTo>
                      <a:pt x="610" y="148"/>
                    </a:lnTo>
                    <a:lnTo>
                      <a:pt x="617" y="149"/>
                    </a:lnTo>
                    <a:lnTo>
                      <a:pt x="624" y="151"/>
                    </a:lnTo>
                    <a:lnTo>
                      <a:pt x="628" y="151"/>
                    </a:lnTo>
                    <a:lnTo>
                      <a:pt x="631" y="151"/>
                    </a:lnTo>
                    <a:lnTo>
                      <a:pt x="635" y="150"/>
                    </a:lnTo>
                    <a:lnTo>
                      <a:pt x="638" y="148"/>
                    </a:lnTo>
                    <a:lnTo>
                      <a:pt x="640" y="156"/>
                    </a:lnTo>
                    <a:lnTo>
                      <a:pt x="648" y="167"/>
                    </a:lnTo>
                    <a:lnTo>
                      <a:pt x="654" y="177"/>
                    </a:lnTo>
                    <a:lnTo>
                      <a:pt x="658" y="185"/>
                    </a:lnTo>
                    <a:lnTo>
                      <a:pt x="657" y="188"/>
                    </a:lnTo>
                    <a:lnTo>
                      <a:pt x="655" y="191"/>
                    </a:lnTo>
                    <a:lnTo>
                      <a:pt x="654" y="193"/>
                    </a:lnTo>
                    <a:lnTo>
                      <a:pt x="652" y="195"/>
                    </a:lnTo>
                    <a:lnTo>
                      <a:pt x="647" y="200"/>
                    </a:lnTo>
                    <a:lnTo>
                      <a:pt x="641" y="203"/>
                    </a:lnTo>
                    <a:lnTo>
                      <a:pt x="635" y="206"/>
                    </a:lnTo>
                    <a:lnTo>
                      <a:pt x="629" y="209"/>
                    </a:lnTo>
                    <a:lnTo>
                      <a:pt x="627" y="210"/>
                    </a:lnTo>
                    <a:lnTo>
                      <a:pt x="626" y="212"/>
                    </a:lnTo>
                    <a:lnTo>
                      <a:pt x="625" y="214"/>
                    </a:lnTo>
                    <a:lnTo>
                      <a:pt x="624" y="216"/>
                    </a:lnTo>
                    <a:lnTo>
                      <a:pt x="625" y="226"/>
                    </a:lnTo>
                    <a:lnTo>
                      <a:pt x="626" y="234"/>
                    </a:lnTo>
                    <a:lnTo>
                      <a:pt x="627" y="240"/>
                    </a:lnTo>
                    <a:lnTo>
                      <a:pt x="629" y="244"/>
                    </a:lnTo>
                    <a:lnTo>
                      <a:pt x="636" y="251"/>
                    </a:lnTo>
                    <a:lnTo>
                      <a:pt x="644" y="259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4" name="Freeform 8"/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7870017" y="4544747"/>
                <a:ext cx="328939" cy="1276228"/>
              </a:xfrm>
              <a:custGeom>
                <a:avLst/>
                <a:gdLst>
                  <a:gd name="T0" fmla="*/ 2147483647 w 598"/>
                  <a:gd name="T1" fmla="*/ 2147483647 h 2158"/>
                  <a:gd name="T2" fmla="*/ 2147483647 w 598"/>
                  <a:gd name="T3" fmla="*/ 2147483647 h 2158"/>
                  <a:gd name="T4" fmla="*/ 2147483647 w 598"/>
                  <a:gd name="T5" fmla="*/ 2147483647 h 2158"/>
                  <a:gd name="T6" fmla="*/ 2147483647 w 598"/>
                  <a:gd name="T7" fmla="*/ 2147483647 h 2158"/>
                  <a:gd name="T8" fmla="*/ 2147483647 w 598"/>
                  <a:gd name="T9" fmla="*/ 2147483647 h 2158"/>
                  <a:gd name="T10" fmla="*/ 2147483647 w 598"/>
                  <a:gd name="T11" fmla="*/ 2147483647 h 2158"/>
                  <a:gd name="T12" fmla="*/ 2147483647 w 598"/>
                  <a:gd name="T13" fmla="*/ 2147483647 h 2158"/>
                  <a:gd name="T14" fmla="*/ 2147483647 w 598"/>
                  <a:gd name="T15" fmla="*/ 2147483647 h 2158"/>
                  <a:gd name="T16" fmla="*/ 2147483647 w 598"/>
                  <a:gd name="T17" fmla="*/ 2147483647 h 2158"/>
                  <a:gd name="T18" fmla="*/ 2147483647 w 598"/>
                  <a:gd name="T19" fmla="*/ 2147483647 h 2158"/>
                  <a:gd name="T20" fmla="*/ 2147483647 w 598"/>
                  <a:gd name="T21" fmla="*/ 2147483647 h 2158"/>
                  <a:gd name="T22" fmla="*/ 2147483647 w 598"/>
                  <a:gd name="T23" fmla="*/ 2147483647 h 2158"/>
                  <a:gd name="T24" fmla="*/ 2147483647 w 598"/>
                  <a:gd name="T25" fmla="*/ 2147483647 h 2158"/>
                  <a:gd name="T26" fmla="*/ 2147483647 w 598"/>
                  <a:gd name="T27" fmla="*/ 2147483647 h 2158"/>
                  <a:gd name="T28" fmla="*/ 2147483647 w 598"/>
                  <a:gd name="T29" fmla="*/ 2147483647 h 2158"/>
                  <a:gd name="T30" fmla="*/ 2147483647 w 598"/>
                  <a:gd name="T31" fmla="*/ 2147483647 h 2158"/>
                  <a:gd name="T32" fmla="*/ 2147483647 w 598"/>
                  <a:gd name="T33" fmla="*/ 2147483647 h 2158"/>
                  <a:gd name="T34" fmla="*/ 2147483647 w 598"/>
                  <a:gd name="T35" fmla="*/ 2147483647 h 2158"/>
                  <a:gd name="T36" fmla="*/ 2147483647 w 598"/>
                  <a:gd name="T37" fmla="*/ 2147483647 h 2158"/>
                  <a:gd name="T38" fmla="*/ 2147483647 w 598"/>
                  <a:gd name="T39" fmla="*/ 2147483647 h 2158"/>
                  <a:gd name="T40" fmla="*/ 2147483647 w 598"/>
                  <a:gd name="T41" fmla="*/ 2147483647 h 2158"/>
                  <a:gd name="T42" fmla="*/ 2147483647 w 598"/>
                  <a:gd name="T43" fmla="*/ 2147483647 h 2158"/>
                  <a:gd name="T44" fmla="*/ 2147483647 w 598"/>
                  <a:gd name="T45" fmla="*/ 2147483647 h 2158"/>
                  <a:gd name="T46" fmla="*/ 2147483647 w 598"/>
                  <a:gd name="T47" fmla="*/ 2147483647 h 2158"/>
                  <a:gd name="T48" fmla="*/ 2147483647 w 598"/>
                  <a:gd name="T49" fmla="*/ 2147483647 h 2158"/>
                  <a:gd name="T50" fmla="*/ 2147483647 w 598"/>
                  <a:gd name="T51" fmla="*/ 2147483647 h 2158"/>
                  <a:gd name="T52" fmla="*/ 2147483647 w 598"/>
                  <a:gd name="T53" fmla="*/ 2147483647 h 2158"/>
                  <a:gd name="T54" fmla="*/ 2147483647 w 598"/>
                  <a:gd name="T55" fmla="*/ 2147483647 h 2158"/>
                  <a:gd name="T56" fmla="*/ 2147483647 w 598"/>
                  <a:gd name="T57" fmla="*/ 2147483647 h 2158"/>
                  <a:gd name="T58" fmla="*/ 0 w 598"/>
                  <a:gd name="T59" fmla="*/ 2147483647 h 2158"/>
                  <a:gd name="T60" fmla="*/ 2147483647 w 598"/>
                  <a:gd name="T61" fmla="*/ 2147483647 h 2158"/>
                  <a:gd name="T62" fmla="*/ 2147483647 w 598"/>
                  <a:gd name="T63" fmla="*/ 2147483647 h 2158"/>
                  <a:gd name="T64" fmla="*/ 2147483647 w 598"/>
                  <a:gd name="T65" fmla="*/ 2147483647 h 2158"/>
                  <a:gd name="T66" fmla="*/ 2147483647 w 598"/>
                  <a:gd name="T67" fmla="*/ 2147483647 h 2158"/>
                  <a:gd name="T68" fmla="*/ 2147483647 w 598"/>
                  <a:gd name="T69" fmla="*/ 2147483647 h 2158"/>
                  <a:gd name="T70" fmla="*/ 2147483647 w 598"/>
                  <a:gd name="T71" fmla="*/ 2147483647 h 2158"/>
                  <a:gd name="T72" fmla="*/ 2147483647 w 598"/>
                  <a:gd name="T73" fmla="*/ 2147483647 h 2158"/>
                  <a:gd name="T74" fmla="*/ 2147483647 w 598"/>
                  <a:gd name="T75" fmla="*/ 2147483647 h 2158"/>
                  <a:gd name="T76" fmla="*/ 2147483647 w 598"/>
                  <a:gd name="T77" fmla="*/ 2147483647 h 2158"/>
                  <a:gd name="T78" fmla="*/ 2147483647 w 598"/>
                  <a:gd name="T79" fmla="*/ 2147483647 h 2158"/>
                  <a:gd name="T80" fmla="*/ 2147483647 w 598"/>
                  <a:gd name="T81" fmla="*/ 2147483647 h 2158"/>
                  <a:gd name="T82" fmla="*/ 2147483647 w 598"/>
                  <a:gd name="T83" fmla="*/ 2147483647 h 2158"/>
                  <a:gd name="T84" fmla="*/ 2147483647 w 598"/>
                  <a:gd name="T85" fmla="*/ 2147483647 h 2158"/>
                  <a:gd name="T86" fmla="*/ 2147483647 w 598"/>
                  <a:gd name="T87" fmla="*/ 2147483647 h 2158"/>
                  <a:gd name="T88" fmla="*/ 2147483647 w 598"/>
                  <a:gd name="T89" fmla="*/ 2147483647 h 2158"/>
                  <a:gd name="T90" fmla="*/ 2147483647 w 598"/>
                  <a:gd name="T91" fmla="*/ 2147483647 h 2158"/>
                  <a:gd name="T92" fmla="*/ 2147483647 w 598"/>
                  <a:gd name="T93" fmla="*/ 2147483647 h 2158"/>
                  <a:gd name="T94" fmla="*/ 2147483647 w 598"/>
                  <a:gd name="T95" fmla="*/ 2147483647 h 2158"/>
                  <a:gd name="T96" fmla="*/ 2147483647 w 598"/>
                  <a:gd name="T97" fmla="*/ 2147483647 h 2158"/>
                  <a:gd name="T98" fmla="*/ 2147483647 w 598"/>
                  <a:gd name="T99" fmla="*/ 2147483647 h 2158"/>
                  <a:gd name="T100" fmla="*/ 2147483647 w 598"/>
                  <a:gd name="T101" fmla="*/ 2147483647 h 2158"/>
                  <a:gd name="T102" fmla="*/ 2147483647 w 598"/>
                  <a:gd name="T103" fmla="*/ 2147483647 h 2158"/>
                  <a:gd name="T104" fmla="*/ 2147483647 w 598"/>
                  <a:gd name="T105" fmla="*/ 2147483647 h 2158"/>
                  <a:gd name="T106" fmla="*/ 2147483647 w 598"/>
                  <a:gd name="T107" fmla="*/ 2147483647 h 2158"/>
                  <a:gd name="T108" fmla="*/ 2147483647 w 598"/>
                  <a:gd name="T109" fmla="*/ 2147483647 h 2158"/>
                  <a:gd name="T110" fmla="*/ 2147483647 w 598"/>
                  <a:gd name="T111" fmla="*/ 2147483647 h 2158"/>
                  <a:gd name="T112" fmla="*/ 2147483647 w 598"/>
                  <a:gd name="T113" fmla="*/ 2147483647 h 2158"/>
                  <a:gd name="T114" fmla="*/ 2147483647 w 598"/>
                  <a:gd name="T115" fmla="*/ 2147483647 h 2158"/>
                  <a:gd name="T116" fmla="*/ 2147483647 w 598"/>
                  <a:gd name="T117" fmla="*/ 2147483647 h 2158"/>
                  <a:gd name="T118" fmla="*/ 2147483647 w 598"/>
                  <a:gd name="T119" fmla="*/ 2147483647 h 2158"/>
                  <a:gd name="T120" fmla="*/ 2147483647 w 598"/>
                  <a:gd name="T121" fmla="*/ 2147483647 h 2158"/>
                  <a:gd name="T122" fmla="*/ 2147483647 w 598"/>
                  <a:gd name="T123" fmla="*/ 2147483647 h 21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98" h="2158">
                    <a:moveTo>
                      <a:pt x="491" y="2046"/>
                    </a:moveTo>
                    <a:lnTo>
                      <a:pt x="480" y="2045"/>
                    </a:lnTo>
                    <a:lnTo>
                      <a:pt x="469" y="2043"/>
                    </a:lnTo>
                    <a:lnTo>
                      <a:pt x="456" y="2039"/>
                    </a:lnTo>
                    <a:lnTo>
                      <a:pt x="444" y="2034"/>
                    </a:lnTo>
                    <a:lnTo>
                      <a:pt x="431" y="2028"/>
                    </a:lnTo>
                    <a:lnTo>
                      <a:pt x="418" y="2021"/>
                    </a:lnTo>
                    <a:lnTo>
                      <a:pt x="405" y="2013"/>
                    </a:lnTo>
                    <a:lnTo>
                      <a:pt x="392" y="2003"/>
                    </a:lnTo>
                    <a:lnTo>
                      <a:pt x="379" y="1994"/>
                    </a:lnTo>
                    <a:lnTo>
                      <a:pt x="368" y="1985"/>
                    </a:lnTo>
                    <a:lnTo>
                      <a:pt x="357" y="1976"/>
                    </a:lnTo>
                    <a:lnTo>
                      <a:pt x="349" y="1966"/>
                    </a:lnTo>
                    <a:lnTo>
                      <a:pt x="342" y="1955"/>
                    </a:lnTo>
                    <a:lnTo>
                      <a:pt x="337" y="1946"/>
                    </a:lnTo>
                    <a:lnTo>
                      <a:pt x="333" y="1937"/>
                    </a:lnTo>
                    <a:lnTo>
                      <a:pt x="332" y="1929"/>
                    </a:lnTo>
                    <a:lnTo>
                      <a:pt x="332" y="1919"/>
                    </a:lnTo>
                    <a:lnTo>
                      <a:pt x="333" y="1909"/>
                    </a:lnTo>
                    <a:lnTo>
                      <a:pt x="336" y="1900"/>
                    </a:lnTo>
                    <a:lnTo>
                      <a:pt x="339" y="1893"/>
                    </a:lnTo>
                    <a:lnTo>
                      <a:pt x="341" y="1887"/>
                    </a:lnTo>
                    <a:lnTo>
                      <a:pt x="343" y="1880"/>
                    </a:lnTo>
                    <a:lnTo>
                      <a:pt x="344" y="1874"/>
                    </a:lnTo>
                    <a:lnTo>
                      <a:pt x="345" y="1868"/>
                    </a:lnTo>
                    <a:lnTo>
                      <a:pt x="345" y="1863"/>
                    </a:lnTo>
                    <a:lnTo>
                      <a:pt x="345" y="1855"/>
                    </a:lnTo>
                    <a:lnTo>
                      <a:pt x="345" y="1843"/>
                    </a:lnTo>
                    <a:lnTo>
                      <a:pt x="345" y="1824"/>
                    </a:lnTo>
                    <a:lnTo>
                      <a:pt x="345" y="1818"/>
                    </a:lnTo>
                    <a:lnTo>
                      <a:pt x="348" y="1812"/>
                    </a:lnTo>
                    <a:lnTo>
                      <a:pt x="351" y="1807"/>
                    </a:lnTo>
                    <a:lnTo>
                      <a:pt x="355" y="1802"/>
                    </a:lnTo>
                    <a:lnTo>
                      <a:pt x="359" y="1797"/>
                    </a:lnTo>
                    <a:lnTo>
                      <a:pt x="362" y="1791"/>
                    </a:lnTo>
                    <a:lnTo>
                      <a:pt x="364" y="1783"/>
                    </a:lnTo>
                    <a:lnTo>
                      <a:pt x="365" y="1775"/>
                    </a:lnTo>
                    <a:lnTo>
                      <a:pt x="364" y="1768"/>
                    </a:lnTo>
                    <a:lnTo>
                      <a:pt x="363" y="1762"/>
                    </a:lnTo>
                    <a:lnTo>
                      <a:pt x="362" y="1756"/>
                    </a:lnTo>
                    <a:lnTo>
                      <a:pt x="360" y="1750"/>
                    </a:lnTo>
                    <a:lnTo>
                      <a:pt x="354" y="1740"/>
                    </a:lnTo>
                    <a:lnTo>
                      <a:pt x="349" y="1728"/>
                    </a:lnTo>
                    <a:lnTo>
                      <a:pt x="342" y="1718"/>
                    </a:lnTo>
                    <a:lnTo>
                      <a:pt x="337" y="1707"/>
                    </a:lnTo>
                    <a:lnTo>
                      <a:pt x="334" y="1702"/>
                    </a:lnTo>
                    <a:lnTo>
                      <a:pt x="333" y="1696"/>
                    </a:lnTo>
                    <a:lnTo>
                      <a:pt x="332" y="1690"/>
                    </a:lnTo>
                    <a:lnTo>
                      <a:pt x="332" y="1683"/>
                    </a:lnTo>
                    <a:lnTo>
                      <a:pt x="331" y="1670"/>
                    </a:lnTo>
                    <a:lnTo>
                      <a:pt x="330" y="1659"/>
                    </a:lnTo>
                    <a:lnTo>
                      <a:pt x="329" y="1648"/>
                    </a:lnTo>
                    <a:lnTo>
                      <a:pt x="327" y="1638"/>
                    </a:lnTo>
                    <a:lnTo>
                      <a:pt x="320" y="1617"/>
                    </a:lnTo>
                    <a:lnTo>
                      <a:pt x="312" y="1599"/>
                    </a:lnTo>
                    <a:lnTo>
                      <a:pt x="303" y="1581"/>
                    </a:lnTo>
                    <a:lnTo>
                      <a:pt x="292" y="1563"/>
                    </a:lnTo>
                    <a:lnTo>
                      <a:pt x="281" y="1547"/>
                    </a:lnTo>
                    <a:lnTo>
                      <a:pt x="269" y="1530"/>
                    </a:lnTo>
                    <a:lnTo>
                      <a:pt x="256" y="1514"/>
                    </a:lnTo>
                    <a:lnTo>
                      <a:pt x="245" y="1496"/>
                    </a:lnTo>
                    <a:lnTo>
                      <a:pt x="235" y="1478"/>
                    </a:lnTo>
                    <a:lnTo>
                      <a:pt x="226" y="1460"/>
                    </a:lnTo>
                    <a:lnTo>
                      <a:pt x="221" y="1449"/>
                    </a:lnTo>
                    <a:lnTo>
                      <a:pt x="217" y="1439"/>
                    </a:lnTo>
                    <a:lnTo>
                      <a:pt x="214" y="1428"/>
                    </a:lnTo>
                    <a:lnTo>
                      <a:pt x="210" y="1417"/>
                    </a:lnTo>
                    <a:lnTo>
                      <a:pt x="208" y="1406"/>
                    </a:lnTo>
                    <a:lnTo>
                      <a:pt x="207" y="1393"/>
                    </a:lnTo>
                    <a:lnTo>
                      <a:pt x="206" y="1381"/>
                    </a:lnTo>
                    <a:lnTo>
                      <a:pt x="206" y="1368"/>
                    </a:lnTo>
                    <a:lnTo>
                      <a:pt x="206" y="1355"/>
                    </a:lnTo>
                    <a:lnTo>
                      <a:pt x="207" y="1342"/>
                    </a:lnTo>
                    <a:lnTo>
                      <a:pt x="209" y="1331"/>
                    </a:lnTo>
                    <a:lnTo>
                      <a:pt x="213" y="1320"/>
                    </a:lnTo>
                    <a:lnTo>
                      <a:pt x="215" y="1309"/>
                    </a:lnTo>
                    <a:lnTo>
                      <a:pt x="217" y="1299"/>
                    </a:lnTo>
                    <a:lnTo>
                      <a:pt x="218" y="1287"/>
                    </a:lnTo>
                    <a:lnTo>
                      <a:pt x="219" y="1276"/>
                    </a:lnTo>
                    <a:lnTo>
                      <a:pt x="218" y="1268"/>
                    </a:lnTo>
                    <a:lnTo>
                      <a:pt x="217" y="1261"/>
                    </a:lnTo>
                    <a:lnTo>
                      <a:pt x="216" y="1254"/>
                    </a:lnTo>
                    <a:lnTo>
                      <a:pt x="214" y="1248"/>
                    </a:lnTo>
                    <a:lnTo>
                      <a:pt x="208" y="1235"/>
                    </a:lnTo>
                    <a:lnTo>
                      <a:pt x="203" y="1223"/>
                    </a:lnTo>
                    <a:lnTo>
                      <a:pt x="196" y="1210"/>
                    </a:lnTo>
                    <a:lnTo>
                      <a:pt x="191" y="1197"/>
                    </a:lnTo>
                    <a:lnTo>
                      <a:pt x="188" y="1190"/>
                    </a:lnTo>
                    <a:lnTo>
                      <a:pt x="187" y="1183"/>
                    </a:lnTo>
                    <a:lnTo>
                      <a:pt x="186" y="1174"/>
                    </a:lnTo>
                    <a:lnTo>
                      <a:pt x="185" y="1165"/>
                    </a:lnTo>
                    <a:lnTo>
                      <a:pt x="186" y="1158"/>
                    </a:lnTo>
                    <a:lnTo>
                      <a:pt x="189" y="1152"/>
                    </a:lnTo>
                    <a:lnTo>
                      <a:pt x="194" y="1146"/>
                    </a:lnTo>
                    <a:lnTo>
                      <a:pt x="199" y="1141"/>
                    </a:lnTo>
                    <a:lnTo>
                      <a:pt x="204" y="1135"/>
                    </a:lnTo>
                    <a:lnTo>
                      <a:pt x="208" y="1129"/>
                    </a:lnTo>
                    <a:lnTo>
                      <a:pt x="211" y="1123"/>
                    </a:lnTo>
                    <a:lnTo>
                      <a:pt x="213" y="1115"/>
                    </a:lnTo>
                    <a:lnTo>
                      <a:pt x="211" y="1109"/>
                    </a:lnTo>
                    <a:lnTo>
                      <a:pt x="209" y="1103"/>
                    </a:lnTo>
                    <a:lnTo>
                      <a:pt x="206" y="1097"/>
                    </a:lnTo>
                    <a:lnTo>
                      <a:pt x="203" y="1092"/>
                    </a:lnTo>
                    <a:lnTo>
                      <a:pt x="198" y="1087"/>
                    </a:lnTo>
                    <a:lnTo>
                      <a:pt x="195" y="1082"/>
                    </a:lnTo>
                    <a:lnTo>
                      <a:pt x="193" y="1078"/>
                    </a:lnTo>
                    <a:lnTo>
                      <a:pt x="192" y="1073"/>
                    </a:lnTo>
                    <a:lnTo>
                      <a:pt x="195" y="1064"/>
                    </a:lnTo>
                    <a:lnTo>
                      <a:pt x="203" y="1049"/>
                    </a:lnTo>
                    <a:lnTo>
                      <a:pt x="206" y="1041"/>
                    </a:lnTo>
                    <a:lnTo>
                      <a:pt x="209" y="1033"/>
                    </a:lnTo>
                    <a:lnTo>
                      <a:pt x="211" y="1025"/>
                    </a:lnTo>
                    <a:lnTo>
                      <a:pt x="213" y="1018"/>
                    </a:lnTo>
                    <a:lnTo>
                      <a:pt x="203" y="1018"/>
                    </a:lnTo>
                    <a:lnTo>
                      <a:pt x="192" y="1018"/>
                    </a:lnTo>
                    <a:lnTo>
                      <a:pt x="198" y="1012"/>
                    </a:lnTo>
                    <a:lnTo>
                      <a:pt x="205" y="1003"/>
                    </a:lnTo>
                    <a:lnTo>
                      <a:pt x="207" y="998"/>
                    </a:lnTo>
                    <a:lnTo>
                      <a:pt x="210" y="993"/>
                    </a:lnTo>
                    <a:lnTo>
                      <a:pt x="211" y="987"/>
                    </a:lnTo>
                    <a:lnTo>
                      <a:pt x="213" y="980"/>
                    </a:lnTo>
                    <a:lnTo>
                      <a:pt x="211" y="970"/>
                    </a:lnTo>
                    <a:lnTo>
                      <a:pt x="208" y="961"/>
                    </a:lnTo>
                    <a:lnTo>
                      <a:pt x="205" y="951"/>
                    </a:lnTo>
                    <a:lnTo>
                      <a:pt x="199" y="943"/>
                    </a:lnTo>
                    <a:lnTo>
                      <a:pt x="187" y="927"/>
                    </a:lnTo>
                    <a:lnTo>
                      <a:pt x="172" y="910"/>
                    </a:lnTo>
                    <a:lnTo>
                      <a:pt x="165" y="902"/>
                    </a:lnTo>
                    <a:lnTo>
                      <a:pt x="158" y="892"/>
                    </a:lnTo>
                    <a:lnTo>
                      <a:pt x="151" y="883"/>
                    </a:lnTo>
                    <a:lnTo>
                      <a:pt x="144" y="874"/>
                    </a:lnTo>
                    <a:lnTo>
                      <a:pt x="140" y="863"/>
                    </a:lnTo>
                    <a:lnTo>
                      <a:pt x="136" y="852"/>
                    </a:lnTo>
                    <a:lnTo>
                      <a:pt x="134" y="839"/>
                    </a:lnTo>
                    <a:lnTo>
                      <a:pt x="132" y="826"/>
                    </a:lnTo>
                    <a:lnTo>
                      <a:pt x="132" y="794"/>
                    </a:lnTo>
                    <a:lnTo>
                      <a:pt x="132" y="766"/>
                    </a:lnTo>
                    <a:lnTo>
                      <a:pt x="132" y="736"/>
                    </a:lnTo>
                    <a:lnTo>
                      <a:pt x="132" y="697"/>
                    </a:lnTo>
                    <a:lnTo>
                      <a:pt x="134" y="686"/>
                    </a:lnTo>
                    <a:lnTo>
                      <a:pt x="135" y="675"/>
                    </a:lnTo>
                    <a:lnTo>
                      <a:pt x="138" y="665"/>
                    </a:lnTo>
                    <a:lnTo>
                      <a:pt x="141" y="655"/>
                    </a:lnTo>
                    <a:lnTo>
                      <a:pt x="151" y="637"/>
                    </a:lnTo>
                    <a:lnTo>
                      <a:pt x="162" y="619"/>
                    </a:lnTo>
                    <a:lnTo>
                      <a:pt x="173" y="602"/>
                    </a:lnTo>
                    <a:lnTo>
                      <a:pt x="183" y="584"/>
                    </a:lnTo>
                    <a:lnTo>
                      <a:pt x="186" y="575"/>
                    </a:lnTo>
                    <a:lnTo>
                      <a:pt x="189" y="564"/>
                    </a:lnTo>
                    <a:lnTo>
                      <a:pt x="192" y="554"/>
                    </a:lnTo>
                    <a:lnTo>
                      <a:pt x="192" y="543"/>
                    </a:lnTo>
                    <a:lnTo>
                      <a:pt x="192" y="535"/>
                    </a:lnTo>
                    <a:lnTo>
                      <a:pt x="191" y="528"/>
                    </a:lnTo>
                    <a:lnTo>
                      <a:pt x="189" y="522"/>
                    </a:lnTo>
                    <a:lnTo>
                      <a:pt x="187" y="516"/>
                    </a:lnTo>
                    <a:lnTo>
                      <a:pt x="182" y="504"/>
                    </a:lnTo>
                    <a:lnTo>
                      <a:pt x="175" y="493"/>
                    </a:lnTo>
                    <a:lnTo>
                      <a:pt x="170" y="483"/>
                    </a:lnTo>
                    <a:lnTo>
                      <a:pt x="164" y="472"/>
                    </a:lnTo>
                    <a:lnTo>
                      <a:pt x="162" y="466"/>
                    </a:lnTo>
                    <a:lnTo>
                      <a:pt x="160" y="459"/>
                    </a:lnTo>
                    <a:lnTo>
                      <a:pt x="160" y="451"/>
                    </a:lnTo>
                    <a:lnTo>
                      <a:pt x="159" y="444"/>
                    </a:lnTo>
                    <a:lnTo>
                      <a:pt x="160" y="436"/>
                    </a:lnTo>
                    <a:lnTo>
                      <a:pt x="162" y="429"/>
                    </a:lnTo>
                    <a:lnTo>
                      <a:pt x="165" y="423"/>
                    </a:lnTo>
                    <a:lnTo>
                      <a:pt x="171" y="417"/>
                    </a:lnTo>
                    <a:lnTo>
                      <a:pt x="182" y="406"/>
                    </a:lnTo>
                    <a:lnTo>
                      <a:pt x="195" y="394"/>
                    </a:lnTo>
                    <a:lnTo>
                      <a:pt x="203" y="388"/>
                    </a:lnTo>
                    <a:lnTo>
                      <a:pt x="209" y="381"/>
                    </a:lnTo>
                    <a:lnTo>
                      <a:pt x="215" y="374"/>
                    </a:lnTo>
                    <a:lnTo>
                      <a:pt x="220" y="365"/>
                    </a:lnTo>
                    <a:lnTo>
                      <a:pt x="226" y="356"/>
                    </a:lnTo>
                    <a:lnTo>
                      <a:pt x="229" y="346"/>
                    </a:lnTo>
                    <a:lnTo>
                      <a:pt x="231" y="334"/>
                    </a:lnTo>
                    <a:lnTo>
                      <a:pt x="232" y="321"/>
                    </a:lnTo>
                    <a:lnTo>
                      <a:pt x="227" y="320"/>
                    </a:lnTo>
                    <a:lnTo>
                      <a:pt x="221" y="319"/>
                    </a:lnTo>
                    <a:lnTo>
                      <a:pt x="216" y="318"/>
                    </a:lnTo>
                    <a:lnTo>
                      <a:pt x="210" y="315"/>
                    </a:lnTo>
                    <a:lnTo>
                      <a:pt x="200" y="308"/>
                    </a:lnTo>
                    <a:lnTo>
                      <a:pt x="192" y="300"/>
                    </a:lnTo>
                    <a:lnTo>
                      <a:pt x="183" y="289"/>
                    </a:lnTo>
                    <a:lnTo>
                      <a:pt x="174" y="276"/>
                    </a:lnTo>
                    <a:lnTo>
                      <a:pt x="166" y="264"/>
                    </a:lnTo>
                    <a:lnTo>
                      <a:pt x="160" y="250"/>
                    </a:lnTo>
                    <a:lnTo>
                      <a:pt x="153" y="237"/>
                    </a:lnTo>
                    <a:lnTo>
                      <a:pt x="148" y="222"/>
                    </a:lnTo>
                    <a:lnTo>
                      <a:pt x="143" y="209"/>
                    </a:lnTo>
                    <a:lnTo>
                      <a:pt x="140" y="196"/>
                    </a:lnTo>
                    <a:lnTo>
                      <a:pt x="135" y="174"/>
                    </a:lnTo>
                    <a:lnTo>
                      <a:pt x="132" y="160"/>
                    </a:lnTo>
                    <a:lnTo>
                      <a:pt x="132" y="148"/>
                    </a:lnTo>
                    <a:lnTo>
                      <a:pt x="131" y="137"/>
                    </a:lnTo>
                    <a:lnTo>
                      <a:pt x="129" y="125"/>
                    </a:lnTo>
                    <a:lnTo>
                      <a:pt x="128" y="114"/>
                    </a:lnTo>
                    <a:lnTo>
                      <a:pt x="125" y="103"/>
                    </a:lnTo>
                    <a:lnTo>
                      <a:pt x="121" y="93"/>
                    </a:lnTo>
                    <a:lnTo>
                      <a:pt x="118" y="84"/>
                    </a:lnTo>
                    <a:lnTo>
                      <a:pt x="114" y="74"/>
                    </a:lnTo>
                    <a:lnTo>
                      <a:pt x="103" y="55"/>
                    </a:lnTo>
                    <a:lnTo>
                      <a:pt x="91" y="37"/>
                    </a:lnTo>
                    <a:lnTo>
                      <a:pt x="75" y="19"/>
                    </a:lnTo>
                    <a:lnTo>
                      <a:pt x="59" y="0"/>
                    </a:lnTo>
                    <a:lnTo>
                      <a:pt x="54" y="14"/>
                    </a:lnTo>
                    <a:lnTo>
                      <a:pt x="49" y="25"/>
                    </a:lnTo>
                    <a:lnTo>
                      <a:pt x="41" y="37"/>
                    </a:lnTo>
                    <a:lnTo>
                      <a:pt x="32" y="50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2" y="81"/>
                    </a:lnTo>
                    <a:lnTo>
                      <a:pt x="4" y="98"/>
                    </a:lnTo>
                    <a:lnTo>
                      <a:pt x="7" y="114"/>
                    </a:lnTo>
                    <a:lnTo>
                      <a:pt x="14" y="145"/>
                    </a:lnTo>
                    <a:lnTo>
                      <a:pt x="23" y="173"/>
                    </a:lnTo>
                    <a:lnTo>
                      <a:pt x="31" y="200"/>
                    </a:lnTo>
                    <a:lnTo>
                      <a:pt x="39" y="227"/>
                    </a:lnTo>
                    <a:lnTo>
                      <a:pt x="41" y="241"/>
                    </a:lnTo>
                    <a:lnTo>
                      <a:pt x="45" y="255"/>
                    </a:lnTo>
                    <a:lnTo>
                      <a:pt x="46" y="269"/>
                    </a:lnTo>
                    <a:lnTo>
                      <a:pt x="46" y="283"/>
                    </a:lnTo>
                    <a:lnTo>
                      <a:pt x="46" y="295"/>
                    </a:lnTo>
                    <a:lnTo>
                      <a:pt x="42" y="304"/>
                    </a:lnTo>
                    <a:lnTo>
                      <a:pt x="40" y="313"/>
                    </a:lnTo>
                    <a:lnTo>
                      <a:pt x="36" y="320"/>
                    </a:lnTo>
                    <a:lnTo>
                      <a:pt x="32" y="327"/>
                    </a:lnTo>
                    <a:lnTo>
                      <a:pt x="29" y="335"/>
                    </a:lnTo>
                    <a:lnTo>
                      <a:pt x="27" y="342"/>
                    </a:lnTo>
                    <a:lnTo>
                      <a:pt x="26" y="352"/>
                    </a:lnTo>
                    <a:lnTo>
                      <a:pt x="27" y="374"/>
                    </a:lnTo>
                    <a:lnTo>
                      <a:pt x="30" y="395"/>
                    </a:lnTo>
                    <a:lnTo>
                      <a:pt x="35" y="416"/>
                    </a:lnTo>
                    <a:lnTo>
                      <a:pt x="39" y="435"/>
                    </a:lnTo>
                    <a:lnTo>
                      <a:pt x="45" y="457"/>
                    </a:lnTo>
                    <a:lnTo>
                      <a:pt x="49" y="477"/>
                    </a:lnTo>
                    <a:lnTo>
                      <a:pt x="51" y="500"/>
                    </a:lnTo>
                    <a:lnTo>
                      <a:pt x="52" y="524"/>
                    </a:lnTo>
                    <a:lnTo>
                      <a:pt x="51" y="553"/>
                    </a:lnTo>
                    <a:lnTo>
                      <a:pt x="49" y="572"/>
                    </a:lnTo>
                    <a:lnTo>
                      <a:pt x="47" y="588"/>
                    </a:lnTo>
                    <a:lnTo>
                      <a:pt x="46" y="610"/>
                    </a:lnTo>
                    <a:lnTo>
                      <a:pt x="46" y="622"/>
                    </a:lnTo>
                    <a:lnTo>
                      <a:pt x="46" y="635"/>
                    </a:lnTo>
                    <a:lnTo>
                      <a:pt x="46" y="649"/>
                    </a:lnTo>
                    <a:lnTo>
                      <a:pt x="46" y="660"/>
                    </a:lnTo>
                    <a:lnTo>
                      <a:pt x="41" y="666"/>
                    </a:lnTo>
                    <a:lnTo>
                      <a:pt x="37" y="675"/>
                    </a:lnTo>
                    <a:lnTo>
                      <a:pt x="34" y="687"/>
                    </a:lnTo>
                    <a:lnTo>
                      <a:pt x="32" y="697"/>
                    </a:lnTo>
                    <a:lnTo>
                      <a:pt x="34" y="709"/>
                    </a:lnTo>
                    <a:lnTo>
                      <a:pt x="36" y="718"/>
                    </a:lnTo>
                    <a:lnTo>
                      <a:pt x="39" y="725"/>
                    </a:lnTo>
                    <a:lnTo>
                      <a:pt x="42" y="731"/>
                    </a:lnTo>
                    <a:lnTo>
                      <a:pt x="47" y="737"/>
                    </a:lnTo>
                    <a:lnTo>
                      <a:pt x="50" y="741"/>
                    </a:lnTo>
                    <a:lnTo>
                      <a:pt x="52" y="746"/>
                    </a:lnTo>
                    <a:lnTo>
                      <a:pt x="52" y="752"/>
                    </a:lnTo>
                    <a:lnTo>
                      <a:pt x="52" y="767"/>
                    </a:lnTo>
                    <a:lnTo>
                      <a:pt x="52" y="782"/>
                    </a:lnTo>
                    <a:lnTo>
                      <a:pt x="52" y="797"/>
                    </a:lnTo>
                    <a:lnTo>
                      <a:pt x="52" y="808"/>
                    </a:lnTo>
                    <a:lnTo>
                      <a:pt x="53" y="822"/>
                    </a:lnTo>
                    <a:lnTo>
                      <a:pt x="58" y="847"/>
                    </a:lnTo>
                    <a:lnTo>
                      <a:pt x="60" y="860"/>
                    </a:lnTo>
                    <a:lnTo>
                      <a:pt x="64" y="871"/>
                    </a:lnTo>
                    <a:lnTo>
                      <a:pt x="65" y="875"/>
                    </a:lnTo>
                    <a:lnTo>
                      <a:pt x="68" y="879"/>
                    </a:lnTo>
                    <a:lnTo>
                      <a:pt x="70" y="881"/>
                    </a:lnTo>
                    <a:lnTo>
                      <a:pt x="73" y="881"/>
                    </a:lnTo>
                    <a:lnTo>
                      <a:pt x="76" y="894"/>
                    </a:lnTo>
                    <a:lnTo>
                      <a:pt x="80" y="905"/>
                    </a:lnTo>
                    <a:lnTo>
                      <a:pt x="81" y="913"/>
                    </a:lnTo>
                    <a:lnTo>
                      <a:pt x="81" y="921"/>
                    </a:lnTo>
                    <a:lnTo>
                      <a:pt x="80" y="936"/>
                    </a:lnTo>
                    <a:lnTo>
                      <a:pt x="80" y="956"/>
                    </a:lnTo>
                    <a:lnTo>
                      <a:pt x="79" y="980"/>
                    </a:lnTo>
                    <a:lnTo>
                      <a:pt x="78" y="1002"/>
                    </a:lnTo>
                    <a:lnTo>
                      <a:pt x="75" y="1024"/>
                    </a:lnTo>
                    <a:lnTo>
                      <a:pt x="73" y="1045"/>
                    </a:lnTo>
                    <a:lnTo>
                      <a:pt x="70" y="1065"/>
                    </a:lnTo>
                    <a:lnTo>
                      <a:pt x="68" y="1087"/>
                    </a:lnTo>
                    <a:lnTo>
                      <a:pt x="67" y="1110"/>
                    </a:lnTo>
                    <a:lnTo>
                      <a:pt x="67" y="1135"/>
                    </a:lnTo>
                    <a:lnTo>
                      <a:pt x="65" y="1141"/>
                    </a:lnTo>
                    <a:lnTo>
                      <a:pt x="64" y="1147"/>
                    </a:lnTo>
                    <a:lnTo>
                      <a:pt x="63" y="1152"/>
                    </a:lnTo>
                    <a:lnTo>
                      <a:pt x="62" y="1156"/>
                    </a:lnTo>
                    <a:lnTo>
                      <a:pt x="58" y="1163"/>
                    </a:lnTo>
                    <a:lnTo>
                      <a:pt x="52" y="1169"/>
                    </a:lnTo>
                    <a:lnTo>
                      <a:pt x="48" y="1175"/>
                    </a:lnTo>
                    <a:lnTo>
                      <a:pt x="43" y="1181"/>
                    </a:lnTo>
                    <a:lnTo>
                      <a:pt x="41" y="1185"/>
                    </a:lnTo>
                    <a:lnTo>
                      <a:pt x="40" y="1188"/>
                    </a:lnTo>
                    <a:lnTo>
                      <a:pt x="40" y="1192"/>
                    </a:lnTo>
                    <a:lnTo>
                      <a:pt x="39" y="1196"/>
                    </a:lnTo>
                    <a:lnTo>
                      <a:pt x="40" y="1205"/>
                    </a:lnTo>
                    <a:lnTo>
                      <a:pt x="42" y="1215"/>
                    </a:lnTo>
                    <a:lnTo>
                      <a:pt x="46" y="1225"/>
                    </a:lnTo>
                    <a:lnTo>
                      <a:pt x="50" y="1237"/>
                    </a:lnTo>
                    <a:lnTo>
                      <a:pt x="60" y="1258"/>
                    </a:lnTo>
                    <a:lnTo>
                      <a:pt x="73" y="1279"/>
                    </a:lnTo>
                    <a:lnTo>
                      <a:pt x="85" y="1299"/>
                    </a:lnTo>
                    <a:lnTo>
                      <a:pt x="95" y="1317"/>
                    </a:lnTo>
                    <a:lnTo>
                      <a:pt x="99" y="1325"/>
                    </a:lnTo>
                    <a:lnTo>
                      <a:pt x="103" y="1332"/>
                    </a:lnTo>
                    <a:lnTo>
                      <a:pt x="105" y="1338"/>
                    </a:lnTo>
                    <a:lnTo>
                      <a:pt x="106" y="1343"/>
                    </a:lnTo>
                    <a:lnTo>
                      <a:pt x="105" y="1351"/>
                    </a:lnTo>
                    <a:lnTo>
                      <a:pt x="104" y="1358"/>
                    </a:lnTo>
                    <a:lnTo>
                      <a:pt x="102" y="1365"/>
                    </a:lnTo>
                    <a:lnTo>
                      <a:pt x="99" y="1372"/>
                    </a:lnTo>
                    <a:lnTo>
                      <a:pt x="97" y="1380"/>
                    </a:lnTo>
                    <a:lnTo>
                      <a:pt x="95" y="1388"/>
                    </a:lnTo>
                    <a:lnTo>
                      <a:pt x="93" y="1396"/>
                    </a:lnTo>
                    <a:lnTo>
                      <a:pt x="93" y="1406"/>
                    </a:lnTo>
                    <a:lnTo>
                      <a:pt x="93" y="1415"/>
                    </a:lnTo>
                    <a:lnTo>
                      <a:pt x="94" y="1424"/>
                    </a:lnTo>
                    <a:lnTo>
                      <a:pt x="96" y="1432"/>
                    </a:lnTo>
                    <a:lnTo>
                      <a:pt x="98" y="1438"/>
                    </a:lnTo>
                    <a:lnTo>
                      <a:pt x="102" y="1444"/>
                    </a:lnTo>
                    <a:lnTo>
                      <a:pt x="106" y="1449"/>
                    </a:lnTo>
                    <a:lnTo>
                      <a:pt x="112" y="1453"/>
                    </a:lnTo>
                    <a:lnTo>
                      <a:pt x="117" y="1457"/>
                    </a:lnTo>
                    <a:lnTo>
                      <a:pt x="123" y="1460"/>
                    </a:lnTo>
                    <a:lnTo>
                      <a:pt x="130" y="1463"/>
                    </a:lnTo>
                    <a:lnTo>
                      <a:pt x="138" y="1464"/>
                    </a:lnTo>
                    <a:lnTo>
                      <a:pt x="146" y="1465"/>
                    </a:lnTo>
                    <a:lnTo>
                      <a:pt x="164" y="1467"/>
                    </a:lnTo>
                    <a:lnTo>
                      <a:pt x="185" y="1467"/>
                    </a:lnTo>
                    <a:lnTo>
                      <a:pt x="191" y="1501"/>
                    </a:lnTo>
                    <a:lnTo>
                      <a:pt x="195" y="1531"/>
                    </a:lnTo>
                    <a:lnTo>
                      <a:pt x="197" y="1559"/>
                    </a:lnTo>
                    <a:lnTo>
                      <a:pt x="199" y="1590"/>
                    </a:lnTo>
                    <a:lnTo>
                      <a:pt x="202" y="1602"/>
                    </a:lnTo>
                    <a:lnTo>
                      <a:pt x="209" y="1621"/>
                    </a:lnTo>
                    <a:lnTo>
                      <a:pt x="216" y="1643"/>
                    </a:lnTo>
                    <a:lnTo>
                      <a:pt x="219" y="1658"/>
                    </a:lnTo>
                    <a:lnTo>
                      <a:pt x="219" y="1668"/>
                    </a:lnTo>
                    <a:lnTo>
                      <a:pt x="220" y="1679"/>
                    </a:lnTo>
                    <a:lnTo>
                      <a:pt x="221" y="1687"/>
                    </a:lnTo>
                    <a:lnTo>
                      <a:pt x="222" y="1694"/>
                    </a:lnTo>
                    <a:lnTo>
                      <a:pt x="227" y="1709"/>
                    </a:lnTo>
                    <a:lnTo>
                      <a:pt x="232" y="1725"/>
                    </a:lnTo>
                    <a:lnTo>
                      <a:pt x="202" y="1732"/>
                    </a:lnTo>
                    <a:lnTo>
                      <a:pt x="173" y="1739"/>
                    </a:lnTo>
                    <a:lnTo>
                      <a:pt x="166" y="1740"/>
                    </a:lnTo>
                    <a:lnTo>
                      <a:pt x="161" y="1743"/>
                    </a:lnTo>
                    <a:lnTo>
                      <a:pt x="155" y="1745"/>
                    </a:lnTo>
                    <a:lnTo>
                      <a:pt x="151" y="1749"/>
                    </a:lnTo>
                    <a:lnTo>
                      <a:pt x="147" y="1752"/>
                    </a:lnTo>
                    <a:lnTo>
                      <a:pt x="143" y="1757"/>
                    </a:lnTo>
                    <a:lnTo>
                      <a:pt x="141" y="1762"/>
                    </a:lnTo>
                    <a:lnTo>
                      <a:pt x="139" y="1769"/>
                    </a:lnTo>
                    <a:lnTo>
                      <a:pt x="164" y="1770"/>
                    </a:lnTo>
                    <a:lnTo>
                      <a:pt x="193" y="1773"/>
                    </a:lnTo>
                    <a:lnTo>
                      <a:pt x="207" y="1776"/>
                    </a:lnTo>
                    <a:lnTo>
                      <a:pt x="218" y="1779"/>
                    </a:lnTo>
                    <a:lnTo>
                      <a:pt x="224" y="1781"/>
                    </a:lnTo>
                    <a:lnTo>
                      <a:pt x="227" y="1783"/>
                    </a:lnTo>
                    <a:lnTo>
                      <a:pt x="230" y="1785"/>
                    </a:lnTo>
                    <a:lnTo>
                      <a:pt x="232" y="1787"/>
                    </a:lnTo>
                    <a:lnTo>
                      <a:pt x="243" y="1807"/>
                    </a:lnTo>
                    <a:lnTo>
                      <a:pt x="250" y="1820"/>
                    </a:lnTo>
                    <a:lnTo>
                      <a:pt x="253" y="1825"/>
                    </a:lnTo>
                    <a:lnTo>
                      <a:pt x="258" y="1828"/>
                    </a:lnTo>
                    <a:lnTo>
                      <a:pt x="263" y="1830"/>
                    </a:lnTo>
                    <a:lnTo>
                      <a:pt x="272" y="1830"/>
                    </a:lnTo>
                    <a:lnTo>
                      <a:pt x="272" y="1843"/>
                    </a:lnTo>
                    <a:lnTo>
                      <a:pt x="273" y="1857"/>
                    </a:lnTo>
                    <a:lnTo>
                      <a:pt x="275" y="1871"/>
                    </a:lnTo>
                    <a:lnTo>
                      <a:pt x="278" y="1884"/>
                    </a:lnTo>
                    <a:lnTo>
                      <a:pt x="282" y="1898"/>
                    </a:lnTo>
                    <a:lnTo>
                      <a:pt x="285" y="1912"/>
                    </a:lnTo>
                    <a:lnTo>
                      <a:pt x="289" y="1925"/>
                    </a:lnTo>
                    <a:lnTo>
                      <a:pt x="295" y="1937"/>
                    </a:lnTo>
                    <a:lnTo>
                      <a:pt x="301" y="1949"/>
                    </a:lnTo>
                    <a:lnTo>
                      <a:pt x="308" y="1961"/>
                    </a:lnTo>
                    <a:lnTo>
                      <a:pt x="315" y="1971"/>
                    </a:lnTo>
                    <a:lnTo>
                      <a:pt x="322" y="1980"/>
                    </a:lnTo>
                    <a:lnTo>
                      <a:pt x="330" y="1988"/>
                    </a:lnTo>
                    <a:lnTo>
                      <a:pt x="339" y="1995"/>
                    </a:lnTo>
                    <a:lnTo>
                      <a:pt x="349" y="2000"/>
                    </a:lnTo>
                    <a:lnTo>
                      <a:pt x="359" y="2003"/>
                    </a:lnTo>
                    <a:lnTo>
                      <a:pt x="359" y="2013"/>
                    </a:lnTo>
                    <a:lnTo>
                      <a:pt x="361" y="2021"/>
                    </a:lnTo>
                    <a:lnTo>
                      <a:pt x="364" y="2028"/>
                    </a:lnTo>
                    <a:lnTo>
                      <a:pt x="368" y="2034"/>
                    </a:lnTo>
                    <a:lnTo>
                      <a:pt x="374" y="2038"/>
                    </a:lnTo>
                    <a:lnTo>
                      <a:pt x="379" y="2042"/>
                    </a:lnTo>
                    <a:lnTo>
                      <a:pt x="386" y="2046"/>
                    </a:lnTo>
                    <a:lnTo>
                      <a:pt x="393" y="2048"/>
                    </a:lnTo>
                    <a:lnTo>
                      <a:pt x="407" y="2053"/>
                    </a:lnTo>
                    <a:lnTo>
                      <a:pt x="420" y="2057"/>
                    </a:lnTo>
                    <a:lnTo>
                      <a:pt x="426" y="2060"/>
                    </a:lnTo>
                    <a:lnTo>
                      <a:pt x="431" y="2063"/>
                    </a:lnTo>
                    <a:lnTo>
                      <a:pt x="435" y="2066"/>
                    </a:lnTo>
                    <a:lnTo>
                      <a:pt x="438" y="2071"/>
                    </a:lnTo>
                    <a:lnTo>
                      <a:pt x="424" y="2074"/>
                    </a:lnTo>
                    <a:lnTo>
                      <a:pt x="411" y="2077"/>
                    </a:lnTo>
                    <a:lnTo>
                      <a:pt x="415" y="2084"/>
                    </a:lnTo>
                    <a:lnTo>
                      <a:pt x="421" y="2091"/>
                    </a:lnTo>
                    <a:lnTo>
                      <a:pt x="429" y="2097"/>
                    </a:lnTo>
                    <a:lnTo>
                      <a:pt x="440" y="2102"/>
                    </a:lnTo>
                    <a:lnTo>
                      <a:pt x="452" y="2107"/>
                    </a:lnTo>
                    <a:lnTo>
                      <a:pt x="465" y="2110"/>
                    </a:lnTo>
                    <a:lnTo>
                      <a:pt x="480" y="2113"/>
                    </a:lnTo>
                    <a:lnTo>
                      <a:pt x="498" y="2114"/>
                    </a:lnTo>
                    <a:lnTo>
                      <a:pt x="502" y="2117"/>
                    </a:lnTo>
                    <a:lnTo>
                      <a:pt x="507" y="2121"/>
                    </a:lnTo>
                    <a:lnTo>
                      <a:pt x="510" y="2127"/>
                    </a:lnTo>
                    <a:lnTo>
                      <a:pt x="513" y="2131"/>
                    </a:lnTo>
                    <a:lnTo>
                      <a:pt x="519" y="2140"/>
                    </a:lnTo>
                    <a:lnTo>
                      <a:pt x="522" y="2149"/>
                    </a:lnTo>
                    <a:lnTo>
                      <a:pt x="527" y="2155"/>
                    </a:lnTo>
                    <a:lnTo>
                      <a:pt x="530" y="2158"/>
                    </a:lnTo>
                    <a:lnTo>
                      <a:pt x="531" y="2158"/>
                    </a:lnTo>
                    <a:lnTo>
                      <a:pt x="533" y="2157"/>
                    </a:lnTo>
                    <a:lnTo>
                      <a:pt x="535" y="2155"/>
                    </a:lnTo>
                    <a:lnTo>
                      <a:pt x="538" y="2151"/>
                    </a:lnTo>
                    <a:lnTo>
                      <a:pt x="543" y="2137"/>
                    </a:lnTo>
                    <a:lnTo>
                      <a:pt x="547" y="2125"/>
                    </a:lnTo>
                    <a:lnTo>
                      <a:pt x="554" y="2116"/>
                    </a:lnTo>
                    <a:lnTo>
                      <a:pt x="561" y="2109"/>
                    </a:lnTo>
                    <a:lnTo>
                      <a:pt x="567" y="2104"/>
                    </a:lnTo>
                    <a:lnTo>
                      <a:pt x="576" y="2101"/>
                    </a:lnTo>
                    <a:lnTo>
                      <a:pt x="586" y="2098"/>
                    </a:lnTo>
                    <a:lnTo>
                      <a:pt x="598" y="2095"/>
                    </a:lnTo>
                    <a:lnTo>
                      <a:pt x="592" y="2087"/>
                    </a:lnTo>
                    <a:lnTo>
                      <a:pt x="589" y="2081"/>
                    </a:lnTo>
                    <a:lnTo>
                      <a:pt x="588" y="2078"/>
                    </a:lnTo>
                    <a:lnTo>
                      <a:pt x="588" y="2076"/>
                    </a:lnTo>
                    <a:lnTo>
                      <a:pt x="589" y="2074"/>
                    </a:lnTo>
                    <a:lnTo>
                      <a:pt x="591" y="2071"/>
                    </a:lnTo>
                    <a:lnTo>
                      <a:pt x="491" y="2046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5" name="Freeform 9"/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7750403" y="3734558"/>
                <a:ext cx="1214085" cy="1358681"/>
              </a:xfrm>
              <a:custGeom>
                <a:avLst/>
                <a:gdLst>
                  <a:gd name="T0" fmla="*/ 2147483647 w 2226"/>
                  <a:gd name="T1" fmla="*/ 2147483647 h 2292"/>
                  <a:gd name="T2" fmla="*/ 2147483647 w 2226"/>
                  <a:gd name="T3" fmla="*/ 2147483647 h 2292"/>
                  <a:gd name="T4" fmla="*/ 2147483647 w 2226"/>
                  <a:gd name="T5" fmla="*/ 2147483647 h 2292"/>
                  <a:gd name="T6" fmla="*/ 2147483647 w 2226"/>
                  <a:gd name="T7" fmla="*/ 2147483647 h 2292"/>
                  <a:gd name="T8" fmla="*/ 2147483647 w 2226"/>
                  <a:gd name="T9" fmla="*/ 2147483647 h 2292"/>
                  <a:gd name="T10" fmla="*/ 2147483647 w 2226"/>
                  <a:gd name="T11" fmla="*/ 2147483647 h 2292"/>
                  <a:gd name="T12" fmla="*/ 2147483647 w 2226"/>
                  <a:gd name="T13" fmla="*/ 2147483647 h 2292"/>
                  <a:gd name="T14" fmla="*/ 2147483647 w 2226"/>
                  <a:gd name="T15" fmla="*/ 2147483647 h 2292"/>
                  <a:gd name="T16" fmla="*/ 2147483647 w 2226"/>
                  <a:gd name="T17" fmla="*/ 2147483647 h 2292"/>
                  <a:gd name="T18" fmla="*/ 2147483647 w 2226"/>
                  <a:gd name="T19" fmla="*/ 2147483647 h 2292"/>
                  <a:gd name="T20" fmla="*/ 2147483647 w 2226"/>
                  <a:gd name="T21" fmla="*/ 2147483647 h 2292"/>
                  <a:gd name="T22" fmla="*/ 2147483647 w 2226"/>
                  <a:gd name="T23" fmla="*/ 2147483647 h 2292"/>
                  <a:gd name="T24" fmla="*/ 2147483647 w 2226"/>
                  <a:gd name="T25" fmla="*/ 2147483647 h 2292"/>
                  <a:gd name="T26" fmla="*/ 2147483647 w 2226"/>
                  <a:gd name="T27" fmla="*/ 2147483647 h 2292"/>
                  <a:gd name="T28" fmla="*/ 2147483647 w 2226"/>
                  <a:gd name="T29" fmla="*/ 2147483647 h 2292"/>
                  <a:gd name="T30" fmla="*/ 2147483647 w 2226"/>
                  <a:gd name="T31" fmla="*/ 2147483647 h 2292"/>
                  <a:gd name="T32" fmla="*/ 2147483647 w 2226"/>
                  <a:gd name="T33" fmla="*/ 2147483647 h 2292"/>
                  <a:gd name="T34" fmla="*/ 2147483647 w 2226"/>
                  <a:gd name="T35" fmla="*/ 2147483647 h 2292"/>
                  <a:gd name="T36" fmla="*/ 2147483647 w 2226"/>
                  <a:gd name="T37" fmla="*/ 2147483647 h 2292"/>
                  <a:gd name="T38" fmla="*/ 2147483647 w 2226"/>
                  <a:gd name="T39" fmla="*/ 2147483647 h 2292"/>
                  <a:gd name="T40" fmla="*/ 2147483647 w 2226"/>
                  <a:gd name="T41" fmla="*/ 2147483647 h 2292"/>
                  <a:gd name="T42" fmla="*/ 2147483647 w 2226"/>
                  <a:gd name="T43" fmla="*/ 2147483647 h 2292"/>
                  <a:gd name="T44" fmla="*/ 2147483647 w 2226"/>
                  <a:gd name="T45" fmla="*/ 2147483647 h 2292"/>
                  <a:gd name="T46" fmla="*/ 2147483647 w 2226"/>
                  <a:gd name="T47" fmla="*/ 2147483647 h 2292"/>
                  <a:gd name="T48" fmla="*/ 2147483647 w 2226"/>
                  <a:gd name="T49" fmla="*/ 2147483647 h 2292"/>
                  <a:gd name="T50" fmla="*/ 2147483647 w 2226"/>
                  <a:gd name="T51" fmla="*/ 2147483647 h 2292"/>
                  <a:gd name="T52" fmla="*/ 2147483647 w 2226"/>
                  <a:gd name="T53" fmla="*/ 2147483647 h 2292"/>
                  <a:gd name="T54" fmla="*/ 2147483647 w 2226"/>
                  <a:gd name="T55" fmla="*/ 2147483647 h 2292"/>
                  <a:gd name="T56" fmla="*/ 2147483647 w 2226"/>
                  <a:gd name="T57" fmla="*/ 2147483647 h 2292"/>
                  <a:gd name="T58" fmla="*/ 2147483647 w 2226"/>
                  <a:gd name="T59" fmla="*/ 2147483647 h 2292"/>
                  <a:gd name="T60" fmla="*/ 2147483647 w 2226"/>
                  <a:gd name="T61" fmla="*/ 2147483647 h 2292"/>
                  <a:gd name="T62" fmla="*/ 2147483647 w 2226"/>
                  <a:gd name="T63" fmla="*/ 2147483647 h 2292"/>
                  <a:gd name="T64" fmla="*/ 2147483647 w 2226"/>
                  <a:gd name="T65" fmla="*/ 2147483647 h 2292"/>
                  <a:gd name="T66" fmla="*/ 2147483647 w 2226"/>
                  <a:gd name="T67" fmla="*/ 2147483647 h 2292"/>
                  <a:gd name="T68" fmla="*/ 2147483647 w 2226"/>
                  <a:gd name="T69" fmla="*/ 2147483647 h 2292"/>
                  <a:gd name="T70" fmla="*/ 2147483647 w 2226"/>
                  <a:gd name="T71" fmla="*/ 2147483647 h 2292"/>
                  <a:gd name="T72" fmla="*/ 2147483647 w 2226"/>
                  <a:gd name="T73" fmla="*/ 2147483647 h 2292"/>
                  <a:gd name="T74" fmla="*/ 2147483647 w 2226"/>
                  <a:gd name="T75" fmla="*/ 2147483647 h 2292"/>
                  <a:gd name="T76" fmla="*/ 2147483647 w 2226"/>
                  <a:gd name="T77" fmla="*/ 2147483647 h 2292"/>
                  <a:gd name="T78" fmla="*/ 2147483647 w 2226"/>
                  <a:gd name="T79" fmla="*/ 2147483647 h 2292"/>
                  <a:gd name="T80" fmla="*/ 2147483647 w 2226"/>
                  <a:gd name="T81" fmla="*/ 2147483647 h 2292"/>
                  <a:gd name="T82" fmla="*/ 2147483647 w 2226"/>
                  <a:gd name="T83" fmla="*/ 2147483647 h 2292"/>
                  <a:gd name="T84" fmla="*/ 2147483647 w 2226"/>
                  <a:gd name="T85" fmla="*/ 2147483647 h 2292"/>
                  <a:gd name="T86" fmla="*/ 2147483647 w 2226"/>
                  <a:gd name="T87" fmla="*/ 2147483647 h 2292"/>
                  <a:gd name="T88" fmla="*/ 2147483647 w 2226"/>
                  <a:gd name="T89" fmla="*/ 2147483647 h 2292"/>
                  <a:gd name="T90" fmla="*/ 2147483647 w 2226"/>
                  <a:gd name="T91" fmla="*/ 2147483647 h 2292"/>
                  <a:gd name="T92" fmla="*/ 2147483647 w 2226"/>
                  <a:gd name="T93" fmla="*/ 2147483647 h 2292"/>
                  <a:gd name="T94" fmla="*/ 2147483647 w 2226"/>
                  <a:gd name="T95" fmla="*/ 2147483647 h 2292"/>
                  <a:gd name="T96" fmla="*/ 2147483647 w 2226"/>
                  <a:gd name="T97" fmla="*/ 0 h 2292"/>
                  <a:gd name="T98" fmla="*/ 2147483647 w 2226"/>
                  <a:gd name="T99" fmla="*/ 2147483647 h 2292"/>
                  <a:gd name="T100" fmla="*/ 2147483647 w 2226"/>
                  <a:gd name="T101" fmla="*/ 2147483647 h 2292"/>
                  <a:gd name="T102" fmla="*/ 2147483647 w 2226"/>
                  <a:gd name="T103" fmla="*/ 2147483647 h 2292"/>
                  <a:gd name="T104" fmla="*/ 2147483647 w 2226"/>
                  <a:gd name="T105" fmla="*/ 2147483647 h 2292"/>
                  <a:gd name="T106" fmla="*/ 2147483647 w 2226"/>
                  <a:gd name="T107" fmla="*/ 2147483647 h 2292"/>
                  <a:gd name="T108" fmla="*/ 2147483647 w 2226"/>
                  <a:gd name="T109" fmla="*/ 2147483647 h 2292"/>
                  <a:gd name="T110" fmla="*/ 2147483647 w 2226"/>
                  <a:gd name="T111" fmla="*/ 2147483647 h 2292"/>
                  <a:gd name="T112" fmla="*/ 2147483647 w 2226"/>
                  <a:gd name="T113" fmla="*/ 2147483647 h 2292"/>
                  <a:gd name="T114" fmla="*/ 2147483647 w 2226"/>
                  <a:gd name="T115" fmla="*/ 2147483647 h 2292"/>
                  <a:gd name="T116" fmla="*/ 2147483647 w 2226"/>
                  <a:gd name="T117" fmla="*/ 2147483647 h 2292"/>
                  <a:gd name="T118" fmla="*/ 2147483647 w 2226"/>
                  <a:gd name="T119" fmla="*/ 2147483647 h 2292"/>
                  <a:gd name="T120" fmla="*/ 2147483647 w 2226"/>
                  <a:gd name="T121" fmla="*/ 2147483647 h 2292"/>
                  <a:gd name="T122" fmla="*/ 2147483647 w 2226"/>
                  <a:gd name="T123" fmla="*/ 2147483647 h 2292"/>
                  <a:gd name="T124" fmla="*/ 2147483647 w 2226"/>
                  <a:gd name="T125" fmla="*/ 2147483647 h 229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2226" h="2292">
                    <a:moveTo>
                      <a:pt x="233" y="973"/>
                    </a:moveTo>
                    <a:lnTo>
                      <a:pt x="313" y="967"/>
                    </a:lnTo>
                    <a:lnTo>
                      <a:pt x="323" y="963"/>
                    </a:lnTo>
                    <a:lnTo>
                      <a:pt x="332" y="959"/>
                    </a:lnTo>
                    <a:lnTo>
                      <a:pt x="342" y="953"/>
                    </a:lnTo>
                    <a:lnTo>
                      <a:pt x="351" y="948"/>
                    </a:lnTo>
                    <a:lnTo>
                      <a:pt x="368" y="936"/>
                    </a:lnTo>
                    <a:lnTo>
                      <a:pt x="386" y="923"/>
                    </a:lnTo>
                    <a:lnTo>
                      <a:pt x="403" y="911"/>
                    </a:lnTo>
                    <a:lnTo>
                      <a:pt x="421" y="902"/>
                    </a:lnTo>
                    <a:lnTo>
                      <a:pt x="431" y="898"/>
                    </a:lnTo>
                    <a:lnTo>
                      <a:pt x="440" y="896"/>
                    </a:lnTo>
                    <a:lnTo>
                      <a:pt x="449" y="894"/>
                    </a:lnTo>
                    <a:lnTo>
                      <a:pt x="459" y="893"/>
                    </a:lnTo>
                    <a:lnTo>
                      <a:pt x="467" y="894"/>
                    </a:lnTo>
                    <a:lnTo>
                      <a:pt x="474" y="896"/>
                    </a:lnTo>
                    <a:lnTo>
                      <a:pt x="480" y="899"/>
                    </a:lnTo>
                    <a:lnTo>
                      <a:pt x="485" y="902"/>
                    </a:lnTo>
                    <a:lnTo>
                      <a:pt x="489" y="907"/>
                    </a:lnTo>
                    <a:lnTo>
                      <a:pt x="492" y="912"/>
                    </a:lnTo>
                    <a:lnTo>
                      <a:pt x="496" y="918"/>
                    </a:lnTo>
                    <a:lnTo>
                      <a:pt x="498" y="925"/>
                    </a:lnTo>
                    <a:lnTo>
                      <a:pt x="502" y="956"/>
                    </a:lnTo>
                    <a:lnTo>
                      <a:pt x="505" y="985"/>
                    </a:lnTo>
                    <a:lnTo>
                      <a:pt x="509" y="994"/>
                    </a:lnTo>
                    <a:lnTo>
                      <a:pt x="512" y="1001"/>
                    </a:lnTo>
                    <a:lnTo>
                      <a:pt x="515" y="1008"/>
                    </a:lnTo>
                    <a:lnTo>
                      <a:pt x="520" y="1015"/>
                    </a:lnTo>
                    <a:lnTo>
                      <a:pt x="525" y="1022"/>
                    </a:lnTo>
                    <a:lnTo>
                      <a:pt x="531" y="1028"/>
                    </a:lnTo>
                    <a:lnTo>
                      <a:pt x="536" y="1033"/>
                    </a:lnTo>
                    <a:lnTo>
                      <a:pt x="543" y="1038"/>
                    </a:lnTo>
                    <a:lnTo>
                      <a:pt x="549" y="1044"/>
                    </a:lnTo>
                    <a:lnTo>
                      <a:pt x="557" y="1048"/>
                    </a:lnTo>
                    <a:lnTo>
                      <a:pt x="564" y="1051"/>
                    </a:lnTo>
                    <a:lnTo>
                      <a:pt x="572" y="1054"/>
                    </a:lnTo>
                    <a:lnTo>
                      <a:pt x="580" y="1057"/>
                    </a:lnTo>
                    <a:lnTo>
                      <a:pt x="588" y="1058"/>
                    </a:lnTo>
                    <a:lnTo>
                      <a:pt x="597" y="1059"/>
                    </a:lnTo>
                    <a:lnTo>
                      <a:pt x="605" y="1060"/>
                    </a:lnTo>
                    <a:lnTo>
                      <a:pt x="614" y="1060"/>
                    </a:lnTo>
                    <a:lnTo>
                      <a:pt x="625" y="1063"/>
                    </a:lnTo>
                    <a:lnTo>
                      <a:pt x="638" y="1066"/>
                    </a:lnTo>
                    <a:lnTo>
                      <a:pt x="653" y="1071"/>
                    </a:lnTo>
                    <a:lnTo>
                      <a:pt x="668" y="1076"/>
                    </a:lnTo>
                    <a:lnTo>
                      <a:pt x="683" y="1083"/>
                    </a:lnTo>
                    <a:lnTo>
                      <a:pt x="700" y="1090"/>
                    </a:lnTo>
                    <a:lnTo>
                      <a:pt x="716" y="1098"/>
                    </a:lnTo>
                    <a:lnTo>
                      <a:pt x="733" y="1108"/>
                    </a:lnTo>
                    <a:lnTo>
                      <a:pt x="747" y="1116"/>
                    </a:lnTo>
                    <a:lnTo>
                      <a:pt x="761" y="1126"/>
                    </a:lnTo>
                    <a:lnTo>
                      <a:pt x="773" y="1135"/>
                    </a:lnTo>
                    <a:lnTo>
                      <a:pt x="783" y="1144"/>
                    </a:lnTo>
                    <a:lnTo>
                      <a:pt x="791" y="1153"/>
                    </a:lnTo>
                    <a:lnTo>
                      <a:pt x="794" y="1158"/>
                    </a:lnTo>
                    <a:lnTo>
                      <a:pt x="796" y="1162"/>
                    </a:lnTo>
                    <a:lnTo>
                      <a:pt x="798" y="1167"/>
                    </a:lnTo>
                    <a:lnTo>
                      <a:pt x="798" y="1171"/>
                    </a:lnTo>
                    <a:lnTo>
                      <a:pt x="798" y="1190"/>
                    </a:lnTo>
                    <a:lnTo>
                      <a:pt x="798" y="1204"/>
                    </a:lnTo>
                    <a:lnTo>
                      <a:pt x="798" y="1214"/>
                    </a:lnTo>
                    <a:lnTo>
                      <a:pt x="798" y="1220"/>
                    </a:lnTo>
                    <a:lnTo>
                      <a:pt x="799" y="1229"/>
                    </a:lnTo>
                    <a:lnTo>
                      <a:pt x="803" y="1242"/>
                    </a:lnTo>
                    <a:lnTo>
                      <a:pt x="806" y="1249"/>
                    </a:lnTo>
                    <a:lnTo>
                      <a:pt x="810" y="1256"/>
                    </a:lnTo>
                    <a:lnTo>
                      <a:pt x="814" y="1263"/>
                    </a:lnTo>
                    <a:lnTo>
                      <a:pt x="818" y="1271"/>
                    </a:lnTo>
                    <a:lnTo>
                      <a:pt x="824" y="1277"/>
                    </a:lnTo>
                    <a:lnTo>
                      <a:pt x="830" y="1283"/>
                    </a:lnTo>
                    <a:lnTo>
                      <a:pt x="838" y="1288"/>
                    </a:lnTo>
                    <a:lnTo>
                      <a:pt x="846" y="1292"/>
                    </a:lnTo>
                    <a:lnTo>
                      <a:pt x="854" y="1295"/>
                    </a:lnTo>
                    <a:lnTo>
                      <a:pt x="863" y="1296"/>
                    </a:lnTo>
                    <a:lnTo>
                      <a:pt x="873" y="1296"/>
                    </a:lnTo>
                    <a:lnTo>
                      <a:pt x="884" y="1294"/>
                    </a:lnTo>
                    <a:lnTo>
                      <a:pt x="917" y="1294"/>
                    </a:lnTo>
                    <a:lnTo>
                      <a:pt x="918" y="1306"/>
                    </a:lnTo>
                    <a:lnTo>
                      <a:pt x="919" y="1317"/>
                    </a:lnTo>
                    <a:lnTo>
                      <a:pt x="923" y="1328"/>
                    </a:lnTo>
                    <a:lnTo>
                      <a:pt x="926" y="1336"/>
                    </a:lnTo>
                    <a:lnTo>
                      <a:pt x="929" y="1343"/>
                    </a:lnTo>
                    <a:lnTo>
                      <a:pt x="935" y="1349"/>
                    </a:lnTo>
                    <a:lnTo>
                      <a:pt x="939" y="1355"/>
                    </a:lnTo>
                    <a:lnTo>
                      <a:pt x="944" y="1360"/>
                    </a:lnTo>
                    <a:lnTo>
                      <a:pt x="953" y="1371"/>
                    </a:lnTo>
                    <a:lnTo>
                      <a:pt x="962" y="1385"/>
                    </a:lnTo>
                    <a:lnTo>
                      <a:pt x="965" y="1392"/>
                    </a:lnTo>
                    <a:lnTo>
                      <a:pt x="969" y="1401"/>
                    </a:lnTo>
                    <a:lnTo>
                      <a:pt x="970" y="1411"/>
                    </a:lnTo>
                    <a:lnTo>
                      <a:pt x="971" y="1423"/>
                    </a:lnTo>
                    <a:lnTo>
                      <a:pt x="970" y="1434"/>
                    </a:lnTo>
                    <a:lnTo>
                      <a:pt x="968" y="1443"/>
                    </a:lnTo>
                    <a:lnTo>
                      <a:pt x="964" y="1452"/>
                    </a:lnTo>
                    <a:lnTo>
                      <a:pt x="961" y="1459"/>
                    </a:lnTo>
                    <a:lnTo>
                      <a:pt x="957" y="1466"/>
                    </a:lnTo>
                    <a:lnTo>
                      <a:pt x="953" y="1474"/>
                    </a:lnTo>
                    <a:lnTo>
                      <a:pt x="951" y="1482"/>
                    </a:lnTo>
                    <a:lnTo>
                      <a:pt x="951" y="1491"/>
                    </a:lnTo>
                    <a:lnTo>
                      <a:pt x="951" y="1498"/>
                    </a:lnTo>
                    <a:lnTo>
                      <a:pt x="952" y="1503"/>
                    </a:lnTo>
                    <a:lnTo>
                      <a:pt x="953" y="1509"/>
                    </a:lnTo>
                    <a:lnTo>
                      <a:pt x="955" y="1513"/>
                    </a:lnTo>
                    <a:lnTo>
                      <a:pt x="959" y="1521"/>
                    </a:lnTo>
                    <a:lnTo>
                      <a:pt x="964" y="1527"/>
                    </a:lnTo>
                    <a:lnTo>
                      <a:pt x="969" y="1533"/>
                    </a:lnTo>
                    <a:lnTo>
                      <a:pt x="973" y="1537"/>
                    </a:lnTo>
                    <a:lnTo>
                      <a:pt x="976" y="1541"/>
                    </a:lnTo>
                    <a:lnTo>
                      <a:pt x="978" y="1547"/>
                    </a:lnTo>
                    <a:lnTo>
                      <a:pt x="979" y="1555"/>
                    </a:lnTo>
                    <a:lnTo>
                      <a:pt x="979" y="1564"/>
                    </a:lnTo>
                    <a:lnTo>
                      <a:pt x="979" y="1572"/>
                    </a:lnTo>
                    <a:lnTo>
                      <a:pt x="978" y="1580"/>
                    </a:lnTo>
                    <a:lnTo>
                      <a:pt x="976" y="1588"/>
                    </a:lnTo>
                    <a:lnTo>
                      <a:pt x="975" y="1596"/>
                    </a:lnTo>
                    <a:lnTo>
                      <a:pt x="975" y="1605"/>
                    </a:lnTo>
                    <a:lnTo>
                      <a:pt x="978" y="1614"/>
                    </a:lnTo>
                    <a:lnTo>
                      <a:pt x="981" y="1621"/>
                    </a:lnTo>
                    <a:lnTo>
                      <a:pt x="985" y="1627"/>
                    </a:lnTo>
                    <a:lnTo>
                      <a:pt x="992" y="1632"/>
                    </a:lnTo>
                    <a:lnTo>
                      <a:pt x="998" y="1637"/>
                    </a:lnTo>
                    <a:lnTo>
                      <a:pt x="1016" y="1645"/>
                    </a:lnTo>
                    <a:lnTo>
                      <a:pt x="1036" y="1653"/>
                    </a:lnTo>
                    <a:lnTo>
                      <a:pt x="1057" y="1661"/>
                    </a:lnTo>
                    <a:lnTo>
                      <a:pt x="1077" y="1669"/>
                    </a:lnTo>
                    <a:lnTo>
                      <a:pt x="1086" y="1673"/>
                    </a:lnTo>
                    <a:lnTo>
                      <a:pt x="1095" y="1678"/>
                    </a:lnTo>
                    <a:lnTo>
                      <a:pt x="1104" y="1682"/>
                    </a:lnTo>
                    <a:lnTo>
                      <a:pt x="1110" y="1688"/>
                    </a:lnTo>
                    <a:lnTo>
                      <a:pt x="1116" y="1692"/>
                    </a:lnTo>
                    <a:lnTo>
                      <a:pt x="1124" y="1695"/>
                    </a:lnTo>
                    <a:lnTo>
                      <a:pt x="1131" y="1698"/>
                    </a:lnTo>
                    <a:lnTo>
                      <a:pt x="1140" y="1700"/>
                    </a:lnTo>
                    <a:lnTo>
                      <a:pt x="1149" y="1702"/>
                    </a:lnTo>
                    <a:lnTo>
                      <a:pt x="1157" y="1705"/>
                    </a:lnTo>
                    <a:lnTo>
                      <a:pt x="1164" y="1708"/>
                    </a:lnTo>
                    <a:lnTo>
                      <a:pt x="1170" y="1713"/>
                    </a:lnTo>
                    <a:lnTo>
                      <a:pt x="1176" y="1721"/>
                    </a:lnTo>
                    <a:lnTo>
                      <a:pt x="1181" y="1729"/>
                    </a:lnTo>
                    <a:lnTo>
                      <a:pt x="1185" y="1739"/>
                    </a:lnTo>
                    <a:lnTo>
                      <a:pt x="1187" y="1749"/>
                    </a:lnTo>
                    <a:lnTo>
                      <a:pt x="1189" y="1772"/>
                    </a:lnTo>
                    <a:lnTo>
                      <a:pt x="1192" y="1794"/>
                    </a:lnTo>
                    <a:lnTo>
                      <a:pt x="1193" y="1805"/>
                    </a:lnTo>
                    <a:lnTo>
                      <a:pt x="1195" y="1815"/>
                    </a:lnTo>
                    <a:lnTo>
                      <a:pt x="1198" y="1825"/>
                    </a:lnTo>
                    <a:lnTo>
                      <a:pt x="1204" y="1832"/>
                    </a:lnTo>
                    <a:lnTo>
                      <a:pt x="1207" y="1836"/>
                    </a:lnTo>
                    <a:lnTo>
                      <a:pt x="1210" y="1839"/>
                    </a:lnTo>
                    <a:lnTo>
                      <a:pt x="1214" y="1842"/>
                    </a:lnTo>
                    <a:lnTo>
                      <a:pt x="1219" y="1844"/>
                    </a:lnTo>
                    <a:lnTo>
                      <a:pt x="1224" y="1846"/>
                    </a:lnTo>
                    <a:lnTo>
                      <a:pt x="1229" y="1847"/>
                    </a:lnTo>
                    <a:lnTo>
                      <a:pt x="1236" y="1848"/>
                    </a:lnTo>
                    <a:lnTo>
                      <a:pt x="1243" y="1848"/>
                    </a:lnTo>
                    <a:lnTo>
                      <a:pt x="1243" y="1864"/>
                    </a:lnTo>
                    <a:lnTo>
                      <a:pt x="1243" y="1879"/>
                    </a:lnTo>
                    <a:lnTo>
                      <a:pt x="1243" y="1891"/>
                    </a:lnTo>
                    <a:lnTo>
                      <a:pt x="1243" y="1904"/>
                    </a:lnTo>
                    <a:lnTo>
                      <a:pt x="1243" y="1921"/>
                    </a:lnTo>
                    <a:lnTo>
                      <a:pt x="1243" y="1942"/>
                    </a:lnTo>
                    <a:lnTo>
                      <a:pt x="1243" y="1961"/>
                    </a:lnTo>
                    <a:lnTo>
                      <a:pt x="1243" y="1971"/>
                    </a:lnTo>
                    <a:lnTo>
                      <a:pt x="1232" y="1974"/>
                    </a:lnTo>
                    <a:lnTo>
                      <a:pt x="1221" y="1979"/>
                    </a:lnTo>
                    <a:lnTo>
                      <a:pt x="1208" y="1985"/>
                    </a:lnTo>
                    <a:lnTo>
                      <a:pt x="1196" y="1994"/>
                    </a:lnTo>
                    <a:lnTo>
                      <a:pt x="1183" y="2003"/>
                    </a:lnTo>
                    <a:lnTo>
                      <a:pt x="1170" y="2013"/>
                    </a:lnTo>
                    <a:lnTo>
                      <a:pt x="1157" y="2023"/>
                    </a:lnTo>
                    <a:lnTo>
                      <a:pt x="1143" y="2034"/>
                    </a:lnTo>
                    <a:lnTo>
                      <a:pt x="1131" y="2047"/>
                    </a:lnTo>
                    <a:lnTo>
                      <a:pt x="1120" y="2059"/>
                    </a:lnTo>
                    <a:lnTo>
                      <a:pt x="1109" y="2070"/>
                    </a:lnTo>
                    <a:lnTo>
                      <a:pt x="1101" y="2082"/>
                    </a:lnTo>
                    <a:lnTo>
                      <a:pt x="1094" y="2094"/>
                    </a:lnTo>
                    <a:lnTo>
                      <a:pt x="1088" y="2106"/>
                    </a:lnTo>
                    <a:lnTo>
                      <a:pt x="1085" y="2116"/>
                    </a:lnTo>
                    <a:lnTo>
                      <a:pt x="1084" y="2125"/>
                    </a:lnTo>
                    <a:lnTo>
                      <a:pt x="1084" y="2128"/>
                    </a:lnTo>
                    <a:lnTo>
                      <a:pt x="1086" y="2130"/>
                    </a:lnTo>
                    <a:lnTo>
                      <a:pt x="1088" y="2132"/>
                    </a:lnTo>
                    <a:lnTo>
                      <a:pt x="1092" y="2133"/>
                    </a:lnTo>
                    <a:lnTo>
                      <a:pt x="1101" y="2137"/>
                    </a:lnTo>
                    <a:lnTo>
                      <a:pt x="1110" y="2139"/>
                    </a:lnTo>
                    <a:lnTo>
                      <a:pt x="1131" y="2142"/>
                    </a:lnTo>
                    <a:lnTo>
                      <a:pt x="1143" y="2144"/>
                    </a:lnTo>
                    <a:lnTo>
                      <a:pt x="1151" y="2145"/>
                    </a:lnTo>
                    <a:lnTo>
                      <a:pt x="1158" y="2147"/>
                    </a:lnTo>
                    <a:lnTo>
                      <a:pt x="1163" y="2150"/>
                    </a:lnTo>
                    <a:lnTo>
                      <a:pt x="1169" y="2153"/>
                    </a:lnTo>
                    <a:lnTo>
                      <a:pt x="1180" y="2161"/>
                    </a:lnTo>
                    <a:lnTo>
                      <a:pt x="1189" y="2170"/>
                    </a:lnTo>
                    <a:lnTo>
                      <a:pt x="1200" y="2178"/>
                    </a:lnTo>
                    <a:lnTo>
                      <a:pt x="1210" y="2186"/>
                    </a:lnTo>
                    <a:lnTo>
                      <a:pt x="1216" y="2190"/>
                    </a:lnTo>
                    <a:lnTo>
                      <a:pt x="1222" y="2193"/>
                    </a:lnTo>
                    <a:lnTo>
                      <a:pt x="1229" y="2197"/>
                    </a:lnTo>
                    <a:lnTo>
                      <a:pt x="1237" y="2199"/>
                    </a:lnTo>
                    <a:lnTo>
                      <a:pt x="1248" y="2203"/>
                    </a:lnTo>
                    <a:lnTo>
                      <a:pt x="1258" y="2208"/>
                    </a:lnTo>
                    <a:lnTo>
                      <a:pt x="1267" y="2214"/>
                    </a:lnTo>
                    <a:lnTo>
                      <a:pt x="1277" y="2220"/>
                    </a:lnTo>
                    <a:lnTo>
                      <a:pt x="1296" y="2234"/>
                    </a:lnTo>
                    <a:lnTo>
                      <a:pt x="1312" y="2248"/>
                    </a:lnTo>
                    <a:lnTo>
                      <a:pt x="1327" y="2262"/>
                    </a:lnTo>
                    <a:lnTo>
                      <a:pt x="1340" y="2275"/>
                    </a:lnTo>
                    <a:lnTo>
                      <a:pt x="1352" y="2285"/>
                    </a:lnTo>
                    <a:lnTo>
                      <a:pt x="1363" y="2292"/>
                    </a:lnTo>
                    <a:lnTo>
                      <a:pt x="1370" y="2276"/>
                    </a:lnTo>
                    <a:lnTo>
                      <a:pt x="1377" y="2261"/>
                    </a:lnTo>
                    <a:lnTo>
                      <a:pt x="1385" y="2248"/>
                    </a:lnTo>
                    <a:lnTo>
                      <a:pt x="1394" y="2235"/>
                    </a:lnTo>
                    <a:lnTo>
                      <a:pt x="1401" y="2223"/>
                    </a:lnTo>
                    <a:lnTo>
                      <a:pt x="1410" y="2210"/>
                    </a:lnTo>
                    <a:lnTo>
                      <a:pt x="1419" y="2198"/>
                    </a:lnTo>
                    <a:lnTo>
                      <a:pt x="1429" y="2187"/>
                    </a:lnTo>
                    <a:lnTo>
                      <a:pt x="1439" y="2160"/>
                    </a:lnTo>
                    <a:lnTo>
                      <a:pt x="1449" y="2138"/>
                    </a:lnTo>
                    <a:lnTo>
                      <a:pt x="1459" y="2116"/>
                    </a:lnTo>
                    <a:lnTo>
                      <a:pt x="1468" y="2088"/>
                    </a:lnTo>
                    <a:lnTo>
                      <a:pt x="1472" y="2082"/>
                    </a:lnTo>
                    <a:lnTo>
                      <a:pt x="1476" y="2076"/>
                    </a:lnTo>
                    <a:lnTo>
                      <a:pt x="1480" y="2070"/>
                    </a:lnTo>
                    <a:lnTo>
                      <a:pt x="1485" y="2065"/>
                    </a:lnTo>
                    <a:lnTo>
                      <a:pt x="1496" y="2055"/>
                    </a:lnTo>
                    <a:lnTo>
                      <a:pt x="1507" y="2046"/>
                    </a:lnTo>
                    <a:lnTo>
                      <a:pt x="1518" y="2036"/>
                    </a:lnTo>
                    <a:lnTo>
                      <a:pt x="1527" y="2026"/>
                    </a:lnTo>
                    <a:lnTo>
                      <a:pt x="1530" y="2021"/>
                    </a:lnTo>
                    <a:lnTo>
                      <a:pt x="1533" y="2015"/>
                    </a:lnTo>
                    <a:lnTo>
                      <a:pt x="1534" y="2009"/>
                    </a:lnTo>
                    <a:lnTo>
                      <a:pt x="1535" y="2002"/>
                    </a:lnTo>
                    <a:lnTo>
                      <a:pt x="1535" y="1993"/>
                    </a:lnTo>
                    <a:lnTo>
                      <a:pt x="1534" y="1984"/>
                    </a:lnTo>
                    <a:lnTo>
                      <a:pt x="1532" y="1975"/>
                    </a:lnTo>
                    <a:lnTo>
                      <a:pt x="1530" y="1966"/>
                    </a:lnTo>
                    <a:lnTo>
                      <a:pt x="1524" y="1950"/>
                    </a:lnTo>
                    <a:lnTo>
                      <a:pt x="1519" y="1934"/>
                    </a:lnTo>
                    <a:lnTo>
                      <a:pt x="1512" y="1918"/>
                    </a:lnTo>
                    <a:lnTo>
                      <a:pt x="1507" y="1904"/>
                    </a:lnTo>
                    <a:lnTo>
                      <a:pt x="1504" y="1891"/>
                    </a:lnTo>
                    <a:lnTo>
                      <a:pt x="1502" y="1879"/>
                    </a:lnTo>
                    <a:lnTo>
                      <a:pt x="1502" y="1873"/>
                    </a:lnTo>
                    <a:lnTo>
                      <a:pt x="1504" y="1867"/>
                    </a:lnTo>
                    <a:lnTo>
                      <a:pt x="1506" y="1861"/>
                    </a:lnTo>
                    <a:lnTo>
                      <a:pt x="1508" y="1855"/>
                    </a:lnTo>
                    <a:lnTo>
                      <a:pt x="1514" y="1843"/>
                    </a:lnTo>
                    <a:lnTo>
                      <a:pt x="1523" y="1830"/>
                    </a:lnTo>
                    <a:lnTo>
                      <a:pt x="1534" y="1817"/>
                    </a:lnTo>
                    <a:lnTo>
                      <a:pt x="1547" y="1805"/>
                    </a:lnTo>
                    <a:lnTo>
                      <a:pt x="1561" y="1793"/>
                    </a:lnTo>
                    <a:lnTo>
                      <a:pt x="1576" y="1782"/>
                    </a:lnTo>
                    <a:lnTo>
                      <a:pt x="1591" y="1772"/>
                    </a:lnTo>
                    <a:lnTo>
                      <a:pt x="1608" y="1761"/>
                    </a:lnTo>
                    <a:lnTo>
                      <a:pt x="1623" y="1753"/>
                    </a:lnTo>
                    <a:lnTo>
                      <a:pt x="1640" y="1745"/>
                    </a:lnTo>
                    <a:lnTo>
                      <a:pt x="1655" y="1739"/>
                    </a:lnTo>
                    <a:lnTo>
                      <a:pt x="1669" y="1735"/>
                    </a:lnTo>
                    <a:lnTo>
                      <a:pt x="1682" y="1732"/>
                    </a:lnTo>
                    <a:lnTo>
                      <a:pt x="1695" y="1731"/>
                    </a:lnTo>
                    <a:lnTo>
                      <a:pt x="1699" y="1731"/>
                    </a:lnTo>
                    <a:lnTo>
                      <a:pt x="1702" y="1729"/>
                    </a:lnTo>
                    <a:lnTo>
                      <a:pt x="1706" y="1727"/>
                    </a:lnTo>
                    <a:lnTo>
                      <a:pt x="1709" y="1725"/>
                    </a:lnTo>
                    <a:lnTo>
                      <a:pt x="1717" y="1718"/>
                    </a:lnTo>
                    <a:lnTo>
                      <a:pt x="1724" y="1709"/>
                    </a:lnTo>
                    <a:lnTo>
                      <a:pt x="1733" y="1701"/>
                    </a:lnTo>
                    <a:lnTo>
                      <a:pt x="1743" y="1694"/>
                    </a:lnTo>
                    <a:lnTo>
                      <a:pt x="1748" y="1692"/>
                    </a:lnTo>
                    <a:lnTo>
                      <a:pt x="1754" y="1690"/>
                    </a:lnTo>
                    <a:lnTo>
                      <a:pt x="1760" y="1688"/>
                    </a:lnTo>
                    <a:lnTo>
                      <a:pt x="1768" y="1688"/>
                    </a:lnTo>
                    <a:lnTo>
                      <a:pt x="1779" y="1684"/>
                    </a:lnTo>
                    <a:lnTo>
                      <a:pt x="1789" y="1682"/>
                    </a:lnTo>
                    <a:lnTo>
                      <a:pt x="1798" y="1681"/>
                    </a:lnTo>
                    <a:lnTo>
                      <a:pt x="1807" y="1680"/>
                    </a:lnTo>
                    <a:lnTo>
                      <a:pt x="1820" y="1681"/>
                    </a:lnTo>
                    <a:lnTo>
                      <a:pt x="1834" y="1682"/>
                    </a:lnTo>
                    <a:lnTo>
                      <a:pt x="1854" y="1681"/>
                    </a:lnTo>
                    <a:lnTo>
                      <a:pt x="1868" y="1679"/>
                    </a:lnTo>
                    <a:lnTo>
                      <a:pt x="1874" y="1678"/>
                    </a:lnTo>
                    <a:lnTo>
                      <a:pt x="1878" y="1676"/>
                    </a:lnTo>
                    <a:lnTo>
                      <a:pt x="1882" y="1673"/>
                    </a:lnTo>
                    <a:lnTo>
                      <a:pt x="1885" y="1670"/>
                    </a:lnTo>
                    <a:lnTo>
                      <a:pt x="1890" y="1663"/>
                    </a:lnTo>
                    <a:lnTo>
                      <a:pt x="1893" y="1653"/>
                    </a:lnTo>
                    <a:lnTo>
                      <a:pt x="1897" y="1641"/>
                    </a:lnTo>
                    <a:lnTo>
                      <a:pt x="1901" y="1626"/>
                    </a:lnTo>
                    <a:lnTo>
                      <a:pt x="1927" y="1571"/>
                    </a:lnTo>
                    <a:lnTo>
                      <a:pt x="1939" y="1553"/>
                    </a:lnTo>
                    <a:lnTo>
                      <a:pt x="1949" y="1535"/>
                    </a:lnTo>
                    <a:lnTo>
                      <a:pt x="1959" y="1518"/>
                    </a:lnTo>
                    <a:lnTo>
                      <a:pt x="1967" y="1500"/>
                    </a:lnTo>
                    <a:lnTo>
                      <a:pt x="1972" y="1480"/>
                    </a:lnTo>
                    <a:lnTo>
                      <a:pt x="1977" y="1460"/>
                    </a:lnTo>
                    <a:lnTo>
                      <a:pt x="1980" y="1437"/>
                    </a:lnTo>
                    <a:lnTo>
                      <a:pt x="1980" y="1411"/>
                    </a:lnTo>
                    <a:lnTo>
                      <a:pt x="1981" y="1405"/>
                    </a:lnTo>
                    <a:lnTo>
                      <a:pt x="1982" y="1400"/>
                    </a:lnTo>
                    <a:lnTo>
                      <a:pt x="1983" y="1395"/>
                    </a:lnTo>
                    <a:lnTo>
                      <a:pt x="1986" y="1391"/>
                    </a:lnTo>
                    <a:lnTo>
                      <a:pt x="1991" y="1382"/>
                    </a:lnTo>
                    <a:lnTo>
                      <a:pt x="1997" y="1372"/>
                    </a:lnTo>
                    <a:lnTo>
                      <a:pt x="2003" y="1364"/>
                    </a:lnTo>
                    <a:lnTo>
                      <a:pt x="2009" y="1354"/>
                    </a:lnTo>
                    <a:lnTo>
                      <a:pt x="2011" y="1349"/>
                    </a:lnTo>
                    <a:lnTo>
                      <a:pt x="2012" y="1343"/>
                    </a:lnTo>
                    <a:lnTo>
                      <a:pt x="2013" y="1337"/>
                    </a:lnTo>
                    <a:lnTo>
                      <a:pt x="2014" y="1331"/>
                    </a:lnTo>
                    <a:lnTo>
                      <a:pt x="2014" y="1307"/>
                    </a:lnTo>
                    <a:lnTo>
                      <a:pt x="2014" y="1288"/>
                    </a:lnTo>
                    <a:lnTo>
                      <a:pt x="2014" y="1271"/>
                    </a:lnTo>
                    <a:lnTo>
                      <a:pt x="2014" y="1250"/>
                    </a:lnTo>
                    <a:lnTo>
                      <a:pt x="2011" y="1223"/>
                    </a:lnTo>
                    <a:lnTo>
                      <a:pt x="2004" y="1185"/>
                    </a:lnTo>
                    <a:lnTo>
                      <a:pt x="2000" y="1165"/>
                    </a:lnTo>
                    <a:lnTo>
                      <a:pt x="1997" y="1145"/>
                    </a:lnTo>
                    <a:lnTo>
                      <a:pt x="1994" y="1129"/>
                    </a:lnTo>
                    <a:lnTo>
                      <a:pt x="1993" y="1115"/>
                    </a:lnTo>
                    <a:lnTo>
                      <a:pt x="1994" y="1108"/>
                    </a:lnTo>
                    <a:lnTo>
                      <a:pt x="1997" y="1102"/>
                    </a:lnTo>
                    <a:lnTo>
                      <a:pt x="1999" y="1096"/>
                    </a:lnTo>
                    <a:lnTo>
                      <a:pt x="2002" y="1090"/>
                    </a:lnTo>
                    <a:lnTo>
                      <a:pt x="2006" y="1085"/>
                    </a:lnTo>
                    <a:lnTo>
                      <a:pt x="2012" y="1081"/>
                    </a:lnTo>
                    <a:lnTo>
                      <a:pt x="2017" y="1077"/>
                    </a:lnTo>
                    <a:lnTo>
                      <a:pt x="2023" y="1073"/>
                    </a:lnTo>
                    <a:lnTo>
                      <a:pt x="2035" y="1067"/>
                    </a:lnTo>
                    <a:lnTo>
                      <a:pt x="2047" y="1063"/>
                    </a:lnTo>
                    <a:lnTo>
                      <a:pt x="2058" y="1060"/>
                    </a:lnTo>
                    <a:lnTo>
                      <a:pt x="2067" y="1060"/>
                    </a:lnTo>
                    <a:lnTo>
                      <a:pt x="2067" y="1046"/>
                    </a:lnTo>
                    <a:lnTo>
                      <a:pt x="2069" y="1032"/>
                    </a:lnTo>
                    <a:lnTo>
                      <a:pt x="2071" y="1020"/>
                    </a:lnTo>
                    <a:lnTo>
                      <a:pt x="2073" y="1009"/>
                    </a:lnTo>
                    <a:lnTo>
                      <a:pt x="2078" y="999"/>
                    </a:lnTo>
                    <a:lnTo>
                      <a:pt x="2081" y="990"/>
                    </a:lnTo>
                    <a:lnTo>
                      <a:pt x="2087" y="980"/>
                    </a:lnTo>
                    <a:lnTo>
                      <a:pt x="2092" y="972"/>
                    </a:lnTo>
                    <a:lnTo>
                      <a:pt x="2104" y="956"/>
                    </a:lnTo>
                    <a:lnTo>
                      <a:pt x="2117" y="943"/>
                    </a:lnTo>
                    <a:lnTo>
                      <a:pt x="2132" y="929"/>
                    </a:lnTo>
                    <a:lnTo>
                      <a:pt x="2147" y="917"/>
                    </a:lnTo>
                    <a:lnTo>
                      <a:pt x="2161" y="904"/>
                    </a:lnTo>
                    <a:lnTo>
                      <a:pt x="2175" y="891"/>
                    </a:lnTo>
                    <a:lnTo>
                      <a:pt x="2183" y="885"/>
                    </a:lnTo>
                    <a:lnTo>
                      <a:pt x="2190" y="877"/>
                    </a:lnTo>
                    <a:lnTo>
                      <a:pt x="2195" y="869"/>
                    </a:lnTo>
                    <a:lnTo>
                      <a:pt x="2202" y="861"/>
                    </a:lnTo>
                    <a:lnTo>
                      <a:pt x="2206" y="852"/>
                    </a:lnTo>
                    <a:lnTo>
                      <a:pt x="2212" y="843"/>
                    </a:lnTo>
                    <a:lnTo>
                      <a:pt x="2216" y="833"/>
                    </a:lnTo>
                    <a:lnTo>
                      <a:pt x="2219" y="822"/>
                    </a:lnTo>
                    <a:lnTo>
                      <a:pt x="2223" y="810"/>
                    </a:lnTo>
                    <a:lnTo>
                      <a:pt x="2225" y="798"/>
                    </a:lnTo>
                    <a:lnTo>
                      <a:pt x="2226" y="784"/>
                    </a:lnTo>
                    <a:lnTo>
                      <a:pt x="2226" y="770"/>
                    </a:lnTo>
                    <a:lnTo>
                      <a:pt x="2225" y="752"/>
                    </a:lnTo>
                    <a:lnTo>
                      <a:pt x="2222" y="732"/>
                    </a:lnTo>
                    <a:lnTo>
                      <a:pt x="2217" y="711"/>
                    </a:lnTo>
                    <a:lnTo>
                      <a:pt x="2212" y="689"/>
                    </a:lnTo>
                    <a:lnTo>
                      <a:pt x="2205" y="668"/>
                    </a:lnTo>
                    <a:lnTo>
                      <a:pt x="2199" y="649"/>
                    </a:lnTo>
                    <a:lnTo>
                      <a:pt x="2192" y="633"/>
                    </a:lnTo>
                    <a:lnTo>
                      <a:pt x="2186" y="622"/>
                    </a:lnTo>
                    <a:lnTo>
                      <a:pt x="2182" y="614"/>
                    </a:lnTo>
                    <a:lnTo>
                      <a:pt x="2178" y="608"/>
                    </a:lnTo>
                    <a:lnTo>
                      <a:pt x="2173" y="604"/>
                    </a:lnTo>
                    <a:lnTo>
                      <a:pt x="2168" y="601"/>
                    </a:lnTo>
                    <a:lnTo>
                      <a:pt x="2163" y="600"/>
                    </a:lnTo>
                    <a:lnTo>
                      <a:pt x="2157" y="599"/>
                    </a:lnTo>
                    <a:lnTo>
                      <a:pt x="2151" y="600"/>
                    </a:lnTo>
                    <a:lnTo>
                      <a:pt x="2146" y="601"/>
                    </a:lnTo>
                    <a:lnTo>
                      <a:pt x="2134" y="603"/>
                    </a:lnTo>
                    <a:lnTo>
                      <a:pt x="2122" y="605"/>
                    </a:lnTo>
                    <a:lnTo>
                      <a:pt x="2116" y="605"/>
                    </a:lnTo>
                    <a:lnTo>
                      <a:pt x="2111" y="604"/>
                    </a:lnTo>
                    <a:lnTo>
                      <a:pt x="2105" y="602"/>
                    </a:lnTo>
                    <a:lnTo>
                      <a:pt x="2100" y="597"/>
                    </a:lnTo>
                    <a:lnTo>
                      <a:pt x="2089" y="590"/>
                    </a:lnTo>
                    <a:lnTo>
                      <a:pt x="2079" y="582"/>
                    </a:lnTo>
                    <a:lnTo>
                      <a:pt x="2069" y="573"/>
                    </a:lnTo>
                    <a:lnTo>
                      <a:pt x="2059" y="563"/>
                    </a:lnTo>
                    <a:lnTo>
                      <a:pt x="2039" y="540"/>
                    </a:lnTo>
                    <a:lnTo>
                      <a:pt x="2021" y="518"/>
                    </a:lnTo>
                    <a:lnTo>
                      <a:pt x="2010" y="507"/>
                    </a:lnTo>
                    <a:lnTo>
                      <a:pt x="2000" y="497"/>
                    </a:lnTo>
                    <a:lnTo>
                      <a:pt x="1989" y="488"/>
                    </a:lnTo>
                    <a:lnTo>
                      <a:pt x="1977" y="478"/>
                    </a:lnTo>
                    <a:lnTo>
                      <a:pt x="1965" y="471"/>
                    </a:lnTo>
                    <a:lnTo>
                      <a:pt x="1950" y="466"/>
                    </a:lnTo>
                    <a:lnTo>
                      <a:pt x="1944" y="464"/>
                    </a:lnTo>
                    <a:lnTo>
                      <a:pt x="1936" y="463"/>
                    </a:lnTo>
                    <a:lnTo>
                      <a:pt x="1928" y="462"/>
                    </a:lnTo>
                    <a:lnTo>
                      <a:pt x="1921" y="462"/>
                    </a:lnTo>
                    <a:lnTo>
                      <a:pt x="1898" y="462"/>
                    </a:lnTo>
                    <a:lnTo>
                      <a:pt x="1878" y="462"/>
                    </a:lnTo>
                    <a:lnTo>
                      <a:pt x="1860" y="462"/>
                    </a:lnTo>
                    <a:lnTo>
                      <a:pt x="1841" y="462"/>
                    </a:lnTo>
                    <a:lnTo>
                      <a:pt x="1826" y="461"/>
                    </a:lnTo>
                    <a:lnTo>
                      <a:pt x="1814" y="460"/>
                    </a:lnTo>
                    <a:lnTo>
                      <a:pt x="1802" y="458"/>
                    </a:lnTo>
                    <a:lnTo>
                      <a:pt x="1791" y="456"/>
                    </a:lnTo>
                    <a:lnTo>
                      <a:pt x="1780" y="453"/>
                    </a:lnTo>
                    <a:lnTo>
                      <a:pt x="1768" y="451"/>
                    </a:lnTo>
                    <a:lnTo>
                      <a:pt x="1755" y="450"/>
                    </a:lnTo>
                    <a:lnTo>
                      <a:pt x="1742" y="450"/>
                    </a:lnTo>
                    <a:lnTo>
                      <a:pt x="1725" y="450"/>
                    </a:lnTo>
                    <a:lnTo>
                      <a:pt x="1713" y="452"/>
                    </a:lnTo>
                    <a:lnTo>
                      <a:pt x="1703" y="454"/>
                    </a:lnTo>
                    <a:lnTo>
                      <a:pt x="1696" y="458"/>
                    </a:lnTo>
                    <a:lnTo>
                      <a:pt x="1689" y="462"/>
                    </a:lnTo>
                    <a:lnTo>
                      <a:pt x="1685" y="467"/>
                    </a:lnTo>
                    <a:lnTo>
                      <a:pt x="1679" y="473"/>
                    </a:lnTo>
                    <a:lnTo>
                      <a:pt x="1675" y="480"/>
                    </a:lnTo>
                    <a:lnTo>
                      <a:pt x="1672" y="471"/>
                    </a:lnTo>
                    <a:lnTo>
                      <a:pt x="1669" y="462"/>
                    </a:lnTo>
                    <a:lnTo>
                      <a:pt x="1669" y="454"/>
                    </a:lnTo>
                    <a:lnTo>
                      <a:pt x="1670" y="447"/>
                    </a:lnTo>
                    <a:lnTo>
                      <a:pt x="1673" y="436"/>
                    </a:lnTo>
                    <a:lnTo>
                      <a:pt x="1675" y="430"/>
                    </a:lnTo>
                    <a:lnTo>
                      <a:pt x="1675" y="426"/>
                    </a:lnTo>
                    <a:lnTo>
                      <a:pt x="1673" y="421"/>
                    </a:lnTo>
                    <a:lnTo>
                      <a:pt x="1670" y="417"/>
                    </a:lnTo>
                    <a:lnTo>
                      <a:pt x="1668" y="413"/>
                    </a:lnTo>
                    <a:lnTo>
                      <a:pt x="1664" y="406"/>
                    </a:lnTo>
                    <a:lnTo>
                      <a:pt x="1662" y="400"/>
                    </a:lnTo>
                    <a:lnTo>
                      <a:pt x="1655" y="400"/>
                    </a:lnTo>
                    <a:lnTo>
                      <a:pt x="1648" y="398"/>
                    </a:lnTo>
                    <a:lnTo>
                      <a:pt x="1643" y="396"/>
                    </a:lnTo>
                    <a:lnTo>
                      <a:pt x="1636" y="394"/>
                    </a:lnTo>
                    <a:lnTo>
                      <a:pt x="1624" y="387"/>
                    </a:lnTo>
                    <a:lnTo>
                      <a:pt x="1612" y="379"/>
                    </a:lnTo>
                    <a:lnTo>
                      <a:pt x="1596" y="363"/>
                    </a:lnTo>
                    <a:lnTo>
                      <a:pt x="1588" y="357"/>
                    </a:lnTo>
                    <a:lnTo>
                      <a:pt x="1581" y="359"/>
                    </a:lnTo>
                    <a:lnTo>
                      <a:pt x="1574" y="360"/>
                    </a:lnTo>
                    <a:lnTo>
                      <a:pt x="1567" y="361"/>
                    </a:lnTo>
                    <a:lnTo>
                      <a:pt x="1560" y="362"/>
                    </a:lnTo>
                    <a:lnTo>
                      <a:pt x="1546" y="361"/>
                    </a:lnTo>
                    <a:lnTo>
                      <a:pt x="1534" y="358"/>
                    </a:lnTo>
                    <a:lnTo>
                      <a:pt x="1523" y="354"/>
                    </a:lnTo>
                    <a:lnTo>
                      <a:pt x="1512" y="348"/>
                    </a:lnTo>
                    <a:lnTo>
                      <a:pt x="1504" y="341"/>
                    </a:lnTo>
                    <a:lnTo>
                      <a:pt x="1496" y="333"/>
                    </a:lnTo>
                    <a:lnTo>
                      <a:pt x="1468" y="333"/>
                    </a:lnTo>
                    <a:lnTo>
                      <a:pt x="1468" y="337"/>
                    </a:lnTo>
                    <a:lnTo>
                      <a:pt x="1466" y="342"/>
                    </a:lnTo>
                    <a:lnTo>
                      <a:pt x="1463" y="349"/>
                    </a:lnTo>
                    <a:lnTo>
                      <a:pt x="1459" y="357"/>
                    </a:lnTo>
                    <a:lnTo>
                      <a:pt x="1446" y="373"/>
                    </a:lnTo>
                    <a:lnTo>
                      <a:pt x="1433" y="390"/>
                    </a:lnTo>
                    <a:lnTo>
                      <a:pt x="1426" y="398"/>
                    </a:lnTo>
                    <a:lnTo>
                      <a:pt x="1419" y="404"/>
                    </a:lnTo>
                    <a:lnTo>
                      <a:pt x="1411" y="409"/>
                    </a:lnTo>
                    <a:lnTo>
                      <a:pt x="1405" y="413"/>
                    </a:lnTo>
                    <a:lnTo>
                      <a:pt x="1401" y="414"/>
                    </a:lnTo>
                    <a:lnTo>
                      <a:pt x="1398" y="415"/>
                    </a:lnTo>
                    <a:lnTo>
                      <a:pt x="1395" y="415"/>
                    </a:lnTo>
                    <a:lnTo>
                      <a:pt x="1392" y="414"/>
                    </a:lnTo>
                    <a:lnTo>
                      <a:pt x="1389" y="413"/>
                    </a:lnTo>
                    <a:lnTo>
                      <a:pt x="1387" y="412"/>
                    </a:lnTo>
                    <a:lnTo>
                      <a:pt x="1385" y="409"/>
                    </a:lnTo>
                    <a:lnTo>
                      <a:pt x="1383" y="406"/>
                    </a:lnTo>
                    <a:lnTo>
                      <a:pt x="1367" y="406"/>
                    </a:lnTo>
                    <a:lnTo>
                      <a:pt x="1352" y="406"/>
                    </a:lnTo>
                    <a:lnTo>
                      <a:pt x="1338" y="405"/>
                    </a:lnTo>
                    <a:lnTo>
                      <a:pt x="1325" y="402"/>
                    </a:lnTo>
                    <a:lnTo>
                      <a:pt x="1318" y="401"/>
                    </a:lnTo>
                    <a:lnTo>
                      <a:pt x="1312" y="399"/>
                    </a:lnTo>
                    <a:lnTo>
                      <a:pt x="1308" y="396"/>
                    </a:lnTo>
                    <a:lnTo>
                      <a:pt x="1304" y="393"/>
                    </a:lnTo>
                    <a:lnTo>
                      <a:pt x="1300" y="390"/>
                    </a:lnTo>
                    <a:lnTo>
                      <a:pt x="1298" y="386"/>
                    </a:lnTo>
                    <a:lnTo>
                      <a:pt x="1297" y="381"/>
                    </a:lnTo>
                    <a:lnTo>
                      <a:pt x="1296" y="375"/>
                    </a:lnTo>
                    <a:lnTo>
                      <a:pt x="1270" y="375"/>
                    </a:lnTo>
                    <a:lnTo>
                      <a:pt x="1259" y="380"/>
                    </a:lnTo>
                    <a:lnTo>
                      <a:pt x="1247" y="384"/>
                    </a:lnTo>
                    <a:lnTo>
                      <a:pt x="1240" y="384"/>
                    </a:lnTo>
                    <a:lnTo>
                      <a:pt x="1235" y="384"/>
                    </a:lnTo>
                    <a:lnTo>
                      <a:pt x="1228" y="384"/>
                    </a:lnTo>
                    <a:lnTo>
                      <a:pt x="1224" y="382"/>
                    </a:lnTo>
                    <a:lnTo>
                      <a:pt x="1283" y="333"/>
                    </a:lnTo>
                    <a:lnTo>
                      <a:pt x="1286" y="321"/>
                    </a:lnTo>
                    <a:lnTo>
                      <a:pt x="1289" y="309"/>
                    </a:lnTo>
                    <a:lnTo>
                      <a:pt x="1294" y="299"/>
                    </a:lnTo>
                    <a:lnTo>
                      <a:pt x="1299" y="290"/>
                    </a:lnTo>
                    <a:lnTo>
                      <a:pt x="1305" y="282"/>
                    </a:lnTo>
                    <a:lnTo>
                      <a:pt x="1310" y="274"/>
                    </a:lnTo>
                    <a:lnTo>
                      <a:pt x="1317" y="268"/>
                    </a:lnTo>
                    <a:lnTo>
                      <a:pt x="1323" y="260"/>
                    </a:lnTo>
                    <a:lnTo>
                      <a:pt x="1349" y="240"/>
                    </a:lnTo>
                    <a:lnTo>
                      <a:pt x="1370" y="222"/>
                    </a:lnTo>
                    <a:lnTo>
                      <a:pt x="1362" y="217"/>
                    </a:lnTo>
                    <a:lnTo>
                      <a:pt x="1356" y="213"/>
                    </a:lnTo>
                    <a:lnTo>
                      <a:pt x="1352" y="210"/>
                    </a:lnTo>
                    <a:lnTo>
                      <a:pt x="1349" y="205"/>
                    </a:lnTo>
                    <a:lnTo>
                      <a:pt x="1345" y="201"/>
                    </a:lnTo>
                    <a:lnTo>
                      <a:pt x="1344" y="196"/>
                    </a:lnTo>
                    <a:lnTo>
                      <a:pt x="1343" y="191"/>
                    </a:lnTo>
                    <a:lnTo>
                      <a:pt x="1343" y="184"/>
                    </a:lnTo>
                    <a:lnTo>
                      <a:pt x="1338" y="184"/>
                    </a:lnTo>
                    <a:lnTo>
                      <a:pt x="1333" y="183"/>
                    </a:lnTo>
                    <a:lnTo>
                      <a:pt x="1330" y="182"/>
                    </a:lnTo>
                    <a:lnTo>
                      <a:pt x="1326" y="179"/>
                    </a:lnTo>
                    <a:lnTo>
                      <a:pt x="1320" y="174"/>
                    </a:lnTo>
                    <a:lnTo>
                      <a:pt x="1315" y="166"/>
                    </a:lnTo>
                    <a:lnTo>
                      <a:pt x="1310" y="157"/>
                    </a:lnTo>
                    <a:lnTo>
                      <a:pt x="1307" y="146"/>
                    </a:lnTo>
                    <a:lnTo>
                      <a:pt x="1305" y="135"/>
                    </a:lnTo>
                    <a:lnTo>
                      <a:pt x="1301" y="124"/>
                    </a:lnTo>
                    <a:lnTo>
                      <a:pt x="1298" y="100"/>
                    </a:lnTo>
                    <a:lnTo>
                      <a:pt x="1293" y="78"/>
                    </a:lnTo>
                    <a:lnTo>
                      <a:pt x="1291" y="68"/>
                    </a:lnTo>
                    <a:lnTo>
                      <a:pt x="1286" y="60"/>
                    </a:lnTo>
                    <a:lnTo>
                      <a:pt x="1282" y="54"/>
                    </a:lnTo>
                    <a:lnTo>
                      <a:pt x="1276" y="49"/>
                    </a:lnTo>
                    <a:lnTo>
                      <a:pt x="1264" y="71"/>
                    </a:lnTo>
                    <a:lnTo>
                      <a:pt x="1240" y="109"/>
                    </a:lnTo>
                    <a:lnTo>
                      <a:pt x="1227" y="128"/>
                    </a:lnTo>
                    <a:lnTo>
                      <a:pt x="1214" y="144"/>
                    </a:lnTo>
                    <a:lnTo>
                      <a:pt x="1207" y="150"/>
                    </a:lnTo>
                    <a:lnTo>
                      <a:pt x="1200" y="156"/>
                    </a:lnTo>
                    <a:lnTo>
                      <a:pt x="1195" y="159"/>
                    </a:lnTo>
                    <a:lnTo>
                      <a:pt x="1189" y="160"/>
                    </a:lnTo>
                    <a:lnTo>
                      <a:pt x="1124" y="135"/>
                    </a:lnTo>
                    <a:lnTo>
                      <a:pt x="1113" y="139"/>
                    </a:lnTo>
                    <a:lnTo>
                      <a:pt x="1102" y="142"/>
                    </a:lnTo>
                    <a:lnTo>
                      <a:pt x="1088" y="144"/>
                    </a:lnTo>
                    <a:lnTo>
                      <a:pt x="1075" y="146"/>
                    </a:lnTo>
                    <a:lnTo>
                      <a:pt x="1047" y="147"/>
                    </a:lnTo>
                    <a:lnTo>
                      <a:pt x="1017" y="147"/>
                    </a:lnTo>
                    <a:lnTo>
                      <a:pt x="1016" y="152"/>
                    </a:lnTo>
                    <a:lnTo>
                      <a:pt x="1015" y="157"/>
                    </a:lnTo>
                    <a:lnTo>
                      <a:pt x="1013" y="161"/>
                    </a:lnTo>
                    <a:lnTo>
                      <a:pt x="1009" y="165"/>
                    </a:lnTo>
                    <a:lnTo>
                      <a:pt x="1006" y="168"/>
                    </a:lnTo>
                    <a:lnTo>
                      <a:pt x="1003" y="170"/>
                    </a:lnTo>
                    <a:lnTo>
                      <a:pt x="1000" y="172"/>
                    </a:lnTo>
                    <a:lnTo>
                      <a:pt x="997" y="172"/>
                    </a:lnTo>
                    <a:lnTo>
                      <a:pt x="992" y="173"/>
                    </a:lnTo>
                    <a:lnTo>
                      <a:pt x="987" y="175"/>
                    </a:lnTo>
                    <a:lnTo>
                      <a:pt x="985" y="175"/>
                    </a:lnTo>
                    <a:lnTo>
                      <a:pt x="982" y="175"/>
                    </a:lnTo>
                    <a:lnTo>
                      <a:pt x="980" y="174"/>
                    </a:lnTo>
                    <a:lnTo>
                      <a:pt x="978" y="172"/>
                    </a:lnTo>
                    <a:lnTo>
                      <a:pt x="976" y="176"/>
                    </a:lnTo>
                    <a:lnTo>
                      <a:pt x="972" y="179"/>
                    </a:lnTo>
                    <a:lnTo>
                      <a:pt x="967" y="183"/>
                    </a:lnTo>
                    <a:lnTo>
                      <a:pt x="960" y="187"/>
                    </a:lnTo>
                    <a:lnTo>
                      <a:pt x="941" y="194"/>
                    </a:lnTo>
                    <a:lnTo>
                      <a:pt x="920" y="200"/>
                    </a:lnTo>
                    <a:lnTo>
                      <a:pt x="879" y="212"/>
                    </a:lnTo>
                    <a:lnTo>
                      <a:pt x="858" y="216"/>
                    </a:lnTo>
                    <a:lnTo>
                      <a:pt x="851" y="215"/>
                    </a:lnTo>
                    <a:lnTo>
                      <a:pt x="846" y="213"/>
                    </a:lnTo>
                    <a:lnTo>
                      <a:pt x="839" y="208"/>
                    </a:lnTo>
                    <a:lnTo>
                      <a:pt x="834" y="203"/>
                    </a:lnTo>
                    <a:lnTo>
                      <a:pt x="827" y="197"/>
                    </a:lnTo>
                    <a:lnTo>
                      <a:pt x="822" y="191"/>
                    </a:lnTo>
                    <a:lnTo>
                      <a:pt x="817" y="184"/>
                    </a:lnTo>
                    <a:lnTo>
                      <a:pt x="812" y="176"/>
                    </a:lnTo>
                    <a:lnTo>
                      <a:pt x="803" y="161"/>
                    </a:lnTo>
                    <a:lnTo>
                      <a:pt x="796" y="145"/>
                    </a:lnTo>
                    <a:lnTo>
                      <a:pt x="793" y="132"/>
                    </a:lnTo>
                    <a:lnTo>
                      <a:pt x="791" y="123"/>
                    </a:lnTo>
                    <a:lnTo>
                      <a:pt x="792" y="116"/>
                    </a:lnTo>
                    <a:lnTo>
                      <a:pt x="794" y="109"/>
                    </a:lnTo>
                    <a:lnTo>
                      <a:pt x="798" y="103"/>
                    </a:lnTo>
                    <a:lnTo>
                      <a:pt x="801" y="95"/>
                    </a:lnTo>
                    <a:lnTo>
                      <a:pt x="805" y="88"/>
                    </a:lnTo>
                    <a:lnTo>
                      <a:pt x="808" y="81"/>
                    </a:lnTo>
                    <a:lnTo>
                      <a:pt x="811" y="74"/>
                    </a:lnTo>
                    <a:lnTo>
                      <a:pt x="811" y="67"/>
                    </a:lnTo>
                    <a:lnTo>
                      <a:pt x="811" y="53"/>
                    </a:lnTo>
                    <a:lnTo>
                      <a:pt x="808" y="39"/>
                    </a:lnTo>
                    <a:lnTo>
                      <a:pt x="806" y="33"/>
                    </a:lnTo>
                    <a:lnTo>
                      <a:pt x="804" y="28"/>
                    </a:lnTo>
                    <a:lnTo>
                      <a:pt x="801" y="24"/>
                    </a:lnTo>
                    <a:lnTo>
                      <a:pt x="798" y="20"/>
                    </a:lnTo>
                    <a:lnTo>
                      <a:pt x="794" y="16"/>
                    </a:lnTo>
                    <a:lnTo>
                      <a:pt x="789" y="12"/>
                    </a:lnTo>
                    <a:lnTo>
                      <a:pt x="783" y="9"/>
                    </a:lnTo>
                    <a:lnTo>
                      <a:pt x="778" y="7"/>
                    </a:lnTo>
                    <a:lnTo>
                      <a:pt x="762" y="3"/>
                    </a:lnTo>
                    <a:lnTo>
                      <a:pt x="745" y="0"/>
                    </a:lnTo>
                    <a:lnTo>
                      <a:pt x="739" y="10"/>
                    </a:lnTo>
                    <a:lnTo>
                      <a:pt x="733" y="21"/>
                    </a:lnTo>
                    <a:lnTo>
                      <a:pt x="729" y="23"/>
                    </a:lnTo>
                    <a:lnTo>
                      <a:pt x="727" y="25"/>
                    </a:lnTo>
                    <a:lnTo>
                      <a:pt x="725" y="26"/>
                    </a:lnTo>
                    <a:lnTo>
                      <a:pt x="722" y="27"/>
                    </a:lnTo>
                    <a:lnTo>
                      <a:pt x="717" y="27"/>
                    </a:lnTo>
                    <a:lnTo>
                      <a:pt x="714" y="27"/>
                    </a:lnTo>
                    <a:lnTo>
                      <a:pt x="710" y="26"/>
                    </a:lnTo>
                    <a:lnTo>
                      <a:pt x="705" y="24"/>
                    </a:lnTo>
                    <a:lnTo>
                      <a:pt x="703" y="28"/>
                    </a:lnTo>
                    <a:lnTo>
                      <a:pt x="700" y="31"/>
                    </a:lnTo>
                    <a:lnTo>
                      <a:pt x="695" y="35"/>
                    </a:lnTo>
                    <a:lnTo>
                      <a:pt x="690" y="39"/>
                    </a:lnTo>
                    <a:lnTo>
                      <a:pt x="677" y="47"/>
                    </a:lnTo>
                    <a:lnTo>
                      <a:pt x="662" y="55"/>
                    </a:lnTo>
                    <a:lnTo>
                      <a:pt x="648" y="63"/>
                    </a:lnTo>
                    <a:lnTo>
                      <a:pt x="637" y="71"/>
                    </a:lnTo>
                    <a:lnTo>
                      <a:pt x="632" y="75"/>
                    </a:lnTo>
                    <a:lnTo>
                      <a:pt x="628" y="79"/>
                    </a:lnTo>
                    <a:lnTo>
                      <a:pt x="626" y="82"/>
                    </a:lnTo>
                    <a:lnTo>
                      <a:pt x="625" y="86"/>
                    </a:lnTo>
                    <a:lnTo>
                      <a:pt x="612" y="79"/>
                    </a:lnTo>
                    <a:lnTo>
                      <a:pt x="589" y="70"/>
                    </a:lnTo>
                    <a:lnTo>
                      <a:pt x="566" y="62"/>
                    </a:lnTo>
                    <a:lnTo>
                      <a:pt x="552" y="55"/>
                    </a:lnTo>
                    <a:lnTo>
                      <a:pt x="525" y="55"/>
                    </a:lnTo>
                    <a:lnTo>
                      <a:pt x="525" y="99"/>
                    </a:lnTo>
                    <a:lnTo>
                      <a:pt x="535" y="114"/>
                    </a:lnTo>
                    <a:lnTo>
                      <a:pt x="552" y="137"/>
                    </a:lnTo>
                    <a:lnTo>
                      <a:pt x="566" y="160"/>
                    </a:lnTo>
                    <a:lnTo>
                      <a:pt x="572" y="172"/>
                    </a:lnTo>
                    <a:lnTo>
                      <a:pt x="571" y="178"/>
                    </a:lnTo>
                    <a:lnTo>
                      <a:pt x="569" y="185"/>
                    </a:lnTo>
                    <a:lnTo>
                      <a:pt x="566" y="191"/>
                    </a:lnTo>
                    <a:lnTo>
                      <a:pt x="560" y="198"/>
                    </a:lnTo>
                    <a:lnTo>
                      <a:pt x="555" y="205"/>
                    </a:lnTo>
                    <a:lnTo>
                      <a:pt x="548" y="213"/>
                    </a:lnTo>
                    <a:lnTo>
                      <a:pt x="541" y="220"/>
                    </a:lnTo>
                    <a:lnTo>
                      <a:pt x="532" y="227"/>
                    </a:lnTo>
                    <a:lnTo>
                      <a:pt x="523" y="233"/>
                    </a:lnTo>
                    <a:lnTo>
                      <a:pt x="513" y="239"/>
                    </a:lnTo>
                    <a:lnTo>
                      <a:pt x="503" y="244"/>
                    </a:lnTo>
                    <a:lnTo>
                      <a:pt x="493" y="249"/>
                    </a:lnTo>
                    <a:lnTo>
                      <a:pt x="483" y="253"/>
                    </a:lnTo>
                    <a:lnTo>
                      <a:pt x="472" y="256"/>
                    </a:lnTo>
                    <a:lnTo>
                      <a:pt x="463" y="257"/>
                    </a:lnTo>
                    <a:lnTo>
                      <a:pt x="453" y="258"/>
                    </a:lnTo>
                    <a:lnTo>
                      <a:pt x="446" y="258"/>
                    </a:lnTo>
                    <a:lnTo>
                      <a:pt x="440" y="256"/>
                    </a:lnTo>
                    <a:lnTo>
                      <a:pt x="433" y="254"/>
                    </a:lnTo>
                    <a:lnTo>
                      <a:pt x="426" y="252"/>
                    </a:lnTo>
                    <a:lnTo>
                      <a:pt x="413" y="245"/>
                    </a:lnTo>
                    <a:lnTo>
                      <a:pt x="401" y="235"/>
                    </a:lnTo>
                    <a:lnTo>
                      <a:pt x="389" y="224"/>
                    </a:lnTo>
                    <a:lnTo>
                      <a:pt x="378" y="212"/>
                    </a:lnTo>
                    <a:lnTo>
                      <a:pt x="368" y="198"/>
                    </a:lnTo>
                    <a:lnTo>
                      <a:pt x="359" y="184"/>
                    </a:lnTo>
                    <a:lnTo>
                      <a:pt x="330" y="190"/>
                    </a:lnTo>
                    <a:lnTo>
                      <a:pt x="286" y="197"/>
                    </a:lnTo>
                    <a:lnTo>
                      <a:pt x="263" y="201"/>
                    </a:lnTo>
                    <a:lnTo>
                      <a:pt x="244" y="206"/>
                    </a:lnTo>
                    <a:lnTo>
                      <a:pt x="238" y="208"/>
                    </a:lnTo>
                    <a:lnTo>
                      <a:pt x="231" y="211"/>
                    </a:lnTo>
                    <a:lnTo>
                      <a:pt x="228" y="213"/>
                    </a:lnTo>
                    <a:lnTo>
                      <a:pt x="227" y="216"/>
                    </a:lnTo>
                    <a:lnTo>
                      <a:pt x="227" y="220"/>
                    </a:lnTo>
                    <a:lnTo>
                      <a:pt x="229" y="224"/>
                    </a:lnTo>
                    <a:lnTo>
                      <a:pt x="231" y="227"/>
                    </a:lnTo>
                    <a:lnTo>
                      <a:pt x="235" y="230"/>
                    </a:lnTo>
                    <a:lnTo>
                      <a:pt x="243" y="235"/>
                    </a:lnTo>
                    <a:lnTo>
                      <a:pt x="253" y="240"/>
                    </a:lnTo>
                    <a:lnTo>
                      <a:pt x="253" y="258"/>
                    </a:lnTo>
                    <a:lnTo>
                      <a:pt x="241" y="262"/>
                    </a:lnTo>
                    <a:lnTo>
                      <a:pt x="221" y="268"/>
                    </a:lnTo>
                    <a:lnTo>
                      <a:pt x="210" y="272"/>
                    </a:lnTo>
                    <a:lnTo>
                      <a:pt x="201" y="278"/>
                    </a:lnTo>
                    <a:lnTo>
                      <a:pt x="198" y="281"/>
                    </a:lnTo>
                    <a:lnTo>
                      <a:pt x="196" y="285"/>
                    </a:lnTo>
                    <a:lnTo>
                      <a:pt x="194" y="290"/>
                    </a:lnTo>
                    <a:lnTo>
                      <a:pt x="194" y="295"/>
                    </a:lnTo>
                    <a:lnTo>
                      <a:pt x="194" y="302"/>
                    </a:lnTo>
                    <a:lnTo>
                      <a:pt x="196" y="307"/>
                    </a:lnTo>
                    <a:lnTo>
                      <a:pt x="198" y="311"/>
                    </a:lnTo>
                    <a:lnTo>
                      <a:pt x="201" y="314"/>
                    </a:lnTo>
                    <a:lnTo>
                      <a:pt x="210" y="321"/>
                    </a:lnTo>
                    <a:lnTo>
                      <a:pt x="220" y="327"/>
                    </a:lnTo>
                    <a:lnTo>
                      <a:pt x="224" y="330"/>
                    </a:lnTo>
                    <a:lnTo>
                      <a:pt x="230" y="333"/>
                    </a:lnTo>
                    <a:lnTo>
                      <a:pt x="234" y="337"/>
                    </a:lnTo>
                    <a:lnTo>
                      <a:pt x="239" y="342"/>
                    </a:lnTo>
                    <a:lnTo>
                      <a:pt x="242" y="348"/>
                    </a:lnTo>
                    <a:lnTo>
                      <a:pt x="244" y="356"/>
                    </a:lnTo>
                    <a:lnTo>
                      <a:pt x="246" y="365"/>
                    </a:lnTo>
                    <a:lnTo>
                      <a:pt x="246" y="375"/>
                    </a:lnTo>
                    <a:lnTo>
                      <a:pt x="246" y="388"/>
                    </a:lnTo>
                    <a:lnTo>
                      <a:pt x="245" y="400"/>
                    </a:lnTo>
                    <a:lnTo>
                      <a:pt x="243" y="412"/>
                    </a:lnTo>
                    <a:lnTo>
                      <a:pt x="241" y="423"/>
                    </a:lnTo>
                    <a:lnTo>
                      <a:pt x="236" y="446"/>
                    </a:lnTo>
                    <a:lnTo>
                      <a:pt x="230" y="468"/>
                    </a:lnTo>
                    <a:lnTo>
                      <a:pt x="223" y="490"/>
                    </a:lnTo>
                    <a:lnTo>
                      <a:pt x="219" y="512"/>
                    </a:lnTo>
                    <a:lnTo>
                      <a:pt x="217" y="524"/>
                    </a:lnTo>
                    <a:lnTo>
                      <a:pt x="214" y="535"/>
                    </a:lnTo>
                    <a:lnTo>
                      <a:pt x="213" y="548"/>
                    </a:lnTo>
                    <a:lnTo>
                      <a:pt x="213" y="560"/>
                    </a:lnTo>
                    <a:lnTo>
                      <a:pt x="194" y="560"/>
                    </a:lnTo>
                    <a:lnTo>
                      <a:pt x="188" y="557"/>
                    </a:lnTo>
                    <a:lnTo>
                      <a:pt x="184" y="554"/>
                    </a:lnTo>
                    <a:lnTo>
                      <a:pt x="183" y="553"/>
                    </a:lnTo>
                    <a:lnTo>
                      <a:pt x="182" y="552"/>
                    </a:lnTo>
                    <a:lnTo>
                      <a:pt x="180" y="550"/>
                    </a:lnTo>
                    <a:lnTo>
                      <a:pt x="180" y="548"/>
                    </a:lnTo>
                    <a:lnTo>
                      <a:pt x="168" y="554"/>
                    </a:lnTo>
                    <a:lnTo>
                      <a:pt x="157" y="559"/>
                    </a:lnTo>
                    <a:lnTo>
                      <a:pt x="147" y="562"/>
                    </a:lnTo>
                    <a:lnTo>
                      <a:pt x="138" y="564"/>
                    </a:lnTo>
                    <a:lnTo>
                      <a:pt x="119" y="566"/>
                    </a:lnTo>
                    <a:lnTo>
                      <a:pt x="100" y="567"/>
                    </a:lnTo>
                    <a:lnTo>
                      <a:pt x="96" y="567"/>
                    </a:lnTo>
                    <a:lnTo>
                      <a:pt x="93" y="569"/>
                    </a:lnTo>
                    <a:lnTo>
                      <a:pt x="90" y="573"/>
                    </a:lnTo>
                    <a:lnTo>
                      <a:pt x="88" y="576"/>
                    </a:lnTo>
                    <a:lnTo>
                      <a:pt x="85" y="584"/>
                    </a:lnTo>
                    <a:lnTo>
                      <a:pt x="81" y="591"/>
                    </a:lnTo>
                    <a:lnTo>
                      <a:pt x="65" y="607"/>
                    </a:lnTo>
                    <a:lnTo>
                      <a:pt x="51" y="624"/>
                    </a:lnTo>
                    <a:lnTo>
                      <a:pt x="38" y="643"/>
                    </a:lnTo>
                    <a:lnTo>
                      <a:pt x="26" y="665"/>
                    </a:lnTo>
                    <a:lnTo>
                      <a:pt x="20" y="676"/>
                    </a:lnTo>
                    <a:lnTo>
                      <a:pt x="16" y="687"/>
                    </a:lnTo>
                    <a:lnTo>
                      <a:pt x="11" y="699"/>
                    </a:lnTo>
                    <a:lnTo>
                      <a:pt x="7" y="711"/>
                    </a:lnTo>
                    <a:lnTo>
                      <a:pt x="5" y="723"/>
                    </a:lnTo>
                    <a:lnTo>
                      <a:pt x="3" y="734"/>
                    </a:lnTo>
                    <a:lnTo>
                      <a:pt x="1" y="746"/>
                    </a:lnTo>
                    <a:lnTo>
                      <a:pt x="0" y="757"/>
                    </a:lnTo>
                    <a:lnTo>
                      <a:pt x="1" y="767"/>
                    </a:lnTo>
                    <a:lnTo>
                      <a:pt x="4" y="777"/>
                    </a:lnTo>
                    <a:lnTo>
                      <a:pt x="7" y="787"/>
                    </a:lnTo>
                    <a:lnTo>
                      <a:pt x="11" y="799"/>
                    </a:lnTo>
                    <a:lnTo>
                      <a:pt x="17" y="811"/>
                    </a:lnTo>
                    <a:lnTo>
                      <a:pt x="22" y="824"/>
                    </a:lnTo>
                    <a:lnTo>
                      <a:pt x="30" y="836"/>
                    </a:lnTo>
                    <a:lnTo>
                      <a:pt x="38" y="848"/>
                    </a:lnTo>
                    <a:lnTo>
                      <a:pt x="46" y="859"/>
                    </a:lnTo>
                    <a:lnTo>
                      <a:pt x="56" y="870"/>
                    </a:lnTo>
                    <a:lnTo>
                      <a:pt x="66" y="880"/>
                    </a:lnTo>
                    <a:lnTo>
                      <a:pt x="76" y="889"/>
                    </a:lnTo>
                    <a:lnTo>
                      <a:pt x="87" y="896"/>
                    </a:lnTo>
                    <a:lnTo>
                      <a:pt x="98" y="901"/>
                    </a:lnTo>
                    <a:lnTo>
                      <a:pt x="104" y="903"/>
                    </a:lnTo>
                    <a:lnTo>
                      <a:pt x="109" y="904"/>
                    </a:lnTo>
                    <a:lnTo>
                      <a:pt x="115" y="905"/>
                    </a:lnTo>
                    <a:lnTo>
                      <a:pt x="120" y="905"/>
                    </a:lnTo>
                    <a:lnTo>
                      <a:pt x="130" y="904"/>
                    </a:lnTo>
                    <a:lnTo>
                      <a:pt x="138" y="902"/>
                    </a:lnTo>
                    <a:lnTo>
                      <a:pt x="146" y="898"/>
                    </a:lnTo>
                    <a:lnTo>
                      <a:pt x="153" y="893"/>
                    </a:lnTo>
                    <a:lnTo>
                      <a:pt x="161" y="889"/>
                    </a:lnTo>
                    <a:lnTo>
                      <a:pt x="168" y="885"/>
                    </a:lnTo>
                    <a:lnTo>
                      <a:pt x="177" y="882"/>
                    </a:lnTo>
                    <a:lnTo>
                      <a:pt x="187" y="881"/>
                    </a:lnTo>
                    <a:lnTo>
                      <a:pt x="189" y="903"/>
                    </a:lnTo>
                    <a:lnTo>
                      <a:pt x="190" y="934"/>
                    </a:lnTo>
                    <a:lnTo>
                      <a:pt x="190" y="942"/>
                    </a:lnTo>
                    <a:lnTo>
                      <a:pt x="191" y="949"/>
                    </a:lnTo>
                    <a:lnTo>
                      <a:pt x="194" y="956"/>
                    </a:lnTo>
                    <a:lnTo>
                      <a:pt x="196" y="961"/>
                    </a:lnTo>
                    <a:lnTo>
                      <a:pt x="199" y="966"/>
                    </a:lnTo>
                    <a:lnTo>
                      <a:pt x="202" y="970"/>
                    </a:lnTo>
                    <a:lnTo>
                      <a:pt x="208" y="972"/>
                    </a:lnTo>
                    <a:lnTo>
                      <a:pt x="213" y="973"/>
                    </a:lnTo>
                    <a:lnTo>
                      <a:pt x="233" y="97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6" name="Freeform 25"/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8202943" y="5871164"/>
                <a:ext cx="29904" cy="64528"/>
              </a:xfrm>
              <a:custGeom>
                <a:avLst/>
                <a:gdLst>
                  <a:gd name="T0" fmla="*/ 0 w 53"/>
                  <a:gd name="T1" fmla="*/ 2147483647 h 19"/>
                  <a:gd name="T2" fmla="*/ 1257488026 w 53"/>
                  <a:gd name="T3" fmla="*/ 2147483647 h 19"/>
                  <a:gd name="T4" fmla="*/ 2147483647 w 53"/>
                  <a:gd name="T5" fmla="*/ 2147483647 h 19"/>
                  <a:gd name="T6" fmla="*/ 2147483647 w 53"/>
                  <a:gd name="T7" fmla="*/ 2147483647 h 19"/>
                  <a:gd name="T8" fmla="*/ 2147483647 w 53"/>
                  <a:gd name="T9" fmla="*/ 2147483647 h 19"/>
                  <a:gd name="T10" fmla="*/ 2147483647 w 53"/>
                  <a:gd name="T11" fmla="*/ 2147483647 h 19"/>
                  <a:gd name="T12" fmla="*/ 2147483647 w 53"/>
                  <a:gd name="T13" fmla="*/ 2147483647 h 19"/>
                  <a:gd name="T14" fmla="*/ 2147483647 w 53"/>
                  <a:gd name="T15" fmla="*/ 2147483647 h 19"/>
                  <a:gd name="T16" fmla="*/ 2147483647 w 53"/>
                  <a:gd name="T17" fmla="*/ 2147483647 h 19"/>
                  <a:gd name="T18" fmla="*/ 2147483647 w 53"/>
                  <a:gd name="T19" fmla="*/ 2147483647 h 19"/>
                  <a:gd name="T20" fmla="*/ 2147483647 w 53"/>
                  <a:gd name="T21" fmla="*/ 2147483647 h 19"/>
                  <a:gd name="T22" fmla="*/ 2147483647 w 53"/>
                  <a:gd name="T23" fmla="*/ 2147483647 h 19"/>
                  <a:gd name="T24" fmla="*/ 2147483647 w 53"/>
                  <a:gd name="T25" fmla="*/ 0 h 19"/>
                  <a:gd name="T26" fmla="*/ 2147483647 w 53"/>
                  <a:gd name="T27" fmla="*/ 0 h 19"/>
                  <a:gd name="T28" fmla="*/ 2147483647 w 53"/>
                  <a:gd name="T29" fmla="*/ 2147483647 h 19"/>
                  <a:gd name="T30" fmla="*/ 1257488026 w 53"/>
                  <a:gd name="T31" fmla="*/ 2147483647 h 19"/>
                  <a:gd name="T32" fmla="*/ 0 w 53"/>
                  <a:gd name="T33" fmla="*/ 2147483647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7" name="Freeform 29"/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7909889" y="2447575"/>
                <a:ext cx="61800" cy="64528"/>
              </a:xfrm>
              <a:custGeom>
                <a:avLst/>
                <a:gdLst>
                  <a:gd name="T0" fmla="*/ 0 w 112"/>
                  <a:gd name="T1" fmla="*/ 2147483647 h 36"/>
                  <a:gd name="T2" fmla="*/ 2147483647 w 112"/>
                  <a:gd name="T3" fmla="*/ 2147483647 h 36"/>
                  <a:gd name="T4" fmla="*/ 2147483647 w 112"/>
                  <a:gd name="T5" fmla="*/ 2147483647 h 36"/>
                  <a:gd name="T6" fmla="*/ 2147483647 w 112"/>
                  <a:gd name="T7" fmla="*/ 2147483647 h 36"/>
                  <a:gd name="T8" fmla="*/ 2147483647 w 112"/>
                  <a:gd name="T9" fmla="*/ 2147483647 h 36"/>
                  <a:gd name="T10" fmla="*/ 2147483647 w 112"/>
                  <a:gd name="T11" fmla="*/ 2147483647 h 36"/>
                  <a:gd name="T12" fmla="*/ 2147483647 w 112"/>
                  <a:gd name="T13" fmla="*/ 2147483647 h 36"/>
                  <a:gd name="T14" fmla="*/ 2147483647 w 112"/>
                  <a:gd name="T15" fmla="*/ 2147483647 h 36"/>
                  <a:gd name="T16" fmla="*/ 2147483647 w 112"/>
                  <a:gd name="T17" fmla="*/ 2147483647 h 36"/>
                  <a:gd name="T18" fmla="*/ 2147483647 w 112"/>
                  <a:gd name="T19" fmla="*/ 2147483647 h 36"/>
                  <a:gd name="T20" fmla="*/ 2147483647 w 112"/>
                  <a:gd name="T21" fmla="*/ 2147483647 h 36"/>
                  <a:gd name="T22" fmla="*/ 2147483647 w 112"/>
                  <a:gd name="T23" fmla="*/ 0 h 36"/>
                  <a:gd name="T24" fmla="*/ 2147483647 w 112"/>
                  <a:gd name="T25" fmla="*/ 0 h 36"/>
                  <a:gd name="T26" fmla="*/ 2147483647 w 112"/>
                  <a:gd name="T27" fmla="*/ 2147483647 h 36"/>
                  <a:gd name="T28" fmla="*/ 2147483647 w 112"/>
                  <a:gd name="T29" fmla="*/ 2147483647 h 36"/>
                  <a:gd name="T30" fmla="*/ 2147483647 w 112"/>
                  <a:gd name="T31" fmla="*/ 2147483647 h 36"/>
                  <a:gd name="T32" fmla="*/ 2147483647 w 112"/>
                  <a:gd name="T33" fmla="*/ 2147483647 h 36"/>
                  <a:gd name="T34" fmla="*/ 2147483647 w 112"/>
                  <a:gd name="T35" fmla="*/ 2147483647 h 36"/>
                  <a:gd name="T36" fmla="*/ 2147483647 w 112"/>
                  <a:gd name="T37" fmla="*/ 2147483647 h 36"/>
                  <a:gd name="T38" fmla="*/ 2147483647 w 112"/>
                  <a:gd name="T39" fmla="*/ 2147483647 h 36"/>
                  <a:gd name="T40" fmla="*/ 1680051761 w 112"/>
                  <a:gd name="T41" fmla="*/ 2147483647 h 36"/>
                  <a:gd name="T42" fmla="*/ 1008092084 w 112"/>
                  <a:gd name="T43" fmla="*/ 2147483647 h 36"/>
                  <a:gd name="T44" fmla="*/ 168066204 w 112"/>
                  <a:gd name="T45" fmla="*/ 2147483647 h 36"/>
                  <a:gd name="T46" fmla="*/ 0 w 112"/>
                  <a:gd name="T47" fmla="*/ 2147483647 h 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12" h="36">
                    <a:moveTo>
                      <a:pt x="0" y="36"/>
                    </a:moveTo>
                    <a:lnTo>
                      <a:pt x="59" y="36"/>
                    </a:lnTo>
                    <a:lnTo>
                      <a:pt x="67" y="30"/>
                    </a:lnTo>
                    <a:lnTo>
                      <a:pt x="75" y="26"/>
                    </a:lnTo>
                    <a:lnTo>
                      <a:pt x="84" y="23"/>
                    </a:lnTo>
                    <a:lnTo>
                      <a:pt x="91" y="20"/>
                    </a:lnTo>
                    <a:lnTo>
                      <a:pt x="98" y="17"/>
                    </a:lnTo>
                    <a:lnTo>
                      <a:pt x="104" y="13"/>
                    </a:lnTo>
                    <a:lnTo>
                      <a:pt x="107" y="11"/>
                    </a:lnTo>
                    <a:lnTo>
                      <a:pt x="109" y="8"/>
                    </a:lnTo>
                    <a:lnTo>
                      <a:pt x="111" y="4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85" y="1"/>
                    </a:lnTo>
                    <a:lnTo>
                      <a:pt x="67" y="3"/>
                    </a:lnTo>
                    <a:lnTo>
                      <a:pt x="48" y="7"/>
                    </a:lnTo>
                    <a:lnTo>
                      <a:pt x="40" y="9"/>
                    </a:lnTo>
                    <a:lnTo>
                      <a:pt x="31" y="11"/>
                    </a:lnTo>
                    <a:lnTo>
                      <a:pt x="23" y="14"/>
                    </a:lnTo>
                    <a:lnTo>
                      <a:pt x="17" y="18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1" y="31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8" name="Freeform 41"/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7973683" y="3263143"/>
                <a:ext cx="39871" cy="66320"/>
              </a:xfrm>
              <a:custGeom>
                <a:avLst/>
                <a:gdLst>
                  <a:gd name="T0" fmla="*/ 0 w 80"/>
                  <a:gd name="T1" fmla="*/ 2147483647 h 34"/>
                  <a:gd name="T2" fmla="*/ 123698282 w 80"/>
                  <a:gd name="T3" fmla="*/ 2147483647 h 34"/>
                  <a:gd name="T4" fmla="*/ 247644762 w 80"/>
                  <a:gd name="T5" fmla="*/ 2147483647 h 34"/>
                  <a:gd name="T6" fmla="*/ 495290022 w 80"/>
                  <a:gd name="T7" fmla="*/ 2147483647 h 34"/>
                  <a:gd name="T8" fmla="*/ 866633066 w 80"/>
                  <a:gd name="T9" fmla="*/ 2147483647 h 34"/>
                  <a:gd name="T10" fmla="*/ 1609319652 w 80"/>
                  <a:gd name="T11" fmla="*/ 2147483647 h 34"/>
                  <a:gd name="T12" fmla="*/ 2147483647 w 80"/>
                  <a:gd name="T13" fmla="*/ 2147483647 h 34"/>
                  <a:gd name="T14" fmla="*/ 2147483647 w 80"/>
                  <a:gd name="T15" fmla="*/ 2147483647 h 34"/>
                  <a:gd name="T16" fmla="*/ 2147483647 w 80"/>
                  <a:gd name="T17" fmla="*/ 2147483647 h 34"/>
                  <a:gd name="T18" fmla="*/ 2147483647 w 80"/>
                  <a:gd name="T19" fmla="*/ 2147483647 h 34"/>
                  <a:gd name="T20" fmla="*/ 2147483647 w 80"/>
                  <a:gd name="T21" fmla="*/ 2147483647 h 34"/>
                  <a:gd name="T22" fmla="*/ 2147483647 w 80"/>
                  <a:gd name="T23" fmla="*/ 2147483647 h 34"/>
                  <a:gd name="T24" fmla="*/ 2147483647 w 80"/>
                  <a:gd name="T25" fmla="*/ 2147483647 h 34"/>
                  <a:gd name="T26" fmla="*/ 2147483647 w 80"/>
                  <a:gd name="T27" fmla="*/ 2147483647 h 34"/>
                  <a:gd name="T28" fmla="*/ 2147483647 w 80"/>
                  <a:gd name="T29" fmla="*/ 2147483647 h 34"/>
                  <a:gd name="T30" fmla="*/ 2147483647 w 80"/>
                  <a:gd name="T31" fmla="*/ 2147483647 h 34"/>
                  <a:gd name="T32" fmla="*/ 2147483647 w 80"/>
                  <a:gd name="T33" fmla="*/ 2147483647 h 34"/>
                  <a:gd name="T34" fmla="*/ 2147483647 w 80"/>
                  <a:gd name="T35" fmla="*/ 2147483647 h 34"/>
                  <a:gd name="T36" fmla="*/ 2147483647 w 80"/>
                  <a:gd name="T37" fmla="*/ 2147483647 h 34"/>
                  <a:gd name="T38" fmla="*/ 2147483647 w 80"/>
                  <a:gd name="T39" fmla="*/ 0 h 34"/>
                  <a:gd name="T40" fmla="*/ 2147483647 w 80"/>
                  <a:gd name="T41" fmla="*/ 0 h 34"/>
                  <a:gd name="T42" fmla="*/ 2147483647 w 80"/>
                  <a:gd name="T43" fmla="*/ 2147483647 h 34"/>
                  <a:gd name="T44" fmla="*/ 2147483647 w 80"/>
                  <a:gd name="T45" fmla="*/ 2147483647 h 34"/>
                  <a:gd name="T46" fmla="*/ 2147483647 w 80"/>
                  <a:gd name="T47" fmla="*/ 2147483647 h 34"/>
                  <a:gd name="T48" fmla="*/ 2147483647 w 80"/>
                  <a:gd name="T49" fmla="*/ 2147483647 h 34"/>
                  <a:gd name="T50" fmla="*/ 1609319652 w 80"/>
                  <a:gd name="T51" fmla="*/ 2147483647 h 34"/>
                  <a:gd name="T52" fmla="*/ 866633066 w 80"/>
                  <a:gd name="T53" fmla="*/ 2147483647 h 34"/>
                  <a:gd name="T54" fmla="*/ 495290022 w 80"/>
                  <a:gd name="T55" fmla="*/ 2147483647 h 34"/>
                  <a:gd name="T56" fmla="*/ 247644762 w 80"/>
                  <a:gd name="T57" fmla="*/ 2147483647 h 34"/>
                  <a:gd name="T58" fmla="*/ 123698282 w 80"/>
                  <a:gd name="T59" fmla="*/ 2147483647 h 34"/>
                  <a:gd name="T60" fmla="*/ 0 w 80"/>
                  <a:gd name="T61" fmla="*/ 2147483647 h 3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80" h="34">
                    <a:moveTo>
                      <a:pt x="0" y="15"/>
                    </a:moveTo>
                    <a:lnTo>
                      <a:pt x="1" y="19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7" y="26"/>
                    </a:lnTo>
                    <a:lnTo>
                      <a:pt x="13" y="29"/>
                    </a:lnTo>
                    <a:lnTo>
                      <a:pt x="22" y="31"/>
                    </a:lnTo>
                    <a:lnTo>
                      <a:pt x="40" y="33"/>
                    </a:lnTo>
                    <a:lnTo>
                      <a:pt x="54" y="34"/>
                    </a:lnTo>
                    <a:lnTo>
                      <a:pt x="58" y="33"/>
                    </a:lnTo>
                    <a:lnTo>
                      <a:pt x="62" y="32"/>
                    </a:lnTo>
                    <a:lnTo>
                      <a:pt x="65" y="29"/>
                    </a:lnTo>
                    <a:lnTo>
                      <a:pt x="67" y="27"/>
                    </a:lnTo>
                    <a:lnTo>
                      <a:pt x="73" y="21"/>
                    </a:lnTo>
                    <a:lnTo>
                      <a:pt x="80" y="15"/>
                    </a:lnTo>
                    <a:lnTo>
                      <a:pt x="75" y="10"/>
                    </a:lnTo>
                    <a:lnTo>
                      <a:pt x="70" y="7"/>
                    </a:lnTo>
                    <a:lnTo>
                      <a:pt x="65" y="4"/>
                    </a:lnTo>
                    <a:lnTo>
                      <a:pt x="60" y="2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1" y="2"/>
                    </a:lnTo>
                    <a:lnTo>
                      <a:pt x="13" y="3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0" y="1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9" name="Freeform 55"/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8111897" y="3539969"/>
                <a:ext cx="29263" cy="65013"/>
              </a:xfrm>
              <a:custGeom>
                <a:avLst/>
                <a:gdLst>
                  <a:gd name="T0" fmla="*/ 0 w 47"/>
                  <a:gd name="T1" fmla="*/ 36 h 49"/>
                  <a:gd name="T2" fmla="*/ 1 w 47"/>
                  <a:gd name="T3" fmla="*/ 39 h 49"/>
                  <a:gd name="T4" fmla="*/ 2 w 47"/>
                  <a:gd name="T5" fmla="*/ 41 h 49"/>
                  <a:gd name="T6" fmla="*/ 4 w 47"/>
                  <a:gd name="T7" fmla="*/ 43 h 49"/>
                  <a:gd name="T8" fmla="*/ 6 w 47"/>
                  <a:gd name="T9" fmla="*/ 45 h 49"/>
                  <a:gd name="T10" fmla="*/ 12 w 47"/>
                  <a:gd name="T11" fmla="*/ 48 h 49"/>
                  <a:gd name="T12" fmla="*/ 14 w 47"/>
                  <a:gd name="T13" fmla="*/ 49 h 49"/>
                  <a:gd name="T14" fmla="*/ 18 w 47"/>
                  <a:gd name="T15" fmla="*/ 49 h 49"/>
                  <a:gd name="T16" fmla="*/ 24 w 47"/>
                  <a:gd name="T17" fmla="*/ 46 h 49"/>
                  <a:gd name="T18" fmla="*/ 29 w 47"/>
                  <a:gd name="T19" fmla="*/ 42 h 49"/>
                  <a:gd name="T20" fmla="*/ 35 w 47"/>
                  <a:gd name="T21" fmla="*/ 39 h 49"/>
                  <a:gd name="T22" fmla="*/ 39 w 47"/>
                  <a:gd name="T23" fmla="*/ 35 h 49"/>
                  <a:gd name="T24" fmla="*/ 44 w 47"/>
                  <a:gd name="T25" fmla="*/ 31 h 49"/>
                  <a:gd name="T26" fmla="*/ 46 w 47"/>
                  <a:gd name="T27" fmla="*/ 27 h 49"/>
                  <a:gd name="T28" fmla="*/ 47 w 47"/>
                  <a:gd name="T29" fmla="*/ 24 h 49"/>
                  <a:gd name="T30" fmla="*/ 47 w 47"/>
                  <a:gd name="T31" fmla="*/ 12 h 49"/>
                  <a:gd name="T32" fmla="*/ 47 w 47"/>
                  <a:gd name="T33" fmla="*/ 0 h 49"/>
                  <a:gd name="T34" fmla="*/ 27 w 47"/>
                  <a:gd name="T35" fmla="*/ 0 h 49"/>
                  <a:gd name="T36" fmla="*/ 17 w 47"/>
                  <a:gd name="T37" fmla="*/ 8 h 49"/>
                  <a:gd name="T38" fmla="*/ 9 w 47"/>
                  <a:gd name="T39" fmla="*/ 16 h 49"/>
                  <a:gd name="T40" fmla="*/ 5 w 47"/>
                  <a:gd name="T41" fmla="*/ 20 h 49"/>
                  <a:gd name="T42" fmla="*/ 2 w 47"/>
                  <a:gd name="T43" fmla="*/ 25 h 49"/>
                  <a:gd name="T44" fmla="*/ 1 w 47"/>
                  <a:gd name="T45" fmla="*/ 30 h 49"/>
                  <a:gd name="T46" fmla="*/ 0 w 47"/>
                  <a:gd name="T47" fmla="*/ 3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49">
                    <a:moveTo>
                      <a:pt x="0" y="36"/>
                    </a:moveTo>
                    <a:lnTo>
                      <a:pt x="1" y="39"/>
                    </a:lnTo>
                    <a:lnTo>
                      <a:pt x="2" y="41"/>
                    </a:lnTo>
                    <a:lnTo>
                      <a:pt x="4" y="43"/>
                    </a:lnTo>
                    <a:lnTo>
                      <a:pt x="6" y="45"/>
                    </a:lnTo>
                    <a:lnTo>
                      <a:pt x="12" y="48"/>
                    </a:lnTo>
                    <a:lnTo>
                      <a:pt x="14" y="49"/>
                    </a:lnTo>
                    <a:lnTo>
                      <a:pt x="18" y="49"/>
                    </a:lnTo>
                    <a:lnTo>
                      <a:pt x="24" y="46"/>
                    </a:lnTo>
                    <a:lnTo>
                      <a:pt x="29" y="42"/>
                    </a:lnTo>
                    <a:lnTo>
                      <a:pt x="35" y="39"/>
                    </a:lnTo>
                    <a:lnTo>
                      <a:pt x="39" y="35"/>
                    </a:lnTo>
                    <a:lnTo>
                      <a:pt x="44" y="31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7" y="12"/>
                    </a:lnTo>
                    <a:lnTo>
                      <a:pt x="47" y="0"/>
                    </a:lnTo>
                    <a:lnTo>
                      <a:pt x="27" y="0"/>
                    </a:lnTo>
                    <a:lnTo>
                      <a:pt x="17" y="8"/>
                    </a:lnTo>
                    <a:lnTo>
                      <a:pt x="9" y="16"/>
                    </a:lnTo>
                    <a:lnTo>
                      <a:pt x="5" y="20"/>
                    </a:lnTo>
                    <a:lnTo>
                      <a:pt x="2" y="25"/>
                    </a:lnTo>
                    <a:lnTo>
                      <a:pt x="1" y="30"/>
                    </a:lnTo>
                    <a:lnTo>
                      <a:pt x="0" y="36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0" name="Freeform 56"/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8137908" y="3513964"/>
                <a:ext cx="16258" cy="65013"/>
              </a:xfrm>
              <a:custGeom>
                <a:avLst/>
                <a:gdLst>
                  <a:gd name="T0" fmla="*/ 0 w 26"/>
                  <a:gd name="T1" fmla="*/ 0 h 9"/>
                  <a:gd name="T2" fmla="*/ 0 w 26"/>
                  <a:gd name="T3" fmla="*/ 4 h 9"/>
                  <a:gd name="T4" fmla="*/ 3 w 26"/>
                  <a:gd name="T5" fmla="*/ 7 h 9"/>
                  <a:gd name="T6" fmla="*/ 6 w 26"/>
                  <a:gd name="T7" fmla="*/ 8 h 9"/>
                  <a:gd name="T8" fmla="*/ 11 w 26"/>
                  <a:gd name="T9" fmla="*/ 9 h 9"/>
                  <a:gd name="T10" fmla="*/ 15 w 26"/>
                  <a:gd name="T11" fmla="*/ 8 h 9"/>
                  <a:gd name="T12" fmla="*/ 20 w 26"/>
                  <a:gd name="T13" fmla="*/ 7 h 9"/>
                  <a:gd name="T14" fmla="*/ 23 w 26"/>
                  <a:gd name="T15" fmla="*/ 4 h 9"/>
                  <a:gd name="T16" fmla="*/ 26 w 26"/>
                  <a:gd name="T17" fmla="*/ 0 h 9"/>
                  <a:gd name="T18" fmla="*/ 0 w 26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9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6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0" y="7"/>
                    </a:lnTo>
                    <a:lnTo>
                      <a:pt x="23" y="4"/>
                    </a:lnTo>
                    <a:lnTo>
                      <a:pt x="26" y="0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1" name="Freeform 57"/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7487639" y="3143391"/>
                <a:ext cx="19508" cy="65013"/>
              </a:xfrm>
              <a:custGeom>
                <a:avLst/>
                <a:gdLst>
                  <a:gd name="T0" fmla="*/ 0 w 39"/>
                  <a:gd name="T1" fmla="*/ 0 h 18"/>
                  <a:gd name="T2" fmla="*/ 0 w 39"/>
                  <a:gd name="T3" fmla="*/ 18 h 18"/>
                  <a:gd name="T4" fmla="*/ 6 w 39"/>
                  <a:gd name="T5" fmla="*/ 18 h 18"/>
                  <a:gd name="T6" fmla="*/ 13 w 39"/>
                  <a:gd name="T7" fmla="*/ 18 h 18"/>
                  <a:gd name="T8" fmla="*/ 23 w 39"/>
                  <a:gd name="T9" fmla="*/ 17 h 18"/>
                  <a:gd name="T10" fmla="*/ 30 w 39"/>
                  <a:gd name="T11" fmla="*/ 14 h 18"/>
                  <a:gd name="T12" fmla="*/ 34 w 39"/>
                  <a:gd name="T13" fmla="*/ 12 h 18"/>
                  <a:gd name="T14" fmla="*/ 37 w 39"/>
                  <a:gd name="T15" fmla="*/ 10 h 18"/>
                  <a:gd name="T16" fmla="*/ 38 w 39"/>
                  <a:gd name="T17" fmla="*/ 8 h 18"/>
                  <a:gd name="T18" fmla="*/ 39 w 39"/>
                  <a:gd name="T19" fmla="*/ 6 h 18"/>
                  <a:gd name="T20" fmla="*/ 29 w 39"/>
                  <a:gd name="T21" fmla="*/ 5 h 18"/>
                  <a:gd name="T22" fmla="*/ 19 w 39"/>
                  <a:gd name="T23" fmla="*/ 3 h 18"/>
                  <a:gd name="T24" fmla="*/ 10 w 39"/>
                  <a:gd name="T25" fmla="*/ 0 h 18"/>
                  <a:gd name="T26" fmla="*/ 0 w 39"/>
                  <a:gd name="T2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8">
                    <a:moveTo>
                      <a:pt x="0" y="0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23" y="17"/>
                    </a:lnTo>
                    <a:lnTo>
                      <a:pt x="30" y="14"/>
                    </a:lnTo>
                    <a:lnTo>
                      <a:pt x="34" y="12"/>
                    </a:lnTo>
                    <a:lnTo>
                      <a:pt x="37" y="10"/>
                    </a:lnTo>
                    <a:lnTo>
                      <a:pt x="38" y="8"/>
                    </a:lnTo>
                    <a:lnTo>
                      <a:pt x="39" y="6"/>
                    </a:lnTo>
                    <a:lnTo>
                      <a:pt x="29" y="5"/>
                    </a:lnTo>
                    <a:lnTo>
                      <a:pt x="19" y="3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2" name="Freeform 162"/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7862043" y="4268709"/>
                <a:ext cx="412669" cy="469623"/>
              </a:xfrm>
              <a:custGeom>
                <a:avLst/>
                <a:gdLst>
                  <a:gd name="T0" fmla="*/ 2147483647 w 758"/>
                  <a:gd name="T1" fmla="*/ 2147483647 h 795"/>
                  <a:gd name="T2" fmla="*/ 2147483647 w 758"/>
                  <a:gd name="T3" fmla="*/ 2147483647 h 795"/>
                  <a:gd name="T4" fmla="*/ 2147483647 w 758"/>
                  <a:gd name="T5" fmla="*/ 2147483647 h 795"/>
                  <a:gd name="T6" fmla="*/ 2147483647 w 758"/>
                  <a:gd name="T7" fmla="*/ 2147483647 h 795"/>
                  <a:gd name="T8" fmla="*/ 2147483647 w 758"/>
                  <a:gd name="T9" fmla="*/ 2147483647 h 795"/>
                  <a:gd name="T10" fmla="*/ 2147483647 w 758"/>
                  <a:gd name="T11" fmla="*/ 2147483647 h 795"/>
                  <a:gd name="T12" fmla="*/ 2147483647 w 758"/>
                  <a:gd name="T13" fmla="*/ 2147483647 h 795"/>
                  <a:gd name="T14" fmla="*/ 2147483647 w 758"/>
                  <a:gd name="T15" fmla="*/ 2147483647 h 795"/>
                  <a:gd name="T16" fmla="*/ 2147483647 w 758"/>
                  <a:gd name="T17" fmla="*/ 2147483647 h 795"/>
                  <a:gd name="T18" fmla="*/ 2147483647 w 758"/>
                  <a:gd name="T19" fmla="*/ 2147483647 h 795"/>
                  <a:gd name="T20" fmla="*/ 2147483647 w 758"/>
                  <a:gd name="T21" fmla="*/ 2147483647 h 795"/>
                  <a:gd name="T22" fmla="*/ 2147483647 w 758"/>
                  <a:gd name="T23" fmla="*/ 2147483647 h 795"/>
                  <a:gd name="T24" fmla="*/ 2147483647 w 758"/>
                  <a:gd name="T25" fmla="*/ 2147483647 h 795"/>
                  <a:gd name="T26" fmla="*/ 2147483647 w 758"/>
                  <a:gd name="T27" fmla="*/ 2147483647 h 795"/>
                  <a:gd name="T28" fmla="*/ 2147483647 w 758"/>
                  <a:gd name="T29" fmla="*/ 2147483647 h 795"/>
                  <a:gd name="T30" fmla="*/ 2147483647 w 758"/>
                  <a:gd name="T31" fmla="*/ 2147483647 h 795"/>
                  <a:gd name="T32" fmla="*/ 2147483647 w 758"/>
                  <a:gd name="T33" fmla="*/ 2147483647 h 795"/>
                  <a:gd name="T34" fmla="*/ 2147483647 w 758"/>
                  <a:gd name="T35" fmla="*/ 2147483647 h 795"/>
                  <a:gd name="T36" fmla="*/ 2147483647 w 758"/>
                  <a:gd name="T37" fmla="*/ 2147483647 h 795"/>
                  <a:gd name="T38" fmla="*/ 2147483647 w 758"/>
                  <a:gd name="T39" fmla="*/ 2147483647 h 795"/>
                  <a:gd name="T40" fmla="*/ 2147483647 w 758"/>
                  <a:gd name="T41" fmla="*/ 2147483647 h 795"/>
                  <a:gd name="T42" fmla="*/ 2147483647 w 758"/>
                  <a:gd name="T43" fmla="*/ 2147483647 h 795"/>
                  <a:gd name="T44" fmla="*/ 2147483647 w 758"/>
                  <a:gd name="T45" fmla="*/ 2147483647 h 795"/>
                  <a:gd name="T46" fmla="*/ 2147483647 w 758"/>
                  <a:gd name="T47" fmla="*/ 2147483647 h 795"/>
                  <a:gd name="T48" fmla="*/ 2147483647 w 758"/>
                  <a:gd name="T49" fmla="*/ 2147483647 h 795"/>
                  <a:gd name="T50" fmla="*/ 2147483647 w 758"/>
                  <a:gd name="T51" fmla="*/ 2147483647 h 795"/>
                  <a:gd name="T52" fmla="*/ 2147483647 w 758"/>
                  <a:gd name="T53" fmla="*/ 2147483647 h 795"/>
                  <a:gd name="T54" fmla="*/ 2147483647 w 758"/>
                  <a:gd name="T55" fmla="*/ 2147483647 h 795"/>
                  <a:gd name="T56" fmla="*/ 2147483647 w 758"/>
                  <a:gd name="T57" fmla="*/ 2147483647 h 795"/>
                  <a:gd name="T58" fmla="*/ 2147483647 w 758"/>
                  <a:gd name="T59" fmla="*/ 2147483647 h 795"/>
                  <a:gd name="T60" fmla="*/ 2147483647 w 758"/>
                  <a:gd name="T61" fmla="*/ 2147483647 h 795"/>
                  <a:gd name="T62" fmla="*/ 2147483647 w 758"/>
                  <a:gd name="T63" fmla="*/ 2147483647 h 795"/>
                  <a:gd name="T64" fmla="*/ 2147483647 w 758"/>
                  <a:gd name="T65" fmla="*/ 2147483647 h 795"/>
                  <a:gd name="T66" fmla="*/ 2147483647 w 758"/>
                  <a:gd name="T67" fmla="*/ 2147483647 h 795"/>
                  <a:gd name="T68" fmla="*/ 2147483647 w 758"/>
                  <a:gd name="T69" fmla="*/ 2147483647 h 795"/>
                  <a:gd name="T70" fmla="*/ 2147483647 w 758"/>
                  <a:gd name="T71" fmla="*/ 2147483647 h 795"/>
                  <a:gd name="T72" fmla="*/ 2147483647 w 758"/>
                  <a:gd name="T73" fmla="*/ 2147483647 h 795"/>
                  <a:gd name="T74" fmla="*/ 2147483647 w 758"/>
                  <a:gd name="T75" fmla="*/ 2147483647 h 795"/>
                  <a:gd name="T76" fmla="*/ 2147483647 w 758"/>
                  <a:gd name="T77" fmla="*/ 2147483647 h 795"/>
                  <a:gd name="T78" fmla="*/ 2147483647 w 758"/>
                  <a:gd name="T79" fmla="*/ 2147483647 h 795"/>
                  <a:gd name="T80" fmla="*/ 2147483647 w 758"/>
                  <a:gd name="T81" fmla="*/ 2147483647 h 795"/>
                  <a:gd name="T82" fmla="*/ 2147483647 w 758"/>
                  <a:gd name="T83" fmla="*/ 2147483647 h 795"/>
                  <a:gd name="T84" fmla="*/ 2147483647 w 758"/>
                  <a:gd name="T85" fmla="*/ 2147483647 h 795"/>
                  <a:gd name="T86" fmla="*/ 2147483647 w 758"/>
                  <a:gd name="T87" fmla="*/ 2147483647 h 795"/>
                  <a:gd name="T88" fmla="*/ 2147483647 w 758"/>
                  <a:gd name="T89" fmla="*/ 2147483647 h 795"/>
                  <a:gd name="T90" fmla="*/ 2147483647 w 758"/>
                  <a:gd name="T91" fmla="*/ 2147483647 h 795"/>
                  <a:gd name="T92" fmla="*/ 2147483647 w 758"/>
                  <a:gd name="T93" fmla="*/ 2147483647 h 795"/>
                  <a:gd name="T94" fmla="*/ 2147483647 w 758"/>
                  <a:gd name="T95" fmla="*/ 2147483647 h 795"/>
                  <a:gd name="T96" fmla="*/ 2147483647 w 758"/>
                  <a:gd name="T97" fmla="*/ 2147483647 h 795"/>
                  <a:gd name="T98" fmla="*/ 2147483647 w 758"/>
                  <a:gd name="T99" fmla="*/ 2147483647 h 795"/>
                  <a:gd name="T100" fmla="*/ 2147483647 w 758"/>
                  <a:gd name="T101" fmla="*/ 2147483647 h 795"/>
                  <a:gd name="T102" fmla="*/ 2147483647 w 758"/>
                  <a:gd name="T103" fmla="*/ 2147483647 h 795"/>
                  <a:gd name="T104" fmla="*/ 2147483647 w 758"/>
                  <a:gd name="T105" fmla="*/ 2147483647 h 795"/>
                  <a:gd name="T106" fmla="*/ 2147483647 w 758"/>
                  <a:gd name="T107" fmla="*/ 2147483647 h 795"/>
                  <a:gd name="T108" fmla="*/ 2147483647 w 758"/>
                  <a:gd name="T109" fmla="*/ 2147483647 h 795"/>
                  <a:gd name="T110" fmla="*/ 2147483647 w 758"/>
                  <a:gd name="T111" fmla="*/ 618341085 h 795"/>
                  <a:gd name="T112" fmla="*/ 2147483647 w 758"/>
                  <a:gd name="T113" fmla="*/ 618341085 h 795"/>
                  <a:gd name="T114" fmla="*/ 2147483647 w 758"/>
                  <a:gd name="T115" fmla="*/ 2147483647 h 795"/>
                  <a:gd name="T116" fmla="*/ 2147483647 w 758"/>
                  <a:gd name="T117" fmla="*/ 2147483647 h 795"/>
                  <a:gd name="T118" fmla="*/ 0 w 758"/>
                  <a:gd name="T119" fmla="*/ 2147483647 h 79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58" h="795">
                    <a:moveTo>
                      <a:pt x="0" y="80"/>
                    </a:moveTo>
                    <a:lnTo>
                      <a:pt x="10" y="80"/>
                    </a:lnTo>
                    <a:lnTo>
                      <a:pt x="20" y="80"/>
                    </a:lnTo>
                    <a:lnTo>
                      <a:pt x="26" y="80"/>
                    </a:lnTo>
                    <a:lnTo>
                      <a:pt x="31" y="81"/>
                    </a:lnTo>
                    <a:lnTo>
                      <a:pt x="37" y="83"/>
                    </a:lnTo>
                    <a:lnTo>
                      <a:pt x="43" y="85"/>
                    </a:lnTo>
                    <a:lnTo>
                      <a:pt x="49" y="88"/>
                    </a:lnTo>
                    <a:lnTo>
                      <a:pt x="55" y="92"/>
                    </a:lnTo>
                    <a:lnTo>
                      <a:pt x="61" y="97"/>
                    </a:lnTo>
                    <a:lnTo>
                      <a:pt x="66" y="102"/>
                    </a:lnTo>
                    <a:lnTo>
                      <a:pt x="72" y="108"/>
                    </a:lnTo>
                    <a:lnTo>
                      <a:pt x="77" y="113"/>
                    </a:lnTo>
                    <a:lnTo>
                      <a:pt x="82" y="120"/>
                    </a:lnTo>
                    <a:lnTo>
                      <a:pt x="86" y="127"/>
                    </a:lnTo>
                    <a:lnTo>
                      <a:pt x="88" y="134"/>
                    </a:lnTo>
                    <a:lnTo>
                      <a:pt x="92" y="142"/>
                    </a:lnTo>
                    <a:lnTo>
                      <a:pt x="93" y="152"/>
                    </a:lnTo>
                    <a:lnTo>
                      <a:pt x="94" y="161"/>
                    </a:lnTo>
                    <a:lnTo>
                      <a:pt x="93" y="169"/>
                    </a:lnTo>
                    <a:lnTo>
                      <a:pt x="92" y="175"/>
                    </a:lnTo>
                    <a:lnTo>
                      <a:pt x="89" y="180"/>
                    </a:lnTo>
                    <a:lnTo>
                      <a:pt x="87" y="183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1" y="193"/>
                    </a:lnTo>
                    <a:lnTo>
                      <a:pt x="81" y="197"/>
                    </a:lnTo>
                    <a:lnTo>
                      <a:pt x="81" y="205"/>
                    </a:lnTo>
                    <a:lnTo>
                      <a:pt x="82" y="214"/>
                    </a:lnTo>
                    <a:lnTo>
                      <a:pt x="83" y="221"/>
                    </a:lnTo>
                    <a:lnTo>
                      <a:pt x="84" y="227"/>
                    </a:lnTo>
                    <a:lnTo>
                      <a:pt x="88" y="240"/>
                    </a:lnTo>
                    <a:lnTo>
                      <a:pt x="94" y="252"/>
                    </a:lnTo>
                    <a:lnTo>
                      <a:pt x="97" y="262"/>
                    </a:lnTo>
                    <a:lnTo>
                      <a:pt x="100" y="271"/>
                    </a:lnTo>
                    <a:lnTo>
                      <a:pt x="95" y="278"/>
                    </a:lnTo>
                    <a:lnTo>
                      <a:pt x="92" y="285"/>
                    </a:lnTo>
                    <a:lnTo>
                      <a:pt x="88" y="293"/>
                    </a:lnTo>
                    <a:lnTo>
                      <a:pt x="85" y="300"/>
                    </a:lnTo>
                    <a:lnTo>
                      <a:pt x="83" y="308"/>
                    </a:lnTo>
                    <a:lnTo>
                      <a:pt x="82" y="318"/>
                    </a:lnTo>
                    <a:lnTo>
                      <a:pt x="81" y="328"/>
                    </a:lnTo>
                    <a:lnTo>
                      <a:pt x="81" y="339"/>
                    </a:lnTo>
                    <a:lnTo>
                      <a:pt x="81" y="352"/>
                    </a:lnTo>
                    <a:lnTo>
                      <a:pt x="83" y="363"/>
                    </a:lnTo>
                    <a:lnTo>
                      <a:pt x="85" y="374"/>
                    </a:lnTo>
                    <a:lnTo>
                      <a:pt x="88" y="382"/>
                    </a:lnTo>
                    <a:lnTo>
                      <a:pt x="93" y="390"/>
                    </a:lnTo>
                    <a:lnTo>
                      <a:pt x="97" y="396"/>
                    </a:lnTo>
                    <a:lnTo>
                      <a:pt x="101" y="402"/>
                    </a:lnTo>
                    <a:lnTo>
                      <a:pt x="107" y="407"/>
                    </a:lnTo>
                    <a:lnTo>
                      <a:pt x="99" y="415"/>
                    </a:lnTo>
                    <a:lnTo>
                      <a:pt x="94" y="424"/>
                    </a:lnTo>
                    <a:lnTo>
                      <a:pt x="89" y="433"/>
                    </a:lnTo>
                    <a:lnTo>
                      <a:pt x="85" y="441"/>
                    </a:lnTo>
                    <a:lnTo>
                      <a:pt x="78" y="457"/>
                    </a:lnTo>
                    <a:lnTo>
                      <a:pt x="73" y="474"/>
                    </a:lnTo>
                    <a:lnTo>
                      <a:pt x="88" y="493"/>
                    </a:lnTo>
                    <a:lnTo>
                      <a:pt x="101" y="511"/>
                    </a:lnTo>
                    <a:lnTo>
                      <a:pt x="113" y="529"/>
                    </a:lnTo>
                    <a:lnTo>
                      <a:pt x="124" y="548"/>
                    </a:lnTo>
                    <a:lnTo>
                      <a:pt x="130" y="558"/>
                    </a:lnTo>
                    <a:lnTo>
                      <a:pt x="134" y="567"/>
                    </a:lnTo>
                    <a:lnTo>
                      <a:pt x="138" y="577"/>
                    </a:lnTo>
                    <a:lnTo>
                      <a:pt x="141" y="588"/>
                    </a:lnTo>
                    <a:lnTo>
                      <a:pt x="143" y="599"/>
                    </a:lnTo>
                    <a:lnTo>
                      <a:pt x="145" y="611"/>
                    </a:lnTo>
                    <a:lnTo>
                      <a:pt x="146" y="622"/>
                    </a:lnTo>
                    <a:lnTo>
                      <a:pt x="146" y="634"/>
                    </a:lnTo>
                    <a:lnTo>
                      <a:pt x="148" y="640"/>
                    </a:lnTo>
                    <a:lnTo>
                      <a:pt x="149" y="648"/>
                    </a:lnTo>
                    <a:lnTo>
                      <a:pt x="152" y="659"/>
                    </a:lnTo>
                    <a:lnTo>
                      <a:pt x="156" y="670"/>
                    </a:lnTo>
                    <a:lnTo>
                      <a:pt x="166" y="696"/>
                    </a:lnTo>
                    <a:lnTo>
                      <a:pt x="179" y="724"/>
                    </a:lnTo>
                    <a:lnTo>
                      <a:pt x="187" y="738"/>
                    </a:lnTo>
                    <a:lnTo>
                      <a:pt x="194" y="750"/>
                    </a:lnTo>
                    <a:lnTo>
                      <a:pt x="201" y="763"/>
                    </a:lnTo>
                    <a:lnTo>
                      <a:pt x="208" y="774"/>
                    </a:lnTo>
                    <a:lnTo>
                      <a:pt x="214" y="782"/>
                    </a:lnTo>
                    <a:lnTo>
                      <a:pt x="221" y="789"/>
                    </a:lnTo>
                    <a:lnTo>
                      <a:pt x="224" y="792"/>
                    </a:lnTo>
                    <a:lnTo>
                      <a:pt x="228" y="793"/>
                    </a:lnTo>
                    <a:lnTo>
                      <a:pt x="230" y="794"/>
                    </a:lnTo>
                    <a:lnTo>
                      <a:pt x="233" y="795"/>
                    </a:lnTo>
                    <a:lnTo>
                      <a:pt x="239" y="794"/>
                    </a:lnTo>
                    <a:lnTo>
                      <a:pt x="244" y="793"/>
                    </a:lnTo>
                    <a:lnTo>
                      <a:pt x="251" y="790"/>
                    </a:lnTo>
                    <a:lnTo>
                      <a:pt x="256" y="787"/>
                    </a:lnTo>
                    <a:lnTo>
                      <a:pt x="266" y="780"/>
                    </a:lnTo>
                    <a:lnTo>
                      <a:pt x="278" y="771"/>
                    </a:lnTo>
                    <a:lnTo>
                      <a:pt x="289" y="761"/>
                    </a:lnTo>
                    <a:lnTo>
                      <a:pt x="302" y="753"/>
                    </a:lnTo>
                    <a:lnTo>
                      <a:pt x="309" y="750"/>
                    </a:lnTo>
                    <a:lnTo>
                      <a:pt x="317" y="747"/>
                    </a:lnTo>
                    <a:lnTo>
                      <a:pt x="324" y="746"/>
                    </a:lnTo>
                    <a:lnTo>
                      <a:pt x="332" y="745"/>
                    </a:lnTo>
                    <a:lnTo>
                      <a:pt x="341" y="746"/>
                    </a:lnTo>
                    <a:lnTo>
                      <a:pt x="348" y="747"/>
                    </a:lnTo>
                    <a:lnTo>
                      <a:pt x="355" y="748"/>
                    </a:lnTo>
                    <a:lnTo>
                      <a:pt x="361" y="750"/>
                    </a:lnTo>
                    <a:lnTo>
                      <a:pt x="371" y="756"/>
                    </a:lnTo>
                    <a:lnTo>
                      <a:pt x="380" y="763"/>
                    </a:lnTo>
                    <a:lnTo>
                      <a:pt x="388" y="770"/>
                    </a:lnTo>
                    <a:lnTo>
                      <a:pt x="395" y="777"/>
                    </a:lnTo>
                    <a:lnTo>
                      <a:pt x="403" y="783"/>
                    </a:lnTo>
                    <a:lnTo>
                      <a:pt x="412" y="789"/>
                    </a:lnTo>
                    <a:lnTo>
                      <a:pt x="418" y="780"/>
                    </a:lnTo>
                    <a:lnTo>
                      <a:pt x="422" y="773"/>
                    </a:lnTo>
                    <a:lnTo>
                      <a:pt x="427" y="767"/>
                    </a:lnTo>
                    <a:lnTo>
                      <a:pt x="432" y="761"/>
                    </a:lnTo>
                    <a:lnTo>
                      <a:pt x="437" y="758"/>
                    </a:lnTo>
                    <a:lnTo>
                      <a:pt x="443" y="754"/>
                    </a:lnTo>
                    <a:lnTo>
                      <a:pt x="448" y="752"/>
                    </a:lnTo>
                    <a:lnTo>
                      <a:pt x="454" y="750"/>
                    </a:lnTo>
                    <a:lnTo>
                      <a:pt x="478" y="745"/>
                    </a:lnTo>
                    <a:lnTo>
                      <a:pt x="505" y="739"/>
                    </a:lnTo>
                    <a:lnTo>
                      <a:pt x="525" y="647"/>
                    </a:lnTo>
                    <a:lnTo>
                      <a:pt x="525" y="637"/>
                    </a:lnTo>
                    <a:lnTo>
                      <a:pt x="525" y="622"/>
                    </a:lnTo>
                    <a:lnTo>
                      <a:pt x="526" y="616"/>
                    </a:lnTo>
                    <a:lnTo>
                      <a:pt x="529" y="610"/>
                    </a:lnTo>
                    <a:lnTo>
                      <a:pt x="533" y="604"/>
                    </a:lnTo>
                    <a:lnTo>
                      <a:pt x="539" y="600"/>
                    </a:lnTo>
                    <a:lnTo>
                      <a:pt x="547" y="594"/>
                    </a:lnTo>
                    <a:lnTo>
                      <a:pt x="555" y="590"/>
                    </a:lnTo>
                    <a:lnTo>
                      <a:pt x="565" y="587"/>
                    </a:lnTo>
                    <a:lnTo>
                      <a:pt x="575" y="584"/>
                    </a:lnTo>
                    <a:lnTo>
                      <a:pt x="597" y="579"/>
                    </a:lnTo>
                    <a:lnTo>
                      <a:pt x="621" y="575"/>
                    </a:lnTo>
                    <a:lnTo>
                      <a:pt x="644" y="574"/>
                    </a:lnTo>
                    <a:lnTo>
                      <a:pt x="665" y="573"/>
                    </a:lnTo>
                    <a:lnTo>
                      <a:pt x="671" y="573"/>
                    </a:lnTo>
                    <a:lnTo>
                      <a:pt x="678" y="575"/>
                    </a:lnTo>
                    <a:lnTo>
                      <a:pt x="682" y="577"/>
                    </a:lnTo>
                    <a:lnTo>
                      <a:pt x="687" y="579"/>
                    </a:lnTo>
                    <a:lnTo>
                      <a:pt x="691" y="581"/>
                    </a:lnTo>
                    <a:lnTo>
                      <a:pt x="695" y="583"/>
                    </a:lnTo>
                    <a:lnTo>
                      <a:pt x="700" y="585"/>
                    </a:lnTo>
                    <a:lnTo>
                      <a:pt x="704" y="585"/>
                    </a:lnTo>
                    <a:lnTo>
                      <a:pt x="738" y="598"/>
                    </a:lnTo>
                    <a:lnTo>
                      <a:pt x="738" y="589"/>
                    </a:lnTo>
                    <a:lnTo>
                      <a:pt x="740" y="581"/>
                    </a:lnTo>
                    <a:lnTo>
                      <a:pt x="744" y="573"/>
                    </a:lnTo>
                    <a:lnTo>
                      <a:pt x="748" y="566"/>
                    </a:lnTo>
                    <a:lnTo>
                      <a:pt x="751" y="559"/>
                    </a:lnTo>
                    <a:lnTo>
                      <a:pt x="755" y="550"/>
                    </a:lnTo>
                    <a:lnTo>
                      <a:pt x="757" y="541"/>
                    </a:lnTo>
                    <a:lnTo>
                      <a:pt x="758" y="530"/>
                    </a:lnTo>
                    <a:lnTo>
                      <a:pt x="757" y="518"/>
                    </a:lnTo>
                    <a:lnTo>
                      <a:pt x="756" y="508"/>
                    </a:lnTo>
                    <a:lnTo>
                      <a:pt x="752" y="499"/>
                    </a:lnTo>
                    <a:lnTo>
                      <a:pt x="749" y="492"/>
                    </a:lnTo>
                    <a:lnTo>
                      <a:pt x="740" y="478"/>
                    </a:lnTo>
                    <a:lnTo>
                      <a:pt x="731" y="467"/>
                    </a:lnTo>
                    <a:lnTo>
                      <a:pt x="726" y="462"/>
                    </a:lnTo>
                    <a:lnTo>
                      <a:pt x="722" y="456"/>
                    </a:lnTo>
                    <a:lnTo>
                      <a:pt x="716" y="450"/>
                    </a:lnTo>
                    <a:lnTo>
                      <a:pt x="713" y="443"/>
                    </a:lnTo>
                    <a:lnTo>
                      <a:pt x="710" y="435"/>
                    </a:lnTo>
                    <a:lnTo>
                      <a:pt x="706" y="424"/>
                    </a:lnTo>
                    <a:lnTo>
                      <a:pt x="705" y="413"/>
                    </a:lnTo>
                    <a:lnTo>
                      <a:pt x="704" y="401"/>
                    </a:lnTo>
                    <a:lnTo>
                      <a:pt x="671" y="401"/>
                    </a:lnTo>
                    <a:lnTo>
                      <a:pt x="660" y="403"/>
                    </a:lnTo>
                    <a:lnTo>
                      <a:pt x="650" y="403"/>
                    </a:lnTo>
                    <a:lnTo>
                      <a:pt x="641" y="402"/>
                    </a:lnTo>
                    <a:lnTo>
                      <a:pt x="633" y="399"/>
                    </a:lnTo>
                    <a:lnTo>
                      <a:pt x="625" y="395"/>
                    </a:lnTo>
                    <a:lnTo>
                      <a:pt x="617" y="390"/>
                    </a:lnTo>
                    <a:lnTo>
                      <a:pt x="611" y="384"/>
                    </a:lnTo>
                    <a:lnTo>
                      <a:pt x="605" y="378"/>
                    </a:lnTo>
                    <a:lnTo>
                      <a:pt x="601" y="370"/>
                    </a:lnTo>
                    <a:lnTo>
                      <a:pt x="597" y="363"/>
                    </a:lnTo>
                    <a:lnTo>
                      <a:pt x="593" y="356"/>
                    </a:lnTo>
                    <a:lnTo>
                      <a:pt x="590" y="349"/>
                    </a:lnTo>
                    <a:lnTo>
                      <a:pt x="586" y="336"/>
                    </a:lnTo>
                    <a:lnTo>
                      <a:pt x="585" y="327"/>
                    </a:lnTo>
                    <a:lnTo>
                      <a:pt x="585" y="321"/>
                    </a:lnTo>
                    <a:lnTo>
                      <a:pt x="585" y="311"/>
                    </a:lnTo>
                    <a:lnTo>
                      <a:pt x="585" y="297"/>
                    </a:lnTo>
                    <a:lnTo>
                      <a:pt x="585" y="278"/>
                    </a:lnTo>
                    <a:lnTo>
                      <a:pt x="585" y="274"/>
                    </a:lnTo>
                    <a:lnTo>
                      <a:pt x="583" y="269"/>
                    </a:lnTo>
                    <a:lnTo>
                      <a:pt x="581" y="265"/>
                    </a:lnTo>
                    <a:lnTo>
                      <a:pt x="578" y="260"/>
                    </a:lnTo>
                    <a:lnTo>
                      <a:pt x="570" y="251"/>
                    </a:lnTo>
                    <a:lnTo>
                      <a:pt x="560" y="242"/>
                    </a:lnTo>
                    <a:lnTo>
                      <a:pt x="548" y="233"/>
                    </a:lnTo>
                    <a:lnTo>
                      <a:pt x="534" y="223"/>
                    </a:lnTo>
                    <a:lnTo>
                      <a:pt x="520" y="215"/>
                    </a:lnTo>
                    <a:lnTo>
                      <a:pt x="503" y="205"/>
                    </a:lnTo>
                    <a:lnTo>
                      <a:pt x="487" y="197"/>
                    </a:lnTo>
                    <a:lnTo>
                      <a:pt x="470" y="190"/>
                    </a:lnTo>
                    <a:lnTo>
                      <a:pt x="455" y="183"/>
                    </a:lnTo>
                    <a:lnTo>
                      <a:pt x="440" y="178"/>
                    </a:lnTo>
                    <a:lnTo>
                      <a:pt x="425" y="173"/>
                    </a:lnTo>
                    <a:lnTo>
                      <a:pt x="412" y="170"/>
                    </a:lnTo>
                    <a:lnTo>
                      <a:pt x="401" y="167"/>
                    </a:lnTo>
                    <a:lnTo>
                      <a:pt x="392" y="167"/>
                    </a:lnTo>
                    <a:lnTo>
                      <a:pt x="384" y="166"/>
                    </a:lnTo>
                    <a:lnTo>
                      <a:pt x="375" y="165"/>
                    </a:lnTo>
                    <a:lnTo>
                      <a:pt x="367" y="164"/>
                    </a:lnTo>
                    <a:lnTo>
                      <a:pt x="359" y="161"/>
                    </a:lnTo>
                    <a:lnTo>
                      <a:pt x="351" y="158"/>
                    </a:lnTo>
                    <a:lnTo>
                      <a:pt x="344" y="155"/>
                    </a:lnTo>
                    <a:lnTo>
                      <a:pt x="336" y="151"/>
                    </a:lnTo>
                    <a:lnTo>
                      <a:pt x="330" y="145"/>
                    </a:lnTo>
                    <a:lnTo>
                      <a:pt x="323" y="140"/>
                    </a:lnTo>
                    <a:lnTo>
                      <a:pt x="318" y="135"/>
                    </a:lnTo>
                    <a:lnTo>
                      <a:pt x="312" y="129"/>
                    </a:lnTo>
                    <a:lnTo>
                      <a:pt x="307" y="122"/>
                    </a:lnTo>
                    <a:lnTo>
                      <a:pt x="302" y="115"/>
                    </a:lnTo>
                    <a:lnTo>
                      <a:pt x="299" y="108"/>
                    </a:lnTo>
                    <a:lnTo>
                      <a:pt x="296" y="101"/>
                    </a:lnTo>
                    <a:lnTo>
                      <a:pt x="292" y="92"/>
                    </a:lnTo>
                    <a:lnTo>
                      <a:pt x="289" y="63"/>
                    </a:lnTo>
                    <a:lnTo>
                      <a:pt x="285" y="32"/>
                    </a:lnTo>
                    <a:lnTo>
                      <a:pt x="283" y="25"/>
                    </a:lnTo>
                    <a:lnTo>
                      <a:pt x="279" y="19"/>
                    </a:lnTo>
                    <a:lnTo>
                      <a:pt x="276" y="14"/>
                    </a:lnTo>
                    <a:lnTo>
                      <a:pt x="272" y="9"/>
                    </a:lnTo>
                    <a:lnTo>
                      <a:pt x="267" y="6"/>
                    </a:lnTo>
                    <a:lnTo>
                      <a:pt x="261" y="3"/>
                    </a:lnTo>
                    <a:lnTo>
                      <a:pt x="254" y="1"/>
                    </a:lnTo>
                    <a:lnTo>
                      <a:pt x="246" y="0"/>
                    </a:lnTo>
                    <a:lnTo>
                      <a:pt x="236" y="1"/>
                    </a:lnTo>
                    <a:lnTo>
                      <a:pt x="227" y="3"/>
                    </a:lnTo>
                    <a:lnTo>
                      <a:pt x="218" y="5"/>
                    </a:lnTo>
                    <a:lnTo>
                      <a:pt x="208" y="9"/>
                    </a:lnTo>
                    <a:lnTo>
                      <a:pt x="190" y="18"/>
                    </a:lnTo>
                    <a:lnTo>
                      <a:pt x="173" y="30"/>
                    </a:lnTo>
                    <a:lnTo>
                      <a:pt x="155" y="43"/>
                    </a:lnTo>
                    <a:lnTo>
                      <a:pt x="138" y="55"/>
                    </a:lnTo>
                    <a:lnTo>
                      <a:pt x="129" y="60"/>
                    </a:lnTo>
                    <a:lnTo>
                      <a:pt x="119" y="66"/>
                    </a:lnTo>
                    <a:lnTo>
                      <a:pt x="110" y="70"/>
                    </a:lnTo>
                    <a:lnTo>
                      <a:pt x="100" y="74"/>
                    </a:lnTo>
                    <a:lnTo>
                      <a:pt x="20" y="80"/>
                    </a:lnTo>
                    <a:lnTo>
                      <a:pt x="0" y="80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3" name="Freeform 163"/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8131175" y="3625219"/>
                <a:ext cx="149519" cy="243774"/>
              </a:xfrm>
              <a:custGeom>
                <a:avLst/>
                <a:gdLst>
                  <a:gd name="T0" fmla="*/ 2147483647 w 273"/>
                  <a:gd name="T1" fmla="*/ 2147483647 h 414"/>
                  <a:gd name="T2" fmla="*/ 2147483647 w 273"/>
                  <a:gd name="T3" fmla="*/ 2147483647 h 414"/>
                  <a:gd name="T4" fmla="*/ 2147483647 w 273"/>
                  <a:gd name="T5" fmla="*/ 2147483647 h 414"/>
                  <a:gd name="T6" fmla="*/ 2147483647 w 273"/>
                  <a:gd name="T7" fmla="*/ 2147483647 h 414"/>
                  <a:gd name="T8" fmla="*/ 2147483647 w 273"/>
                  <a:gd name="T9" fmla="*/ 2147483647 h 414"/>
                  <a:gd name="T10" fmla="*/ 2147483647 w 273"/>
                  <a:gd name="T11" fmla="*/ 2147483647 h 414"/>
                  <a:gd name="T12" fmla="*/ 2147483647 w 273"/>
                  <a:gd name="T13" fmla="*/ 2147483647 h 414"/>
                  <a:gd name="T14" fmla="*/ 2147483647 w 273"/>
                  <a:gd name="T15" fmla="*/ 2147483647 h 414"/>
                  <a:gd name="T16" fmla="*/ 2147483647 w 273"/>
                  <a:gd name="T17" fmla="*/ 2147483647 h 414"/>
                  <a:gd name="T18" fmla="*/ 2147483647 w 273"/>
                  <a:gd name="T19" fmla="*/ 2147483647 h 414"/>
                  <a:gd name="T20" fmla="*/ 2147483647 w 273"/>
                  <a:gd name="T21" fmla="*/ 2147483647 h 414"/>
                  <a:gd name="T22" fmla="*/ 2147483647 w 273"/>
                  <a:gd name="T23" fmla="*/ 2147483647 h 414"/>
                  <a:gd name="T24" fmla="*/ 2147483647 w 273"/>
                  <a:gd name="T25" fmla="*/ 2147483647 h 414"/>
                  <a:gd name="T26" fmla="*/ 2147483647 w 273"/>
                  <a:gd name="T27" fmla="*/ 1020732377 h 414"/>
                  <a:gd name="T28" fmla="*/ 2147483647 w 273"/>
                  <a:gd name="T29" fmla="*/ 1429163938 h 414"/>
                  <a:gd name="T30" fmla="*/ 2147483647 w 273"/>
                  <a:gd name="T31" fmla="*/ 2147483647 h 414"/>
                  <a:gd name="T32" fmla="*/ 2147483647 w 273"/>
                  <a:gd name="T33" fmla="*/ 2147483647 h 414"/>
                  <a:gd name="T34" fmla="*/ 2147483647 w 273"/>
                  <a:gd name="T35" fmla="*/ 2147483647 h 414"/>
                  <a:gd name="T36" fmla="*/ 2147483647 w 273"/>
                  <a:gd name="T37" fmla="*/ 2147483647 h 414"/>
                  <a:gd name="T38" fmla="*/ 2147483647 w 273"/>
                  <a:gd name="T39" fmla="*/ 2147483647 h 414"/>
                  <a:gd name="T40" fmla="*/ 2147483647 w 273"/>
                  <a:gd name="T41" fmla="*/ 2147483647 h 414"/>
                  <a:gd name="T42" fmla="*/ 2147483647 w 273"/>
                  <a:gd name="T43" fmla="*/ 2147483647 h 414"/>
                  <a:gd name="T44" fmla="*/ 2147483647 w 273"/>
                  <a:gd name="T45" fmla="*/ 2147483647 h 414"/>
                  <a:gd name="T46" fmla="*/ 657218706 w 273"/>
                  <a:gd name="T47" fmla="*/ 2147483647 h 414"/>
                  <a:gd name="T48" fmla="*/ 2147483647 w 273"/>
                  <a:gd name="T49" fmla="*/ 2147483647 h 414"/>
                  <a:gd name="T50" fmla="*/ 2147483647 w 273"/>
                  <a:gd name="T51" fmla="*/ 2147483647 h 414"/>
                  <a:gd name="T52" fmla="*/ 2147483647 w 273"/>
                  <a:gd name="T53" fmla="*/ 2147483647 h 414"/>
                  <a:gd name="T54" fmla="*/ 2147483647 w 273"/>
                  <a:gd name="T55" fmla="*/ 2147483647 h 414"/>
                  <a:gd name="T56" fmla="*/ 2147483647 w 273"/>
                  <a:gd name="T57" fmla="*/ 2147483647 h 414"/>
                  <a:gd name="T58" fmla="*/ 2147483647 w 273"/>
                  <a:gd name="T59" fmla="*/ 2147483647 h 414"/>
                  <a:gd name="T60" fmla="*/ 2147483647 w 273"/>
                  <a:gd name="T61" fmla="*/ 2147483647 h 414"/>
                  <a:gd name="T62" fmla="*/ 2147483647 w 273"/>
                  <a:gd name="T63" fmla="*/ 2147483647 h 414"/>
                  <a:gd name="T64" fmla="*/ 2147483647 w 273"/>
                  <a:gd name="T65" fmla="*/ 2147483647 h 414"/>
                  <a:gd name="T66" fmla="*/ 2147483647 w 273"/>
                  <a:gd name="T67" fmla="*/ 2147483647 h 414"/>
                  <a:gd name="T68" fmla="*/ 2147483647 w 273"/>
                  <a:gd name="T69" fmla="*/ 2147483647 h 414"/>
                  <a:gd name="T70" fmla="*/ 2147483647 w 273"/>
                  <a:gd name="T71" fmla="*/ 2147483647 h 414"/>
                  <a:gd name="T72" fmla="*/ 2147483647 w 273"/>
                  <a:gd name="T73" fmla="*/ 2147483647 h 414"/>
                  <a:gd name="T74" fmla="*/ 2147483647 w 273"/>
                  <a:gd name="T75" fmla="*/ 2147483647 h 414"/>
                  <a:gd name="T76" fmla="*/ 2147483647 w 273"/>
                  <a:gd name="T77" fmla="*/ 2147483647 h 414"/>
                  <a:gd name="T78" fmla="*/ 2147483647 w 273"/>
                  <a:gd name="T79" fmla="*/ 2147483647 h 414"/>
                  <a:gd name="T80" fmla="*/ 2147483647 w 273"/>
                  <a:gd name="T81" fmla="*/ 2147483647 h 414"/>
                  <a:gd name="T82" fmla="*/ 2147483647 w 273"/>
                  <a:gd name="T83" fmla="*/ 2147483647 h 414"/>
                  <a:gd name="T84" fmla="*/ 2147483647 w 273"/>
                  <a:gd name="T85" fmla="*/ 2147483647 h 414"/>
                  <a:gd name="T86" fmla="*/ 2147483647 w 273"/>
                  <a:gd name="T87" fmla="*/ 2147483647 h 414"/>
                  <a:gd name="T88" fmla="*/ 2147483647 w 273"/>
                  <a:gd name="T89" fmla="*/ 2147483647 h 414"/>
                  <a:gd name="T90" fmla="*/ 2147483647 w 273"/>
                  <a:gd name="T91" fmla="*/ 2147483647 h 414"/>
                  <a:gd name="T92" fmla="*/ 2147483647 w 273"/>
                  <a:gd name="T93" fmla="*/ 2147483647 h 414"/>
                  <a:gd name="T94" fmla="*/ 2147483647 w 273"/>
                  <a:gd name="T95" fmla="*/ 2147483647 h 414"/>
                  <a:gd name="T96" fmla="*/ 2147483647 w 273"/>
                  <a:gd name="T97" fmla="*/ 2147483647 h 414"/>
                  <a:gd name="T98" fmla="*/ 2147483647 w 273"/>
                  <a:gd name="T99" fmla="*/ 2147483647 h 414"/>
                  <a:gd name="T100" fmla="*/ 2147483647 w 273"/>
                  <a:gd name="T101" fmla="*/ 2147483647 h 414"/>
                  <a:gd name="T102" fmla="*/ 2147483647 w 273"/>
                  <a:gd name="T103" fmla="*/ 2147483647 h 414"/>
                  <a:gd name="T104" fmla="*/ 2147483647 w 273"/>
                  <a:gd name="T105" fmla="*/ 2147483647 h 414"/>
                  <a:gd name="T106" fmla="*/ 2147483647 w 273"/>
                  <a:gd name="T107" fmla="*/ 2147483647 h 414"/>
                  <a:gd name="T108" fmla="*/ 2147483647 w 273"/>
                  <a:gd name="T109" fmla="*/ 2147483647 h 41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273" h="414">
                    <a:moveTo>
                      <a:pt x="232" y="142"/>
                    </a:moveTo>
                    <a:lnTo>
                      <a:pt x="225" y="140"/>
                    </a:lnTo>
                    <a:lnTo>
                      <a:pt x="219" y="137"/>
                    </a:lnTo>
                    <a:lnTo>
                      <a:pt x="213" y="133"/>
                    </a:lnTo>
                    <a:lnTo>
                      <a:pt x="209" y="130"/>
                    </a:lnTo>
                    <a:lnTo>
                      <a:pt x="201" y="121"/>
                    </a:lnTo>
                    <a:lnTo>
                      <a:pt x="195" y="113"/>
                    </a:lnTo>
                    <a:lnTo>
                      <a:pt x="190" y="105"/>
                    </a:lnTo>
                    <a:lnTo>
                      <a:pt x="185" y="99"/>
                    </a:lnTo>
                    <a:lnTo>
                      <a:pt x="183" y="96"/>
                    </a:lnTo>
                    <a:lnTo>
                      <a:pt x="179" y="95"/>
                    </a:lnTo>
                    <a:lnTo>
                      <a:pt x="176" y="93"/>
                    </a:lnTo>
                    <a:lnTo>
                      <a:pt x="173" y="93"/>
                    </a:lnTo>
                    <a:lnTo>
                      <a:pt x="167" y="94"/>
                    </a:lnTo>
                    <a:lnTo>
                      <a:pt x="164" y="97"/>
                    </a:lnTo>
                    <a:lnTo>
                      <a:pt x="161" y="101"/>
                    </a:lnTo>
                    <a:lnTo>
                      <a:pt x="159" y="105"/>
                    </a:lnTo>
                    <a:lnTo>
                      <a:pt x="153" y="86"/>
                    </a:lnTo>
                    <a:lnTo>
                      <a:pt x="147" y="68"/>
                    </a:lnTo>
                    <a:lnTo>
                      <a:pt x="142" y="54"/>
                    </a:lnTo>
                    <a:lnTo>
                      <a:pt x="135" y="41"/>
                    </a:lnTo>
                    <a:lnTo>
                      <a:pt x="132" y="36"/>
                    </a:lnTo>
                    <a:lnTo>
                      <a:pt x="128" y="30"/>
                    </a:lnTo>
                    <a:lnTo>
                      <a:pt x="123" y="25"/>
                    </a:lnTo>
                    <a:lnTo>
                      <a:pt x="118" y="20"/>
                    </a:lnTo>
                    <a:lnTo>
                      <a:pt x="111" y="14"/>
                    </a:lnTo>
                    <a:lnTo>
                      <a:pt x="103" y="9"/>
                    </a:lnTo>
                    <a:lnTo>
                      <a:pt x="96" y="5"/>
                    </a:lnTo>
                    <a:lnTo>
                      <a:pt x="86" y="0"/>
                    </a:lnTo>
                    <a:lnTo>
                      <a:pt x="80" y="7"/>
                    </a:lnTo>
                    <a:lnTo>
                      <a:pt x="73" y="15"/>
                    </a:lnTo>
                    <a:lnTo>
                      <a:pt x="69" y="19"/>
                    </a:lnTo>
                    <a:lnTo>
                      <a:pt x="66" y="23"/>
                    </a:lnTo>
                    <a:lnTo>
                      <a:pt x="63" y="25"/>
                    </a:lnTo>
                    <a:lnTo>
                      <a:pt x="60" y="25"/>
                    </a:lnTo>
                    <a:lnTo>
                      <a:pt x="57" y="32"/>
                    </a:lnTo>
                    <a:lnTo>
                      <a:pt x="57" y="37"/>
                    </a:lnTo>
                    <a:lnTo>
                      <a:pt x="56" y="42"/>
                    </a:lnTo>
                    <a:lnTo>
                      <a:pt x="57" y="47"/>
                    </a:lnTo>
                    <a:lnTo>
                      <a:pt x="58" y="59"/>
                    </a:lnTo>
                    <a:lnTo>
                      <a:pt x="60" y="75"/>
                    </a:lnTo>
                    <a:lnTo>
                      <a:pt x="52" y="78"/>
                    </a:lnTo>
                    <a:lnTo>
                      <a:pt x="43" y="83"/>
                    </a:lnTo>
                    <a:lnTo>
                      <a:pt x="33" y="90"/>
                    </a:lnTo>
                    <a:lnTo>
                      <a:pt x="24" y="97"/>
                    </a:lnTo>
                    <a:lnTo>
                      <a:pt x="17" y="104"/>
                    </a:lnTo>
                    <a:lnTo>
                      <a:pt x="9" y="111"/>
                    </a:lnTo>
                    <a:lnTo>
                      <a:pt x="4" y="118"/>
                    </a:lnTo>
                    <a:lnTo>
                      <a:pt x="0" y="123"/>
                    </a:lnTo>
                    <a:lnTo>
                      <a:pt x="40" y="198"/>
                    </a:lnTo>
                    <a:lnTo>
                      <a:pt x="57" y="201"/>
                    </a:lnTo>
                    <a:lnTo>
                      <a:pt x="73" y="205"/>
                    </a:lnTo>
                    <a:lnTo>
                      <a:pt x="78" y="207"/>
                    </a:lnTo>
                    <a:lnTo>
                      <a:pt x="84" y="210"/>
                    </a:lnTo>
                    <a:lnTo>
                      <a:pt x="89" y="214"/>
                    </a:lnTo>
                    <a:lnTo>
                      <a:pt x="93" y="218"/>
                    </a:lnTo>
                    <a:lnTo>
                      <a:pt x="96" y="222"/>
                    </a:lnTo>
                    <a:lnTo>
                      <a:pt x="99" y="226"/>
                    </a:lnTo>
                    <a:lnTo>
                      <a:pt x="101" y="231"/>
                    </a:lnTo>
                    <a:lnTo>
                      <a:pt x="103" y="237"/>
                    </a:lnTo>
                    <a:lnTo>
                      <a:pt x="106" y="251"/>
                    </a:lnTo>
                    <a:lnTo>
                      <a:pt x="106" y="265"/>
                    </a:lnTo>
                    <a:lnTo>
                      <a:pt x="106" y="272"/>
                    </a:lnTo>
                    <a:lnTo>
                      <a:pt x="103" y="279"/>
                    </a:lnTo>
                    <a:lnTo>
                      <a:pt x="100" y="286"/>
                    </a:lnTo>
                    <a:lnTo>
                      <a:pt x="96" y="293"/>
                    </a:lnTo>
                    <a:lnTo>
                      <a:pt x="93" y="301"/>
                    </a:lnTo>
                    <a:lnTo>
                      <a:pt x="89" y="307"/>
                    </a:lnTo>
                    <a:lnTo>
                      <a:pt x="87" y="314"/>
                    </a:lnTo>
                    <a:lnTo>
                      <a:pt x="86" y="321"/>
                    </a:lnTo>
                    <a:lnTo>
                      <a:pt x="88" y="330"/>
                    </a:lnTo>
                    <a:lnTo>
                      <a:pt x="91" y="343"/>
                    </a:lnTo>
                    <a:lnTo>
                      <a:pt x="98" y="359"/>
                    </a:lnTo>
                    <a:lnTo>
                      <a:pt x="107" y="374"/>
                    </a:lnTo>
                    <a:lnTo>
                      <a:pt x="112" y="382"/>
                    </a:lnTo>
                    <a:lnTo>
                      <a:pt x="117" y="389"/>
                    </a:lnTo>
                    <a:lnTo>
                      <a:pt x="122" y="395"/>
                    </a:lnTo>
                    <a:lnTo>
                      <a:pt x="129" y="401"/>
                    </a:lnTo>
                    <a:lnTo>
                      <a:pt x="134" y="406"/>
                    </a:lnTo>
                    <a:lnTo>
                      <a:pt x="141" y="411"/>
                    </a:lnTo>
                    <a:lnTo>
                      <a:pt x="146" y="413"/>
                    </a:lnTo>
                    <a:lnTo>
                      <a:pt x="153" y="414"/>
                    </a:lnTo>
                    <a:lnTo>
                      <a:pt x="174" y="410"/>
                    </a:lnTo>
                    <a:lnTo>
                      <a:pt x="215" y="398"/>
                    </a:lnTo>
                    <a:lnTo>
                      <a:pt x="236" y="392"/>
                    </a:lnTo>
                    <a:lnTo>
                      <a:pt x="255" y="385"/>
                    </a:lnTo>
                    <a:lnTo>
                      <a:pt x="262" y="381"/>
                    </a:lnTo>
                    <a:lnTo>
                      <a:pt x="267" y="377"/>
                    </a:lnTo>
                    <a:lnTo>
                      <a:pt x="271" y="374"/>
                    </a:lnTo>
                    <a:lnTo>
                      <a:pt x="273" y="370"/>
                    </a:lnTo>
                    <a:lnTo>
                      <a:pt x="271" y="361"/>
                    </a:lnTo>
                    <a:lnTo>
                      <a:pt x="269" y="352"/>
                    </a:lnTo>
                    <a:lnTo>
                      <a:pt x="267" y="343"/>
                    </a:lnTo>
                    <a:lnTo>
                      <a:pt x="263" y="335"/>
                    </a:lnTo>
                    <a:lnTo>
                      <a:pt x="253" y="321"/>
                    </a:lnTo>
                    <a:lnTo>
                      <a:pt x="242" y="309"/>
                    </a:lnTo>
                    <a:lnTo>
                      <a:pt x="231" y="295"/>
                    </a:lnTo>
                    <a:lnTo>
                      <a:pt x="222" y="282"/>
                    </a:lnTo>
                    <a:lnTo>
                      <a:pt x="218" y="274"/>
                    </a:lnTo>
                    <a:lnTo>
                      <a:pt x="215" y="266"/>
                    </a:lnTo>
                    <a:lnTo>
                      <a:pt x="213" y="257"/>
                    </a:lnTo>
                    <a:lnTo>
                      <a:pt x="212" y="247"/>
                    </a:lnTo>
                    <a:lnTo>
                      <a:pt x="213" y="229"/>
                    </a:lnTo>
                    <a:lnTo>
                      <a:pt x="215" y="215"/>
                    </a:lnTo>
                    <a:lnTo>
                      <a:pt x="219" y="202"/>
                    </a:lnTo>
                    <a:lnTo>
                      <a:pt x="222" y="190"/>
                    </a:lnTo>
                    <a:lnTo>
                      <a:pt x="226" y="178"/>
                    </a:lnTo>
                    <a:lnTo>
                      <a:pt x="230" y="167"/>
                    </a:lnTo>
                    <a:lnTo>
                      <a:pt x="232" y="155"/>
                    </a:lnTo>
                    <a:lnTo>
                      <a:pt x="232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4" name="Freeform 165"/>
              <p:cNvSpPr>
                <a:spLocks/>
              </p:cNvSpPr>
              <p:nvPr/>
            </p:nvSpPr>
            <p:spPr bwMode="auto">
              <a:xfrm>
                <a:off x="8027362" y="3517215"/>
                <a:ext cx="29263" cy="13003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5" name="Freeform 166"/>
              <p:cNvSpPr>
                <a:spLocks/>
              </p:cNvSpPr>
              <p:nvPr/>
            </p:nvSpPr>
            <p:spPr bwMode="auto">
              <a:xfrm>
                <a:off x="7838784" y="3439200"/>
                <a:ext cx="3252" cy="13003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6" name="Freeform 167"/>
              <p:cNvSpPr>
                <a:spLocks/>
              </p:cNvSpPr>
              <p:nvPr/>
            </p:nvSpPr>
            <p:spPr bwMode="auto">
              <a:xfrm>
                <a:off x="7890806" y="3484709"/>
                <a:ext cx="13005" cy="6501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adFill>
                <a:gsLst>
                  <a:gs pos="9000">
                    <a:srgbClr val="FFC000"/>
                  </a:gs>
                  <a:gs pos="99000">
                    <a:schemeClr val="accent6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27" name="Freeform 168"/>
              <p:cNvSpPr>
                <a:spLocks/>
              </p:cNvSpPr>
              <p:nvPr/>
            </p:nvSpPr>
            <p:spPr bwMode="auto">
              <a:xfrm>
                <a:off x="7772332" y="3495490"/>
                <a:ext cx="406689" cy="396804"/>
              </a:xfrm>
              <a:custGeom>
                <a:avLst/>
                <a:gdLst>
                  <a:gd name="T0" fmla="*/ 1475848108 w 743"/>
                  <a:gd name="T1" fmla="*/ 2147483647 h 672"/>
                  <a:gd name="T2" fmla="*/ 2147483647 w 743"/>
                  <a:gd name="T3" fmla="*/ 2147483647 h 672"/>
                  <a:gd name="T4" fmla="*/ 2147483647 w 743"/>
                  <a:gd name="T5" fmla="*/ 2147483647 h 672"/>
                  <a:gd name="T6" fmla="*/ 2147483647 w 743"/>
                  <a:gd name="T7" fmla="*/ 2147483647 h 672"/>
                  <a:gd name="T8" fmla="*/ 2147483647 w 743"/>
                  <a:gd name="T9" fmla="*/ 2147483647 h 672"/>
                  <a:gd name="T10" fmla="*/ 2147483647 w 743"/>
                  <a:gd name="T11" fmla="*/ 2147483647 h 672"/>
                  <a:gd name="T12" fmla="*/ 2147483647 w 743"/>
                  <a:gd name="T13" fmla="*/ 2147483647 h 672"/>
                  <a:gd name="T14" fmla="*/ 2147483647 w 743"/>
                  <a:gd name="T15" fmla="*/ 2147483647 h 672"/>
                  <a:gd name="T16" fmla="*/ 2147483647 w 743"/>
                  <a:gd name="T17" fmla="*/ 2147483647 h 672"/>
                  <a:gd name="T18" fmla="*/ 2147483647 w 743"/>
                  <a:gd name="T19" fmla="*/ 2147483647 h 672"/>
                  <a:gd name="T20" fmla="*/ 2147483647 w 743"/>
                  <a:gd name="T21" fmla="*/ 2147483647 h 672"/>
                  <a:gd name="T22" fmla="*/ 2147483647 w 743"/>
                  <a:gd name="T23" fmla="*/ 2147483647 h 672"/>
                  <a:gd name="T24" fmla="*/ 2147483647 w 743"/>
                  <a:gd name="T25" fmla="*/ 2147483647 h 672"/>
                  <a:gd name="T26" fmla="*/ 2147483647 w 743"/>
                  <a:gd name="T27" fmla="*/ 2147483647 h 672"/>
                  <a:gd name="T28" fmla="*/ 2147483647 w 743"/>
                  <a:gd name="T29" fmla="*/ 2147483647 h 672"/>
                  <a:gd name="T30" fmla="*/ 2147483647 w 743"/>
                  <a:gd name="T31" fmla="*/ 2147483647 h 672"/>
                  <a:gd name="T32" fmla="*/ 2147483647 w 743"/>
                  <a:gd name="T33" fmla="*/ 2147483647 h 672"/>
                  <a:gd name="T34" fmla="*/ 2147483647 w 743"/>
                  <a:gd name="T35" fmla="*/ 2147483647 h 672"/>
                  <a:gd name="T36" fmla="*/ 2147483647 w 743"/>
                  <a:gd name="T37" fmla="*/ 2147483647 h 672"/>
                  <a:gd name="T38" fmla="*/ 2147483647 w 743"/>
                  <a:gd name="T39" fmla="*/ 2147483647 h 672"/>
                  <a:gd name="T40" fmla="*/ 2147483647 w 743"/>
                  <a:gd name="T41" fmla="*/ 2147483647 h 672"/>
                  <a:gd name="T42" fmla="*/ 2147483647 w 743"/>
                  <a:gd name="T43" fmla="*/ 2147483647 h 672"/>
                  <a:gd name="T44" fmla="*/ 2147483647 w 743"/>
                  <a:gd name="T45" fmla="*/ 2147483647 h 672"/>
                  <a:gd name="T46" fmla="*/ 2147483647 w 743"/>
                  <a:gd name="T47" fmla="*/ 2147483647 h 672"/>
                  <a:gd name="T48" fmla="*/ 2147483647 w 743"/>
                  <a:gd name="T49" fmla="*/ 2147483647 h 672"/>
                  <a:gd name="T50" fmla="*/ 2147483647 w 743"/>
                  <a:gd name="T51" fmla="*/ 2147483647 h 672"/>
                  <a:gd name="T52" fmla="*/ 2147483647 w 743"/>
                  <a:gd name="T53" fmla="*/ 2147483647 h 672"/>
                  <a:gd name="T54" fmla="*/ 2147483647 w 743"/>
                  <a:gd name="T55" fmla="*/ 2147483647 h 672"/>
                  <a:gd name="T56" fmla="*/ 2147483647 w 743"/>
                  <a:gd name="T57" fmla="*/ 2147483647 h 672"/>
                  <a:gd name="T58" fmla="*/ 2147483647 w 743"/>
                  <a:gd name="T59" fmla="*/ 2147483647 h 672"/>
                  <a:gd name="T60" fmla="*/ 2147483647 w 743"/>
                  <a:gd name="T61" fmla="*/ 2147483647 h 672"/>
                  <a:gd name="T62" fmla="*/ 2147483647 w 743"/>
                  <a:gd name="T63" fmla="*/ 2147483647 h 672"/>
                  <a:gd name="T64" fmla="*/ 2147483647 w 743"/>
                  <a:gd name="T65" fmla="*/ 2147483647 h 672"/>
                  <a:gd name="T66" fmla="*/ 2147483647 w 743"/>
                  <a:gd name="T67" fmla="*/ 2147483647 h 672"/>
                  <a:gd name="T68" fmla="*/ 2147483647 w 743"/>
                  <a:gd name="T69" fmla="*/ 2147483647 h 672"/>
                  <a:gd name="T70" fmla="*/ 2147483647 w 743"/>
                  <a:gd name="T71" fmla="*/ 2147483647 h 672"/>
                  <a:gd name="T72" fmla="*/ 2147483647 w 743"/>
                  <a:gd name="T73" fmla="*/ 2147483647 h 672"/>
                  <a:gd name="T74" fmla="*/ 2147483647 w 743"/>
                  <a:gd name="T75" fmla="*/ 2147483647 h 672"/>
                  <a:gd name="T76" fmla="*/ 2147483647 w 743"/>
                  <a:gd name="T77" fmla="*/ 2147483647 h 672"/>
                  <a:gd name="T78" fmla="*/ 2147483647 w 743"/>
                  <a:gd name="T79" fmla="*/ 2147483647 h 672"/>
                  <a:gd name="T80" fmla="*/ 2147483647 w 743"/>
                  <a:gd name="T81" fmla="*/ 2147483647 h 672"/>
                  <a:gd name="T82" fmla="*/ 2147483647 w 743"/>
                  <a:gd name="T83" fmla="*/ 2147483647 h 672"/>
                  <a:gd name="T84" fmla="*/ 2147483647 w 743"/>
                  <a:gd name="T85" fmla="*/ 2147483647 h 672"/>
                  <a:gd name="T86" fmla="*/ 2147483647 w 743"/>
                  <a:gd name="T87" fmla="*/ 2147483647 h 672"/>
                  <a:gd name="T88" fmla="*/ 2147483647 w 743"/>
                  <a:gd name="T89" fmla="*/ 2147483647 h 672"/>
                  <a:gd name="T90" fmla="*/ 2147483647 w 743"/>
                  <a:gd name="T91" fmla="*/ 2147483647 h 672"/>
                  <a:gd name="T92" fmla="*/ 2147483647 w 743"/>
                  <a:gd name="T93" fmla="*/ 2058891364 h 672"/>
                  <a:gd name="T94" fmla="*/ 2147483647 w 743"/>
                  <a:gd name="T95" fmla="*/ 2147483647 h 672"/>
                  <a:gd name="T96" fmla="*/ 2147483647 w 743"/>
                  <a:gd name="T97" fmla="*/ 2147483647 h 672"/>
                  <a:gd name="T98" fmla="*/ 2147483647 w 743"/>
                  <a:gd name="T99" fmla="*/ 2147483647 h 672"/>
                  <a:gd name="T100" fmla="*/ 2147483647 w 743"/>
                  <a:gd name="T101" fmla="*/ 2147483647 h 672"/>
                  <a:gd name="T102" fmla="*/ 2147483647 w 743"/>
                  <a:gd name="T103" fmla="*/ 2147483647 h 672"/>
                  <a:gd name="T104" fmla="*/ 2147483647 w 743"/>
                  <a:gd name="T105" fmla="*/ 2147483647 h 672"/>
                  <a:gd name="T106" fmla="*/ 2147483647 w 743"/>
                  <a:gd name="T107" fmla="*/ 2147483647 h 672"/>
                  <a:gd name="T108" fmla="*/ 2147483647 w 743"/>
                  <a:gd name="T109" fmla="*/ 2147483647 h 672"/>
                  <a:gd name="T110" fmla="*/ 2147483647 w 743"/>
                  <a:gd name="T111" fmla="*/ 2147483647 h 672"/>
                  <a:gd name="T112" fmla="*/ 2147483647 w 743"/>
                  <a:gd name="T113" fmla="*/ 2147483647 h 672"/>
                  <a:gd name="T114" fmla="*/ 2147483647 w 743"/>
                  <a:gd name="T115" fmla="*/ 2147483647 h 672"/>
                  <a:gd name="T116" fmla="*/ 2147483647 w 743"/>
                  <a:gd name="T117" fmla="*/ 2147483647 h 672"/>
                  <a:gd name="T118" fmla="*/ 163883078 w 743"/>
                  <a:gd name="T119" fmla="*/ 2147483647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8" name="Freeform 193"/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6538311" y="2757671"/>
                <a:ext cx="839293" cy="656038"/>
              </a:xfrm>
              <a:custGeom>
                <a:avLst/>
                <a:gdLst>
                  <a:gd name="T0" fmla="*/ 2147483647 w 1535"/>
                  <a:gd name="T1" fmla="*/ 2147483647 h 1109"/>
                  <a:gd name="T2" fmla="*/ 2147483647 w 1535"/>
                  <a:gd name="T3" fmla="*/ 2147483647 h 1109"/>
                  <a:gd name="T4" fmla="*/ 2147483647 w 1535"/>
                  <a:gd name="T5" fmla="*/ 2147483647 h 1109"/>
                  <a:gd name="T6" fmla="*/ 2147483647 w 1535"/>
                  <a:gd name="T7" fmla="*/ 2147483647 h 1109"/>
                  <a:gd name="T8" fmla="*/ 2147483647 w 1535"/>
                  <a:gd name="T9" fmla="*/ 2147483647 h 1109"/>
                  <a:gd name="T10" fmla="*/ 2147483647 w 1535"/>
                  <a:gd name="T11" fmla="*/ 2147483647 h 1109"/>
                  <a:gd name="T12" fmla="*/ 2147483647 w 1535"/>
                  <a:gd name="T13" fmla="*/ 2147483647 h 1109"/>
                  <a:gd name="T14" fmla="*/ 2147483647 w 1535"/>
                  <a:gd name="T15" fmla="*/ 2147483647 h 1109"/>
                  <a:gd name="T16" fmla="*/ 2147483647 w 1535"/>
                  <a:gd name="T17" fmla="*/ 2147483647 h 1109"/>
                  <a:gd name="T18" fmla="*/ 2147483647 w 1535"/>
                  <a:gd name="T19" fmla="*/ 2147483647 h 1109"/>
                  <a:gd name="T20" fmla="*/ 2147483647 w 1535"/>
                  <a:gd name="T21" fmla="*/ 2147483647 h 1109"/>
                  <a:gd name="T22" fmla="*/ 2147483647 w 1535"/>
                  <a:gd name="T23" fmla="*/ 2147483647 h 1109"/>
                  <a:gd name="T24" fmla="*/ 2147483647 w 1535"/>
                  <a:gd name="T25" fmla="*/ 2147483647 h 1109"/>
                  <a:gd name="T26" fmla="*/ 2147483647 w 1535"/>
                  <a:gd name="T27" fmla="*/ 2147483647 h 1109"/>
                  <a:gd name="T28" fmla="*/ 2147483647 w 1535"/>
                  <a:gd name="T29" fmla="*/ 2147483647 h 1109"/>
                  <a:gd name="T30" fmla="*/ 2147483647 w 1535"/>
                  <a:gd name="T31" fmla="*/ 2147483647 h 1109"/>
                  <a:gd name="T32" fmla="*/ 2147483647 w 1535"/>
                  <a:gd name="T33" fmla="*/ 2147483647 h 1109"/>
                  <a:gd name="T34" fmla="*/ 2147483647 w 1535"/>
                  <a:gd name="T35" fmla="*/ 2147483647 h 1109"/>
                  <a:gd name="T36" fmla="*/ 2147483647 w 1535"/>
                  <a:gd name="T37" fmla="*/ 2147483647 h 1109"/>
                  <a:gd name="T38" fmla="*/ 2147483647 w 1535"/>
                  <a:gd name="T39" fmla="*/ 2147483647 h 1109"/>
                  <a:gd name="T40" fmla="*/ 2147483647 w 1535"/>
                  <a:gd name="T41" fmla="*/ 2147483647 h 1109"/>
                  <a:gd name="T42" fmla="*/ 2147483647 w 1535"/>
                  <a:gd name="T43" fmla="*/ 2147483647 h 1109"/>
                  <a:gd name="T44" fmla="*/ 2147483647 w 1535"/>
                  <a:gd name="T45" fmla="*/ 2147483647 h 1109"/>
                  <a:gd name="T46" fmla="*/ 2147483647 w 1535"/>
                  <a:gd name="T47" fmla="*/ 2147483647 h 1109"/>
                  <a:gd name="T48" fmla="*/ 2147483647 w 1535"/>
                  <a:gd name="T49" fmla="*/ 2147483647 h 1109"/>
                  <a:gd name="T50" fmla="*/ 2147483647 w 1535"/>
                  <a:gd name="T51" fmla="*/ 2147483647 h 1109"/>
                  <a:gd name="T52" fmla="*/ 2147483647 w 1535"/>
                  <a:gd name="T53" fmla="*/ 2147483647 h 1109"/>
                  <a:gd name="T54" fmla="*/ 2147483647 w 1535"/>
                  <a:gd name="T55" fmla="*/ 2147483647 h 1109"/>
                  <a:gd name="T56" fmla="*/ 2147483647 w 1535"/>
                  <a:gd name="T57" fmla="*/ 2147483647 h 1109"/>
                  <a:gd name="T58" fmla="*/ 2147483647 w 1535"/>
                  <a:gd name="T59" fmla="*/ 2147483647 h 1109"/>
                  <a:gd name="T60" fmla="*/ 2147483647 w 1535"/>
                  <a:gd name="T61" fmla="*/ 2147483647 h 1109"/>
                  <a:gd name="T62" fmla="*/ 2147483647 w 1535"/>
                  <a:gd name="T63" fmla="*/ 2147483647 h 1109"/>
                  <a:gd name="T64" fmla="*/ 2147483647 w 1535"/>
                  <a:gd name="T65" fmla="*/ 2147483647 h 1109"/>
                  <a:gd name="T66" fmla="*/ 2147483647 w 1535"/>
                  <a:gd name="T67" fmla="*/ 2147483647 h 1109"/>
                  <a:gd name="T68" fmla="*/ 2147483647 w 1535"/>
                  <a:gd name="T69" fmla="*/ 2147483647 h 1109"/>
                  <a:gd name="T70" fmla="*/ 980882002 w 1535"/>
                  <a:gd name="T71" fmla="*/ 2147483647 h 1109"/>
                  <a:gd name="T72" fmla="*/ 2147483647 w 1535"/>
                  <a:gd name="T73" fmla="*/ 1035125624 h 1109"/>
                  <a:gd name="T74" fmla="*/ 2147483647 w 1535"/>
                  <a:gd name="T75" fmla="*/ 2147483647 h 1109"/>
                  <a:gd name="T76" fmla="*/ 2147483647 w 1535"/>
                  <a:gd name="T77" fmla="*/ 2147483647 h 1109"/>
                  <a:gd name="T78" fmla="*/ 2147483647 w 1535"/>
                  <a:gd name="T79" fmla="*/ 2147483647 h 1109"/>
                  <a:gd name="T80" fmla="*/ 2147483647 w 1535"/>
                  <a:gd name="T81" fmla="*/ 2147483647 h 1109"/>
                  <a:gd name="T82" fmla="*/ 2147483647 w 1535"/>
                  <a:gd name="T83" fmla="*/ 2147483647 h 1109"/>
                  <a:gd name="T84" fmla="*/ 2147483647 w 1535"/>
                  <a:gd name="T85" fmla="*/ 2147483647 h 1109"/>
                  <a:gd name="T86" fmla="*/ 2147483647 w 1535"/>
                  <a:gd name="T87" fmla="*/ 2147483647 h 1109"/>
                  <a:gd name="T88" fmla="*/ 2147483647 w 1535"/>
                  <a:gd name="T89" fmla="*/ 2147483647 h 1109"/>
                  <a:gd name="T90" fmla="*/ 2147483647 w 1535"/>
                  <a:gd name="T91" fmla="*/ 2147483647 h 1109"/>
                  <a:gd name="T92" fmla="*/ 2147483647 w 1535"/>
                  <a:gd name="T93" fmla="*/ 2147483647 h 1109"/>
                  <a:gd name="T94" fmla="*/ 2147483647 w 1535"/>
                  <a:gd name="T95" fmla="*/ 2147483647 h 1109"/>
                  <a:gd name="T96" fmla="*/ 2147483647 w 1535"/>
                  <a:gd name="T97" fmla="*/ 2147483647 h 1109"/>
                  <a:gd name="T98" fmla="*/ 2147483647 w 1535"/>
                  <a:gd name="T99" fmla="*/ 2147483647 h 1109"/>
                  <a:gd name="T100" fmla="*/ 2147483647 w 1535"/>
                  <a:gd name="T101" fmla="*/ 2147483647 h 1109"/>
                  <a:gd name="T102" fmla="*/ 2147483647 w 1535"/>
                  <a:gd name="T103" fmla="*/ 2147483647 h 1109"/>
                  <a:gd name="T104" fmla="*/ 2147483647 w 1535"/>
                  <a:gd name="T105" fmla="*/ 2147483647 h 1109"/>
                  <a:gd name="T106" fmla="*/ 2147483647 w 1535"/>
                  <a:gd name="T107" fmla="*/ 2147483647 h 1109"/>
                  <a:gd name="T108" fmla="*/ 2147483647 w 1535"/>
                  <a:gd name="T109" fmla="*/ 2147483647 h 1109"/>
                  <a:gd name="T110" fmla="*/ 2147483647 w 1535"/>
                  <a:gd name="T111" fmla="*/ 2147483647 h 1109"/>
                  <a:gd name="T112" fmla="*/ 2147483647 w 1535"/>
                  <a:gd name="T113" fmla="*/ 2147483647 h 1109"/>
                  <a:gd name="T114" fmla="*/ 2147483647 w 1535"/>
                  <a:gd name="T115" fmla="*/ 2147483647 h 1109"/>
                  <a:gd name="T116" fmla="*/ 2147483647 w 1535"/>
                  <a:gd name="T117" fmla="*/ 2147483647 h 1109"/>
                  <a:gd name="T118" fmla="*/ 2147483647 w 1535"/>
                  <a:gd name="T119" fmla="*/ 2147483647 h 1109"/>
                  <a:gd name="T120" fmla="*/ 2147483647 w 1535"/>
                  <a:gd name="T121" fmla="*/ 2147483647 h 110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535" h="1109">
                    <a:moveTo>
                      <a:pt x="1336" y="888"/>
                    </a:moveTo>
                    <a:lnTo>
                      <a:pt x="1319" y="891"/>
                    </a:lnTo>
                    <a:lnTo>
                      <a:pt x="1287" y="901"/>
                    </a:lnTo>
                    <a:lnTo>
                      <a:pt x="1270" y="907"/>
                    </a:lnTo>
                    <a:lnTo>
                      <a:pt x="1256" y="913"/>
                    </a:lnTo>
                    <a:lnTo>
                      <a:pt x="1251" y="916"/>
                    </a:lnTo>
                    <a:lnTo>
                      <a:pt x="1246" y="919"/>
                    </a:lnTo>
                    <a:lnTo>
                      <a:pt x="1244" y="922"/>
                    </a:lnTo>
                    <a:lnTo>
                      <a:pt x="1243" y="925"/>
                    </a:lnTo>
                    <a:lnTo>
                      <a:pt x="1243" y="929"/>
                    </a:lnTo>
                    <a:lnTo>
                      <a:pt x="1244" y="933"/>
                    </a:lnTo>
                    <a:lnTo>
                      <a:pt x="1246" y="937"/>
                    </a:lnTo>
                    <a:lnTo>
                      <a:pt x="1248" y="940"/>
                    </a:lnTo>
                    <a:lnTo>
                      <a:pt x="1255" y="946"/>
                    </a:lnTo>
                    <a:lnTo>
                      <a:pt x="1263" y="951"/>
                    </a:lnTo>
                    <a:lnTo>
                      <a:pt x="1282" y="961"/>
                    </a:lnTo>
                    <a:lnTo>
                      <a:pt x="1302" y="973"/>
                    </a:lnTo>
                    <a:lnTo>
                      <a:pt x="1299" y="982"/>
                    </a:lnTo>
                    <a:lnTo>
                      <a:pt x="1294" y="988"/>
                    </a:lnTo>
                    <a:lnTo>
                      <a:pt x="1289" y="993"/>
                    </a:lnTo>
                    <a:lnTo>
                      <a:pt x="1282" y="996"/>
                    </a:lnTo>
                    <a:lnTo>
                      <a:pt x="1275" y="998"/>
                    </a:lnTo>
                    <a:lnTo>
                      <a:pt x="1267" y="999"/>
                    </a:lnTo>
                    <a:lnTo>
                      <a:pt x="1258" y="999"/>
                    </a:lnTo>
                    <a:lnTo>
                      <a:pt x="1251" y="999"/>
                    </a:lnTo>
                    <a:lnTo>
                      <a:pt x="1234" y="999"/>
                    </a:lnTo>
                    <a:lnTo>
                      <a:pt x="1220" y="999"/>
                    </a:lnTo>
                    <a:lnTo>
                      <a:pt x="1213" y="1000"/>
                    </a:lnTo>
                    <a:lnTo>
                      <a:pt x="1209" y="1002"/>
                    </a:lnTo>
                    <a:lnTo>
                      <a:pt x="1204" y="1006"/>
                    </a:lnTo>
                    <a:lnTo>
                      <a:pt x="1203" y="1011"/>
                    </a:lnTo>
                    <a:lnTo>
                      <a:pt x="1193" y="1036"/>
                    </a:lnTo>
                    <a:lnTo>
                      <a:pt x="1185" y="1058"/>
                    </a:lnTo>
                    <a:lnTo>
                      <a:pt x="1181" y="1069"/>
                    </a:lnTo>
                    <a:lnTo>
                      <a:pt x="1178" y="1080"/>
                    </a:lnTo>
                    <a:lnTo>
                      <a:pt x="1177" y="1095"/>
                    </a:lnTo>
                    <a:lnTo>
                      <a:pt x="1176" y="1109"/>
                    </a:lnTo>
                    <a:lnTo>
                      <a:pt x="1165" y="1100"/>
                    </a:lnTo>
                    <a:lnTo>
                      <a:pt x="1153" y="1091"/>
                    </a:lnTo>
                    <a:lnTo>
                      <a:pt x="1141" y="1081"/>
                    </a:lnTo>
                    <a:lnTo>
                      <a:pt x="1130" y="1072"/>
                    </a:lnTo>
                    <a:lnTo>
                      <a:pt x="1112" y="1051"/>
                    </a:lnTo>
                    <a:lnTo>
                      <a:pt x="1090" y="1026"/>
                    </a:lnTo>
                    <a:lnTo>
                      <a:pt x="1078" y="1015"/>
                    </a:lnTo>
                    <a:lnTo>
                      <a:pt x="1065" y="1006"/>
                    </a:lnTo>
                    <a:lnTo>
                      <a:pt x="1058" y="1003"/>
                    </a:lnTo>
                    <a:lnTo>
                      <a:pt x="1052" y="1001"/>
                    </a:lnTo>
                    <a:lnTo>
                      <a:pt x="1044" y="999"/>
                    </a:lnTo>
                    <a:lnTo>
                      <a:pt x="1036" y="998"/>
                    </a:lnTo>
                    <a:lnTo>
                      <a:pt x="1028" y="999"/>
                    </a:lnTo>
                    <a:lnTo>
                      <a:pt x="1019" y="1000"/>
                    </a:lnTo>
                    <a:lnTo>
                      <a:pt x="1011" y="1002"/>
                    </a:lnTo>
                    <a:lnTo>
                      <a:pt x="1006" y="1005"/>
                    </a:lnTo>
                    <a:lnTo>
                      <a:pt x="994" y="1012"/>
                    </a:lnTo>
                    <a:lnTo>
                      <a:pt x="984" y="1020"/>
                    </a:lnTo>
                    <a:lnTo>
                      <a:pt x="974" y="1027"/>
                    </a:lnTo>
                    <a:lnTo>
                      <a:pt x="962" y="1035"/>
                    </a:lnTo>
                    <a:lnTo>
                      <a:pt x="955" y="1038"/>
                    </a:lnTo>
                    <a:lnTo>
                      <a:pt x="949" y="1040"/>
                    </a:lnTo>
                    <a:lnTo>
                      <a:pt x="940" y="1041"/>
                    </a:lnTo>
                    <a:lnTo>
                      <a:pt x="930" y="1042"/>
                    </a:lnTo>
                    <a:lnTo>
                      <a:pt x="922" y="1041"/>
                    </a:lnTo>
                    <a:lnTo>
                      <a:pt x="913" y="1039"/>
                    </a:lnTo>
                    <a:lnTo>
                      <a:pt x="902" y="1037"/>
                    </a:lnTo>
                    <a:lnTo>
                      <a:pt x="891" y="1032"/>
                    </a:lnTo>
                    <a:lnTo>
                      <a:pt x="868" y="1023"/>
                    </a:lnTo>
                    <a:lnTo>
                      <a:pt x="845" y="1011"/>
                    </a:lnTo>
                    <a:lnTo>
                      <a:pt x="823" y="999"/>
                    </a:lnTo>
                    <a:lnTo>
                      <a:pt x="805" y="987"/>
                    </a:lnTo>
                    <a:lnTo>
                      <a:pt x="797" y="982"/>
                    </a:lnTo>
                    <a:lnTo>
                      <a:pt x="790" y="976"/>
                    </a:lnTo>
                    <a:lnTo>
                      <a:pt x="786" y="971"/>
                    </a:lnTo>
                    <a:lnTo>
                      <a:pt x="784" y="967"/>
                    </a:lnTo>
                    <a:lnTo>
                      <a:pt x="731" y="973"/>
                    </a:lnTo>
                    <a:lnTo>
                      <a:pt x="714" y="962"/>
                    </a:lnTo>
                    <a:lnTo>
                      <a:pt x="697" y="953"/>
                    </a:lnTo>
                    <a:lnTo>
                      <a:pt x="680" y="945"/>
                    </a:lnTo>
                    <a:lnTo>
                      <a:pt x="658" y="937"/>
                    </a:lnTo>
                    <a:lnTo>
                      <a:pt x="653" y="932"/>
                    </a:lnTo>
                    <a:lnTo>
                      <a:pt x="650" y="925"/>
                    </a:lnTo>
                    <a:lnTo>
                      <a:pt x="648" y="917"/>
                    </a:lnTo>
                    <a:lnTo>
                      <a:pt x="644" y="910"/>
                    </a:lnTo>
                    <a:lnTo>
                      <a:pt x="642" y="904"/>
                    </a:lnTo>
                    <a:lnTo>
                      <a:pt x="639" y="898"/>
                    </a:lnTo>
                    <a:lnTo>
                      <a:pt x="638" y="896"/>
                    </a:lnTo>
                    <a:lnTo>
                      <a:pt x="636" y="895"/>
                    </a:lnTo>
                    <a:lnTo>
                      <a:pt x="633" y="894"/>
                    </a:lnTo>
                    <a:lnTo>
                      <a:pt x="631" y="894"/>
                    </a:lnTo>
                    <a:lnTo>
                      <a:pt x="607" y="887"/>
                    </a:lnTo>
                    <a:lnTo>
                      <a:pt x="588" y="883"/>
                    </a:lnTo>
                    <a:lnTo>
                      <a:pt x="575" y="882"/>
                    </a:lnTo>
                    <a:lnTo>
                      <a:pt x="565" y="880"/>
                    </a:lnTo>
                    <a:lnTo>
                      <a:pt x="561" y="879"/>
                    </a:lnTo>
                    <a:lnTo>
                      <a:pt x="558" y="877"/>
                    </a:lnTo>
                    <a:lnTo>
                      <a:pt x="554" y="874"/>
                    </a:lnTo>
                    <a:lnTo>
                      <a:pt x="551" y="870"/>
                    </a:lnTo>
                    <a:lnTo>
                      <a:pt x="546" y="857"/>
                    </a:lnTo>
                    <a:lnTo>
                      <a:pt x="538" y="838"/>
                    </a:lnTo>
                    <a:lnTo>
                      <a:pt x="537" y="835"/>
                    </a:lnTo>
                    <a:lnTo>
                      <a:pt x="535" y="833"/>
                    </a:lnTo>
                    <a:lnTo>
                      <a:pt x="532" y="831"/>
                    </a:lnTo>
                    <a:lnTo>
                      <a:pt x="530" y="829"/>
                    </a:lnTo>
                    <a:lnTo>
                      <a:pt x="524" y="828"/>
                    </a:lnTo>
                    <a:lnTo>
                      <a:pt x="517" y="828"/>
                    </a:lnTo>
                    <a:lnTo>
                      <a:pt x="509" y="828"/>
                    </a:lnTo>
                    <a:lnTo>
                      <a:pt x="501" y="828"/>
                    </a:lnTo>
                    <a:lnTo>
                      <a:pt x="493" y="828"/>
                    </a:lnTo>
                    <a:lnTo>
                      <a:pt x="485" y="826"/>
                    </a:lnTo>
                    <a:lnTo>
                      <a:pt x="480" y="822"/>
                    </a:lnTo>
                    <a:lnTo>
                      <a:pt x="472" y="816"/>
                    </a:lnTo>
                    <a:lnTo>
                      <a:pt x="464" y="806"/>
                    </a:lnTo>
                    <a:lnTo>
                      <a:pt x="457" y="796"/>
                    </a:lnTo>
                    <a:lnTo>
                      <a:pt x="450" y="784"/>
                    </a:lnTo>
                    <a:lnTo>
                      <a:pt x="445" y="773"/>
                    </a:lnTo>
                    <a:lnTo>
                      <a:pt x="442" y="768"/>
                    </a:lnTo>
                    <a:lnTo>
                      <a:pt x="440" y="762"/>
                    </a:lnTo>
                    <a:lnTo>
                      <a:pt x="439" y="757"/>
                    </a:lnTo>
                    <a:lnTo>
                      <a:pt x="439" y="751"/>
                    </a:lnTo>
                    <a:lnTo>
                      <a:pt x="439" y="747"/>
                    </a:lnTo>
                    <a:lnTo>
                      <a:pt x="440" y="743"/>
                    </a:lnTo>
                    <a:lnTo>
                      <a:pt x="441" y="739"/>
                    </a:lnTo>
                    <a:lnTo>
                      <a:pt x="443" y="735"/>
                    </a:lnTo>
                    <a:lnTo>
                      <a:pt x="449" y="728"/>
                    </a:lnTo>
                    <a:lnTo>
                      <a:pt x="456" y="720"/>
                    </a:lnTo>
                    <a:lnTo>
                      <a:pt x="461" y="713"/>
                    </a:lnTo>
                    <a:lnTo>
                      <a:pt x="467" y="705"/>
                    </a:lnTo>
                    <a:lnTo>
                      <a:pt x="469" y="700"/>
                    </a:lnTo>
                    <a:lnTo>
                      <a:pt x="471" y="694"/>
                    </a:lnTo>
                    <a:lnTo>
                      <a:pt x="472" y="689"/>
                    </a:lnTo>
                    <a:lnTo>
                      <a:pt x="472" y="684"/>
                    </a:lnTo>
                    <a:lnTo>
                      <a:pt x="471" y="664"/>
                    </a:lnTo>
                    <a:lnTo>
                      <a:pt x="468" y="647"/>
                    </a:lnTo>
                    <a:lnTo>
                      <a:pt x="463" y="630"/>
                    </a:lnTo>
                    <a:lnTo>
                      <a:pt x="457" y="615"/>
                    </a:lnTo>
                    <a:lnTo>
                      <a:pt x="450" y="601"/>
                    </a:lnTo>
                    <a:lnTo>
                      <a:pt x="441" y="589"/>
                    </a:lnTo>
                    <a:lnTo>
                      <a:pt x="431" y="576"/>
                    </a:lnTo>
                    <a:lnTo>
                      <a:pt x="423" y="565"/>
                    </a:lnTo>
                    <a:lnTo>
                      <a:pt x="402" y="543"/>
                    </a:lnTo>
                    <a:lnTo>
                      <a:pt x="382" y="520"/>
                    </a:lnTo>
                    <a:lnTo>
                      <a:pt x="373" y="509"/>
                    </a:lnTo>
                    <a:lnTo>
                      <a:pt x="366" y="496"/>
                    </a:lnTo>
                    <a:lnTo>
                      <a:pt x="358" y="483"/>
                    </a:lnTo>
                    <a:lnTo>
                      <a:pt x="352" y="468"/>
                    </a:lnTo>
                    <a:lnTo>
                      <a:pt x="350" y="464"/>
                    </a:lnTo>
                    <a:lnTo>
                      <a:pt x="348" y="460"/>
                    </a:lnTo>
                    <a:lnTo>
                      <a:pt x="345" y="456"/>
                    </a:lnTo>
                    <a:lnTo>
                      <a:pt x="341" y="453"/>
                    </a:lnTo>
                    <a:lnTo>
                      <a:pt x="333" y="447"/>
                    </a:lnTo>
                    <a:lnTo>
                      <a:pt x="324" y="441"/>
                    </a:lnTo>
                    <a:lnTo>
                      <a:pt x="314" y="435"/>
                    </a:lnTo>
                    <a:lnTo>
                      <a:pt x="306" y="429"/>
                    </a:lnTo>
                    <a:lnTo>
                      <a:pt x="304" y="426"/>
                    </a:lnTo>
                    <a:lnTo>
                      <a:pt x="301" y="422"/>
                    </a:lnTo>
                    <a:lnTo>
                      <a:pt x="300" y="417"/>
                    </a:lnTo>
                    <a:lnTo>
                      <a:pt x="300" y="413"/>
                    </a:lnTo>
                    <a:lnTo>
                      <a:pt x="306" y="404"/>
                    </a:lnTo>
                    <a:lnTo>
                      <a:pt x="313" y="394"/>
                    </a:lnTo>
                    <a:lnTo>
                      <a:pt x="306" y="391"/>
                    </a:lnTo>
                    <a:lnTo>
                      <a:pt x="300" y="388"/>
                    </a:lnTo>
                    <a:lnTo>
                      <a:pt x="297" y="380"/>
                    </a:lnTo>
                    <a:lnTo>
                      <a:pt x="293" y="369"/>
                    </a:lnTo>
                    <a:lnTo>
                      <a:pt x="286" y="356"/>
                    </a:lnTo>
                    <a:lnTo>
                      <a:pt x="279" y="344"/>
                    </a:lnTo>
                    <a:lnTo>
                      <a:pt x="262" y="321"/>
                    </a:lnTo>
                    <a:lnTo>
                      <a:pt x="252" y="308"/>
                    </a:lnTo>
                    <a:lnTo>
                      <a:pt x="245" y="291"/>
                    </a:lnTo>
                    <a:lnTo>
                      <a:pt x="238" y="278"/>
                    </a:lnTo>
                    <a:lnTo>
                      <a:pt x="230" y="267"/>
                    </a:lnTo>
                    <a:lnTo>
                      <a:pt x="224" y="258"/>
                    </a:lnTo>
                    <a:lnTo>
                      <a:pt x="217" y="248"/>
                    </a:lnTo>
                    <a:lnTo>
                      <a:pt x="211" y="239"/>
                    </a:lnTo>
                    <a:lnTo>
                      <a:pt x="205" y="228"/>
                    </a:lnTo>
                    <a:lnTo>
                      <a:pt x="200" y="216"/>
                    </a:lnTo>
                    <a:lnTo>
                      <a:pt x="193" y="195"/>
                    </a:lnTo>
                    <a:lnTo>
                      <a:pt x="187" y="176"/>
                    </a:lnTo>
                    <a:lnTo>
                      <a:pt x="182" y="158"/>
                    </a:lnTo>
                    <a:lnTo>
                      <a:pt x="178" y="140"/>
                    </a:lnTo>
                    <a:lnTo>
                      <a:pt x="171" y="107"/>
                    </a:lnTo>
                    <a:lnTo>
                      <a:pt x="167" y="74"/>
                    </a:lnTo>
                    <a:lnTo>
                      <a:pt x="155" y="74"/>
                    </a:lnTo>
                    <a:lnTo>
                      <a:pt x="146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97" y="74"/>
                    </a:lnTo>
                    <a:lnTo>
                      <a:pt x="89" y="94"/>
                    </a:lnTo>
                    <a:lnTo>
                      <a:pt x="84" y="104"/>
                    </a:lnTo>
                    <a:lnTo>
                      <a:pt x="82" y="114"/>
                    </a:lnTo>
                    <a:lnTo>
                      <a:pt x="80" y="124"/>
                    </a:lnTo>
                    <a:lnTo>
                      <a:pt x="80" y="135"/>
                    </a:lnTo>
                    <a:lnTo>
                      <a:pt x="81" y="148"/>
                    </a:lnTo>
                    <a:lnTo>
                      <a:pt x="83" y="160"/>
                    </a:lnTo>
                    <a:lnTo>
                      <a:pt x="87" y="171"/>
                    </a:lnTo>
                    <a:lnTo>
                      <a:pt x="90" y="182"/>
                    </a:lnTo>
                    <a:lnTo>
                      <a:pt x="101" y="203"/>
                    </a:lnTo>
                    <a:lnTo>
                      <a:pt x="113" y="222"/>
                    </a:lnTo>
                    <a:lnTo>
                      <a:pt x="125" y="241"/>
                    </a:lnTo>
                    <a:lnTo>
                      <a:pt x="136" y="263"/>
                    </a:lnTo>
                    <a:lnTo>
                      <a:pt x="140" y="273"/>
                    </a:lnTo>
                    <a:lnTo>
                      <a:pt x="144" y="284"/>
                    </a:lnTo>
                    <a:lnTo>
                      <a:pt x="146" y="296"/>
                    </a:lnTo>
                    <a:lnTo>
                      <a:pt x="146" y="308"/>
                    </a:lnTo>
                    <a:lnTo>
                      <a:pt x="147" y="314"/>
                    </a:lnTo>
                    <a:lnTo>
                      <a:pt x="148" y="320"/>
                    </a:lnTo>
                    <a:lnTo>
                      <a:pt x="150" y="326"/>
                    </a:lnTo>
                    <a:lnTo>
                      <a:pt x="154" y="332"/>
                    </a:lnTo>
                    <a:lnTo>
                      <a:pt x="161" y="344"/>
                    </a:lnTo>
                    <a:lnTo>
                      <a:pt x="170" y="355"/>
                    </a:lnTo>
                    <a:lnTo>
                      <a:pt x="178" y="366"/>
                    </a:lnTo>
                    <a:lnTo>
                      <a:pt x="185" y="375"/>
                    </a:lnTo>
                    <a:lnTo>
                      <a:pt x="191" y="383"/>
                    </a:lnTo>
                    <a:lnTo>
                      <a:pt x="193" y="388"/>
                    </a:lnTo>
                    <a:lnTo>
                      <a:pt x="195" y="395"/>
                    </a:lnTo>
                    <a:lnTo>
                      <a:pt x="196" y="402"/>
                    </a:lnTo>
                    <a:lnTo>
                      <a:pt x="196" y="409"/>
                    </a:lnTo>
                    <a:lnTo>
                      <a:pt x="198" y="415"/>
                    </a:lnTo>
                    <a:lnTo>
                      <a:pt x="196" y="429"/>
                    </a:lnTo>
                    <a:lnTo>
                      <a:pt x="195" y="441"/>
                    </a:lnTo>
                    <a:lnTo>
                      <a:pt x="195" y="446"/>
                    </a:lnTo>
                    <a:lnTo>
                      <a:pt x="195" y="452"/>
                    </a:lnTo>
                    <a:lnTo>
                      <a:pt x="196" y="456"/>
                    </a:lnTo>
                    <a:lnTo>
                      <a:pt x="198" y="461"/>
                    </a:lnTo>
                    <a:lnTo>
                      <a:pt x="200" y="465"/>
                    </a:lnTo>
                    <a:lnTo>
                      <a:pt x="203" y="469"/>
                    </a:lnTo>
                    <a:lnTo>
                      <a:pt x="207" y="472"/>
                    </a:lnTo>
                    <a:lnTo>
                      <a:pt x="213" y="474"/>
                    </a:lnTo>
                    <a:lnTo>
                      <a:pt x="211" y="483"/>
                    </a:lnTo>
                    <a:lnTo>
                      <a:pt x="210" y="489"/>
                    </a:lnTo>
                    <a:lnTo>
                      <a:pt x="210" y="495"/>
                    </a:lnTo>
                    <a:lnTo>
                      <a:pt x="211" y="499"/>
                    </a:lnTo>
                    <a:lnTo>
                      <a:pt x="212" y="509"/>
                    </a:lnTo>
                    <a:lnTo>
                      <a:pt x="213" y="524"/>
                    </a:lnTo>
                    <a:lnTo>
                      <a:pt x="221" y="525"/>
                    </a:lnTo>
                    <a:lnTo>
                      <a:pt x="228" y="528"/>
                    </a:lnTo>
                    <a:lnTo>
                      <a:pt x="236" y="533"/>
                    </a:lnTo>
                    <a:lnTo>
                      <a:pt x="244" y="539"/>
                    </a:lnTo>
                    <a:lnTo>
                      <a:pt x="250" y="546"/>
                    </a:lnTo>
                    <a:lnTo>
                      <a:pt x="255" y="553"/>
                    </a:lnTo>
                    <a:lnTo>
                      <a:pt x="258" y="560"/>
                    </a:lnTo>
                    <a:lnTo>
                      <a:pt x="259" y="567"/>
                    </a:lnTo>
                    <a:lnTo>
                      <a:pt x="259" y="571"/>
                    </a:lnTo>
                    <a:lnTo>
                      <a:pt x="258" y="575"/>
                    </a:lnTo>
                    <a:lnTo>
                      <a:pt x="257" y="579"/>
                    </a:lnTo>
                    <a:lnTo>
                      <a:pt x="255" y="583"/>
                    </a:lnTo>
                    <a:lnTo>
                      <a:pt x="250" y="590"/>
                    </a:lnTo>
                    <a:lnTo>
                      <a:pt x="245" y="596"/>
                    </a:lnTo>
                    <a:lnTo>
                      <a:pt x="232" y="604"/>
                    </a:lnTo>
                    <a:lnTo>
                      <a:pt x="219" y="610"/>
                    </a:lnTo>
                    <a:lnTo>
                      <a:pt x="216" y="603"/>
                    </a:lnTo>
                    <a:lnTo>
                      <a:pt x="214" y="596"/>
                    </a:lnTo>
                    <a:lnTo>
                      <a:pt x="213" y="587"/>
                    </a:lnTo>
                    <a:lnTo>
                      <a:pt x="213" y="580"/>
                    </a:lnTo>
                    <a:lnTo>
                      <a:pt x="213" y="573"/>
                    </a:lnTo>
                    <a:lnTo>
                      <a:pt x="212" y="566"/>
                    </a:lnTo>
                    <a:lnTo>
                      <a:pt x="210" y="560"/>
                    </a:lnTo>
                    <a:lnTo>
                      <a:pt x="206" y="555"/>
                    </a:lnTo>
                    <a:lnTo>
                      <a:pt x="203" y="550"/>
                    </a:lnTo>
                    <a:lnTo>
                      <a:pt x="199" y="546"/>
                    </a:lnTo>
                    <a:lnTo>
                      <a:pt x="193" y="542"/>
                    </a:lnTo>
                    <a:lnTo>
                      <a:pt x="188" y="537"/>
                    </a:lnTo>
                    <a:lnTo>
                      <a:pt x="173" y="528"/>
                    </a:lnTo>
                    <a:lnTo>
                      <a:pt x="158" y="519"/>
                    </a:lnTo>
                    <a:lnTo>
                      <a:pt x="144" y="510"/>
                    </a:lnTo>
                    <a:lnTo>
                      <a:pt x="132" y="499"/>
                    </a:lnTo>
                    <a:lnTo>
                      <a:pt x="126" y="494"/>
                    </a:lnTo>
                    <a:lnTo>
                      <a:pt x="123" y="488"/>
                    </a:lnTo>
                    <a:lnTo>
                      <a:pt x="121" y="482"/>
                    </a:lnTo>
                    <a:lnTo>
                      <a:pt x="120" y="474"/>
                    </a:lnTo>
                    <a:lnTo>
                      <a:pt x="121" y="468"/>
                    </a:lnTo>
                    <a:lnTo>
                      <a:pt x="124" y="461"/>
                    </a:lnTo>
                    <a:lnTo>
                      <a:pt x="128" y="456"/>
                    </a:lnTo>
                    <a:lnTo>
                      <a:pt x="133" y="450"/>
                    </a:lnTo>
                    <a:lnTo>
                      <a:pt x="138" y="444"/>
                    </a:lnTo>
                    <a:lnTo>
                      <a:pt x="143" y="438"/>
                    </a:lnTo>
                    <a:lnTo>
                      <a:pt x="145" y="432"/>
                    </a:lnTo>
                    <a:lnTo>
                      <a:pt x="146" y="426"/>
                    </a:lnTo>
                    <a:lnTo>
                      <a:pt x="146" y="420"/>
                    </a:lnTo>
                    <a:lnTo>
                      <a:pt x="145" y="415"/>
                    </a:lnTo>
                    <a:lnTo>
                      <a:pt x="144" y="411"/>
                    </a:lnTo>
                    <a:lnTo>
                      <a:pt x="142" y="406"/>
                    </a:lnTo>
                    <a:lnTo>
                      <a:pt x="136" y="399"/>
                    </a:lnTo>
                    <a:lnTo>
                      <a:pt x="128" y="391"/>
                    </a:lnTo>
                    <a:lnTo>
                      <a:pt x="120" y="385"/>
                    </a:lnTo>
                    <a:lnTo>
                      <a:pt x="111" y="378"/>
                    </a:lnTo>
                    <a:lnTo>
                      <a:pt x="100" y="372"/>
                    </a:lnTo>
                    <a:lnTo>
                      <a:pt x="89" y="366"/>
                    </a:lnTo>
                    <a:lnTo>
                      <a:pt x="78" y="359"/>
                    </a:lnTo>
                    <a:lnTo>
                      <a:pt x="68" y="353"/>
                    </a:lnTo>
                    <a:lnTo>
                      <a:pt x="57" y="347"/>
                    </a:lnTo>
                    <a:lnTo>
                      <a:pt x="48" y="339"/>
                    </a:lnTo>
                    <a:lnTo>
                      <a:pt x="41" y="332"/>
                    </a:lnTo>
                    <a:lnTo>
                      <a:pt x="34" y="323"/>
                    </a:lnTo>
                    <a:lnTo>
                      <a:pt x="32" y="318"/>
                    </a:lnTo>
                    <a:lnTo>
                      <a:pt x="30" y="313"/>
                    </a:lnTo>
                    <a:lnTo>
                      <a:pt x="27" y="307"/>
                    </a:lnTo>
                    <a:lnTo>
                      <a:pt x="27" y="302"/>
                    </a:lnTo>
                    <a:lnTo>
                      <a:pt x="34" y="302"/>
                    </a:lnTo>
                    <a:lnTo>
                      <a:pt x="41" y="301"/>
                    </a:lnTo>
                    <a:lnTo>
                      <a:pt x="46" y="300"/>
                    </a:lnTo>
                    <a:lnTo>
                      <a:pt x="50" y="298"/>
                    </a:lnTo>
                    <a:lnTo>
                      <a:pt x="55" y="297"/>
                    </a:lnTo>
                    <a:lnTo>
                      <a:pt x="59" y="294"/>
                    </a:lnTo>
                    <a:lnTo>
                      <a:pt x="62" y="292"/>
                    </a:lnTo>
                    <a:lnTo>
                      <a:pt x="65" y="289"/>
                    </a:lnTo>
                    <a:lnTo>
                      <a:pt x="69" y="282"/>
                    </a:lnTo>
                    <a:lnTo>
                      <a:pt x="71" y="274"/>
                    </a:lnTo>
                    <a:lnTo>
                      <a:pt x="73" y="264"/>
                    </a:lnTo>
                    <a:lnTo>
                      <a:pt x="73" y="252"/>
                    </a:lnTo>
                    <a:lnTo>
                      <a:pt x="73" y="247"/>
                    </a:lnTo>
                    <a:lnTo>
                      <a:pt x="72" y="242"/>
                    </a:lnTo>
                    <a:lnTo>
                      <a:pt x="71" y="237"/>
                    </a:lnTo>
                    <a:lnTo>
                      <a:pt x="69" y="233"/>
                    </a:lnTo>
                    <a:lnTo>
                      <a:pt x="64" y="225"/>
                    </a:lnTo>
                    <a:lnTo>
                      <a:pt x="58" y="217"/>
                    </a:lnTo>
                    <a:lnTo>
                      <a:pt x="43" y="205"/>
                    </a:lnTo>
                    <a:lnTo>
                      <a:pt x="27" y="191"/>
                    </a:lnTo>
                    <a:lnTo>
                      <a:pt x="19" y="176"/>
                    </a:lnTo>
                    <a:lnTo>
                      <a:pt x="13" y="163"/>
                    </a:lnTo>
                    <a:lnTo>
                      <a:pt x="10" y="151"/>
                    </a:lnTo>
                    <a:lnTo>
                      <a:pt x="9" y="139"/>
                    </a:lnTo>
                    <a:lnTo>
                      <a:pt x="8" y="128"/>
                    </a:lnTo>
                    <a:lnTo>
                      <a:pt x="6" y="117"/>
                    </a:lnTo>
                    <a:lnTo>
                      <a:pt x="4" y="106"/>
                    </a:lnTo>
                    <a:lnTo>
                      <a:pt x="0" y="93"/>
                    </a:lnTo>
                    <a:lnTo>
                      <a:pt x="0" y="50"/>
                    </a:lnTo>
                    <a:lnTo>
                      <a:pt x="1" y="36"/>
                    </a:lnTo>
                    <a:lnTo>
                      <a:pt x="3" y="22"/>
                    </a:lnTo>
                    <a:lnTo>
                      <a:pt x="5" y="10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8" y="5"/>
                    </a:lnTo>
                    <a:lnTo>
                      <a:pt x="53" y="6"/>
                    </a:lnTo>
                    <a:lnTo>
                      <a:pt x="66" y="5"/>
                    </a:lnTo>
                    <a:lnTo>
                      <a:pt x="92" y="2"/>
                    </a:lnTo>
                    <a:lnTo>
                      <a:pt x="120" y="0"/>
                    </a:lnTo>
                    <a:lnTo>
                      <a:pt x="140" y="1"/>
                    </a:lnTo>
                    <a:lnTo>
                      <a:pt x="159" y="4"/>
                    </a:lnTo>
                    <a:lnTo>
                      <a:pt x="178" y="7"/>
                    </a:lnTo>
                    <a:lnTo>
                      <a:pt x="194" y="13"/>
                    </a:lnTo>
                    <a:lnTo>
                      <a:pt x="211" y="18"/>
                    </a:lnTo>
                    <a:lnTo>
                      <a:pt x="226" y="25"/>
                    </a:lnTo>
                    <a:lnTo>
                      <a:pt x="243" y="33"/>
                    </a:lnTo>
                    <a:lnTo>
                      <a:pt x="258" y="41"/>
                    </a:lnTo>
                    <a:lnTo>
                      <a:pt x="273" y="48"/>
                    </a:lnTo>
                    <a:lnTo>
                      <a:pt x="290" y="55"/>
                    </a:lnTo>
                    <a:lnTo>
                      <a:pt x="306" y="62"/>
                    </a:lnTo>
                    <a:lnTo>
                      <a:pt x="324" y="68"/>
                    </a:lnTo>
                    <a:lnTo>
                      <a:pt x="342" y="73"/>
                    </a:lnTo>
                    <a:lnTo>
                      <a:pt x="361" y="76"/>
                    </a:lnTo>
                    <a:lnTo>
                      <a:pt x="383" y="79"/>
                    </a:lnTo>
                    <a:lnTo>
                      <a:pt x="405" y="80"/>
                    </a:lnTo>
                    <a:lnTo>
                      <a:pt x="419" y="79"/>
                    </a:lnTo>
                    <a:lnTo>
                      <a:pt x="432" y="78"/>
                    </a:lnTo>
                    <a:lnTo>
                      <a:pt x="443" y="77"/>
                    </a:lnTo>
                    <a:lnTo>
                      <a:pt x="452" y="74"/>
                    </a:lnTo>
                    <a:lnTo>
                      <a:pt x="470" y="68"/>
                    </a:lnTo>
                    <a:lnTo>
                      <a:pt x="484" y="62"/>
                    </a:lnTo>
                    <a:lnTo>
                      <a:pt x="498" y="55"/>
                    </a:lnTo>
                    <a:lnTo>
                      <a:pt x="515" y="49"/>
                    </a:lnTo>
                    <a:lnTo>
                      <a:pt x="524" y="47"/>
                    </a:lnTo>
                    <a:lnTo>
                      <a:pt x="534" y="45"/>
                    </a:lnTo>
                    <a:lnTo>
                      <a:pt x="546" y="44"/>
                    </a:lnTo>
                    <a:lnTo>
                      <a:pt x="559" y="44"/>
                    </a:lnTo>
                    <a:lnTo>
                      <a:pt x="569" y="44"/>
                    </a:lnTo>
                    <a:lnTo>
                      <a:pt x="577" y="46"/>
                    </a:lnTo>
                    <a:lnTo>
                      <a:pt x="585" y="50"/>
                    </a:lnTo>
                    <a:lnTo>
                      <a:pt x="593" y="54"/>
                    </a:lnTo>
                    <a:lnTo>
                      <a:pt x="598" y="59"/>
                    </a:lnTo>
                    <a:lnTo>
                      <a:pt x="603" y="65"/>
                    </a:lnTo>
                    <a:lnTo>
                      <a:pt x="607" y="71"/>
                    </a:lnTo>
                    <a:lnTo>
                      <a:pt x="610" y="77"/>
                    </a:lnTo>
                    <a:lnTo>
                      <a:pt x="617" y="90"/>
                    </a:lnTo>
                    <a:lnTo>
                      <a:pt x="622" y="101"/>
                    </a:lnTo>
                    <a:lnTo>
                      <a:pt x="626" y="105"/>
                    </a:lnTo>
                    <a:lnTo>
                      <a:pt x="629" y="108"/>
                    </a:lnTo>
                    <a:lnTo>
                      <a:pt x="633" y="110"/>
                    </a:lnTo>
                    <a:lnTo>
                      <a:pt x="638" y="111"/>
                    </a:lnTo>
                    <a:lnTo>
                      <a:pt x="642" y="121"/>
                    </a:lnTo>
                    <a:lnTo>
                      <a:pt x="649" y="134"/>
                    </a:lnTo>
                    <a:lnTo>
                      <a:pt x="658" y="151"/>
                    </a:lnTo>
                    <a:lnTo>
                      <a:pt x="667" y="169"/>
                    </a:lnTo>
                    <a:lnTo>
                      <a:pt x="678" y="186"/>
                    </a:lnTo>
                    <a:lnTo>
                      <a:pt x="689" y="202"/>
                    </a:lnTo>
                    <a:lnTo>
                      <a:pt x="695" y="209"/>
                    </a:lnTo>
                    <a:lnTo>
                      <a:pt x="700" y="215"/>
                    </a:lnTo>
                    <a:lnTo>
                      <a:pt x="706" y="219"/>
                    </a:lnTo>
                    <a:lnTo>
                      <a:pt x="711" y="222"/>
                    </a:lnTo>
                    <a:lnTo>
                      <a:pt x="738" y="222"/>
                    </a:lnTo>
                    <a:lnTo>
                      <a:pt x="738" y="217"/>
                    </a:lnTo>
                    <a:lnTo>
                      <a:pt x="739" y="211"/>
                    </a:lnTo>
                    <a:lnTo>
                      <a:pt x="741" y="206"/>
                    </a:lnTo>
                    <a:lnTo>
                      <a:pt x="743" y="202"/>
                    </a:lnTo>
                    <a:lnTo>
                      <a:pt x="747" y="196"/>
                    </a:lnTo>
                    <a:lnTo>
                      <a:pt x="750" y="192"/>
                    </a:lnTo>
                    <a:lnTo>
                      <a:pt x="754" y="189"/>
                    </a:lnTo>
                    <a:lnTo>
                      <a:pt x="759" y="185"/>
                    </a:lnTo>
                    <a:lnTo>
                      <a:pt x="768" y="180"/>
                    </a:lnTo>
                    <a:lnTo>
                      <a:pt x="779" y="176"/>
                    </a:lnTo>
                    <a:lnTo>
                      <a:pt x="792" y="173"/>
                    </a:lnTo>
                    <a:lnTo>
                      <a:pt x="805" y="173"/>
                    </a:lnTo>
                    <a:lnTo>
                      <a:pt x="810" y="173"/>
                    </a:lnTo>
                    <a:lnTo>
                      <a:pt x="816" y="174"/>
                    </a:lnTo>
                    <a:lnTo>
                      <a:pt x="822" y="176"/>
                    </a:lnTo>
                    <a:lnTo>
                      <a:pt x="828" y="178"/>
                    </a:lnTo>
                    <a:lnTo>
                      <a:pt x="833" y="181"/>
                    </a:lnTo>
                    <a:lnTo>
                      <a:pt x="838" y="185"/>
                    </a:lnTo>
                    <a:lnTo>
                      <a:pt x="843" y="189"/>
                    </a:lnTo>
                    <a:lnTo>
                      <a:pt x="848" y="193"/>
                    </a:lnTo>
                    <a:lnTo>
                      <a:pt x="856" y="205"/>
                    </a:lnTo>
                    <a:lnTo>
                      <a:pt x="865" y="217"/>
                    </a:lnTo>
                    <a:lnTo>
                      <a:pt x="872" y="230"/>
                    </a:lnTo>
                    <a:lnTo>
                      <a:pt x="879" y="244"/>
                    </a:lnTo>
                    <a:lnTo>
                      <a:pt x="885" y="260"/>
                    </a:lnTo>
                    <a:lnTo>
                      <a:pt x="889" y="275"/>
                    </a:lnTo>
                    <a:lnTo>
                      <a:pt x="894" y="290"/>
                    </a:lnTo>
                    <a:lnTo>
                      <a:pt x="898" y="305"/>
                    </a:lnTo>
                    <a:lnTo>
                      <a:pt x="900" y="320"/>
                    </a:lnTo>
                    <a:lnTo>
                      <a:pt x="902" y="334"/>
                    </a:lnTo>
                    <a:lnTo>
                      <a:pt x="904" y="346"/>
                    </a:lnTo>
                    <a:lnTo>
                      <a:pt x="904" y="357"/>
                    </a:lnTo>
                    <a:lnTo>
                      <a:pt x="905" y="362"/>
                    </a:lnTo>
                    <a:lnTo>
                      <a:pt x="906" y="367"/>
                    </a:lnTo>
                    <a:lnTo>
                      <a:pt x="908" y="372"/>
                    </a:lnTo>
                    <a:lnTo>
                      <a:pt x="910" y="376"/>
                    </a:lnTo>
                    <a:lnTo>
                      <a:pt x="918" y="384"/>
                    </a:lnTo>
                    <a:lnTo>
                      <a:pt x="928" y="391"/>
                    </a:lnTo>
                    <a:lnTo>
                      <a:pt x="939" y="398"/>
                    </a:lnTo>
                    <a:lnTo>
                      <a:pt x="952" y="402"/>
                    </a:lnTo>
                    <a:lnTo>
                      <a:pt x="957" y="404"/>
                    </a:lnTo>
                    <a:lnTo>
                      <a:pt x="964" y="405"/>
                    </a:lnTo>
                    <a:lnTo>
                      <a:pt x="971" y="406"/>
                    </a:lnTo>
                    <a:lnTo>
                      <a:pt x="977" y="407"/>
                    </a:lnTo>
                    <a:lnTo>
                      <a:pt x="977" y="394"/>
                    </a:lnTo>
                    <a:lnTo>
                      <a:pt x="976" y="414"/>
                    </a:lnTo>
                    <a:lnTo>
                      <a:pt x="975" y="430"/>
                    </a:lnTo>
                    <a:lnTo>
                      <a:pt x="974" y="437"/>
                    </a:lnTo>
                    <a:lnTo>
                      <a:pt x="974" y="443"/>
                    </a:lnTo>
                    <a:lnTo>
                      <a:pt x="975" y="449"/>
                    </a:lnTo>
                    <a:lnTo>
                      <a:pt x="977" y="456"/>
                    </a:lnTo>
                    <a:lnTo>
                      <a:pt x="971" y="457"/>
                    </a:lnTo>
                    <a:lnTo>
                      <a:pt x="964" y="458"/>
                    </a:lnTo>
                    <a:lnTo>
                      <a:pt x="958" y="461"/>
                    </a:lnTo>
                    <a:lnTo>
                      <a:pt x="953" y="464"/>
                    </a:lnTo>
                    <a:lnTo>
                      <a:pt x="949" y="467"/>
                    </a:lnTo>
                    <a:lnTo>
                      <a:pt x="944" y="471"/>
                    </a:lnTo>
                    <a:lnTo>
                      <a:pt x="940" y="475"/>
                    </a:lnTo>
                    <a:lnTo>
                      <a:pt x="936" y="481"/>
                    </a:lnTo>
                    <a:lnTo>
                      <a:pt x="931" y="492"/>
                    </a:lnTo>
                    <a:lnTo>
                      <a:pt x="926" y="504"/>
                    </a:lnTo>
                    <a:lnTo>
                      <a:pt x="922" y="517"/>
                    </a:lnTo>
                    <a:lnTo>
                      <a:pt x="920" y="531"/>
                    </a:lnTo>
                    <a:lnTo>
                      <a:pt x="918" y="546"/>
                    </a:lnTo>
                    <a:lnTo>
                      <a:pt x="917" y="561"/>
                    </a:lnTo>
                    <a:lnTo>
                      <a:pt x="917" y="575"/>
                    </a:lnTo>
                    <a:lnTo>
                      <a:pt x="917" y="590"/>
                    </a:lnTo>
                    <a:lnTo>
                      <a:pt x="917" y="615"/>
                    </a:lnTo>
                    <a:lnTo>
                      <a:pt x="917" y="634"/>
                    </a:lnTo>
                    <a:lnTo>
                      <a:pt x="917" y="654"/>
                    </a:lnTo>
                    <a:lnTo>
                      <a:pt x="918" y="685"/>
                    </a:lnTo>
                    <a:lnTo>
                      <a:pt x="919" y="702"/>
                    </a:lnTo>
                    <a:lnTo>
                      <a:pt x="920" y="717"/>
                    </a:lnTo>
                    <a:lnTo>
                      <a:pt x="921" y="730"/>
                    </a:lnTo>
                    <a:lnTo>
                      <a:pt x="923" y="739"/>
                    </a:lnTo>
                    <a:lnTo>
                      <a:pt x="933" y="758"/>
                    </a:lnTo>
                    <a:lnTo>
                      <a:pt x="947" y="780"/>
                    </a:lnTo>
                    <a:lnTo>
                      <a:pt x="956" y="791"/>
                    </a:lnTo>
                    <a:lnTo>
                      <a:pt x="965" y="803"/>
                    </a:lnTo>
                    <a:lnTo>
                      <a:pt x="975" y="816"/>
                    </a:lnTo>
                    <a:lnTo>
                      <a:pt x="985" y="827"/>
                    </a:lnTo>
                    <a:lnTo>
                      <a:pt x="996" y="838"/>
                    </a:lnTo>
                    <a:lnTo>
                      <a:pt x="1007" y="848"/>
                    </a:lnTo>
                    <a:lnTo>
                      <a:pt x="1019" y="857"/>
                    </a:lnTo>
                    <a:lnTo>
                      <a:pt x="1030" y="865"/>
                    </a:lnTo>
                    <a:lnTo>
                      <a:pt x="1042" y="872"/>
                    </a:lnTo>
                    <a:lnTo>
                      <a:pt x="1054" y="877"/>
                    </a:lnTo>
                    <a:lnTo>
                      <a:pt x="1065" y="880"/>
                    </a:lnTo>
                    <a:lnTo>
                      <a:pt x="1077" y="881"/>
                    </a:lnTo>
                    <a:lnTo>
                      <a:pt x="1090" y="877"/>
                    </a:lnTo>
                    <a:lnTo>
                      <a:pt x="1114" y="865"/>
                    </a:lnTo>
                    <a:lnTo>
                      <a:pt x="1126" y="860"/>
                    </a:lnTo>
                    <a:lnTo>
                      <a:pt x="1140" y="855"/>
                    </a:lnTo>
                    <a:lnTo>
                      <a:pt x="1149" y="852"/>
                    </a:lnTo>
                    <a:lnTo>
                      <a:pt x="1156" y="850"/>
                    </a:lnTo>
                    <a:lnTo>
                      <a:pt x="1166" y="849"/>
                    </a:lnTo>
                    <a:lnTo>
                      <a:pt x="1178" y="849"/>
                    </a:lnTo>
                    <a:lnTo>
                      <a:pt x="1192" y="851"/>
                    </a:lnTo>
                    <a:lnTo>
                      <a:pt x="1208" y="852"/>
                    </a:lnTo>
                    <a:lnTo>
                      <a:pt x="1222" y="854"/>
                    </a:lnTo>
                    <a:lnTo>
                      <a:pt x="1235" y="854"/>
                    </a:lnTo>
                    <a:lnTo>
                      <a:pt x="1240" y="854"/>
                    </a:lnTo>
                    <a:lnTo>
                      <a:pt x="1244" y="853"/>
                    </a:lnTo>
                    <a:lnTo>
                      <a:pt x="1247" y="852"/>
                    </a:lnTo>
                    <a:lnTo>
                      <a:pt x="1249" y="850"/>
                    </a:lnTo>
                    <a:lnTo>
                      <a:pt x="1257" y="842"/>
                    </a:lnTo>
                    <a:lnTo>
                      <a:pt x="1264" y="834"/>
                    </a:lnTo>
                    <a:lnTo>
                      <a:pt x="1269" y="826"/>
                    </a:lnTo>
                    <a:lnTo>
                      <a:pt x="1274" y="818"/>
                    </a:lnTo>
                    <a:lnTo>
                      <a:pt x="1280" y="801"/>
                    </a:lnTo>
                    <a:lnTo>
                      <a:pt x="1285" y="785"/>
                    </a:lnTo>
                    <a:lnTo>
                      <a:pt x="1288" y="768"/>
                    </a:lnTo>
                    <a:lnTo>
                      <a:pt x="1292" y="750"/>
                    </a:lnTo>
                    <a:lnTo>
                      <a:pt x="1296" y="742"/>
                    </a:lnTo>
                    <a:lnTo>
                      <a:pt x="1299" y="733"/>
                    </a:lnTo>
                    <a:lnTo>
                      <a:pt x="1303" y="724"/>
                    </a:lnTo>
                    <a:lnTo>
                      <a:pt x="1309" y="715"/>
                    </a:lnTo>
                    <a:lnTo>
                      <a:pt x="1311" y="712"/>
                    </a:lnTo>
                    <a:lnTo>
                      <a:pt x="1313" y="709"/>
                    </a:lnTo>
                    <a:lnTo>
                      <a:pt x="1315" y="706"/>
                    </a:lnTo>
                    <a:lnTo>
                      <a:pt x="1319" y="703"/>
                    </a:lnTo>
                    <a:lnTo>
                      <a:pt x="1326" y="697"/>
                    </a:lnTo>
                    <a:lnTo>
                      <a:pt x="1336" y="693"/>
                    </a:lnTo>
                    <a:lnTo>
                      <a:pt x="1347" y="690"/>
                    </a:lnTo>
                    <a:lnTo>
                      <a:pt x="1359" y="687"/>
                    </a:lnTo>
                    <a:lnTo>
                      <a:pt x="1373" y="684"/>
                    </a:lnTo>
                    <a:lnTo>
                      <a:pt x="1387" y="682"/>
                    </a:lnTo>
                    <a:lnTo>
                      <a:pt x="1416" y="680"/>
                    </a:lnTo>
                    <a:lnTo>
                      <a:pt x="1446" y="678"/>
                    </a:lnTo>
                    <a:lnTo>
                      <a:pt x="1472" y="678"/>
                    </a:lnTo>
                    <a:lnTo>
                      <a:pt x="1495" y="678"/>
                    </a:lnTo>
                    <a:lnTo>
                      <a:pt x="1506" y="678"/>
                    </a:lnTo>
                    <a:lnTo>
                      <a:pt x="1522" y="678"/>
                    </a:lnTo>
                    <a:lnTo>
                      <a:pt x="1524" y="684"/>
                    </a:lnTo>
                    <a:lnTo>
                      <a:pt x="1528" y="693"/>
                    </a:lnTo>
                    <a:lnTo>
                      <a:pt x="1533" y="703"/>
                    </a:lnTo>
                    <a:lnTo>
                      <a:pt x="1535" y="709"/>
                    </a:lnTo>
                    <a:lnTo>
                      <a:pt x="1526" y="714"/>
                    </a:lnTo>
                    <a:lnTo>
                      <a:pt x="1515" y="720"/>
                    </a:lnTo>
                    <a:lnTo>
                      <a:pt x="1510" y="724"/>
                    </a:lnTo>
                    <a:lnTo>
                      <a:pt x="1503" y="729"/>
                    </a:lnTo>
                    <a:lnTo>
                      <a:pt x="1498" y="735"/>
                    </a:lnTo>
                    <a:lnTo>
                      <a:pt x="1492" y="741"/>
                    </a:lnTo>
                    <a:lnTo>
                      <a:pt x="1487" y="748"/>
                    </a:lnTo>
                    <a:lnTo>
                      <a:pt x="1481" y="758"/>
                    </a:lnTo>
                    <a:lnTo>
                      <a:pt x="1477" y="767"/>
                    </a:lnTo>
                    <a:lnTo>
                      <a:pt x="1473" y="778"/>
                    </a:lnTo>
                    <a:lnTo>
                      <a:pt x="1470" y="791"/>
                    </a:lnTo>
                    <a:lnTo>
                      <a:pt x="1469" y="804"/>
                    </a:lnTo>
                    <a:lnTo>
                      <a:pt x="1468" y="821"/>
                    </a:lnTo>
                    <a:lnTo>
                      <a:pt x="1469" y="838"/>
                    </a:lnTo>
                    <a:lnTo>
                      <a:pt x="1455" y="854"/>
                    </a:lnTo>
                    <a:lnTo>
                      <a:pt x="1444" y="868"/>
                    </a:lnTo>
                    <a:lnTo>
                      <a:pt x="1435" y="878"/>
                    </a:lnTo>
                    <a:lnTo>
                      <a:pt x="1428" y="888"/>
                    </a:lnTo>
                    <a:lnTo>
                      <a:pt x="1414" y="888"/>
                    </a:lnTo>
                    <a:lnTo>
                      <a:pt x="1401" y="888"/>
                    </a:lnTo>
                    <a:lnTo>
                      <a:pt x="1387" y="888"/>
                    </a:lnTo>
                    <a:lnTo>
                      <a:pt x="1369" y="888"/>
                    </a:lnTo>
                    <a:lnTo>
                      <a:pt x="1367" y="888"/>
                    </a:lnTo>
                    <a:lnTo>
                      <a:pt x="1359" y="888"/>
                    </a:lnTo>
                    <a:lnTo>
                      <a:pt x="1349" y="888"/>
                    </a:lnTo>
                    <a:lnTo>
                      <a:pt x="1336" y="888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9" name="Freeform 194"/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8139149" y="4609276"/>
                <a:ext cx="265146" cy="299340"/>
              </a:xfrm>
              <a:custGeom>
                <a:avLst/>
                <a:gdLst>
                  <a:gd name="T0" fmla="*/ 2147483647 w 486"/>
                  <a:gd name="T1" fmla="*/ 2147483647 h 505"/>
                  <a:gd name="T2" fmla="*/ 2147483647 w 486"/>
                  <a:gd name="T3" fmla="*/ 2147483647 h 505"/>
                  <a:gd name="T4" fmla="*/ 2147483647 w 486"/>
                  <a:gd name="T5" fmla="*/ 2147483647 h 505"/>
                  <a:gd name="T6" fmla="*/ 2147483647 w 486"/>
                  <a:gd name="T7" fmla="*/ 2147483647 h 505"/>
                  <a:gd name="T8" fmla="*/ 2147483647 w 486"/>
                  <a:gd name="T9" fmla="*/ 2147483647 h 505"/>
                  <a:gd name="T10" fmla="*/ 2147483647 w 486"/>
                  <a:gd name="T11" fmla="*/ 2147483647 h 505"/>
                  <a:gd name="T12" fmla="*/ 2147483647 w 486"/>
                  <a:gd name="T13" fmla="*/ 2147483647 h 505"/>
                  <a:gd name="T14" fmla="*/ 2147483647 w 486"/>
                  <a:gd name="T15" fmla="*/ 2147483647 h 505"/>
                  <a:gd name="T16" fmla="*/ 2147483647 w 486"/>
                  <a:gd name="T17" fmla="*/ 2147483647 h 505"/>
                  <a:gd name="T18" fmla="*/ 2147483647 w 486"/>
                  <a:gd name="T19" fmla="*/ 2147483647 h 505"/>
                  <a:gd name="T20" fmla="*/ 2147483647 w 486"/>
                  <a:gd name="T21" fmla="*/ 2147483647 h 505"/>
                  <a:gd name="T22" fmla="*/ 2147483647 w 486"/>
                  <a:gd name="T23" fmla="*/ 2147483647 h 505"/>
                  <a:gd name="T24" fmla="*/ 2147483647 w 486"/>
                  <a:gd name="T25" fmla="*/ 2147483647 h 505"/>
                  <a:gd name="T26" fmla="*/ 2147483647 w 486"/>
                  <a:gd name="T27" fmla="*/ 2147483647 h 505"/>
                  <a:gd name="T28" fmla="*/ 2147483647 w 486"/>
                  <a:gd name="T29" fmla="*/ 2147483647 h 505"/>
                  <a:gd name="T30" fmla="*/ 2147483647 w 486"/>
                  <a:gd name="T31" fmla="*/ 2147483647 h 505"/>
                  <a:gd name="T32" fmla="*/ 2147483647 w 486"/>
                  <a:gd name="T33" fmla="*/ 2147483647 h 505"/>
                  <a:gd name="T34" fmla="*/ 2147483647 w 486"/>
                  <a:gd name="T35" fmla="*/ 2147483647 h 505"/>
                  <a:gd name="T36" fmla="*/ 2147483647 w 486"/>
                  <a:gd name="T37" fmla="*/ 2147483647 h 505"/>
                  <a:gd name="T38" fmla="*/ 2147483647 w 486"/>
                  <a:gd name="T39" fmla="*/ 2147483647 h 505"/>
                  <a:gd name="T40" fmla="*/ 2147483647 w 486"/>
                  <a:gd name="T41" fmla="*/ 2147483647 h 505"/>
                  <a:gd name="T42" fmla="*/ 2147483647 w 486"/>
                  <a:gd name="T43" fmla="*/ 2147483647 h 505"/>
                  <a:gd name="T44" fmla="*/ 2147483647 w 486"/>
                  <a:gd name="T45" fmla="*/ 2147483647 h 505"/>
                  <a:gd name="T46" fmla="*/ 2147483647 w 486"/>
                  <a:gd name="T47" fmla="*/ 2147483647 h 505"/>
                  <a:gd name="T48" fmla="*/ 2147483647 w 486"/>
                  <a:gd name="T49" fmla="*/ 2147483647 h 505"/>
                  <a:gd name="T50" fmla="*/ 2147483647 w 486"/>
                  <a:gd name="T51" fmla="*/ 2147483647 h 505"/>
                  <a:gd name="T52" fmla="*/ 2147483647 w 486"/>
                  <a:gd name="T53" fmla="*/ 2147483647 h 505"/>
                  <a:gd name="T54" fmla="*/ 2147483647 w 486"/>
                  <a:gd name="T55" fmla="*/ 2147483647 h 505"/>
                  <a:gd name="T56" fmla="*/ 2147483647 w 486"/>
                  <a:gd name="T57" fmla="*/ 2147483647 h 505"/>
                  <a:gd name="T58" fmla="*/ 2147483647 w 486"/>
                  <a:gd name="T59" fmla="*/ 2147483647 h 505"/>
                  <a:gd name="T60" fmla="*/ 2147483647 w 486"/>
                  <a:gd name="T61" fmla="*/ 2147483647 h 505"/>
                  <a:gd name="T62" fmla="*/ 2147483647 w 486"/>
                  <a:gd name="T63" fmla="*/ 2147483647 h 505"/>
                  <a:gd name="T64" fmla="*/ 2147483647 w 486"/>
                  <a:gd name="T65" fmla="*/ 2147483647 h 505"/>
                  <a:gd name="T66" fmla="*/ 2147483647 w 486"/>
                  <a:gd name="T67" fmla="*/ 2147483647 h 505"/>
                  <a:gd name="T68" fmla="*/ 2147483647 w 486"/>
                  <a:gd name="T69" fmla="*/ 2147483647 h 505"/>
                  <a:gd name="T70" fmla="*/ 2147483647 w 486"/>
                  <a:gd name="T71" fmla="*/ 2147483647 h 505"/>
                  <a:gd name="T72" fmla="*/ 2147483647 w 486"/>
                  <a:gd name="T73" fmla="*/ 2147483647 h 505"/>
                  <a:gd name="T74" fmla="*/ 2147483647 w 486"/>
                  <a:gd name="T75" fmla="*/ 2147483647 h 505"/>
                  <a:gd name="T76" fmla="*/ 2147483647 w 486"/>
                  <a:gd name="T77" fmla="*/ 2147483647 h 505"/>
                  <a:gd name="T78" fmla="*/ 2147483647 w 486"/>
                  <a:gd name="T79" fmla="*/ 1666127626 h 505"/>
                  <a:gd name="T80" fmla="*/ 2147483647 w 486"/>
                  <a:gd name="T81" fmla="*/ 416707361 h 505"/>
                  <a:gd name="T82" fmla="*/ 2147483647 w 486"/>
                  <a:gd name="T83" fmla="*/ 208353681 h 505"/>
                  <a:gd name="T84" fmla="*/ 2147483647 w 486"/>
                  <a:gd name="T85" fmla="*/ 2147483647 h 505"/>
                  <a:gd name="T86" fmla="*/ 2147483647 w 486"/>
                  <a:gd name="T87" fmla="*/ 2147483647 h 505"/>
                  <a:gd name="T88" fmla="*/ 2147483647 w 486"/>
                  <a:gd name="T89" fmla="*/ 2147483647 h 505"/>
                  <a:gd name="T90" fmla="*/ 2147483647 w 486"/>
                  <a:gd name="T91" fmla="*/ 2147483647 h 50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86" h="505">
                    <a:moveTo>
                      <a:pt x="0" y="166"/>
                    </a:moveTo>
                    <a:lnTo>
                      <a:pt x="7" y="171"/>
                    </a:lnTo>
                    <a:lnTo>
                      <a:pt x="14" y="176"/>
                    </a:lnTo>
                    <a:lnTo>
                      <a:pt x="19" y="181"/>
                    </a:lnTo>
                    <a:lnTo>
                      <a:pt x="24" y="186"/>
                    </a:lnTo>
                    <a:lnTo>
                      <a:pt x="31" y="198"/>
                    </a:lnTo>
                    <a:lnTo>
                      <a:pt x="39" y="210"/>
                    </a:lnTo>
                    <a:lnTo>
                      <a:pt x="44" y="221"/>
                    </a:lnTo>
                    <a:lnTo>
                      <a:pt x="51" y="232"/>
                    </a:lnTo>
                    <a:lnTo>
                      <a:pt x="58" y="242"/>
                    </a:lnTo>
                    <a:lnTo>
                      <a:pt x="66" y="253"/>
                    </a:lnTo>
                    <a:lnTo>
                      <a:pt x="82" y="266"/>
                    </a:lnTo>
                    <a:lnTo>
                      <a:pt x="96" y="276"/>
                    </a:lnTo>
                    <a:lnTo>
                      <a:pt x="111" y="285"/>
                    </a:lnTo>
                    <a:lnTo>
                      <a:pt x="126" y="293"/>
                    </a:lnTo>
                    <a:lnTo>
                      <a:pt x="140" y="299"/>
                    </a:lnTo>
                    <a:lnTo>
                      <a:pt x="155" y="305"/>
                    </a:lnTo>
                    <a:lnTo>
                      <a:pt x="170" y="310"/>
                    </a:lnTo>
                    <a:lnTo>
                      <a:pt x="185" y="314"/>
                    </a:lnTo>
                    <a:lnTo>
                      <a:pt x="215" y="321"/>
                    </a:lnTo>
                    <a:lnTo>
                      <a:pt x="246" y="328"/>
                    </a:lnTo>
                    <a:lnTo>
                      <a:pt x="262" y="332"/>
                    </a:lnTo>
                    <a:lnTo>
                      <a:pt x="278" y="338"/>
                    </a:lnTo>
                    <a:lnTo>
                      <a:pt x="295" y="344"/>
                    </a:lnTo>
                    <a:lnTo>
                      <a:pt x="312" y="351"/>
                    </a:lnTo>
                    <a:lnTo>
                      <a:pt x="307" y="367"/>
                    </a:lnTo>
                    <a:lnTo>
                      <a:pt x="299" y="381"/>
                    </a:lnTo>
                    <a:lnTo>
                      <a:pt x="291" y="394"/>
                    </a:lnTo>
                    <a:lnTo>
                      <a:pt x="284" y="406"/>
                    </a:lnTo>
                    <a:lnTo>
                      <a:pt x="277" y="418"/>
                    </a:lnTo>
                    <a:lnTo>
                      <a:pt x="272" y="430"/>
                    </a:lnTo>
                    <a:lnTo>
                      <a:pt x="269" y="436"/>
                    </a:lnTo>
                    <a:lnTo>
                      <a:pt x="267" y="443"/>
                    </a:lnTo>
                    <a:lnTo>
                      <a:pt x="266" y="449"/>
                    </a:lnTo>
                    <a:lnTo>
                      <a:pt x="266" y="456"/>
                    </a:lnTo>
                    <a:lnTo>
                      <a:pt x="266" y="463"/>
                    </a:lnTo>
                    <a:lnTo>
                      <a:pt x="269" y="471"/>
                    </a:lnTo>
                    <a:lnTo>
                      <a:pt x="273" y="477"/>
                    </a:lnTo>
                    <a:lnTo>
                      <a:pt x="278" y="482"/>
                    </a:lnTo>
                    <a:lnTo>
                      <a:pt x="284" y="487"/>
                    </a:lnTo>
                    <a:lnTo>
                      <a:pt x="291" y="491"/>
                    </a:lnTo>
                    <a:lnTo>
                      <a:pt x="299" y="494"/>
                    </a:lnTo>
                    <a:lnTo>
                      <a:pt x="308" y="497"/>
                    </a:lnTo>
                    <a:lnTo>
                      <a:pt x="325" y="501"/>
                    </a:lnTo>
                    <a:lnTo>
                      <a:pt x="344" y="504"/>
                    </a:lnTo>
                    <a:lnTo>
                      <a:pt x="363" y="505"/>
                    </a:lnTo>
                    <a:lnTo>
                      <a:pt x="379" y="505"/>
                    </a:lnTo>
                    <a:lnTo>
                      <a:pt x="387" y="504"/>
                    </a:lnTo>
                    <a:lnTo>
                      <a:pt x="396" y="502"/>
                    </a:lnTo>
                    <a:lnTo>
                      <a:pt x="406" y="499"/>
                    </a:lnTo>
                    <a:lnTo>
                      <a:pt x="415" y="494"/>
                    </a:lnTo>
                    <a:lnTo>
                      <a:pt x="426" y="488"/>
                    </a:lnTo>
                    <a:lnTo>
                      <a:pt x="436" y="482"/>
                    </a:lnTo>
                    <a:lnTo>
                      <a:pt x="446" y="474"/>
                    </a:lnTo>
                    <a:lnTo>
                      <a:pt x="456" y="465"/>
                    </a:lnTo>
                    <a:lnTo>
                      <a:pt x="465" y="456"/>
                    </a:lnTo>
                    <a:lnTo>
                      <a:pt x="473" y="447"/>
                    </a:lnTo>
                    <a:lnTo>
                      <a:pt x="478" y="437"/>
                    </a:lnTo>
                    <a:lnTo>
                      <a:pt x="482" y="428"/>
                    </a:lnTo>
                    <a:lnTo>
                      <a:pt x="485" y="418"/>
                    </a:lnTo>
                    <a:lnTo>
                      <a:pt x="486" y="407"/>
                    </a:lnTo>
                    <a:lnTo>
                      <a:pt x="485" y="402"/>
                    </a:lnTo>
                    <a:lnTo>
                      <a:pt x="484" y="397"/>
                    </a:lnTo>
                    <a:lnTo>
                      <a:pt x="481" y="393"/>
                    </a:lnTo>
                    <a:lnTo>
                      <a:pt x="478" y="388"/>
                    </a:lnTo>
                    <a:lnTo>
                      <a:pt x="478" y="358"/>
                    </a:lnTo>
                    <a:lnTo>
                      <a:pt x="475" y="345"/>
                    </a:lnTo>
                    <a:lnTo>
                      <a:pt x="473" y="331"/>
                    </a:lnTo>
                    <a:lnTo>
                      <a:pt x="471" y="316"/>
                    </a:lnTo>
                    <a:lnTo>
                      <a:pt x="470" y="299"/>
                    </a:lnTo>
                    <a:lnTo>
                      <a:pt x="468" y="284"/>
                    </a:lnTo>
                    <a:lnTo>
                      <a:pt x="465" y="270"/>
                    </a:lnTo>
                    <a:lnTo>
                      <a:pt x="463" y="263"/>
                    </a:lnTo>
                    <a:lnTo>
                      <a:pt x="461" y="257"/>
                    </a:lnTo>
                    <a:lnTo>
                      <a:pt x="456" y="252"/>
                    </a:lnTo>
                    <a:lnTo>
                      <a:pt x="452" y="247"/>
                    </a:lnTo>
                    <a:lnTo>
                      <a:pt x="446" y="242"/>
                    </a:lnTo>
                    <a:lnTo>
                      <a:pt x="439" y="239"/>
                    </a:lnTo>
                    <a:lnTo>
                      <a:pt x="431" y="236"/>
                    </a:lnTo>
                    <a:lnTo>
                      <a:pt x="422" y="234"/>
                    </a:lnTo>
                    <a:lnTo>
                      <a:pt x="413" y="232"/>
                    </a:lnTo>
                    <a:lnTo>
                      <a:pt x="406" y="229"/>
                    </a:lnTo>
                    <a:lnTo>
                      <a:pt x="398" y="226"/>
                    </a:lnTo>
                    <a:lnTo>
                      <a:pt x="392" y="222"/>
                    </a:lnTo>
                    <a:lnTo>
                      <a:pt x="386" y="216"/>
                    </a:lnTo>
                    <a:lnTo>
                      <a:pt x="378" y="212"/>
                    </a:lnTo>
                    <a:lnTo>
                      <a:pt x="370" y="207"/>
                    </a:lnTo>
                    <a:lnTo>
                      <a:pt x="363" y="203"/>
                    </a:lnTo>
                    <a:lnTo>
                      <a:pt x="346" y="196"/>
                    </a:lnTo>
                    <a:lnTo>
                      <a:pt x="330" y="188"/>
                    </a:lnTo>
                    <a:lnTo>
                      <a:pt x="313" y="182"/>
                    </a:lnTo>
                    <a:lnTo>
                      <a:pt x="298" y="176"/>
                    </a:lnTo>
                    <a:lnTo>
                      <a:pt x="290" y="172"/>
                    </a:lnTo>
                    <a:lnTo>
                      <a:pt x="284" y="169"/>
                    </a:lnTo>
                    <a:lnTo>
                      <a:pt x="278" y="165"/>
                    </a:lnTo>
                    <a:lnTo>
                      <a:pt x="273" y="160"/>
                    </a:lnTo>
                    <a:lnTo>
                      <a:pt x="269" y="158"/>
                    </a:lnTo>
                    <a:lnTo>
                      <a:pt x="266" y="154"/>
                    </a:lnTo>
                    <a:lnTo>
                      <a:pt x="264" y="151"/>
                    </a:lnTo>
                    <a:lnTo>
                      <a:pt x="263" y="146"/>
                    </a:lnTo>
                    <a:lnTo>
                      <a:pt x="262" y="136"/>
                    </a:lnTo>
                    <a:lnTo>
                      <a:pt x="261" y="125"/>
                    </a:lnTo>
                    <a:lnTo>
                      <a:pt x="261" y="113"/>
                    </a:lnTo>
                    <a:lnTo>
                      <a:pt x="262" y="101"/>
                    </a:lnTo>
                    <a:lnTo>
                      <a:pt x="261" y="90"/>
                    </a:lnTo>
                    <a:lnTo>
                      <a:pt x="260" y="81"/>
                    </a:lnTo>
                    <a:lnTo>
                      <a:pt x="258" y="75"/>
                    </a:lnTo>
                    <a:lnTo>
                      <a:pt x="255" y="71"/>
                    </a:lnTo>
                    <a:lnTo>
                      <a:pt x="251" y="67"/>
                    </a:lnTo>
                    <a:lnTo>
                      <a:pt x="246" y="61"/>
                    </a:lnTo>
                    <a:lnTo>
                      <a:pt x="241" y="55"/>
                    </a:lnTo>
                    <a:lnTo>
                      <a:pt x="237" y="47"/>
                    </a:lnTo>
                    <a:lnTo>
                      <a:pt x="235" y="43"/>
                    </a:lnTo>
                    <a:lnTo>
                      <a:pt x="234" y="37"/>
                    </a:lnTo>
                    <a:lnTo>
                      <a:pt x="233" y="32"/>
                    </a:lnTo>
                    <a:lnTo>
                      <a:pt x="233" y="25"/>
                    </a:lnTo>
                    <a:lnTo>
                      <a:pt x="199" y="12"/>
                    </a:lnTo>
                    <a:lnTo>
                      <a:pt x="195" y="12"/>
                    </a:lnTo>
                    <a:lnTo>
                      <a:pt x="190" y="10"/>
                    </a:lnTo>
                    <a:lnTo>
                      <a:pt x="186" y="8"/>
                    </a:lnTo>
                    <a:lnTo>
                      <a:pt x="182" y="6"/>
                    </a:lnTo>
                    <a:lnTo>
                      <a:pt x="177" y="4"/>
                    </a:lnTo>
                    <a:lnTo>
                      <a:pt x="173" y="2"/>
                    </a:lnTo>
                    <a:lnTo>
                      <a:pt x="166" y="0"/>
                    </a:lnTo>
                    <a:lnTo>
                      <a:pt x="160" y="0"/>
                    </a:lnTo>
                    <a:lnTo>
                      <a:pt x="139" y="1"/>
                    </a:lnTo>
                    <a:lnTo>
                      <a:pt x="116" y="2"/>
                    </a:lnTo>
                    <a:lnTo>
                      <a:pt x="92" y="6"/>
                    </a:lnTo>
                    <a:lnTo>
                      <a:pt x="70" y="11"/>
                    </a:lnTo>
                    <a:lnTo>
                      <a:pt x="60" y="14"/>
                    </a:lnTo>
                    <a:lnTo>
                      <a:pt x="50" y="17"/>
                    </a:lnTo>
                    <a:lnTo>
                      <a:pt x="42" y="21"/>
                    </a:lnTo>
                    <a:lnTo>
                      <a:pt x="34" y="27"/>
                    </a:lnTo>
                    <a:lnTo>
                      <a:pt x="28" y="31"/>
                    </a:lnTo>
                    <a:lnTo>
                      <a:pt x="24" y="37"/>
                    </a:lnTo>
                    <a:lnTo>
                      <a:pt x="21" y="43"/>
                    </a:lnTo>
                    <a:lnTo>
                      <a:pt x="20" y="49"/>
                    </a:lnTo>
                    <a:lnTo>
                      <a:pt x="20" y="64"/>
                    </a:lnTo>
                    <a:lnTo>
                      <a:pt x="20" y="74"/>
                    </a:lnTo>
                    <a:lnTo>
                      <a:pt x="0" y="166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0" name="Freeform 195"/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8352462" y="3711256"/>
                <a:ext cx="91704" cy="123679"/>
              </a:xfrm>
              <a:custGeom>
                <a:avLst/>
                <a:gdLst>
                  <a:gd name="T0" fmla="*/ 1180142643 w 166"/>
                  <a:gd name="T1" fmla="*/ 2147483647 h 208"/>
                  <a:gd name="T2" fmla="*/ 2147483647 w 166"/>
                  <a:gd name="T3" fmla="*/ 2147483647 h 208"/>
                  <a:gd name="T4" fmla="*/ 2147483647 w 166"/>
                  <a:gd name="T5" fmla="*/ 2147483647 h 208"/>
                  <a:gd name="T6" fmla="*/ 2147483647 w 166"/>
                  <a:gd name="T7" fmla="*/ 2147483647 h 208"/>
                  <a:gd name="T8" fmla="*/ 2147483647 w 166"/>
                  <a:gd name="T9" fmla="*/ 2147483647 h 208"/>
                  <a:gd name="T10" fmla="*/ 2147483647 w 166"/>
                  <a:gd name="T11" fmla="*/ 2147483647 h 208"/>
                  <a:gd name="T12" fmla="*/ 2147483647 w 166"/>
                  <a:gd name="T13" fmla="*/ 2147483647 h 208"/>
                  <a:gd name="T14" fmla="*/ 2147483647 w 166"/>
                  <a:gd name="T15" fmla="*/ 2147483647 h 208"/>
                  <a:gd name="T16" fmla="*/ 2147483647 w 166"/>
                  <a:gd name="T17" fmla="*/ 2147483647 h 208"/>
                  <a:gd name="T18" fmla="*/ 2147483647 w 166"/>
                  <a:gd name="T19" fmla="*/ 2147483647 h 208"/>
                  <a:gd name="T20" fmla="*/ 2147483647 w 166"/>
                  <a:gd name="T21" fmla="*/ 2147483647 h 208"/>
                  <a:gd name="T22" fmla="*/ 2147483647 w 166"/>
                  <a:gd name="T23" fmla="*/ 2147483647 h 208"/>
                  <a:gd name="T24" fmla="*/ 2147483647 w 166"/>
                  <a:gd name="T25" fmla="*/ 2147483647 h 208"/>
                  <a:gd name="T26" fmla="*/ 2147483647 w 166"/>
                  <a:gd name="T27" fmla="*/ 2147483647 h 208"/>
                  <a:gd name="T28" fmla="*/ 2147483647 w 166"/>
                  <a:gd name="T29" fmla="*/ 2147483647 h 208"/>
                  <a:gd name="T30" fmla="*/ 2147483647 w 166"/>
                  <a:gd name="T31" fmla="*/ 2147483647 h 208"/>
                  <a:gd name="T32" fmla="*/ 2147483647 w 166"/>
                  <a:gd name="T33" fmla="*/ 2147483647 h 208"/>
                  <a:gd name="T34" fmla="*/ 2147483647 w 166"/>
                  <a:gd name="T35" fmla="*/ 2147483647 h 208"/>
                  <a:gd name="T36" fmla="*/ 2147483647 w 166"/>
                  <a:gd name="T37" fmla="*/ 2147483647 h 208"/>
                  <a:gd name="T38" fmla="*/ 2147483647 w 166"/>
                  <a:gd name="T39" fmla="*/ 2147483647 h 208"/>
                  <a:gd name="T40" fmla="*/ 2147483647 w 166"/>
                  <a:gd name="T41" fmla="*/ 2147483647 h 208"/>
                  <a:gd name="T42" fmla="*/ 2147483647 w 166"/>
                  <a:gd name="T43" fmla="*/ 2147483647 h 208"/>
                  <a:gd name="T44" fmla="*/ 2147483647 w 166"/>
                  <a:gd name="T45" fmla="*/ 2102277804 h 208"/>
                  <a:gd name="T46" fmla="*/ 2147483647 w 166"/>
                  <a:gd name="T47" fmla="*/ 1681893477 h 208"/>
                  <a:gd name="T48" fmla="*/ 2147483647 w 166"/>
                  <a:gd name="T49" fmla="*/ 1051138902 h 208"/>
                  <a:gd name="T50" fmla="*/ 2147483647 w 166"/>
                  <a:gd name="T51" fmla="*/ 630753981 h 208"/>
                  <a:gd name="T52" fmla="*/ 2147483647 w 166"/>
                  <a:gd name="T53" fmla="*/ 210369060 h 208"/>
                  <a:gd name="T54" fmla="*/ 2147483647 w 166"/>
                  <a:gd name="T55" fmla="*/ 0 h 208"/>
                  <a:gd name="T56" fmla="*/ 2147483647 w 166"/>
                  <a:gd name="T57" fmla="*/ 210369060 h 208"/>
                  <a:gd name="T58" fmla="*/ 2147483647 w 166"/>
                  <a:gd name="T59" fmla="*/ 1051138902 h 208"/>
                  <a:gd name="T60" fmla="*/ 2147483647 w 166"/>
                  <a:gd name="T61" fmla="*/ 2147483647 h 208"/>
                  <a:gd name="T62" fmla="*/ 1854597389 w 166"/>
                  <a:gd name="T63" fmla="*/ 2147483647 h 208"/>
                  <a:gd name="T64" fmla="*/ 1180142643 w 166"/>
                  <a:gd name="T65" fmla="*/ 2147483647 h 208"/>
                  <a:gd name="T66" fmla="*/ 674454746 w 166"/>
                  <a:gd name="T67" fmla="*/ 2147483647 h 208"/>
                  <a:gd name="T68" fmla="*/ 337227097 w 166"/>
                  <a:gd name="T69" fmla="*/ 2147483647 h 208"/>
                  <a:gd name="T70" fmla="*/ 0 w 166"/>
                  <a:gd name="T71" fmla="*/ 2147483647 h 208"/>
                  <a:gd name="T72" fmla="*/ 0 w 166"/>
                  <a:gd name="T73" fmla="*/ 2147483647 h 208"/>
                  <a:gd name="T74" fmla="*/ 337227097 w 166"/>
                  <a:gd name="T75" fmla="*/ 2147483647 h 208"/>
                  <a:gd name="T76" fmla="*/ 505688450 w 166"/>
                  <a:gd name="T77" fmla="*/ 2147483647 h 208"/>
                  <a:gd name="T78" fmla="*/ 842915546 w 166"/>
                  <a:gd name="T79" fmla="*/ 2147483647 h 208"/>
                  <a:gd name="T80" fmla="*/ 1685831093 w 166"/>
                  <a:gd name="T81" fmla="*/ 2147483647 h 208"/>
                  <a:gd name="T82" fmla="*/ 2147483647 w 166"/>
                  <a:gd name="T83" fmla="*/ 2147483647 h 208"/>
                  <a:gd name="T84" fmla="*/ 2147483647 w 166"/>
                  <a:gd name="T85" fmla="*/ 2147483647 h 208"/>
                  <a:gd name="T86" fmla="*/ 2147483647 w 166"/>
                  <a:gd name="T87" fmla="*/ 2147483647 h 208"/>
                  <a:gd name="T88" fmla="*/ 2147483647 w 166"/>
                  <a:gd name="T89" fmla="*/ 2147483647 h 208"/>
                  <a:gd name="T90" fmla="*/ 2147483647 w 166"/>
                  <a:gd name="T91" fmla="*/ 2147483647 h 208"/>
                  <a:gd name="T92" fmla="*/ 2147483647 w 166"/>
                  <a:gd name="T93" fmla="*/ 2147483647 h 208"/>
                  <a:gd name="T94" fmla="*/ 2147483647 w 166"/>
                  <a:gd name="T95" fmla="*/ 2147483647 h 208"/>
                  <a:gd name="T96" fmla="*/ 2147483647 w 166"/>
                  <a:gd name="T97" fmla="*/ 2147483647 h 208"/>
                  <a:gd name="T98" fmla="*/ 2147483647 w 166"/>
                  <a:gd name="T99" fmla="*/ 2147483647 h 208"/>
                  <a:gd name="T100" fmla="*/ 2147483647 w 166"/>
                  <a:gd name="T101" fmla="*/ 2147483647 h 208"/>
                  <a:gd name="T102" fmla="*/ 2147483647 w 166"/>
                  <a:gd name="T103" fmla="*/ 2147483647 h 208"/>
                  <a:gd name="T104" fmla="*/ 2147483647 w 166"/>
                  <a:gd name="T105" fmla="*/ 2147483647 h 208"/>
                  <a:gd name="T106" fmla="*/ 2147483647 w 166"/>
                  <a:gd name="T107" fmla="*/ 2147483647 h 208"/>
                  <a:gd name="T108" fmla="*/ 1854597389 w 166"/>
                  <a:gd name="T109" fmla="*/ 2147483647 h 208"/>
                  <a:gd name="T110" fmla="*/ 1180142643 w 166"/>
                  <a:gd name="T111" fmla="*/ 2147483647 h 2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66" h="208">
                    <a:moveTo>
                      <a:pt x="7" y="183"/>
                    </a:moveTo>
                    <a:lnTo>
                      <a:pt x="79" y="208"/>
                    </a:lnTo>
                    <a:lnTo>
                      <a:pt x="85" y="207"/>
                    </a:lnTo>
                    <a:lnTo>
                      <a:pt x="90" y="204"/>
                    </a:lnTo>
                    <a:lnTo>
                      <a:pt x="97" y="198"/>
                    </a:lnTo>
                    <a:lnTo>
                      <a:pt x="104" y="192"/>
                    </a:lnTo>
                    <a:lnTo>
                      <a:pt x="117" y="176"/>
                    </a:lnTo>
                    <a:lnTo>
                      <a:pt x="130" y="158"/>
                    </a:lnTo>
                    <a:lnTo>
                      <a:pt x="154" y="122"/>
                    </a:lnTo>
                    <a:lnTo>
                      <a:pt x="166" y="103"/>
                    </a:lnTo>
                    <a:lnTo>
                      <a:pt x="144" y="94"/>
                    </a:lnTo>
                    <a:lnTo>
                      <a:pt x="126" y="84"/>
                    </a:lnTo>
                    <a:lnTo>
                      <a:pt x="108" y="74"/>
                    </a:lnTo>
                    <a:lnTo>
                      <a:pt x="93" y="64"/>
                    </a:lnTo>
                    <a:lnTo>
                      <a:pt x="86" y="58"/>
                    </a:lnTo>
                    <a:lnTo>
                      <a:pt x="81" y="53"/>
                    </a:lnTo>
                    <a:lnTo>
                      <a:pt x="75" y="47"/>
                    </a:lnTo>
                    <a:lnTo>
                      <a:pt x="71" y="40"/>
                    </a:lnTo>
                    <a:lnTo>
                      <a:pt x="67" y="33"/>
                    </a:lnTo>
                    <a:lnTo>
                      <a:pt x="64" y="26"/>
                    </a:lnTo>
                    <a:lnTo>
                      <a:pt x="62" y="18"/>
                    </a:lnTo>
                    <a:lnTo>
                      <a:pt x="60" y="11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40" y="5"/>
                    </a:lnTo>
                    <a:lnTo>
                      <a:pt x="39" y="3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2" y="1"/>
                    </a:lnTo>
                    <a:lnTo>
                      <a:pt x="27" y="5"/>
                    </a:lnTo>
                    <a:lnTo>
                      <a:pt x="20" y="11"/>
                    </a:lnTo>
                    <a:lnTo>
                      <a:pt x="11" y="22"/>
                    </a:lnTo>
                    <a:lnTo>
                      <a:pt x="7" y="29"/>
                    </a:lnTo>
                    <a:lnTo>
                      <a:pt x="4" y="37"/>
                    </a:lnTo>
                    <a:lnTo>
                      <a:pt x="2" y="45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6"/>
                    </a:lnTo>
                    <a:lnTo>
                      <a:pt x="10" y="86"/>
                    </a:lnTo>
                    <a:lnTo>
                      <a:pt x="17" y="98"/>
                    </a:lnTo>
                    <a:lnTo>
                      <a:pt x="22" y="109"/>
                    </a:lnTo>
                    <a:lnTo>
                      <a:pt x="28" y="120"/>
                    </a:lnTo>
                    <a:lnTo>
                      <a:pt x="30" y="126"/>
                    </a:lnTo>
                    <a:lnTo>
                      <a:pt x="32" y="133"/>
                    </a:lnTo>
                    <a:lnTo>
                      <a:pt x="33" y="139"/>
                    </a:lnTo>
                    <a:lnTo>
                      <a:pt x="33" y="147"/>
                    </a:lnTo>
                    <a:lnTo>
                      <a:pt x="32" y="153"/>
                    </a:lnTo>
                    <a:lnTo>
                      <a:pt x="31" y="159"/>
                    </a:lnTo>
                    <a:lnTo>
                      <a:pt x="28" y="165"/>
                    </a:lnTo>
                    <a:lnTo>
                      <a:pt x="25" y="169"/>
                    </a:lnTo>
                    <a:lnTo>
                      <a:pt x="21" y="174"/>
                    </a:lnTo>
                    <a:lnTo>
                      <a:pt x="17" y="177"/>
                    </a:lnTo>
                    <a:lnTo>
                      <a:pt x="11" y="180"/>
                    </a:lnTo>
                    <a:lnTo>
                      <a:pt x="7" y="18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1" name="Freeform 196"/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7742429" y="3212954"/>
                <a:ext cx="87717" cy="66320"/>
              </a:xfrm>
              <a:custGeom>
                <a:avLst/>
                <a:gdLst>
                  <a:gd name="T0" fmla="*/ 2147483647 w 164"/>
                  <a:gd name="T1" fmla="*/ 2147483647 h 104"/>
                  <a:gd name="T2" fmla="*/ 2147483647 w 164"/>
                  <a:gd name="T3" fmla="*/ 2147483647 h 104"/>
                  <a:gd name="T4" fmla="*/ 2147483647 w 164"/>
                  <a:gd name="T5" fmla="*/ 2147483647 h 104"/>
                  <a:gd name="T6" fmla="*/ 2147483647 w 164"/>
                  <a:gd name="T7" fmla="*/ 2147483647 h 104"/>
                  <a:gd name="T8" fmla="*/ 2147483647 w 164"/>
                  <a:gd name="T9" fmla="*/ 2147483647 h 104"/>
                  <a:gd name="T10" fmla="*/ 2147483647 w 164"/>
                  <a:gd name="T11" fmla="*/ 2147483647 h 104"/>
                  <a:gd name="T12" fmla="*/ 2147483647 w 164"/>
                  <a:gd name="T13" fmla="*/ 2147483647 h 104"/>
                  <a:gd name="T14" fmla="*/ 2147483647 w 164"/>
                  <a:gd name="T15" fmla="*/ 2147483647 h 104"/>
                  <a:gd name="T16" fmla="*/ 2147483647 w 164"/>
                  <a:gd name="T17" fmla="*/ 2147483647 h 104"/>
                  <a:gd name="T18" fmla="*/ 2147483647 w 164"/>
                  <a:gd name="T19" fmla="*/ 2147483647 h 104"/>
                  <a:gd name="T20" fmla="*/ 2147483647 w 164"/>
                  <a:gd name="T21" fmla="*/ 2147483647 h 104"/>
                  <a:gd name="T22" fmla="*/ 2147483647 w 164"/>
                  <a:gd name="T23" fmla="*/ 2147483647 h 104"/>
                  <a:gd name="T24" fmla="*/ 2147483647 w 164"/>
                  <a:gd name="T25" fmla="*/ 2147483647 h 104"/>
                  <a:gd name="T26" fmla="*/ 1682979011 w 164"/>
                  <a:gd name="T27" fmla="*/ 2147483647 h 104"/>
                  <a:gd name="T28" fmla="*/ 918014565 w 164"/>
                  <a:gd name="T29" fmla="*/ 2147483647 h 104"/>
                  <a:gd name="T30" fmla="*/ 459150358 w 164"/>
                  <a:gd name="T31" fmla="*/ 2147483647 h 104"/>
                  <a:gd name="T32" fmla="*/ 153050119 w 164"/>
                  <a:gd name="T33" fmla="*/ 2147483647 h 104"/>
                  <a:gd name="T34" fmla="*/ 0 w 164"/>
                  <a:gd name="T35" fmla="*/ 2147483647 h 104"/>
                  <a:gd name="T36" fmla="*/ 0 w 164"/>
                  <a:gd name="T37" fmla="*/ 2147483647 h 104"/>
                  <a:gd name="T38" fmla="*/ 0 w 164"/>
                  <a:gd name="T39" fmla="*/ 2147483647 h 104"/>
                  <a:gd name="T40" fmla="*/ 153050119 w 164"/>
                  <a:gd name="T41" fmla="*/ 2147483647 h 104"/>
                  <a:gd name="T42" fmla="*/ 459150358 w 164"/>
                  <a:gd name="T43" fmla="*/ 2147483647 h 104"/>
                  <a:gd name="T44" fmla="*/ 918014565 w 164"/>
                  <a:gd name="T45" fmla="*/ 2147483647 h 104"/>
                  <a:gd name="T46" fmla="*/ 1836029131 w 164"/>
                  <a:gd name="T47" fmla="*/ 2147483647 h 104"/>
                  <a:gd name="T48" fmla="*/ 2147483647 w 164"/>
                  <a:gd name="T49" fmla="*/ 2147483647 h 104"/>
                  <a:gd name="T50" fmla="*/ 2147483647 w 164"/>
                  <a:gd name="T51" fmla="*/ 2147483647 h 104"/>
                  <a:gd name="T52" fmla="*/ 2147483647 w 164"/>
                  <a:gd name="T53" fmla="*/ 2147483647 h 104"/>
                  <a:gd name="T54" fmla="*/ 2147483647 w 164"/>
                  <a:gd name="T55" fmla="*/ 2147483647 h 104"/>
                  <a:gd name="T56" fmla="*/ 2147483647 w 164"/>
                  <a:gd name="T57" fmla="*/ 2147483647 h 104"/>
                  <a:gd name="T58" fmla="*/ 2147483647 w 164"/>
                  <a:gd name="T59" fmla="*/ 2147483647 h 104"/>
                  <a:gd name="T60" fmla="*/ 2147483647 w 164"/>
                  <a:gd name="T61" fmla="*/ 2147483647 h 104"/>
                  <a:gd name="T62" fmla="*/ 2147483647 w 164"/>
                  <a:gd name="T63" fmla="*/ 2147483647 h 104"/>
                  <a:gd name="T64" fmla="*/ 2147483647 w 164"/>
                  <a:gd name="T65" fmla="*/ 2147483647 h 104"/>
                  <a:gd name="T66" fmla="*/ 2147483647 w 164"/>
                  <a:gd name="T67" fmla="*/ 2147483647 h 104"/>
                  <a:gd name="T68" fmla="*/ 2147483647 w 164"/>
                  <a:gd name="T69" fmla="*/ 2147483647 h 104"/>
                  <a:gd name="T70" fmla="*/ 2147483647 w 164"/>
                  <a:gd name="T71" fmla="*/ 2147483647 h 104"/>
                  <a:gd name="T72" fmla="*/ 2147483647 w 164"/>
                  <a:gd name="T73" fmla="*/ 2147483647 h 104"/>
                  <a:gd name="T74" fmla="*/ 2147483647 w 164"/>
                  <a:gd name="T75" fmla="*/ 2147483647 h 104"/>
                  <a:gd name="T76" fmla="*/ 2147483647 w 164"/>
                  <a:gd name="T77" fmla="*/ 2147483647 h 104"/>
                  <a:gd name="T78" fmla="*/ 2147483647 w 164"/>
                  <a:gd name="T79" fmla="*/ 1555848707 h 104"/>
                  <a:gd name="T80" fmla="*/ 2147483647 w 164"/>
                  <a:gd name="T81" fmla="*/ 0 h 104"/>
                  <a:gd name="T82" fmla="*/ 2147483647 w 164"/>
                  <a:gd name="T83" fmla="*/ 0 h 104"/>
                  <a:gd name="T84" fmla="*/ 2147483647 w 164"/>
                  <a:gd name="T85" fmla="*/ 1555848707 h 104"/>
                  <a:gd name="T86" fmla="*/ 2147483647 w 164"/>
                  <a:gd name="T87" fmla="*/ 2147483647 h 104"/>
                  <a:gd name="T88" fmla="*/ 2147483647 w 164"/>
                  <a:gd name="T89" fmla="*/ 2147483647 h 104"/>
                  <a:gd name="T90" fmla="*/ 2147483647 w 164"/>
                  <a:gd name="T91" fmla="*/ 2147483647 h 104"/>
                  <a:gd name="T92" fmla="*/ 2147483647 w 164"/>
                  <a:gd name="T93" fmla="*/ 2147483647 h 104"/>
                  <a:gd name="T94" fmla="*/ 2147483647 w 164"/>
                  <a:gd name="T95" fmla="*/ 2147483647 h 104"/>
                  <a:gd name="T96" fmla="*/ 2147483647 w 164"/>
                  <a:gd name="T97" fmla="*/ 2147483647 h 104"/>
                  <a:gd name="T98" fmla="*/ 2147483647 w 164"/>
                  <a:gd name="T99" fmla="*/ 2147483647 h 104"/>
                  <a:gd name="T100" fmla="*/ 2147483647 w 164"/>
                  <a:gd name="T101" fmla="*/ 2147483647 h 104"/>
                  <a:gd name="T102" fmla="*/ 2147483647 w 164"/>
                  <a:gd name="T103" fmla="*/ 2147483647 h 104"/>
                  <a:gd name="T104" fmla="*/ 2147483647 w 164"/>
                  <a:gd name="T105" fmla="*/ 2147483647 h 104"/>
                  <a:gd name="T106" fmla="*/ 2147483647 w 164"/>
                  <a:gd name="T107" fmla="*/ 2147483647 h 104"/>
                  <a:gd name="T108" fmla="*/ 2147483647 w 164"/>
                  <a:gd name="T109" fmla="*/ 2147483647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64" h="104">
                    <a:moveTo>
                      <a:pt x="153" y="104"/>
                    </a:moveTo>
                    <a:lnTo>
                      <a:pt x="134" y="102"/>
                    </a:lnTo>
                    <a:lnTo>
                      <a:pt x="110" y="97"/>
                    </a:lnTo>
                    <a:lnTo>
                      <a:pt x="96" y="94"/>
                    </a:lnTo>
                    <a:lnTo>
                      <a:pt x="80" y="93"/>
                    </a:lnTo>
                    <a:lnTo>
                      <a:pt x="73" y="93"/>
                    </a:lnTo>
                    <a:lnTo>
                      <a:pt x="64" y="94"/>
                    </a:lnTo>
                    <a:lnTo>
                      <a:pt x="55" y="96"/>
                    </a:lnTo>
                    <a:lnTo>
                      <a:pt x="47" y="98"/>
                    </a:lnTo>
                    <a:lnTo>
                      <a:pt x="41" y="100"/>
                    </a:lnTo>
                    <a:lnTo>
                      <a:pt x="34" y="100"/>
                    </a:lnTo>
                    <a:lnTo>
                      <a:pt x="27" y="99"/>
                    </a:lnTo>
                    <a:lnTo>
                      <a:pt x="19" y="96"/>
                    </a:lnTo>
                    <a:lnTo>
                      <a:pt x="11" y="92"/>
                    </a:lnTo>
                    <a:lnTo>
                      <a:pt x="6" y="88"/>
                    </a:lnTo>
                    <a:lnTo>
                      <a:pt x="3" y="86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1" y="74"/>
                    </a:lnTo>
                    <a:lnTo>
                      <a:pt x="3" y="71"/>
                    </a:lnTo>
                    <a:lnTo>
                      <a:pt x="6" y="70"/>
                    </a:lnTo>
                    <a:lnTo>
                      <a:pt x="12" y="67"/>
                    </a:lnTo>
                    <a:lnTo>
                      <a:pt x="20" y="66"/>
                    </a:lnTo>
                    <a:lnTo>
                      <a:pt x="40" y="66"/>
                    </a:lnTo>
                    <a:lnTo>
                      <a:pt x="61" y="67"/>
                    </a:lnTo>
                    <a:lnTo>
                      <a:pt x="70" y="67"/>
                    </a:lnTo>
                    <a:lnTo>
                      <a:pt x="79" y="67"/>
                    </a:lnTo>
                    <a:lnTo>
                      <a:pt x="87" y="67"/>
                    </a:lnTo>
                    <a:lnTo>
                      <a:pt x="94" y="67"/>
                    </a:lnTo>
                    <a:lnTo>
                      <a:pt x="94" y="56"/>
                    </a:lnTo>
                    <a:lnTo>
                      <a:pt x="94" y="43"/>
                    </a:lnTo>
                    <a:lnTo>
                      <a:pt x="94" y="29"/>
                    </a:lnTo>
                    <a:lnTo>
                      <a:pt x="94" y="18"/>
                    </a:lnTo>
                    <a:lnTo>
                      <a:pt x="79" y="17"/>
                    </a:lnTo>
                    <a:lnTo>
                      <a:pt x="67" y="15"/>
                    </a:lnTo>
                    <a:lnTo>
                      <a:pt x="62" y="13"/>
                    </a:lnTo>
                    <a:lnTo>
                      <a:pt x="57" y="10"/>
                    </a:lnTo>
                    <a:lnTo>
                      <a:pt x="52" y="6"/>
                    </a:lnTo>
                    <a:lnTo>
                      <a:pt x="47" y="0"/>
                    </a:lnTo>
                    <a:lnTo>
                      <a:pt x="146" y="0"/>
                    </a:lnTo>
                    <a:lnTo>
                      <a:pt x="147" y="6"/>
                    </a:lnTo>
                    <a:lnTo>
                      <a:pt x="148" y="13"/>
                    </a:lnTo>
                    <a:lnTo>
                      <a:pt x="150" y="19"/>
                    </a:lnTo>
                    <a:lnTo>
                      <a:pt x="152" y="25"/>
                    </a:lnTo>
                    <a:lnTo>
                      <a:pt x="156" y="35"/>
                    </a:lnTo>
                    <a:lnTo>
                      <a:pt x="159" y="46"/>
                    </a:lnTo>
                    <a:lnTo>
                      <a:pt x="163" y="54"/>
                    </a:lnTo>
                    <a:lnTo>
                      <a:pt x="164" y="62"/>
                    </a:lnTo>
                    <a:lnTo>
                      <a:pt x="163" y="65"/>
                    </a:lnTo>
                    <a:lnTo>
                      <a:pt x="160" y="68"/>
                    </a:lnTo>
                    <a:lnTo>
                      <a:pt x="157" y="71"/>
                    </a:lnTo>
                    <a:lnTo>
                      <a:pt x="153" y="73"/>
                    </a:lnTo>
                    <a:lnTo>
                      <a:pt x="153" y="104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2" name="Freeform 197"/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8202943" y="5871164"/>
                <a:ext cx="29904" cy="64528"/>
              </a:xfrm>
              <a:custGeom>
                <a:avLst/>
                <a:gdLst>
                  <a:gd name="T0" fmla="*/ 0 w 53"/>
                  <a:gd name="T1" fmla="*/ 2147483647 h 19"/>
                  <a:gd name="T2" fmla="*/ 1257488026 w 53"/>
                  <a:gd name="T3" fmla="*/ 2147483647 h 19"/>
                  <a:gd name="T4" fmla="*/ 2147483647 w 53"/>
                  <a:gd name="T5" fmla="*/ 2147483647 h 19"/>
                  <a:gd name="T6" fmla="*/ 2147483647 w 53"/>
                  <a:gd name="T7" fmla="*/ 2147483647 h 19"/>
                  <a:gd name="T8" fmla="*/ 2147483647 w 53"/>
                  <a:gd name="T9" fmla="*/ 2147483647 h 19"/>
                  <a:gd name="T10" fmla="*/ 2147483647 w 53"/>
                  <a:gd name="T11" fmla="*/ 2147483647 h 19"/>
                  <a:gd name="T12" fmla="*/ 2147483647 w 53"/>
                  <a:gd name="T13" fmla="*/ 2147483647 h 19"/>
                  <a:gd name="T14" fmla="*/ 2147483647 w 53"/>
                  <a:gd name="T15" fmla="*/ 2147483647 h 19"/>
                  <a:gd name="T16" fmla="*/ 2147483647 w 53"/>
                  <a:gd name="T17" fmla="*/ 2147483647 h 19"/>
                  <a:gd name="T18" fmla="*/ 2147483647 w 53"/>
                  <a:gd name="T19" fmla="*/ 2147483647 h 19"/>
                  <a:gd name="T20" fmla="*/ 2147483647 w 53"/>
                  <a:gd name="T21" fmla="*/ 2147483647 h 19"/>
                  <a:gd name="T22" fmla="*/ 2147483647 w 53"/>
                  <a:gd name="T23" fmla="*/ 2147483647 h 19"/>
                  <a:gd name="T24" fmla="*/ 2147483647 w 53"/>
                  <a:gd name="T25" fmla="*/ 0 h 19"/>
                  <a:gd name="T26" fmla="*/ 2147483647 w 53"/>
                  <a:gd name="T27" fmla="*/ 0 h 19"/>
                  <a:gd name="T28" fmla="*/ 2147483647 w 53"/>
                  <a:gd name="T29" fmla="*/ 2147483647 h 19"/>
                  <a:gd name="T30" fmla="*/ 1257488026 w 53"/>
                  <a:gd name="T31" fmla="*/ 2147483647 h 19"/>
                  <a:gd name="T32" fmla="*/ 0 w 53"/>
                  <a:gd name="T33" fmla="*/ 2147483647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3" name="Freeform 198"/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8159085" y="5847862"/>
                <a:ext cx="43859" cy="66320"/>
              </a:xfrm>
              <a:custGeom>
                <a:avLst/>
                <a:gdLst>
                  <a:gd name="T0" fmla="*/ 0 w 80"/>
                  <a:gd name="T1" fmla="*/ 0 h 18"/>
                  <a:gd name="T2" fmla="*/ 164709185 w 80"/>
                  <a:gd name="T3" fmla="*/ 2147483647 h 18"/>
                  <a:gd name="T4" fmla="*/ 823846908 w 80"/>
                  <a:gd name="T5" fmla="*/ 2147483647 h 18"/>
                  <a:gd name="T6" fmla="*/ 1318275445 w 80"/>
                  <a:gd name="T7" fmla="*/ 2147483647 h 18"/>
                  <a:gd name="T8" fmla="*/ 1812703435 w 80"/>
                  <a:gd name="T9" fmla="*/ 2147483647 h 18"/>
                  <a:gd name="T10" fmla="*/ 2147483647 w 80"/>
                  <a:gd name="T11" fmla="*/ 2147483647 h 18"/>
                  <a:gd name="T12" fmla="*/ 2147483647 w 80"/>
                  <a:gd name="T13" fmla="*/ 2147483647 h 18"/>
                  <a:gd name="T14" fmla="*/ 2147483647 w 80"/>
                  <a:gd name="T15" fmla="*/ 2147483647 h 18"/>
                  <a:gd name="T16" fmla="*/ 2147483647 w 80"/>
                  <a:gd name="T17" fmla="*/ 2147483647 h 18"/>
                  <a:gd name="T18" fmla="*/ 2147483647 w 80"/>
                  <a:gd name="T19" fmla="*/ 2147483647 h 18"/>
                  <a:gd name="T20" fmla="*/ 2147483647 w 80"/>
                  <a:gd name="T21" fmla="*/ 2147483647 h 18"/>
                  <a:gd name="T22" fmla="*/ 2147483647 w 80"/>
                  <a:gd name="T23" fmla="*/ 2147483647 h 18"/>
                  <a:gd name="T24" fmla="*/ 2147483647 w 80"/>
                  <a:gd name="T25" fmla="*/ 2147483647 h 18"/>
                  <a:gd name="T26" fmla="*/ 2147483647 w 80"/>
                  <a:gd name="T27" fmla="*/ 2147483647 h 18"/>
                  <a:gd name="T28" fmla="*/ 2147483647 w 80"/>
                  <a:gd name="T29" fmla="*/ 2147483647 h 18"/>
                  <a:gd name="T30" fmla="*/ 2147483647 w 80"/>
                  <a:gd name="T31" fmla="*/ 2147483647 h 18"/>
                  <a:gd name="T32" fmla="*/ 2147483647 w 80"/>
                  <a:gd name="T33" fmla="*/ 2147483647 h 18"/>
                  <a:gd name="T34" fmla="*/ 2147483647 w 80"/>
                  <a:gd name="T35" fmla="*/ 2147483647 h 18"/>
                  <a:gd name="T36" fmla="*/ 2147483647 w 80"/>
                  <a:gd name="T37" fmla="*/ 0 h 18"/>
                  <a:gd name="T38" fmla="*/ 0 w 80"/>
                  <a:gd name="T39" fmla="*/ 0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80" h="18">
                    <a:moveTo>
                      <a:pt x="0" y="0"/>
                    </a:moveTo>
                    <a:lnTo>
                      <a:pt x="1" y="6"/>
                    </a:lnTo>
                    <a:lnTo>
                      <a:pt x="5" y="12"/>
                    </a:lnTo>
                    <a:lnTo>
                      <a:pt x="8" y="14"/>
                    </a:lnTo>
                    <a:lnTo>
                      <a:pt x="11" y="16"/>
                    </a:lnTo>
                    <a:lnTo>
                      <a:pt x="15" y="18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6" y="11"/>
                    </a:lnTo>
                    <a:lnTo>
                      <a:pt x="31" y="10"/>
                    </a:lnTo>
                    <a:lnTo>
                      <a:pt x="38" y="8"/>
                    </a:lnTo>
                    <a:lnTo>
                      <a:pt x="47" y="7"/>
                    </a:lnTo>
                    <a:lnTo>
                      <a:pt x="57" y="7"/>
                    </a:lnTo>
                    <a:lnTo>
                      <a:pt x="66" y="6"/>
                    </a:lnTo>
                    <a:lnTo>
                      <a:pt x="70" y="5"/>
                    </a:lnTo>
                    <a:lnTo>
                      <a:pt x="74" y="4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4" name="Freeform 199"/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8159085" y="5824560"/>
                <a:ext cx="27910" cy="68113"/>
              </a:xfrm>
              <a:custGeom>
                <a:avLst/>
                <a:gdLst>
                  <a:gd name="T0" fmla="*/ 2147483647 w 46"/>
                  <a:gd name="T1" fmla="*/ 0 h 27"/>
                  <a:gd name="T2" fmla="*/ 0 w 46"/>
                  <a:gd name="T3" fmla="*/ 2147483647 h 27"/>
                  <a:gd name="T4" fmla="*/ 2010370648 w 46"/>
                  <a:gd name="T5" fmla="*/ 2147483647 h 27"/>
                  <a:gd name="T6" fmla="*/ 2147483647 w 46"/>
                  <a:gd name="T7" fmla="*/ 2147483647 h 27"/>
                  <a:gd name="T8" fmla="*/ 2147483647 w 46"/>
                  <a:gd name="T9" fmla="*/ 2147483647 h 27"/>
                  <a:gd name="T10" fmla="*/ 2147483647 w 46"/>
                  <a:gd name="T11" fmla="*/ 2147483647 h 27"/>
                  <a:gd name="T12" fmla="*/ 2147483647 w 46"/>
                  <a:gd name="T13" fmla="*/ 2147483647 h 27"/>
                  <a:gd name="T14" fmla="*/ 2147483647 w 46"/>
                  <a:gd name="T15" fmla="*/ 2147483647 h 27"/>
                  <a:gd name="T16" fmla="*/ 2147483647 w 46"/>
                  <a:gd name="T17" fmla="*/ 2147483647 h 27"/>
                  <a:gd name="T18" fmla="*/ 2147483647 w 46"/>
                  <a:gd name="T19" fmla="*/ 2147483647 h 27"/>
                  <a:gd name="T20" fmla="*/ 2147483647 w 46"/>
                  <a:gd name="T21" fmla="*/ 2147483647 h 27"/>
                  <a:gd name="T22" fmla="*/ 2147483647 w 46"/>
                  <a:gd name="T23" fmla="*/ 2147483647 h 27"/>
                  <a:gd name="T24" fmla="*/ 2147483647 w 46"/>
                  <a:gd name="T25" fmla="*/ 2147483647 h 27"/>
                  <a:gd name="T26" fmla="*/ 2147483647 w 46"/>
                  <a:gd name="T27" fmla="*/ 0 h 2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6" h="27">
                    <a:moveTo>
                      <a:pt x="20" y="0"/>
                    </a:moveTo>
                    <a:lnTo>
                      <a:pt x="0" y="18"/>
                    </a:lnTo>
                    <a:lnTo>
                      <a:pt x="9" y="22"/>
                    </a:lnTo>
                    <a:lnTo>
                      <a:pt x="16" y="25"/>
                    </a:lnTo>
                    <a:lnTo>
                      <a:pt x="23" y="27"/>
                    </a:lnTo>
                    <a:lnTo>
                      <a:pt x="29" y="27"/>
                    </a:lnTo>
                    <a:lnTo>
                      <a:pt x="33" y="27"/>
                    </a:lnTo>
                    <a:lnTo>
                      <a:pt x="37" y="25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1" y="16"/>
                    </a:lnTo>
                    <a:lnTo>
                      <a:pt x="33" y="11"/>
                    </a:lnTo>
                    <a:lnTo>
                      <a:pt x="26" y="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5" name="Freeform 200"/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8121208" y="5817390"/>
                <a:ext cx="31897" cy="68113"/>
              </a:xfrm>
              <a:custGeom>
                <a:avLst/>
                <a:gdLst>
                  <a:gd name="T0" fmla="*/ 2147483647 w 54"/>
                  <a:gd name="T1" fmla="*/ 0 h 39"/>
                  <a:gd name="T2" fmla="*/ 2147483647 w 54"/>
                  <a:gd name="T3" fmla="*/ 2147483647 h 39"/>
                  <a:gd name="T4" fmla="*/ 2061005162 w 54"/>
                  <a:gd name="T5" fmla="*/ 2147483647 h 39"/>
                  <a:gd name="T6" fmla="*/ 1236533278 w 54"/>
                  <a:gd name="T7" fmla="*/ 2147483647 h 39"/>
                  <a:gd name="T8" fmla="*/ 824471884 w 54"/>
                  <a:gd name="T9" fmla="*/ 2147483647 h 39"/>
                  <a:gd name="T10" fmla="*/ 412061395 w 54"/>
                  <a:gd name="T11" fmla="*/ 2147483647 h 39"/>
                  <a:gd name="T12" fmla="*/ 0 w 54"/>
                  <a:gd name="T13" fmla="*/ 2147483647 h 39"/>
                  <a:gd name="T14" fmla="*/ 412061395 w 54"/>
                  <a:gd name="T15" fmla="*/ 2147483647 h 39"/>
                  <a:gd name="T16" fmla="*/ 618266639 w 54"/>
                  <a:gd name="T17" fmla="*/ 2147483647 h 39"/>
                  <a:gd name="T18" fmla="*/ 1030328034 w 54"/>
                  <a:gd name="T19" fmla="*/ 2147483647 h 39"/>
                  <a:gd name="T20" fmla="*/ 1648595264 w 54"/>
                  <a:gd name="T21" fmla="*/ 2147483647 h 39"/>
                  <a:gd name="T22" fmla="*/ 2147483647 w 54"/>
                  <a:gd name="T23" fmla="*/ 2147483647 h 39"/>
                  <a:gd name="T24" fmla="*/ 2147483647 w 54"/>
                  <a:gd name="T25" fmla="*/ 2147483647 h 39"/>
                  <a:gd name="T26" fmla="*/ 2147483647 w 54"/>
                  <a:gd name="T27" fmla="*/ 2147483647 h 39"/>
                  <a:gd name="T28" fmla="*/ 2147483647 w 54"/>
                  <a:gd name="T29" fmla="*/ 2147483647 h 39"/>
                  <a:gd name="T30" fmla="*/ 2147483647 w 54"/>
                  <a:gd name="T31" fmla="*/ 2147483647 h 39"/>
                  <a:gd name="T32" fmla="*/ 2147483647 w 54"/>
                  <a:gd name="T33" fmla="*/ 2147483647 h 39"/>
                  <a:gd name="T34" fmla="*/ 2147483647 w 54"/>
                  <a:gd name="T35" fmla="*/ 2147483647 h 39"/>
                  <a:gd name="T36" fmla="*/ 2147483647 w 54"/>
                  <a:gd name="T37" fmla="*/ 2147483647 h 39"/>
                  <a:gd name="T38" fmla="*/ 2147483647 w 54"/>
                  <a:gd name="T39" fmla="*/ 2147483647 h 39"/>
                  <a:gd name="T40" fmla="*/ 2147483647 w 54"/>
                  <a:gd name="T41" fmla="*/ 2147483647 h 39"/>
                  <a:gd name="T42" fmla="*/ 2147483647 w 54"/>
                  <a:gd name="T43" fmla="*/ 2147483647 h 39"/>
                  <a:gd name="T44" fmla="*/ 2147483647 w 54"/>
                  <a:gd name="T45" fmla="*/ 2147483647 h 39"/>
                  <a:gd name="T46" fmla="*/ 2147483647 w 54"/>
                  <a:gd name="T47" fmla="*/ 2147483647 h 39"/>
                  <a:gd name="T48" fmla="*/ 2147483647 w 54"/>
                  <a:gd name="T49" fmla="*/ 2147483647 h 39"/>
                  <a:gd name="T50" fmla="*/ 2147483647 w 54"/>
                  <a:gd name="T51" fmla="*/ 2147483647 h 39"/>
                  <a:gd name="T52" fmla="*/ 2147483647 w 54"/>
                  <a:gd name="T53" fmla="*/ 2147483647 h 39"/>
                  <a:gd name="T54" fmla="*/ 2147483647 w 54"/>
                  <a:gd name="T55" fmla="*/ 2147483647 h 39"/>
                  <a:gd name="T56" fmla="*/ 2147483647 w 54"/>
                  <a:gd name="T57" fmla="*/ 2147483647 h 39"/>
                  <a:gd name="T58" fmla="*/ 2147483647 w 54"/>
                  <a:gd name="T59" fmla="*/ 2147483647 h 39"/>
                  <a:gd name="T60" fmla="*/ 2147483647 w 54"/>
                  <a:gd name="T61" fmla="*/ 0 h 3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54" h="39">
                    <a:moveTo>
                      <a:pt x="34" y="0"/>
                    </a:moveTo>
                    <a:lnTo>
                      <a:pt x="20" y="4"/>
                    </a:lnTo>
                    <a:lnTo>
                      <a:pt x="10" y="10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3" y="32"/>
                    </a:lnTo>
                    <a:lnTo>
                      <a:pt x="5" y="35"/>
                    </a:lnTo>
                    <a:lnTo>
                      <a:pt x="8" y="37"/>
                    </a:lnTo>
                    <a:lnTo>
                      <a:pt x="11" y="38"/>
                    </a:lnTo>
                    <a:lnTo>
                      <a:pt x="16" y="39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30" y="38"/>
                    </a:lnTo>
                    <a:lnTo>
                      <a:pt x="34" y="37"/>
                    </a:lnTo>
                    <a:lnTo>
                      <a:pt x="39" y="35"/>
                    </a:lnTo>
                    <a:lnTo>
                      <a:pt x="43" y="33"/>
                    </a:lnTo>
                    <a:lnTo>
                      <a:pt x="47" y="30"/>
                    </a:lnTo>
                    <a:lnTo>
                      <a:pt x="50" y="26"/>
                    </a:lnTo>
                    <a:lnTo>
                      <a:pt x="52" y="22"/>
                    </a:lnTo>
                    <a:lnTo>
                      <a:pt x="54" y="18"/>
                    </a:lnTo>
                    <a:lnTo>
                      <a:pt x="51" y="17"/>
                    </a:lnTo>
                    <a:lnTo>
                      <a:pt x="48" y="16"/>
                    </a:lnTo>
                    <a:lnTo>
                      <a:pt x="44" y="14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7" y="5"/>
                    </a:lnTo>
                    <a:lnTo>
                      <a:pt x="34" y="2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6" name="Freeform 201"/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8089310" y="5806635"/>
                <a:ext cx="35884" cy="66321"/>
              </a:xfrm>
              <a:custGeom>
                <a:avLst/>
                <a:gdLst>
                  <a:gd name="T0" fmla="*/ 0 w 60"/>
                  <a:gd name="T1" fmla="*/ 2147483647 h 15"/>
                  <a:gd name="T2" fmla="*/ 2139306595 w 60"/>
                  <a:gd name="T3" fmla="*/ 2147483647 h 15"/>
                  <a:gd name="T4" fmla="*/ 2147483647 w 60"/>
                  <a:gd name="T5" fmla="*/ 2147483647 h 15"/>
                  <a:gd name="T6" fmla="*/ 2147483647 w 60"/>
                  <a:gd name="T7" fmla="*/ 2147483647 h 15"/>
                  <a:gd name="T8" fmla="*/ 2147483647 w 60"/>
                  <a:gd name="T9" fmla="*/ 2147483647 h 15"/>
                  <a:gd name="T10" fmla="*/ 2147483647 w 60"/>
                  <a:gd name="T11" fmla="*/ 2147483647 h 15"/>
                  <a:gd name="T12" fmla="*/ 2147483647 w 60"/>
                  <a:gd name="T13" fmla="*/ 2147483647 h 15"/>
                  <a:gd name="T14" fmla="*/ 2147483647 w 60"/>
                  <a:gd name="T15" fmla="*/ 2147483647 h 15"/>
                  <a:gd name="T16" fmla="*/ 2147483647 w 60"/>
                  <a:gd name="T17" fmla="*/ 2147483647 h 15"/>
                  <a:gd name="T18" fmla="*/ 2147483647 w 60"/>
                  <a:gd name="T19" fmla="*/ 2147483647 h 15"/>
                  <a:gd name="T20" fmla="*/ 2147483647 w 60"/>
                  <a:gd name="T21" fmla="*/ 0 h 15"/>
                  <a:gd name="T22" fmla="*/ 2147483647 w 60"/>
                  <a:gd name="T23" fmla="*/ 0 h 15"/>
                  <a:gd name="T24" fmla="*/ 2147483647 w 60"/>
                  <a:gd name="T25" fmla="*/ 0 h 15"/>
                  <a:gd name="T26" fmla="*/ 2147483647 w 60"/>
                  <a:gd name="T27" fmla="*/ 0 h 15"/>
                  <a:gd name="T28" fmla="*/ 2147483647 w 60"/>
                  <a:gd name="T29" fmla="*/ 2147483647 h 15"/>
                  <a:gd name="T30" fmla="*/ 2147483647 w 60"/>
                  <a:gd name="T31" fmla="*/ 2147483647 h 15"/>
                  <a:gd name="T32" fmla="*/ 2147483647 w 60"/>
                  <a:gd name="T33" fmla="*/ 2147483647 h 15"/>
                  <a:gd name="T34" fmla="*/ 1497264086 w 60"/>
                  <a:gd name="T35" fmla="*/ 2147483647 h 15"/>
                  <a:gd name="T36" fmla="*/ 0 w 60"/>
                  <a:gd name="T37" fmla="*/ 2147483647 h 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0" h="15">
                    <a:moveTo>
                      <a:pt x="0" y="11"/>
                    </a:moveTo>
                    <a:lnTo>
                      <a:pt x="10" y="13"/>
                    </a:lnTo>
                    <a:lnTo>
                      <a:pt x="18" y="14"/>
                    </a:lnTo>
                    <a:lnTo>
                      <a:pt x="27" y="15"/>
                    </a:lnTo>
                    <a:lnTo>
                      <a:pt x="35" y="15"/>
                    </a:lnTo>
                    <a:lnTo>
                      <a:pt x="41" y="14"/>
                    </a:lnTo>
                    <a:lnTo>
                      <a:pt x="48" y="12"/>
                    </a:lnTo>
                    <a:lnTo>
                      <a:pt x="55" y="9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3" y="3"/>
                    </a:lnTo>
                    <a:lnTo>
                      <a:pt x="24" y="6"/>
                    </a:lnTo>
                    <a:lnTo>
                      <a:pt x="16" y="8"/>
                    </a:lnTo>
                    <a:lnTo>
                      <a:pt x="7" y="10"/>
                    </a:lnTo>
                    <a:lnTo>
                      <a:pt x="0" y="1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7" name="Freeform 202"/>
              <p:cNvSpPr>
                <a:spLocks/>
              </p:cNvSpPr>
              <p:nvPr>
                <p:custDataLst>
                  <p:tags r:id="rId327"/>
                </p:custDataLst>
              </p:nvPr>
            </p:nvSpPr>
            <p:spPr bwMode="auto">
              <a:xfrm>
                <a:off x="8059406" y="5792296"/>
                <a:ext cx="41866" cy="64528"/>
              </a:xfrm>
              <a:custGeom>
                <a:avLst/>
                <a:gdLst>
                  <a:gd name="T0" fmla="*/ 2147483647 w 79"/>
                  <a:gd name="T1" fmla="*/ 0 h 32"/>
                  <a:gd name="T2" fmla="*/ 2147483647 w 79"/>
                  <a:gd name="T3" fmla="*/ 2147483647 h 32"/>
                  <a:gd name="T4" fmla="*/ 2147483647 w 79"/>
                  <a:gd name="T5" fmla="*/ 2147483647 h 32"/>
                  <a:gd name="T6" fmla="*/ 2147483647 w 79"/>
                  <a:gd name="T7" fmla="*/ 2147483647 h 32"/>
                  <a:gd name="T8" fmla="*/ 2147483647 w 79"/>
                  <a:gd name="T9" fmla="*/ 2147483647 h 32"/>
                  <a:gd name="T10" fmla="*/ 2147483647 w 79"/>
                  <a:gd name="T11" fmla="*/ 2147483647 h 32"/>
                  <a:gd name="T12" fmla="*/ 1488204873 w 79"/>
                  <a:gd name="T13" fmla="*/ 2147483647 h 32"/>
                  <a:gd name="T14" fmla="*/ 744242873 w 79"/>
                  <a:gd name="T15" fmla="*/ 2147483647 h 32"/>
                  <a:gd name="T16" fmla="*/ 0 w 79"/>
                  <a:gd name="T17" fmla="*/ 2147483647 h 32"/>
                  <a:gd name="T18" fmla="*/ 744242873 w 79"/>
                  <a:gd name="T19" fmla="*/ 2147483647 h 32"/>
                  <a:gd name="T20" fmla="*/ 1488204873 w 79"/>
                  <a:gd name="T21" fmla="*/ 2147483647 h 32"/>
                  <a:gd name="T22" fmla="*/ 1785901810 w 79"/>
                  <a:gd name="T23" fmla="*/ 2147483647 h 32"/>
                  <a:gd name="T24" fmla="*/ 2147483647 w 79"/>
                  <a:gd name="T25" fmla="*/ 2147483647 h 32"/>
                  <a:gd name="T26" fmla="*/ 2147483647 w 79"/>
                  <a:gd name="T27" fmla="*/ 2147483647 h 32"/>
                  <a:gd name="T28" fmla="*/ 2147483647 w 79"/>
                  <a:gd name="T29" fmla="*/ 2147483647 h 32"/>
                  <a:gd name="T30" fmla="*/ 2147483647 w 79"/>
                  <a:gd name="T31" fmla="*/ 2147483647 h 32"/>
                  <a:gd name="T32" fmla="*/ 2147483647 w 79"/>
                  <a:gd name="T33" fmla="*/ 2147483647 h 32"/>
                  <a:gd name="T34" fmla="*/ 2147483647 w 79"/>
                  <a:gd name="T35" fmla="*/ 2147483647 h 32"/>
                  <a:gd name="T36" fmla="*/ 2147483647 w 79"/>
                  <a:gd name="T37" fmla="*/ 2147483647 h 32"/>
                  <a:gd name="T38" fmla="*/ 2147483647 w 79"/>
                  <a:gd name="T39" fmla="*/ 2147483647 h 32"/>
                  <a:gd name="T40" fmla="*/ 2147483647 w 79"/>
                  <a:gd name="T41" fmla="*/ 2147483647 h 32"/>
                  <a:gd name="T42" fmla="*/ 2147483647 w 79"/>
                  <a:gd name="T43" fmla="*/ 2147483647 h 32"/>
                  <a:gd name="T44" fmla="*/ 2147483647 w 79"/>
                  <a:gd name="T45" fmla="*/ 2147483647 h 32"/>
                  <a:gd name="T46" fmla="*/ 2147483647 w 79"/>
                  <a:gd name="T47" fmla="*/ 2147483647 h 32"/>
                  <a:gd name="T48" fmla="*/ 2147483647 w 79"/>
                  <a:gd name="T49" fmla="*/ 0 h 3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32">
                    <a:moveTo>
                      <a:pt x="40" y="0"/>
                    </a:moveTo>
                    <a:lnTo>
                      <a:pt x="34" y="1"/>
                    </a:lnTo>
                    <a:lnTo>
                      <a:pt x="30" y="2"/>
                    </a:lnTo>
                    <a:lnTo>
                      <a:pt x="25" y="4"/>
                    </a:lnTo>
                    <a:lnTo>
                      <a:pt x="20" y="6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5" y="12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10" y="26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8" y="31"/>
                    </a:lnTo>
                    <a:lnTo>
                      <a:pt x="20" y="32"/>
                    </a:lnTo>
                    <a:lnTo>
                      <a:pt x="27" y="31"/>
                    </a:lnTo>
                    <a:lnTo>
                      <a:pt x="34" y="30"/>
                    </a:lnTo>
                    <a:lnTo>
                      <a:pt x="41" y="27"/>
                    </a:lnTo>
                    <a:lnTo>
                      <a:pt x="48" y="24"/>
                    </a:lnTo>
                    <a:lnTo>
                      <a:pt x="62" y="18"/>
                    </a:lnTo>
                    <a:lnTo>
                      <a:pt x="79" y="13"/>
                    </a:lnTo>
                    <a:lnTo>
                      <a:pt x="67" y="6"/>
                    </a:lnTo>
                    <a:lnTo>
                      <a:pt x="58" y="2"/>
                    </a:lnTo>
                    <a:lnTo>
                      <a:pt x="49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8" name="Freeform 203"/>
              <p:cNvSpPr>
                <a:spLocks/>
              </p:cNvSpPr>
              <p:nvPr>
                <p:custDataLst>
                  <p:tags r:id="rId328"/>
                </p:custDataLst>
              </p:nvPr>
            </p:nvSpPr>
            <p:spPr bwMode="auto">
              <a:xfrm>
                <a:off x="8051432" y="5770786"/>
                <a:ext cx="37878" cy="64528"/>
              </a:xfrm>
              <a:custGeom>
                <a:avLst/>
                <a:gdLst>
                  <a:gd name="T0" fmla="*/ 2147483647 w 66"/>
                  <a:gd name="T1" fmla="*/ 0 h 19"/>
                  <a:gd name="T2" fmla="*/ 2147483647 w 66"/>
                  <a:gd name="T3" fmla="*/ 2147483647 h 19"/>
                  <a:gd name="T4" fmla="*/ 2147483647 w 66"/>
                  <a:gd name="T5" fmla="*/ 2147483647 h 19"/>
                  <a:gd name="T6" fmla="*/ 2147483647 w 66"/>
                  <a:gd name="T7" fmla="*/ 2147483647 h 19"/>
                  <a:gd name="T8" fmla="*/ 1701204284 w 66"/>
                  <a:gd name="T9" fmla="*/ 2147483647 h 19"/>
                  <a:gd name="T10" fmla="*/ 945296568 w 66"/>
                  <a:gd name="T11" fmla="*/ 2147483647 h 19"/>
                  <a:gd name="T12" fmla="*/ 378118857 w 66"/>
                  <a:gd name="T13" fmla="*/ 2147483647 h 19"/>
                  <a:gd name="T14" fmla="*/ 0 w 66"/>
                  <a:gd name="T15" fmla="*/ 2147483647 h 19"/>
                  <a:gd name="T16" fmla="*/ 0 w 66"/>
                  <a:gd name="T17" fmla="*/ 2147483647 h 19"/>
                  <a:gd name="T18" fmla="*/ 2147483647 w 66"/>
                  <a:gd name="T19" fmla="*/ 2147483647 h 19"/>
                  <a:gd name="T20" fmla="*/ 2147483647 w 66"/>
                  <a:gd name="T21" fmla="*/ 2147483647 h 19"/>
                  <a:gd name="T22" fmla="*/ 2147483647 w 66"/>
                  <a:gd name="T23" fmla="*/ 2147483647 h 19"/>
                  <a:gd name="T24" fmla="*/ 2147483647 w 66"/>
                  <a:gd name="T25" fmla="*/ 2147483647 h 19"/>
                  <a:gd name="T26" fmla="*/ 2147483647 w 66"/>
                  <a:gd name="T27" fmla="*/ 2147483647 h 19"/>
                  <a:gd name="T28" fmla="*/ 2147483647 w 66"/>
                  <a:gd name="T29" fmla="*/ 2147483647 h 19"/>
                  <a:gd name="T30" fmla="*/ 2147483647 w 66"/>
                  <a:gd name="T31" fmla="*/ 2147483647 h 19"/>
                  <a:gd name="T32" fmla="*/ 2147483647 w 66"/>
                  <a:gd name="T33" fmla="*/ 2147483647 h 19"/>
                  <a:gd name="T34" fmla="*/ 2147483647 w 66"/>
                  <a:gd name="T35" fmla="*/ 2147483647 h 19"/>
                  <a:gd name="T36" fmla="*/ 2147483647 w 66"/>
                  <a:gd name="T37" fmla="*/ 0 h 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6" h="19">
                    <a:moveTo>
                      <a:pt x="33" y="0"/>
                    </a:moveTo>
                    <a:lnTo>
                      <a:pt x="25" y="1"/>
                    </a:lnTo>
                    <a:lnTo>
                      <a:pt x="19" y="2"/>
                    </a:lnTo>
                    <a:lnTo>
                      <a:pt x="13" y="4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8" y="19"/>
                    </a:lnTo>
                    <a:lnTo>
                      <a:pt x="46" y="18"/>
                    </a:lnTo>
                    <a:lnTo>
                      <a:pt x="54" y="17"/>
                    </a:lnTo>
                    <a:lnTo>
                      <a:pt x="61" y="15"/>
                    </a:lnTo>
                    <a:lnTo>
                      <a:pt x="66" y="13"/>
                    </a:lnTo>
                    <a:lnTo>
                      <a:pt x="57" y="8"/>
                    </a:lnTo>
                    <a:lnTo>
                      <a:pt x="50" y="4"/>
                    </a:lnTo>
                    <a:lnTo>
                      <a:pt x="42" y="1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9" name="Freeform 204"/>
              <p:cNvSpPr>
                <a:spLocks/>
              </p:cNvSpPr>
              <p:nvPr>
                <p:custDataLst>
                  <p:tags r:id="rId329"/>
                </p:custDataLst>
              </p:nvPr>
            </p:nvSpPr>
            <p:spPr bwMode="auto">
              <a:xfrm>
                <a:off x="7925838" y="5421258"/>
                <a:ext cx="31897" cy="68113"/>
              </a:xfrm>
              <a:custGeom>
                <a:avLst/>
                <a:gdLst>
                  <a:gd name="T0" fmla="*/ 2147483647 w 53"/>
                  <a:gd name="T1" fmla="*/ 0 h 80"/>
                  <a:gd name="T2" fmla="*/ 1743990743 w 53"/>
                  <a:gd name="T3" fmla="*/ 2147483647 h 80"/>
                  <a:gd name="T4" fmla="*/ 871814220 w 53"/>
                  <a:gd name="T5" fmla="*/ 2147483647 h 80"/>
                  <a:gd name="T6" fmla="*/ 436088562 w 53"/>
                  <a:gd name="T7" fmla="*/ 2147483647 h 80"/>
                  <a:gd name="T8" fmla="*/ 218044281 w 53"/>
                  <a:gd name="T9" fmla="*/ 2147483647 h 80"/>
                  <a:gd name="T10" fmla="*/ 0 w 53"/>
                  <a:gd name="T11" fmla="*/ 2147483647 h 80"/>
                  <a:gd name="T12" fmla="*/ 0 w 53"/>
                  <a:gd name="T13" fmla="*/ 2147483647 h 80"/>
                  <a:gd name="T14" fmla="*/ 0 w 53"/>
                  <a:gd name="T15" fmla="*/ 2147483647 h 80"/>
                  <a:gd name="T16" fmla="*/ 436088562 w 53"/>
                  <a:gd name="T17" fmla="*/ 2147483647 h 80"/>
                  <a:gd name="T18" fmla="*/ 1307902783 w 53"/>
                  <a:gd name="T19" fmla="*/ 2147483647 h 80"/>
                  <a:gd name="T20" fmla="*/ 1961672722 w 53"/>
                  <a:gd name="T21" fmla="*/ 2147483647 h 80"/>
                  <a:gd name="T22" fmla="*/ 2147483647 w 53"/>
                  <a:gd name="T23" fmla="*/ 2147483647 h 80"/>
                  <a:gd name="T24" fmla="*/ 2147483647 w 53"/>
                  <a:gd name="T25" fmla="*/ 2147483647 h 80"/>
                  <a:gd name="T26" fmla="*/ 2147483647 w 53"/>
                  <a:gd name="T27" fmla="*/ 2147483647 h 80"/>
                  <a:gd name="T28" fmla="*/ 2147483647 w 53"/>
                  <a:gd name="T29" fmla="*/ 2147483647 h 80"/>
                  <a:gd name="T30" fmla="*/ 2147483647 w 53"/>
                  <a:gd name="T31" fmla="*/ 2147483647 h 80"/>
                  <a:gd name="T32" fmla="*/ 2147483647 w 53"/>
                  <a:gd name="T33" fmla="*/ 2147483647 h 80"/>
                  <a:gd name="T34" fmla="*/ 2147483647 w 53"/>
                  <a:gd name="T35" fmla="*/ 2147483647 h 80"/>
                  <a:gd name="T36" fmla="*/ 2147483647 w 53"/>
                  <a:gd name="T37" fmla="*/ 2147483647 h 80"/>
                  <a:gd name="T38" fmla="*/ 2147483647 w 53"/>
                  <a:gd name="T39" fmla="*/ 2147483647 h 80"/>
                  <a:gd name="T40" fmla="*/ 2147483647 w 53"/>
                  <a:gd name="T41" fmla="*/ 2147483647 h 80"/>
                  <a:gd name="T42" fmla="*/ 2147483647 w 53"/>
                  <a:gd name="T43" fmla="*/ 2147483647 h 80"/>
                  <a:gd name="T44" fmla="*/ 2147483647 w 53"/>
                  <a:gd name="T45" fmla="*/ 2147483647 h 80"/>
                  <a:gd name="T46" fmla="*/ 2147483647 w 53"/>
                  <a:gd name="T47" fmla="*/ 2147483647 h 80"/>
                  <a:gd name="T48" fmla="*/ 2147483647 w 53"/>
                  <a:gd name="T49" fmla="*/ 2147483647 h 80"/>
                  <a:gd name="T50" fmla="*/ 2147483647 w 53"/>
                  <a:gd name="T51" fmla="*/ 2147483647 h 80"/>
                  <a:gd name="T52" fmla="*/ 2147483647 w 53"/>
                  <a:gd name="T53" fmla="*/ 2147483647 h 80"/>
                  <a:gd name="T54" fmla="*/ 2147483647 w 53"/>
                  <a:gd name="T55" fmla="*/ 2147483647 h 80"/>
                  <a:gd name="T56" fmla="*/ 2147483647 w 53"/>
                  <a:gd name="T57" fmla="*/ 2147483647 h 80"/>
                  <a:gd name="T58" fmla="*/ 2147483647 w 53"/>
                  <a:gd name="T59" fmla="*/ 2147483647 h 80"/>
                  <a:gd name="T60" fmla="*/ 2147483647 w 53"/>
                  <a:gd name="T61" fmla="*/ 2147483647 h 80"/>
                  <a:gd name="T62" fmla="*/ 2147483647 w 53"/>
                  <a:gd name="T63" fmla="*/ 2147483647 h 80"/>
                  <a:gd name="T64" fmla="*/ 2147483647 w 53"/>
                  <a:gd name="T65" fmla="*/ 2147483647 h 80"/>
                  <a:gd name="T66" fmla="*/ 2147483647 w 53"/>
                  <a:gd name="T67" fmla="*/ 2147483647 h 80"/>
                  <a:gd name="T68" fmla="*/ 2147483647 w 53"/>
                  <a:gd name="T69" fmla="*/ 2147483647 h 80"/>
                  <a:gd name="T70" fmla="*/ 2147483647 w 53"/>
                  <a:gd name="T71" fmla="*/ 2147483647 h 80"/>
                  <a:gd name="T72" fmla="*/ 2147483647 w 53"/>
                  <a:gd name="T73" fmla="*/ 2147483647 h 80"/>
                  <a:gd name="T74" fmla="*/ 2147483647 w 53"/>
                  <a:gd name="T75" fmla="*/ 616892630 h 80"/>
                  <a:gd name="T76" fmla="*/ 2147483647 w 53"/>
                  <a:gd name="T77" fmla="*/ 0 h 8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53" h="80">
                    <a:moveTo>
                      <a:pt x="13" y="0"/>
                    </a:moveTo>
                    <a:lnTo>
                      <a:pt x="8" y="5"/>
                    </a:lnTo>
                    <a:lnTo>
                      <a:pt x="4" y="10"/>
                    </a:lnTo>
                    <a:lnTo>
                      <a:pt x="2" y="13"/>
                    </a:lnTo>
                    <a:lnTo>
                      <a:pt x="1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9"/>
                    </a:lnTo>
                    <a:lnTo>
                      <a:pt x="6" y="48"/>
                    </a:lnTo>
                    <a:lnTo>
                      <a:pt x="9" y="57"/>
                    </a:lnTo>
                    <a:lnTo>
                      <a:pt x="13" y="66"/>
                    </a:lnTo>
                    <a:lnTo>
                      <a:pt x="20" y="73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6" y="79"/>
                    </a:lnTo>
                    <a:lnTo>
                      <a:pt x="38" y="78"/>
                    </a:lnTo>
                    <a:lnTo>
                      <a:pt x="42" y="76"/>
                    </a:lnTo>
                    <a:lnTo>
                      <a:pt x="45" y="73"/>
                    </a:lnTo>
                    <a:lnTo>
                      <a:pt x="48" y="70"/>
                    </a:lnTo>
                    <a:lnTo>
                      <a:pt x="51" y="67"/>
                    </a:lnTo>
                    <a:lnTo>
                      <a:pt x="53" y="64"/>
                    </a:lnTo>
                    <a:lnTo>
                      <a:pt x="53" y="62"/>
                    </a:lnTo>
                    <a:lnTo>
                      <a:pt x="52" y="54"/>
                    </a:lnTo>
                    <a:lnTo>
                      <a:pt x="49" y="47"/>
                    </a:lnTo>
                    <a:lnTo>
                      <a:pt x="46" y="42"/>
                    </a:lnTo>
                    <a:lnTo>
                      <a:pt x="43" y="37"/>
                    </a:lnTo>
                    <a:lnTo>
                      <a:pt x="40" y="32"/>
                    </a:lnTo>
                    <a:lnTo>
                      <a:pt x="36" y="27"/>
                    </a:lnTo>
                    <a:lnTo>
                      <a:pt x="34" y="20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5" y="4"/>
                    </a:lnTo>
                    <a:lnTo>
                      <a:pt x="19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0" name="Freeform 205"/>
              <p:cNvSpPr>
                <a:spLocks/>
              </p:cNvSpPr>
              <p:nvPr>
                <p:custDataLst>
                  <p:tags r:id="rId330"/>
                </p:custDataLst>
              </p:nvPr>
            </p:nvSpPr>
            <p:spPr bwMode="auto">
              <a:xfrm>
                <a:off x="7963715" y="5528805"/>
                <a:ext cx="21930" cy="60943"/>
              </a:xfrm>
              <a:custGeom>
                <a:avLst/>
                <a:gdLst>
                  <a:gd name="T0" fmla="*/ 0 w 41"/>
                  <a:gd name="T1" fmla="*/ 2147483647 h 43"/>
                  <a:gd name="T2" fmla="*/ 2147483647 w 41"/>
                  <a:gd name="T3" fmla="*/ 2147483647 h 43"/>
                  <a:gd name="T4" fmla="*/ 2147483647 w 41"/>
                  <a:gd name="T5" fmla="*/ 2147483647 h 43"/>
                  <a:gd name="T6" fmla="*/ 2147483647 w 41"/>
                  <a:gd name="T7" fmla="*/ 2147483647 h 43"/>
                  <a:gd name="T8" fmla="*/ 2147483647 w 41"/>
                  <a:gd name="T9" fmla="*/ 0 h 43"/>
                  <a:gd name="T10" fmla="*/ 2147483647 w 41"/>
                  <a:gd name="T11" fmla="*/ 2147483647 h 43"/>
                  <a:gd name="T12" fmla="*/ 2147483647 w 41"/>
                  <a:gd name="T13" fmla="*/ 2147483647 h 43"/>
                  <a:gd name="T14" fmla="*/ 2147483647 w 41"/>
                  <a:gd name="T15" fmla="*/ 2147483647 h 43"/>
                  <a:gd name="T16" fmla="*/ 1530319795 w 41"/>
                  <a:gd name="T17" fmla="*/ 2147483647 h 43"/>
                  <a:gd name="T18" fmla="*/ 918077520 w 41"/>
                  <a:gd name="T19" fmla="*/ 2147483647 h 43"/>
                  <a:gd name="T20" fmla="*/ 459181572 w 41"/>
                  <a:gd name="T21" fmla="*/ 2147483647 h 43"/>
                  <a:gd name="T22" fmla="*/ 153060702 w 41"/>
                  <a:gd name="T23" fmla="*/ 2147483647 h 43"/>
                  <a:gd name="T24" fmla="*/ 0 w 41"/>
                  <a:gd name="T25" fmla="*/ 2147483647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1" h="43">
                    <a:moveTo>
                      <a:pt x="0" y="43"/>
                    </a:moveTo>
                    <a:lnTo>
                      <a:pt x="27" y="43"/>
                    </a:lnTo>
                    <a:lnTo>
                      <a:pt x="41" y="24"/>
                    </a:lnTo>
                    <a:lnTo>
                      <a:pt x="38" y="12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20" y="9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6" y="24"/>
                    </a:lnTo>
                    <a:lnTo>
                      <a:pt x="3" y="30"/>
                    </a:lnTo>
                    <a:lnTo>
                      <a:pt x="1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1" name="Freeform 206"/>
              <p:cNvSpPr>
                <a:spLocks/>
              </p:cNvSpPr>
              <p:nvPr>
                <p:custDataLst>
                  <p:tags r:id="rId331"/>
                </p:custDataLst>
              </p:nvPr>
            </p:nvSpPr>
            <p:spPr bwMode="auto">
              <a:xfrm>
                <a:off x="7969696" y="5553900"/>
                <a:ext cx="9967" cy="66320"/>
              </a:xfrm>
              <a:custGeom>
                <a:avLst/>
                <a:gdLst>
                  <a:gd name="T0" fmla="*/ 2147483647 w 20"/>
                  <a:gd name="T1" fmla="*/ 0 h 24"/>
                  <a:gd name="T2" fmla="*/ 0 w 20"/>
                  <a:gd name="T3" fmla="*/ 0 h 24"/>
                  <a:gd name="T4" fmla="*/ 123679506 w 20"/>
                  <a:gd name="T5" fmla="*/ 2147483647 h 24"/>
                  <a:gd name="T6" fmla="*/ 247607689 w 20"/>
                  <a:gd name="T7" fmla="*/ 2147483647 h 24"/>
                  <a:gd name="T8" fmla="*/ 494967200 w 20"/>
                  <a:gd name="T9" fmla="*/ 2147483647 h 24"/>
                  <a:gd name="T10" fmla="*/ 866254396 w 20"/>
                  <a:gd name="T11" fmla="*/ 2147483647 h 24"/>
                  <a:gd name="T12" fmla="*/ 1237789770 w 20"/>
                  <a:gd name="T13" fmla="*/ 2147483647 h 24"/>
                  <a:gd name="T14" fmla="*/ 1732756970 w 20"/>
                  <a:gd name="T15" fmla="*/ 2147483647 h 24"/>
                  <a:gd name="T16" fmla="*/ 2104044165 w 20"/>
                  <a:gd name="T17" fmla="*/ 2147483647 h 24"/>
                  <a:gd name="T18" fmla="*/ 2147483647 w 20"/>
                  <a:gd name="T19" fmla="*/ 2147483647 h 24"/>
                  <a:gd name="T20" fmla="*/ 2147483647 w 20"/>
                  <a:gd name="T21" fmla="*/ 0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20" y="0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2" y="9"/>
                    </a:lnTo>
                    <a:lnTo>
                      <a:pt x="4" y="13"/>
                    </a:lnTo>
                    <a:lnTo>
                      <a:pt x="7" y="17"/>
                    </a:lnTo>
                    <a:lnTo>
                      <a:pt x="10" y="20"/>
                    </a:lnTo>
                    <a:lnTo>
                      <a:pt x="14" y="22"/>
                    </a:lnTo>
                    <a:lnTo>
                      <a:pt x="17" y="24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2" name="Freeform 207"/>
              <p:cNvSpPr>
                <a:spLocks/>
              </p:cNvSpPr>
              <p:nvPr>
                <p:custDataLst>
                  <p:tags r:id="rId332"/>
                </p:custDataLst>
              </p:nvPr>
            </p:nvSpPr>
            <p:spPr bwMode="auto">
              <a:xfrm>
                <a:off x="7987638" y="5623805"/>
                <a:ext cx="21930" cy="68113"/>
              </a:xfrm>
              <a:custGeom>
                <a:avLst/>
                <a:gdLst>
                  <a:gd name="T0" fmla="*/ 0 w 39"/>
                  <a:gd name="T1" fmla="*/ 2147483647 h 43"/>
                  <a:gd name="T2" fmla="*/ 355713597 w 39"/>
                  <a:gd name="T3" fmla="*/ 2147483647 h 43"/>
                  <a:gd name="T4" fmla="*/ 1066824774 w 39"/>
                  <a:gd name="T5" fmla="*/ 2147483647 h 43"/>
                  <a:gd name="T6" fmla="*/ 2133649548 w 39"/>
                  <a:gd name="T7" fmla="*/ 2147483647 h 43"/>
                  <a:gd name="T8" fmla="*/ 2147483647 w 39"/>
                  <a:gd name="T9" fmla="*/ 2147483647 h 43"/>
                  <a:gd name="T10" fmla="*/ 2147483647 w 39"/>
                  <a:gd name="T11" fmla="*/ 2147483647 h 43"/>
                  <a:gd name="T12" fmla="*/ 2147483647 w 39"/>
                  <a:gd name="T13" fmla="*/ 2147483647 h 43"/>
                  <a:gd name="T14" fmla="*/ 2147483647 w 39"/>
                  <a:gd name="T15" fmla="*/ 2147483647 h 43"/>
                  <a:gd name="T16" fmla="*/ 2147483647 w 39"/>
                  <a:gd name="T17" fmla="*/ 2147483647 h 43"/>
                  <a:gd name="T18" fmla="*/ 2147483647 w 39"/>
                  <a:gd name="T19" fmla="*/ 2147483647 h 43"/>
                  <a:gd name="T20" fmla="*/ 2147483647 w 39"/>
                  <a:gd name="T21" fmla="*/ 2147483647 h 43"/>
                  <a:gd name="T22" fmla="*/ 2147483647 w 39"/>
                  <a:gd name="T23" fmla="*/ 2147483647 h 43"/>
                  <a:gd name="T24" fmla="*/ 2147483647 w 39"/>
                  <a:gd name="T25" fmla="*/ 0 h 43"/>
                  <a:gd name="T26" fmla="*/ 2147483647 w 39"/>
                  <a:gd name="T27" fmla="*/ 2147483647 h 43"/>
                  <a:gd name="T28" fmla="*/ 1066824774 w 39"/>
                  <a:gd name="T29" fmla="*/ 2147483647 h 43"/>
                  <a:gd name="T30" fmla="*/ 0 w 39"/>
                  <a:gd name="T31" fmla="*/ 2147483647 h 4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9" h="43">
                    <a:moveTo>
                      <a:pt x="0" y="12"/>
                    </a:moveTo>
                    <a:lnTo>
                      <a:pt x="2" y="17"/>
                    </a:lnTo>
                    <a:lnTo>
                      <a:pt x="6" y="22"/>
                    </a:lnTo>
                    <a:lnTo>
                      <a:pt x="12" y="27"/>
                    </a:lnTo>
                    <a:lnTo>
                      <a:pt x="16" y="32"/>
                    </a:lnTo>
                    <a:lnTo>
                      <a:pt x="23" y="37"/>
                    </a:lnTo>
                    <a:lnTo>
                      <a:pt x="28" y="40"/>
                    </a:lnTo>
                    <a:lnTo>
                      <a:pt x="34" y="43"/>
                    </a:lnTo>
                    <a:lnTo>
                      <a:pt x="39" y="43"/>
                    </a:lnTo>
                    <a:lnTo>
                      <a:pt x="38" y="32"/>
                    </a:lnTo>
                    <a:lnTo>
                      <a:pt x="36" y="19"/>
                    </a:lnTo>
                    <a:lnTo>
                      <a:pt x="34" y="8"/>
                    </a:lnTo>
                    <a:lnTo>
                      <a:pt x="32" y="0"/>
                    </a:lnTo>
                    <a:lnTo>
                      <a:pt x="19" y="3"/>
                    </a:lnTo>
                    <a:lnTo>
                      <a:pt x="6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3" name="Freeform 208"/>
              <p:cNvSpPr>
                <a:spLocks/>
              </p:cNvSpPr>
              <p:nvPr>
                <p:custDataLst>
                  <p:tags r:id="rId333"/>
                </p:custDataLst>
              </p:nvPr>
            </p:nvSpPr>
            <p:spPr bwMode="auto">
              <a:xfrm>
                <a:off x="7971689" y="5638145"/>
                <a:ext cx="33891" cy="66321"/>
              </a:xfrm>
              <a:custGeom>
                <a:avLst/>
                <a:gdLst>
                  <a:gd name="T0" fmla="*/ 2147483647 w 55"/>
                  <a:gd name="T1" fmla="*/ 2147483647 h 62"/>
                  <a:gd name="T2" fmla="*/ 1871933029 w 55"/>
                  <a:gd name="T3" fmla="*/ 0 h 62"/>
                  <a:gd name="T4" fmla="*/ 935966515 w 55"/>
                  <a:gd name="T5" fmla="*/ 2147483647 h 62"/>
                  <a:gd name="T6" fmla="*/ 233896580 w 55"/>
                  <a:gd name="T7" fmla="*/ 2147483647 h 62"/>
                  <a:gd name="T8" fmla="*/ 0 w 55"/>
                  <a:gd name="T9" fmla="*/ 2147483647 h 62"/>
                  <a:gd name="T10" fmla="*/ 0 w 55"/>
                  <a:gd name="T11" fmla="*/ 2147483647 h 62"/>
                  <a:gd name="T12" fmla="*/ 467793160 w 55"/>
                  <a:gd name="T13" fmla="*/ 2147483647 h 62"/>
                  <a:gd name="T14" fmla="*/ 935966515 w 55"/>
                  <a:gd name="T15" fmla="*/ 2147483647 h 62"/>
                  <a:gd name="T16" fmla="*/ 1871933029 w 55"/>
                  <a:gd name="T17" fmla="*/ 2147483647 h 62"/>
                  <a:gd name="T18" fmla="*/ 2147483647 w 55"/>
                  <a:gd name="T19" fmla="*/ 2147483647 h 62"/>
                  <a:gd name="T20" fmla="*/ 2147483647 w 55"/>
                  <a:gd name="T21" fmla="*/ 2147483647 h 62"/>
                  <a:gd name="T22" fmla="*/ 2147483647 w 55"/>
                  <a:gd name="T23" fmla="*/ 2147483647 h 62"/>
                  <a:gd name="T24" fmla="*/ 2147483647 w 55"/>
                  <a:gd name="T25" fmla="*/ 2147483647 h 62"/>
                  <a:gd name="T26" fmla="*/ 2147483647 w 55"/>
                  <a:gd name="T27" fmla="*/ 2147483647 h 62"/>
                  <a:gd name="T28" fmla="*/ 2147483647 w 55"/>
                  <a:gd name="T29" fmla="*/ 2147483647 h 62"/>
                  <a:gd name="T30" fmla="*/ 2147483647 w 55"/>
                  <a:gd name="T31" fmla="*/ 2147483647 h 62"/>
                  <a:gd name="T32" fmla="*/ 2147483647 w 55"/>
                  <a:gd name="T33" fmla="*/ 2147483647 h 62"/>
                  <a:gd name="T34" fmla="*/ 2147483647 w 55"/>
                  <a:gd name="T35" fmla="*/ 2147483647 h 62"/>
                  <a:gd name="T36" fmla="*/ 2147483647 w 55"/>
                  <a:gd name="T37" fmla="*/ 2147483647 h 62"/>
                  <a:gd name="T38" fmla="*/ 2147483647 w 55"/>
                  <a:gd name="T39" fmla="*/ 2147483647 h 62"/>
                  <a:gd name="T40" fmla="*/ 2147483647 w 55"/>
                  <a:gd name="T41" fmla="*/ 2147483647 h 62"/>
                  <a:gd name="T42" fmla="*/ 2147483647 w 55"/>
                  <a:gd name="T43" fmla="*/ 2147483647 h 62"/>
                  <a:gd name="T44" fmla="*/ 2147483647 w 55"/>
                  <a:gd name="T45" fmla="*/ 2147483647 h 62"/>
                  <a:gd name="T46" fmla="*/ 2147483647 w 55"/>
                  <a:gd name="T47" fmla="*/ 2147483647 h 62"/>
                  <a:gd name="T48" fmla="*/ 2147483647 w 55"/>
                  <a:gd name="T49" fmla="*/ 2147483647 h 62"/>
                  <a:gd name="T50" fmla="*/ 2147483647 w 55"/>
                  <a:gd name="T51" fmla="*/ 2147483647 h 6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55" h="62">
                    <a:moveTo>
                      <a:pt x="29" y="26"/>
                    </a:moveTo>
                    <a:lnTo>
                      <a:pt x="8" y="0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8" y="36"/>
                    </a:lnTo>
                    <a:lnTo>
                      <a:pt x="11" y="41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6" y="53"/>
                    </a:lnTo>
                    <a:lnTo>
                      <a:pt x="33" y="56"/>
                    </a:lnTo>
                    <a:lnTo>
                      <a:pt x="38" y="58"/>
                    </a:lnTo>
                    <a:lnTo>
                      <a:pt x="44" y="60"/>
                    </a:lnTo>
                    <a:lnTo>
                      <a:pt x="49" y="61"/>
                    </a:lnTo>
                    <a:lnTo>
                      <a:pt x="55" y="62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49" y="40"/>
                    </a:lnTo>
                    <a:lnTo>
                      <a:pt x="46" y="35"/>
                    </a:lnTo>
                    <a:lnTo>
                      <a:pt x="43" y="31"/>
                    </a:lnTo>
                    <a:lnTo>
                      <a:pt x="38" y="28"/>
                    </a:lnTo>
                    <a:lnTo>
                      <a:pt x="33" y="26"/>
                    </a:lnTo>
                    <a:lnTo>
                      <a:pt x="29" y="2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4" name="Freeform 209"/>
              <p:cNvSpPr>
                <a:spLocks/>
              </p:cNvSpPr>
              <p:nvPr>
                <p:custDataLst>
                  <p:tags r:id="rId334"/>
                </p:custDataLst>
              </p:nvPr>
            </p:nvSpPr>
            <p:spPr bwMode="auto">
              <a:xfrm>
                <a:off x="8009568" y="5675787"/>
                <a:ext cx="13954" cy="66320"/>
              </a:xfrm>
              <a:custGeom>
                <a:avLst/>
                <a:gdLst>
                  <a:gd name="T0" fmla="*/ 2091309104 w 35"/>
                  <a:gd name="T1" fmla="*/ 2147483647 h 43"/>
                  <a:gd name="T2" fmla="*/ 443630352 w 35"/>
                  <a:gd name="T3" fmla="*/ 0 h 43"/>
                  <a:gd name="T4" fmla="*/ 253525840 w 35"/>
                  <a:gd name="T5" fmla="*/ 2147483647 h 43"/>
                  <a:gd name="T6" fmla="*/ 0 w 35"/>
                  <a:gd name="T7" fmla="*/ 2147483647 h 43"/>
                  <a:gd name="T8" fmla="*/ 126683582 w 35"/>
                  <a:gd name="T9" fmla="*/ 2147483647 h 43"/>
                  <a:gd name="T10" fmla="*/ 316788094 w 35"/>
                  <a:gd name="T11" fmla="*/ 2147483647 h 43"/>
                  <a:gd name="T12" fmla="*/ 380209024 w 35"/>
                  <a:gd name="T13" fmla="*/ 2147483647 h 43"/>
                  <a:gd name="T14" fmla="*/ 506892605 w 35"/>
                  <a:gd name="T15" fmla="*/ 2147483647 h 43"/>
                  <a:gd name="T16" fmla="*/ 697156193 w 35"/>
                  <a:gd name="T17" fmla="*/ 2147483647 h 43"/>
                  <a:gd name="T18" fmla="*/ 887260704 w 35"/>
                  <a:gd name="T19" fmla="*/ 2147483647 h 43"/>
                  <a:gd name="T20" fmla="*/ 1140627469 w 35"/>
                  <a:gd name="T21" fmla="*/ 2147483647 h 43"/>
                  <a:gd name="T22" fmla="*/ 1394152911 w 35"/>
                  <a:gd name="T23" fmla="*/ 2147483647 h 43"/>
                  <a:gd name="T24" fmla="*/ 1647678752 w 35"/>
                  <a:gd name="T25" fmla="*/ 2147483647 h 43"/>
                  <a:gd name="T26" fmla="*/ 1774362333 w 35"/>
                  <a:gd name="T27" fmla="*/ 2147483647 h 43"/>
                  <a:gd name="T28" fmla="*/ 1964466845 w 35"/>
                  <a:gd name="T29" fmla="*/ 2147483647 h 43"/>
                  <a:gd name="T30" fmla="*/ 2091309104 w 35"/>
                  <a:gd name="T31" fmla="*/ 2147483647 h 43"/>
                  <a:gd name="T32" fmla="*/ 2147483647 w 35"/>
                  <a:gd name="T33" fmla="*/ 2147483647 h 43"/>
                  <a:gd name="T34" fmla="*/ 2091309104 w 35"/>
                  <a:gd name="T35" fmla="*/ 2147483647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5" h="43">
                    <a:moveTo>
                      <a:pt x="33" y="13"/>
                    </a:moveTo>
                    <a:lnTo>
                      <a:pt x="7" y="0"/>
                    </a:lnTo>
                    <a:lnTo>
                      <a:pt x="4" y="8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5" y="36"/>
                    </a:lnTo>
                    <a:lnTo>
                      <a:pt x="6" y="39"/>
                    </a:lnTo>
                    <a:lnTo>
                      <a:pt x="8" y="41"/>
                    </a:lnTo>
                    <a:lnTo>
                      <a:pt x="11" y="43"/>
                    </a:lnTo>
                    <a:lnTo>
                      <a:pt x="14" y="43"/>
                    </a:lnTo>
                    <a:lnTo>
                      <a:pt x="18" y="43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8" y="39"/>
                    </a:lnTo>
                    <a:lnTo>
                      <a:pt x="31" y="35"/>
                    </a:lnTo>
                    <a:lnTo>
                      <a:pt x="33" y="30"/>
                    </a:lnTo>
                    <a:lnTo>
                      <a:pt x="35" y="20"/>
                    </a:lnTo>
                    <a:lnTo>
                      <a:pt x="33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5" name="Freeform 210"/>
              <p:cNvSpPr>
                <a:spLocks/>
              </p:cNvSpPr>
              <p:nvPr>
                <p:custDataLst>
                  <p:tags r:id="rId335"/>
                </p:custDataLst>
              </p:nvPr>
            </p:nvSpPr>
            <p:spPr bwMode="auto">
              <a:xfrm>
                <a:off x="8005580" y="5713428"/>
                <a:ext cx="25916" cy="62736"/>
              </a:xfrm>
              <a:custGeom>
                <a:avLst/>
                <a:gdLst>
                  <a:gd name="T0" fmla="*/ 2147483647 w 53"/>
                  <a:gd name="T1" fmla="*/ 0 h 21"/>
                  <a:gd name="T2" fmla="*/ 2147483647 w 53"/>
                  <a:gd name="T3" fmla="*/ 2147483647 h 21"/>
                  <a:gd name="T4" fmla="*/ 2147483647 w 53"/>
                  <a:gd name="T5" fmla="*/ 2147483647 h 21"/>
                  <a:gd name="T6" fmla="*/ 2147483647 w 53"/>
                  <a:gd name="T7" fmla="*/ 2147483647 h 21"/>
                  <a:gd name="T8" fmla="*/ 2147483647 w 53"/>
                  <a:gd name="T9" fmla="*/ 2147483647 h 21"/>
                  <a:gd name="T10" fmla="*/ 1987659404 w 53"/>
                  <a:gd name="T11" fmla="*/ 2147483647 h 21"/>
                  <a:gd name="T12" fmla="*/ 1519974867 w 53"/>
                  <a:gd name="T13" fmla="*/ 2147483647 h 21"/>
                  <a:gd name="T14" fmla="*/ 935369074 w 53"/>
                  <a:gd name="T15" fmla="*/ 2147483647 h 21"/>
                  <a:gd name="T16" fmla="*/ 0 w 53"/>
                  <a:gd name="T17" fmla="*/ 2147483647 h 21"/>
                  <a:gd name="T18" fmla="*/ 584605793 w 53"/>
                  <a:gd name="T19" fmla="*/ 2147483647 h 21"/>
                  <a:gd name="T20" fmla="*/ 1286132843 w 53"/>
                  <a:gd name="T21" fmla="*/ 2147483647 h 21"/>
                  <a:gd name="T22" fmla="*/ 1987659404 w 53"/>
                  <a:gd name="T23" fmla="*/ 2147483647 h 21"/>
                  <a:gd name="T24" fmla="*/ 2147483647 w 53"/>
                  <a:gd name="T25" fmla="*/ 2147483647 h 21"/>
                  <a:gd name="T26" fmla="*/ 2147483647 w 53"/>
                  <a:gd name="T27" fmla="*/ 2147483647 h 21"/>
                  <a:gd name="T28" fmla="*/ 2147483647 w 53"/>
                  <a:gd name="T29" fmla="*/ 2147483647 h 21"/>
                  <a:gd name="T30" fmla="*/ 2147483647 w 53"/>
                  <a:gd name="T31" fmla="*/ 0 h 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21">
                    <a:moveTo>
                      <a:pt x="53" y="0"/>
                    </a:moveTo>
                    <a:lnTo>
                      <a:pt x="41" y="1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21" y="7"/>
                    </a:lnTo>
                    <a:lnTo>
                      <a:pt x="17" y="10"/>
                    </a:lnTo>
                    <a:lnTo>
                      <a:pt x="13" y="13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11" y="21"/>
                    </a:lnTo>
                    <a:lnTo>
                      <a:pt x="17" y="21"/>
                    </a:lnTo>
                    <a:lnTo>
                      <a:pt x="24" y="21"/>
                    </a:lnTo>
                    <a:lnTo>
                      <a:pt x="38" y="19"/>
                    </a:lnTo>
                    <a:lnTo>
                      <a:pt x="53" y="18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6" name="Freeform 211"/>
              <p:cNvSpPr>
                <a:spLocks/>
              </p:cNvSpPr>
              <p:nvPr>
                <p:custDataLst>
                  <p:tags r:id="rId336"/>
                </p:custDataLst>
              </p:nvPr>
            </p:nvSpPr>
            <p:spPr bwMode="auto">
              <a:xfrm>
                <a:off x="8035483" y="5729560"/>
                <a:ext cx="21930" cy="64528"/>
              </a:xfrm>
              <a:custGeom>
                <a:avLst/>
                <a:gdLst>
                  <a:gd name="T0" fmla="*/ 2147483647 w 43"/>
                  <a:gd name="T1" fmla="*/ 0 h 38"/>
                  <a:gd name="T2" fmla="*/ 1591812000 w 43"/>
                  <a:gd name="T3" fmla="*/ 0 h 38"/>
                  <a:gd name="T4" fmla="*/ 265302000 w 43"/>
                  <a:gd name="T5" fmla="*/ 0 h 38"/>
                  <a:gd name="T6" fmla="*/ 132651000 w 43"/>
                  <a:gd name="T7" fmla="*/ 0 h 38"/>
                  <a:gd name="T8" fmla="*/ 0 w 43"/>
                  <a:gd name="T9" fmla="*/ 2147483647 h 38"/>
                  <a:gd name="T10" fmla="*/ 0 w 43"/>
                  <a:gd name="T11" fmla="*/ 2147483647 h 38"/>
                  <a:gd name="T12" fmla="*/ 0 w 43"/>
                  <a:gd name="T13" fmla="*/ 2147483647 h 38"/>
                  <a:gd name="T14" fmla="*/ 132651000 w 43"/>
                  <a:gd name="T15" fmla="*/ 2147483647 h 38"/>
                  <a:gd name="T16" fmla="*/ 265302000 w 43"/>
                  <a:gd name="T17" fmla="*/ 2147483647 h 38"/>
                  <a:gd name="T18" fmla="*/ 397953000 w 43"/>
                  <a:gd name="T19" fmla="*/ 2147483647 h 38"/>
                  <a:gd name="T20" fmla="*/ 663255000 w 43"/>
                  <a:gd name="T21" fmla="*/ 2147483647 h 38"/>
                  <a:gd name="T22" fmla="*/ 1326510000 w 43"/>
                  <a:gd name="T23" fmla="*/ 2147483647 h 38"/>
                  <a:gd name="T24" fmla="*/ 1989765000 w 43"/>
                  <a:gd name="T25" fmla="*/ 2147483647 h 38"/>
                  <a:gd name="T26" fmla="*/ 2147483647 w 43"/>
                  <a:gd name="T27" fmla="*/ 2147483647 h 38"/>
                  <a:gd name="T28" fmla="*/ 2147483647 w 43"/>
                  <a:gd name="T29" fmla="*/ 2147483647 h 38"/>
                  <a:gd name="T30" fmla="*/ 2147483647 w 43"/>
                  <a:gd name="T31" fmla="*/ 2147483647 h 38"/>
                  <a:gd name="T32" fmla="*/ 2147483647 w 43"/>
                  <a:gd name="T33" fmla="*/ 2147483647 h 38"/>
                  <a:gd name="T34" fmla="*/ 2147483647 w 43"/>
                  <a:gd name="T35" fmla="*/ 2147483647 h 38"/>
                  <a:gd name="T36" fmla="*/ 2147483647 w 43"/>
                  <a:gd name="T37" fmla="*/ 2147483647 h 38"/>
                  <a:gd name="T38" fmla="*/ 2147483647 w 43"/>
                  <a:gd name="T39" fmla="*/ 2147483647 h 38"/>
                  <a:gd name="T40" fmla="*/ 2147483647 w 43"/>
                  <a:gd name="T41" fmla="*/ 2147483647 h 38"/>
                  <a:gd name="T42" fmla="*/ 2147483647 w 43"/>
                  <a:gd name="T43" fmla="*/ 2147483647 h 38"/>
                  <a:gd name="T44" fmla="*/ 2147483647 w 43"/>
                  <a:gd name="T45" fmla="*/ 2147483647 h 38"/>
                  <a:gd name="T46" fmla="*/ 2147483647 w 43"/>
                  <a:gd name="T47" fmla="*/ 2147483647 h 38"/>
                  <a:gd name="T48" fmla="*/ 2147483647 w 43"/>
                  <a:gd name="T49" fmla="*/ 0 h 3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3" h="38">
                    <a:moveTo>
                      <a:pt x="22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8"/>
                    </a:lnTo>
                    <a:lnTo>
                      <a:pt x="5" y="25"/>
                    </a:lnTo>
                    <a:lnTo>
                      <a:pt x="10" y="30"/>
                    </a:lnTo>
                    <a:lnTo>
                      <a:pt x="15" y="34"/>
                    </a:lnTo>
                    <a:lnTo>
                      <a:pt x="21" y="37"/>
                    </a:lnTo>
                    <a:lnTo>
                      <a:pt x="27" y="38"/>
                    </a:lnTo>
                    <a:lnTo>
                      <a:pt x="35" y="38"/>
                    </a:lnTo>
                    <a:lnTo>
                      <a:pt x="43" y="37"/>
                    </a:lnTo>
                    <a:lnTo>
                      <a:pt x="40" y="29"/>
                    </a:lnTo>
                    <a:lnTo>
                      <a:pt x="36" y="23"/>
                    </a:lnTo>
                    <a:lnTo>
                      <a:pt x="33" y="17"/>
                    </a:lnTo>
                    <a:lnTo>
                      <a:pt x="30" y="13"/>
                    </a:lnTo>
                    <a:lnTo>
                      <a:pt x="27" y="10"/>
                    </a:lnTo>
                    <a:lnTo>
                      <a:pt x="24" y="7"/>
                    </a:lnTo>
                    <a:lnTo>
                      <a:pt x="23" y="4"/>
                    </a:lnTo>
                    <a:lnTo>
                      <a:pt x="2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7" name="Freeform 212"/>
              <p:cNvSpPr>
                <a:spLocks/>
              </p:cNvSpPr>
              <p:nvPr>
                <p:custDataLst>
                  <p:tags r:id="rId337"/>
                </p:custDataLst>
              </p:nvPr>
            </p:nvSpPr>
            <p:spPr bwMode="auto">
              <a:xfrm>
                <a:off x="8037478" y="5761824"/>
                <a:ext cx="7974" cy="64528"/>
              </a:xfrm>
              <a:custGeom>
                <a:avLst/>
                <a:gdLst>
                  <a:gd name="T0" fmla="*/ 0 w 20"/>
                  <a:gd name="T1" fmla="*/ 0 h 5"/>
                  <a:gd name="T2" fmla="*/ 63425595 w 20"/>
                  <a:gd name="T3" fmla="*/ 2147483647 h 5"/>
                  <a:gd name="T4" fmla="*/ 126692507 w 20"/>
                  <a:gd name="T5" fmla="*/ 2147483647 h 5"/>
                  <a:gd name="T6" fmla="*/ 253544095 w 20"/>
                  <a:gd name="T7" fmla="*/ 2147483647 h 5"/>
                  <a:gd name="T8" fmla="*/ 443662196 w 20"/>
                  <a:gd name="T9" fmla="*/ 2147483647 h 5"/>
                  <a:gd name="T10" fmla="*/ 697205893 w 20"/>
                  <a:gd name="T11" fmla="*/ 2147483647 h 5"/>
                  <a:gd name="T12" fmla="*/ 887323994 w 20"/>
                  <a:gd name="T13" fmla="*/ 2147483647 h 5"/>
                  <a:gd name="T14" fmla="*/ 1077442494 w 20"/>
                  <a:gd name="T15" fmla="*/ 2147483647 h 5"/>
                  <a:gd name="T16" fmla="*/ 1267560596 w 20"/>
                  <a:gd name="T17" fmla="*/ 0 h 5"/>
                  <a:gd name="T18" fmla="*/ 0 w 20"/>
                  <a:gd name="T19" fmla="*/ 0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" h="5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8" name="Freeform 213"/>
              <p:cNvSpPr>
                <a:spLocks/>
              </p:cNvSpPr>
              <p:nvPr>
                <p:custDataLst>
                  <p:tags r:id="rId338"/>
                </p:custDataLst>
              </p:nvPr>
            </p:nvSpPr>
            <p:spPr bwMode="auto">
              <a:xfrm>
                <a:off x="8131175" y="5840692"/>
                <a:ext cx="43859" cy="64528"/>
              </a:xfrm>
              <a:custGeom>
                <a:avLst/>
                <a:gdLst>
                  <a:gd name="T0" fmla="*/ 2147483647 w 73"/>
                  <a:gd name="T1" fmla="*/ 0 h 22"/>
                  <a:gd name="T2" fmla="*/ 2147483647 w 73"/>
                  <a:gd name="T3" fmla="*/ 2147483647 h 22"/>
                  <a:gd name="T4" fmla="*/ 2147483647 w 73"/>
                  <a:gd name="T5" fmla="*/ 2147483647 h 22"/>
                  <a:gd name="T6" fmla="*/ 2147483647 w 73"/>
                  <a:gd name="T7" fmla="*/ 2147483647 h 22"/>
                  <a:gd name="T8" fmla="*/ 2147483647 w 73"/>
                  <a:gd name="T9" fmla="*/ 2147483647 h 22"/>
                  <a:gd name="T10" fmla="*/ 1301298933 w 73"/>
                  <a:gd name="T11" fmla="*/ 2147483647 h 22"/>
                  <a:gd name="T12" fmla="*/ 0 w 73"/>
                  <a:gd name="T13" fmla="*/ 2147483647 h 22"/>
                  <a:gd name="T14" fmla="*/ 2147483647 w 73"/>
                  <a:gd name="T15" fmla="*/ 2147483647 h 22"/>
                  <a:gd name="T16" fmla="*/ 2147483647 w 73"/>
                  <a:gd name="T17" fmla="*/ 2147483647 h 22"/>
                  <a:gd name="T18" fmla="*/ 2147483647 w 73"/>
                  <a:gd name="T19" fmla="*/ 2147483647 h 22"/>
                  <a:gd name="T20" fmla="*/ 2147483647 w 73"/>
                  <a:gd name="T21" fmla="*/ 2147483647 h 22"/>
                  <a:gd name="T22" fmla="*/ 2147483647 w 73"/>
                  <a:gd name="T23" fmla="*/ 2147483647 h 22"/>
                  <a:gd name="T24" fmla="*/ 2147483647 w 73"/>
                  <a:gd name="T25" fmla="*/ 2147483647 h 22"/>
                  <a:gd name="T26" fmla="*/ 2147483647 w 73"/>
                  <a:gd name="T27" fmla="*/ 2147483647 h 22"/>
                  <a:gd name="T28" fmla="*/ 2147483647 w 73"/>
                  <a:gd name="T29" fmla="*/ 2147483647 h 22"/>
                  <a:gd name="T30" fmla="*/ 2147483647 w 73"/>
                  <a:gd name="T31" fmla="*/ 2147483647 h 22"/>
                  <a:gd name="T32" fmla="*/ 2147483647 w 73"/>
                  <a:gd name="T33" fmla="*/ 2147483647 h 22"/>
                  <a:gd name="T34" fmla="*/ 2147483647 w 73"/>
                  <a:gd name="T35" fmla="*/ 2147483647 h 22"/>
                  <a:gd name="T36" fmla="*/ 2147483647 w 73"/>
                  <a:gd name="T37" fmla="*/ 0 h 2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3" h="22">
                    <a:moveTo>
                      <a:pt x="40" y="0"/>
                    </a:moveTo>
                    <a:lnTo>
                      <a:pt x="32" y="1"/>
                    </a:lnTo>
                    <a:lnTo>
                      <a:pt x="26" y="2"/>
                    </a:lnTo>
                    <a:lnTo>
                      <a:pt x="20" y="5"/>
                    </a:lnTo>
                    <a:lnTo>
                      <a:pt x="15" y="8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20" y="20"/>
                    </a:lnTo>
                    <a:lnTo>
                      <a:pt x="39" y="22"/>
                    </a:lnTo>
                    <a:lnTo>
                      <a:pt x="49" y="22"/>
                    </a:lnTo>
                    <a:lnTo>
                      <a:pt x="57" y="22"/>
                    </a:lnTo>
                    <a:lnTo>
                      <a:pt x="65" y="21"/>
                    </a:lnTo>
                    <a:lnTo>
                      <a:pt x="73" y="19"/>
                    </a:lnTo>
                    <a:lnTo>
                      <a:pt x="64" y="14"/>
                    </a:lnTo>
                    <a:lnTo>
                      <a:pt x="56" y="8"/>
                    </a:lnTo>
                    <a:lnTo>
                      <a:pt x="53" y="5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9" name="Freeform 214"/>
              <p:cNvSpPr>
                <a:spLocks/>
              </p:cNvSpPr>
              <p:nvPr>
                <p:custDataLst>
                  <p:tags r:id="rId339"/>
                </p:custDataLst>
              </p:nvPr>
            </p:nvSpPr>
            <p:spPr bwMode="auto">
              <a:xfrm>
                <a:off x="8179021" y="5774371"/>
                <a:ext cx="155499" cy="112925"/>
              </a:xfrm>
              <a:custGeom>
                <a:avLst/>
                <a:gdLst>
                  <a:gd name="T0" fmla="*/ 2147483647 w 281"/>
                  <a:gd name="T1" fmla="*/ 2147483647 h 193"/>
                  <a:gd name="T2" fmla="*/ 2147483647 w 281"/>
                  <a:gd name="T3" fmla="*/ 2147483647 h 193"/>
                  <a:gd name="T4" fmla="*/ 2147483647 w 281"/>
                  <a:gd name="T5" fmla="*/ 2147483647 h 193"/>
                  <a:gd name="T6" fmla="*/ 2147483647 w 281"/>
                  <a:gd name="T7" fmla="*/ 2147483647 h 193"/>
                  <a:gd name="T8" fmla="*/ 2147483647 w 281"/>
                  <a:gd name="T9" fmla="*/ 2147483647 h 193"/>
                  <a:gd name="T10" fmla="*/ 2147483647 w 281"/>
                  <a:gd name="T11" fmla="*/ 2147483647 h 193"/>
                  <a:gd name="T12" fmla="*/ 2147483647 w 281"/>
                  <a:gd name="T13" fmla="*/ 2147483647 h 193"/>
                  <a:gd name="T14" fmla="*/ 2147483647 w 281"/>
                  <a:gd name="T15" fmla="*/ 2147483647 h 193"/>
                  <a:gd name="T16" fmla="*/ 2147483647 w 281"/>
                  <a:gd name="T17" fmla="*/ 2147483647 h 193"/>
                  <a:gd name="T18" fmla="*/ 2147483647 w 281"/>
                  <a:gd name="T19" fmla="*/ 0 h 193"/>
                  <a:gd name="T20" fmla="*/ 2147483647 w 281"/>
                  <a:gd name="T21" fmla="*/ 2147483647 h 193"/>
                  <a:gd name="T22" fmla="*/ 2147483647 w 281"/>
                  <a:gd name="T23" fmla="*/ 2147483647 h 193"/>
                  <a:gd name="T24" fmla="*/ 1016671277 w 281"/>
                  <a:gd name="T25" fmla="*/ 2147483647 h 193"/>
                  <a:gd name="T26" fmla="*/ 0 w 281"/>
                  <a:gd name="T27" fmla="*/ 2147483647 h 193"/>
                  <a:gd name="T28" fmla="*/ 169343391 w 281"/>
                  <a:gd name="T29" fmla="*/ 2147483647 h 193"/>
                  <a:gd name="T30" fmla="*/ 1525007469 w 281"/>
                  <a:gd name="T31" fmla="*/ 2147483647 h 193"/>
                  <a:gd name="T32" fmla="*/ 2147483647 w 281"/>
                  <a:gd name="T33" fmla="*/ 2147483647 h 193"/>
                  <a:gd name="T34" fmla="*/ 2147483647 w 281"/>
                  <a:gd name="T35" fmla="*/ 2147483647 h 193"/>
                  <a:gd name="T36" fmla="*/ 2147483647 w 281"/>
                  <a:gd name="T37" fmla="*/ 2147483647 h 193"/>
                  <a:gd name="T38" fmla="*/ 2147483647 w 281"/>
                  <a:gd name="T39" fmla="*/ 2147483647 h 193"/>
                  <a:gd name="T40" fmla="*/ 2147483647 w 281"/>
                  <a:gd name="T41" fmla="*/ 2147483647 h 193"/>
                  <a:gd name="T42" fmla="*/ 2147483647 w 281"/>
                  <a:gd name="T43" fmla="*/ 2147483647 h 193"/>
                  <a:gd name="T44" fmla="*/ 2147483647 w 281"/>
                  <a:gd name="T45" fmla="*/ 2147483647 h 193"/>
                  <a:gd name="T46" fmla="*/ 2147483647 w 281"/>
                  <a:gd name="T47" fmla="*/ 2147483647 h 193"/>
                  <a:gd name="T48" fmla="*/ 2147483647 w 281"/>
                  <a:gd name="T49" fmla="*/ 2147483647 h 193"/>
                  <a:gd name="T50" fmla="*/ 2147483647 w 281"/>
                  <a:gd name="T51" fmla="*/ 2147483647 h 193"/>
                  <a:gd name="T52" fmla="*/ 2147483647 w 281"/>
                  <a:gd name="T53" fmla="*/ 2147483647 h 193"/>
                  <a:gd name="T54" fmla="*/ 2147483647 w 281"/>
                  <a:gd name="T55" fmla="*/ 2147483647 h 193"/>
                  <a:gd name="T56" fmla="*/ 2147483647 w 281"/>
                  <a:gd name="T57" fmla="*/ 2147483647 h 193"/>
                  <a:gd name="T58" fmla="*/ 2147483647 w 281"/>
                  <a:gd name="T59" fmla="*/ 2147483647 h 193"/>
                  <a:gd name="T60" fmla="*/ 2147483647 w 281"/>
                  <a:gd name="T61" fmla="*/ 2147483647 h 193"/>
                  <a:gd name="T62" fmla="*/ 2147483647 w 281"/>
                  <a:gd name="T63" fmla="*/ 2147483647 h 193"/>
                  <a:gd name="T64" fmla="*/ 2147483647 w 281"/>
                  <a:gd name="T65" fmla="*/ 2147483647 h 193"/>
                  <a:gd name="T66" fmla="*/ 2147483647 w 281"/>
                  <a:gd name="T67" fmla="*/ 2147483647 h 193"/>
                  <a:gd name="T68" fmla="*/ 2147483647 w 281"/>
                  <a:gd name="T69" fmla="*/ 2147483647 h 193"/>
                  <a:gd name="T70" fmla="*/ 2147483647 w 281"/>
                  <a:gd name="T71" fmla="*/ 2147483647 h 19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81" h="193">
                    <a:moveTo>
                      <a:pt x="275" y="167"/>
                    </a:moveTo>
                    <a:lnTo>
                      <a:pt x="235" y="168"/>
                    </a:lnTo>
                    <a:lnTo>
                      <a:pt x="202" y="171"/>
                    </a:lnTo>
                    <a:lnTo>
                      <a:pt x="188" y="171"/>
                    </a:lnTo>
                    <a:lnTo>
                      <a:pt x="175" y="169"/>
                    </a:lnTo>
                    <a:lnTo>
                      <a:pt x="168" y="168"/>
                    </a:lnTo>
                    <a:lnTo>
                      <a:pt x="162" y="166"/>
                    </a:lnTo>
                    <a:lnTo>
                      <a:pt x="155" y="164"/>
                    </a:lnTo>
                    <a:lnTo>
                      <a:pt x="149" y="161"/>
                    </a:lnTo>
                    <a:lnTo>
                      <a:pt x="130" y="135"/>
                    </a:lnTo>
                    <a:lnTo>
                      <a:pt x="108" y="103"/>
                    </a:lnTo>
                    <a:lnTo>
                      <a:pt x="104" y="94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90" y="63"/>
                    </a:lnTo>
                    <a:lnTo>
                      <a:pt x="87" y="51"/>
                    </a:lnTo>
                    <a:lnTo>
                      <a:pt x="85" y="39"/>
                    </a:lnTo>
                    <a:lnTo>
                      <a:pt x="83" y="27"/>
                    </a:lnTo>
                    <a:lnTo>
                      <a:pt x="83" y="13"/>
                    </a:lnTo>
                    <a:lnTo>
                      <a:pt x="43" y="0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3" y="56"/>
                    </a:lnTo>
                    <a:lnTo>
                      <a:pt x="18" y="61"/>
                    </a:lnTo>
                    <a:lnTo>
                      <a:pt x="11" y="65"/>
                    </a:lnTo>
                    <a:lnTo>
                      <a:pt x="6" y="69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4"/>
                    </a:lnTo>
                    <a:lnTo>
                      <a:pt x="1" y="75"/>
                    </a:lnTo>
                    <a:lnTo>
                      <a:pt x="3" y="75"/>
                    </a:lnTo>
                    <a:lnTo>
                      <a:pt x="9" y="81"/>
                    </a:lnTo>
                    <a:lnTo>
                      <a:pt x="23" y="96"/>
                    </a:lnTo>
                    <a:lnTo>
                      <a:pt x="37" y="111"/>
                    </a:lnTo>
                    <a:lnTo>
                      <a:pt x="43" y="118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53" y="129"/>
                    </a:lnTo>
                    <a:lnTo>
                      <a:pt x="57" y="132"/>
                    </a:lnTo>
                    <a:lnTo>
                      <a:pt x="62" y="134"/>
                    </a:lnTo>
                    <a:lnTo>
                      <a:pt x="66" y="135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41"/>
                    </a:lnTo>
                    <a:lnTo>
                      <a:pt x="77" y="145"/>
                    </a:lnTo>
                    <a:lnTo>
                      <a:pt x="79" y="148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3" y="154"/>
                    </a:lnTo>
                    <a:lnTo>
                      <a:pt x="99" y="154"/>
                    </a:lnTo>
                    <a:lnTo>
                      <a:pt x="104" y="156"/>
                    </a:lnTo>
                    <a:lnTo>
                      <a:pt x="106" y="157"/>
                    </a:lnTo>
                    <a:lnTo>
                      <a:pt x="108" y="160"/>
                    </a:lnTo>
                    <a:lnTo>
                      <a:pt x="109" y="163"/>
                    </a:lnTo>
                    <a:lnTo>
                      <a:pt x="109" y="167"/>
                    </a:lnTo>
                    <a:lnTo>
                      <a:pt x="109" y="17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3" y="191"/>
                    </a:lnTo>
                    <a:lnTo>
                      <a:pt x="115" y="193"/>
                    </a:lnTo>
                    <a:lnTo>
                      <a:pt x="117" y="193"/>
                    </a:lnTo>
                    <a:lnTo>
                      <a:pt x="129" y="193"/>
                    </a:lnTo>
                    <a:lnTo>
                      <a:pt x="149" y="192"/>
                    </a:lnTo>
                    <a:lnTo>
                      <a:pt x="164" y="191"/>
                    </a:lnTo>
                    <a:lnTo>
                      <a:pt x="174" y="190"/>
                    </a:lnTo>
                    <a:lnTo>
                      <a:pt x="180" y="189"/>
                    </a:lnTo>
                    <a:lnTo>
                      <a:pt x="186" y="187"/>
                    </a:lnTo>
                    <a:lnTo>
                      <a:pt x="192" y="186"/>
                    </a:lnTo>
                    <a:lnTo>
                      <a:pt x="200" y="187"/>
                    </a:lnTo>
                    <a:lnTo>
                      <a:pt x="212" y="188"/>
                    </a:lnTo>
                    <a:lnTo>
                      <a:pt x="229" y="192"/>
                    </a:lnTo>
                    <a:lnTo>
                      <a:pt x="281" y="167"/>
                    </a:lnTo>
                    <a:lnTo>
                      <a:pt x="275" y="16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0" name="Freeform 215"/>
              <p:cNvSpPr>
                <a:spLocks/>
              </p:cNvSpPr>
              <p:nvPr>
                <p:custDataLst>
                  <p:tags r:id="rId340"/>
                </p:custDataLst>
              </p:nvPr>
            </p:nvSpPr>
            <p:spPr bwMode="auto">
              <a:xfrm>
                <a:off x="7616833" y="3252388"/>
                <a:ext cx="65789" cy="66320"/>
              </a:xfrm>
              <a:custGeom>
                <a:avLst/>
                <a:gdLst>
                  <a:gd name="T0" fmla="*/ 0 w 120"/>
                  <a:gd name="T1" fmla="*/ 2147483647 h 56"/>
                  <a:gd name="T2" fmla="*/ 659147666 w 120"/>
                  <a:gd name="T3" fmla="*/ 2147483647 h 56"/>
                  <a:gd name="T4" fmla="*/ 1647718948 w 120"/>
                  <a:gd name="T5" fmla="*/ 2147483647 h 56"/>
                  <a:gd name="T6" fmla="*/ 2147483647 w 120"/>
                  <a:gd name="T7" fmla="*/ 2147483647 h 56"/>
                  <a:gd name="T8" fmla="*/ 2147483647 w 120"/>
                  <a:gd name="T9" fmla="*/ 2147483647 h 56"/>
                  <a:gd name="T10" fmla="*/ 2147483647 w 120"/>
                  <a:gd name="T11" fmla="*/ 2147483647 h 56"/>
                  <a:gd name="T12" fmla="*/ 2147483647 w 120"/>
                  <a:gd name="T13" fmla="*/ 2147483647 h 56"/>
                  <a:gd name="T14" fmla="*/ 2147483647 w 120"/>
                  <a:gd name="T15" fmla="*/ 2147483647 h 56"/>
                  <a:gd name="T16" fmla="*/ 2147483647 w 120"/>
                  <a:gd name="T17" fmla="*/ 2147483647 h 56"/>
                  <a:gd name="T18" fmla="*/ 2147483647 w 120"/>
                  <a:gd name="T19" fmla="*/ 2147483647 h 56"/>
                  <a:gd name="T20" fmla="*/ 2147483647 w 120"/>
                  <a:gd name="T21" fmla="*/ 2147483647 h 56"/>
                  <a:gd name="T22" fmla="*/ 2147483647 w 120"/>
                  <a:gd name="T23" fmla="*/ 2147483647 h 56"/>
                  <a:gd name="T24" fmla="*/ 2147483647 w 120"/>
                  <a:gd name="T25" fmla="*/ 2147483647 h 56"/>
                  <a:gd name="T26" fmla="*/ 2147483647 w 120"/>
                  <a:gd name="T27" fmla="*/ 2147483647 h 56"/>
                  <a:gd name="T28" fmla="*/ 2147483647 w 120"/>
                  <a:gd name="T29" fmla="*/ 2147483647 h 56"/>
                  <a:gd name="T30" fmla="*/ 2147483647 w 120"/>
                  <a:gd name="T31" fmla="*/ 2147483647 h 56"/>
                  <a:gd name="T32" fmla="*/ 2147483647 w 120"/>
                  <a:gd name="T33" fmla="*/ 2147483647 h 56"/>
                  <a:gd name="T34" fmla="*/ 2147483647 w 120"/>
                  <a:gd name="T35" fmla="*/ 2147483647 h 56"/>
                  <a:gd name="T36" fmla="*/ 2147483647 w 120"/>
                  <a:gd name="T37" fmla="*/ 2147483647 h 56"/>
                  <a:gd name="T38" fmla="*/ 2147483647 w 120"/>
                  <a:gd name="T39" fmla="*/ 2147483647 h 56"/>
                  <a:gd name="T40" fmla="*/ 2147483647 w 120"/>
                  <a:gd name="T41" fmla="*/ 2147483647 h 56"/>
                  <a:gd name="T42" fmla="*/ 2147483647 w 120"/>
                  <a:gd name="T43" fmla="*/ 0 h 56"/>
                  <a:gd name="T44" fmla="*/ 2147483647 w 120"/>
                  <a:gd name="T45" fmla="*/ 1660598323 h 56"/>
                  <a:gd name="T46" fmla="*/ 2147483647 w 120"/>
                  <a:gd name="T47" fmla="*/ 2147483647 h 56"/>
                  <a:gd name="T48" fmla="*/ 2147483647 w 120"/>
                  <a:gd name="T49" fmla="*/ 2147483647 h 56"/>
                  <a:gd name="T50" fmla="*/ 2147483647 w 120"/>
                  <a:gd name="T51" fmla="*/ 2147483647 h 56"/>
                  <a:gd name="T52" fmla="*/ 2147483647 w 120"/>
                  <a:gd name="T53" fmla="*/ 2147483647 h 56"/>
                  <a:gd name="T54" fmla="*/ 2147483647 w 120"/>
                  <a:gd name="T55" fmla="*/ 2147483647 h 56"/>
                  <a:gd name="T56" fmla="*/ 1318295333 w 120"/>
                  <a:gd name="T57" fmla="*/ 2147483647 h 56"/>
                  <a:gd name="T58" fmla="*/ 0 w 120"/>
                  <a:gd name="T59" fmla="*/ 2147483647 h 5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20" h="56">
                    <a:moveTo>
                      <a:pt x="0" y="18"/>
                    </a:moveTo>
                    <a:lnTo>
                      <a:pt x="4" y="26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41"/>
                    </a:lnTo>
                    <a:lnTo>
                      <a:pt x="27" y="44"/>
                    </a:lnTo>
                    <a:lnTo>
                      <a:pt x="35" y="46"/>
                    </a:lnTo>
                    <a:lnTo>
                      <a:pt x="43" y="48"/>
                    </a:lnTo>
                    <a:lnTo>
                      <a:pt x="51" y="49"/>
                    </a:lnTo>
                    <a:lnTo>
                      <a:pt x="67" y="50"/>
                    </a:lnTo>
                    <a:lnTo>
                      <a:pt x="85" y="51"/>
                    </a:lnTo>
                    <a:lnTo>
                      <a:pt x="102" y="52"/>
                    </a:lnTo>
                    <a:lnTo>
                      <a:pt x="120" y="56"/>
                    </a:lnTo>
                    <a:lnTo>
                      <a:pt x="120" y="37"/>
                    </a:lnTo>
                    <a:lnTo>
                      <a:pt x="111" y="34"/>
                    </a:lnTo>
                    <a:lnTo>
                      <a:pt x="102" y="30"/>
                    </a:lnTo>
                    <a:lnTo>
                      <a:pt x="94" y="24"/>
                    </a:lnTo>
                    <a:lnTo>
                      <a:pt x="88" y="18"/>
                    </a:lnTo>
                    <a:lnTo>
                      <a:pt x="81" y="13"/>
                    </a:lnTo>
                    <a:lnTo>
                      <a:pt x="75" y="7"/>
                    </a:lnTo>
                    <a:lnTo>
                      <a:pt x="67" y="3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8" y="3"/>
                    </a:lnTo>
                    <a:lnTo>
                      <a:pt x="41" y="6"/>
                    </a:lnTo>
                    <a:lnTo>
                      <a:pt x="33" y="9"/>
                    </a:lnTo>
                    <a:lnTo>
                      <a:pt x="24" y="13"/>
                    </a:lnTo>
                    <a:lnTo>
                      <a:pt x="16" y="15"/>
                    </a:lnTo>
                    <a:lnTo>
                      <a:pt x="8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1" name="Freeform 216"/>
              <p:cNvSpPr>
                <a:spLocks/>
              </p:cNvSpPr>
              <p:nvPr>
                <p:custDataLst>
                  <p:tags r:id="rId341"/>
                </p:custDataLst>
              </p:nvPr>
            </p:nvSpPr>
            <p:spPr bwMode="auto">
              <a:xfrm>
                <a:off x="7435618" y="3097882"/>
                <a:ext cx="315381" cy="123524"/>
              </a:xfrm>
              <a:custGeom>
                <a:avLst/>
                <a:gdLst>
                  <a:gd name="T0" fmla="*/ 127 w 574"/>
                  <a:gd name="T1" fmla="*/ 1 h 204"/>
                  <a:gd name="T2" fmla="*/ 95 w 574"/>
                  <a:gd name="T3" fmla="*/ 6 h 204"/>
                  <a:gd name="T4" fmla="*/ 66 w 574"/>
                  <a:gd name="T5" fmla="*/ 16 h 204"/>
                  <a:gd name="T6" fmla="*/ 43 w 574"/>
                  <a:gd name="T7" fmla="*/ 26 h 204"/>
                  <a:gd name="T8" fmla="*/ 30 w 574"/>
                  <a:gd name="T9" fmla="*/ 35 h 204"/>
                  <a:gd name="T10" fmla="*/ 16 w 574"/>
                  <a:gd name="T11" fmla="*/ 51 h 204"/>
                  <a:gd name="T12" fmla="*/ 4 w 574"/>
                  <a:gd name="T13" fmla="*/ 71 h 204"/>
                  <a:gd name="T14" fmla="*/ 0 w 574"/>
                  <a:gd name="T15" fmla="*/ 82 h 204"/>
                  <a:gd name="T16" fmla="*/ 1 w 574"/>
                  <a:gd name="T17" fmla="*/ 86 h 204"/>
                  <a:gd name="T18" fmla="*/ 13 w 574"/>
                  <a:gd name="T19" fmla="*/ 86 h 204"/>
                  <a:gd name="T20" fmla="*/ 29 w 574"/>
                  <a:gd name="T21" fmla="*/ 83 h 204"/>
                  <a:gd name="T22" fmla="*/ 52 w 574"/>
                  <a:gd name="T23" fmla="*/ 75 h 204"/>
                  <a:gd name="T24" fmla="*/ 80 w 574"/>
                  <a:gd name="T25" fmla="*/ 58 h 204"/>
                  <a:gd name="T26" fmla="*/ 102 w 574"/>
                  <a:gd name="T27" fmla="*/ 46 h 204"/>
                  <a:gd name="T28" fmla="*/ 119 w 574"/>
                  <a:gd name="T29" fmla="*/ 40 h 204"/>
                  <a:gd name="T30" fmla="*/ 175 w 574"/>
                  <a:gd name="T31" fmla="*/ 37 h 204"/>
                  <a:gd name="T32" fmla="*/ 176 w 574"/>
                  <a:gd name="T33" fmla="*/ 48 h 204"/>
                  <a:gd name="T34" fmla="*/ 180 w 574"/>
                  <a:gd name="T35" fmla="*/ 55 h 204"/>
                  <a:gd name="T36" fmla="*/ 184 w 574"/>
                  <a:gd name="T37" fmla="*/ 59 h 204"/>
                  <a:gd name="T38" fmla="*/ 190 w 574"/>
                  <a:gd name="T39" fmla="*/ 61 h 204"/>
                  <a:gd name="T40" fmla="*/ 229 w 574"/>
                  <a:gd name="T41" fmla="*/ 61 h 204"/>
                  <a:gd name="T42" fmla="*/ 269 w 574"/>
                  <a:gd name="T43" fmla="*/ 78 h 204"/>
                  <a:gd name="T44" fmla="*/ 302 w 574"/>
                  <a:gd name="T45" fmla="*/ 95 h 204"/>
                  <a:gd name="T46" fmla="*/ 336 w 574"/>
                  <a:gd name="T47" fmla="*/ 111 h 204"/>
                  <a:gd name="T48" fmla="*/ 375 w 574"/>
                  <a:gd name="T49" fmla="*/ 123 h 204"/>
                  <a:gd name="T50" fmla="*/ 376 w 574"/>
                  <a:gd name="T51" fmla="*/ 134 h 204"/>
                  <a:gd name="T52" fmla="*/ 382 w 574"/>
                  <a:gd name="T53" fmla="*/ 142 h 204"/>
                  <a:gd name="T54" fmla="*/ 396 w 574"/>
                  <a:gd name="T55" fmla="*/ 152 h 204"/>
                  <a:gd name="T56" fmla="*/ 428 w 574"/>
                  <a:gd name="T57" fmla="*/ 166 h 204"/>
                  <a:gd name="T58" fmla="*/ 402 w 574"/>
                  <a:gd name="T59" fmla="*/ 191 h 204"/>
                  <a:gd name="T60" fmla="*/ 407 w 574"/>
                  <a:gd name="T61" fmla="*/ 197 h 204"/>
                  <a:gd name="T62" fmla="*/ 414 w 574"/>
                  <a:gd name="T63" fmla="*/ 201 h 204"/>
                  <a:gd name="T64" fmla="*/ 429 w 574"/>
                  <a:gd name="T65" fmla="*/ 204 h 204"/>
                  <a:gd name="T66" fmla="*/ 461 w 574"/>
                  <a:gd name="T67" fmla="*/ 204 h 204"/>
                  <a:gd name="T68" fmla="*/ 555 w 574"/>
                  <a:gd name="T69" fmla="*/ 189 h 204"/>
                  <a:gd name="T70" fmla="*/ 559 w 574"/>
                  <a:gd name="T71" fmla="*/ 183 h 204"/>
                  <a:gd name="T72" fmla="*/ 565 w 574"/>
                  <a:gd name="T73" fmla="*/ 177 h 204"/>
                  <a:gd name="T74" fmla="*/ 572 w 574"/>
                  <a:gd name="T75" fmla="*/ 173 h 204"/>
                  <a:gd name="T76" fmla="*/ 574 w 574"/>
                  <a:gd name="T77" fmla="*/ 161 h 204"/>
                  <a:gd name="T78" fmla="*/ 561 w 574"/>
                  <a:gd name="T79" fmla="*/ 153 h 204"/>
                  <a:gd name="T80" fmla="*/ 532 w 574"/>
                  <a:gd name="T81" fmla="*/ 148 h 204"/>
                  <a:gd name="T82" fmla="*/ 504 w 574"/>
                  <a:gd name="T83" fmla="*/ 138 h 204"/>
                  <a:gd name="T84" fmla="*/ 475 w 574"/>
                  <a:gd name="T85" fmla="*/ 124 h 204"/>
                  <a:gd name="T86" fmla="*/ 433 w 574"/>
                  <a:gd name="T87" fmla="*/ 100 h 204"/>
                  <a:gd name="T88" fmla="*/ 383 w 574"/>
                  <a:gd name="T89" fmla="*/ 68 h 204"/>
                  <a:gd name="T90" fmla="*/ 358 w 574"/>
                  <a:gd name="T91" fmla="*/ 54 h 204"/>
                  <a:gd name="T92" fmla="*/ 348 w 574"/>
                  <a:gd name="T93" fmla="*/ 52 h 204"/>
                  <a:gd name="T94" fmla="*/ 330 w 574"/>
                  <a:gd name="T95" fmla="*/ 52 h 204"/>
                  <a:gd name="T96" fmla="*/ 312 w 574"/>
                  <a:gd name="T97" fmla="*/ 51 h 204"/>
                  <a:gd name="T98" fmla="*/ 302 w 574"/>
                  <a:gd name="T99" fmla="*/ 49 h 204"/>
                  <a:gd name="T100" fmla="*/ 294 w 574"/>
                  <a:gd name="T101" fmla="*/ 43 h 204"/>
                  <a:gd name="T102" fmla="*/ 290 w 574"/>
                  <a:gd name="T103" fmla="*/ 32 h 204"/>
                  <a:gd name="T104" fmla="*/ 142 w 574"/>
                  <a:gd name="T10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4" h="204">
                    <a:moveTo>
                      <a:pt x="142" y="0"/>
                    </a:moveTo>
                    <a:lnTo>
                      <a:pt x="127" y="1"/>
                    </a:lnTo>
                    <a:lnTo>
                      <a:pt x="111" y="3"/>
                    </a:lnTo>
                    <a:lnTo>
                      <a:pt x="95" y="6"/>
                    </a:lnTo>
                    <a:lnTo>
                      <a:pt x="80" y="11"/>
                    </a:lnTo>
                    <a:lnTo>
                      <a:pt x="66" y="16"/>
                    </a:lnTo>
                    <a:lnTo>
                      <a:pt x="52" y="21"/>
                    </a:lnTo>
                    <a:lnTo>
                      <a:pt x="43" y="26"/>
                    </a:lnTo>
                    <a:lnTo>
                      <a:pt x="36" y="31"/>
                    </a:lnTo>
                    <a:lnTo>
                      <a:pt x="30" y="35"/>
                    </a:lnTo>
                    <a:lnTo>
                      <a:pt x="24" y="42"/>
                    </a:lnTo>
                    <a:lnTo>
                      <a:pt x="16" y="51"/>
                    </a:lnTo>
                    <a:lnTo>
                      <a:pt x="10" y="61"/>
                    </a:lnTo>
                    <a:lnTo>
                      <a:pt x="4" y="71"/>
                    </a:lnTo>
                    <a:lnTo>
                      <a:pt x="1" y="79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1" y="86"/>
                    </a:lnTo>
                    <a:lnTo>
                      <a:pt x="3" y="87"/>
                    </a:lnTo>
                    <a:lnTo>
                      <a:pt x="13" y="86"/>
                    </a:lnTo>
                    <a:lnTo>
                      <a:pt x="22" y="85"/>
                    </a:lnTo>
                    <a:lnTo>
                      <a:pt x="29" y="83"/>
                    </a:lnTo>
                    <a:lnTo>
                      <a:pt x="38" y="81"/>
                    </a:lnTo>
                    <a:lnTo>
                      <a:pt x="52" y="75"/>
                    </a:lnTo>
                    <a:lnTo>
                      <a:pt x="66" y="66"/>
                    </a:lnTo>
                    <a:lnTo>
                      <a:pt x="80" y="58"/>
                    </a:lnTo>
                    <a:lnTo>
                      <a:pt x="94" y="50"/>
                    </a:lnTo>
                    <a:lnTo>
                      <a:pt x="102" y="46"/>
                    </a:lnTo>
                    <a:lnTo>
                      <a:pt x="111" y="43"/>
                    </a:lnTo>
                    <a:lnTo>
                      <a:pt x="119" y="40"/>
                    </a:lnTo>
                    <a:lnTo>
                      <a:pt x="129" y="37"/>
                    </a:lnTo>
                    <a:lnTo>
                      <a:pt x="175" y="37"/>
                    </a:lnTo>
                    <a:lnTo>
                      <a:pt x="175" y="43"/>
                    </a:lnTo>
                    <a:lnTo>
                      <a:pt x="176" y="48"/>
                    </a:lnTo>
                    <a:lnTo>
                      <a:pt x="178" y="52"/>
                    </a:lnTo>
                    <a:lnTo>
                      <a:pt x="180" y="55"/>
                    </a:lnTo>
                    <a:lnTo>
                      <a:pt x="181" y="58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90" y="61"/>
                    </a:lnTo>
                    <a:lnTo>
                      <a:pt x="206" y="60"/>
                    </a:lnTo>
                    <a:lnTo>
                      <a:pt x="229" y="61"/>
                    </a:lnTo>
                    <a:lnTo>
                      <a:pt x="250" y="69"/>
                    </a:lnTo>
                    <a:lnTo>
                      <a:pt x="269" y="78"/>
                    </a:lnTo>
                    <a:lnTo>
                      <a:pt x="285" y="86"/>
                    </a:lnTo>
                    <a:lnTo>
                      <a:pt x="302" y="95"/>
                    </a:lnTo>
                    <a:lnTo>
                      <a:pt x="318" y="103"/>
                    </a:lnTo>
                    <a:lnTo>
                      <a:pt x="336" y="111"/>
                    </a:lnTo>
                    <a:lnTo>
                      <a:pt x="354" y="118"/>
                    </a:lnTo>
                    <a:lnTo>
                      <a:pt x="375" y="123"/>
                    </a:lnTo>
                    <a:lnTo>
                      <a:pt x="375" y="129"/>
                    </a:lnTo>
                    <a:lnTo>
                      <a:pt x="376" y="134"/>
                    </a:lnTo>
                    <a:lnTo>
                      <a:pt x="379" y="138"/>
                    </a:lnTo>
                    <a:lnTo>
                      <a:pt x="382" y="142"/>
                    </a:lnTo>
                    <a:lnTo>
                      <a:pt x="388" y="147"/>
                    </a:lnTo>
                    <a:lnTo>
                      <a:pt x="396" y="152"/>
                    </a:lnTo>
                    <a:lnTo>
                      <a:pt x="415" y="159"/>
                    </a:lnTo>
                    <a:lnTo>
                      <a:pt x="428" y="166"/>
                    </a:lnTo>
                    <a:lnTo>
                      <a:pt x="417" y="176"/>
                    </a:lnTo>
                    <a:lnTo>
                      <a:pt x="402" y="191"/>
                    </a:lnTo>
                    <a:lnTo>
                      <a:pt x="404" y="195"/>
                    </a:lnTo>
                    <a:lnTo>
                      <a:pt x="407" y="197"/>
                    </a:lnTo>
                    <a:lnTo>
                      <a:pt x="410" y="199"/>
                    </a:lnTo>
                    <a:lnTo>
                      <a:pt x="414" y="201"/>
                    </a:lnTo>
                    <a:lnTo>
                      <a:pt x="421" y="203"/>
                    </a:lnTo>
                    <a:lnTo>
                      <a:pt x="429" y="204"/>
                    </a:lnTo>
                    <a:lnTo>
                      <a:pt x="445" y="204"/>
                    </a:lnTo>
                    <a:lnTo>
                      <a:pt x="461" y="204"/>
                    </a:lnTo>
                    <a:lnTo>
                      <a:pt x="554" y="191"/>
                    </a:lnTo>
                    <a:lnTo>
                      <a:pt x="555" y="189"/>
                    </a:lnTo>
                    <a:lnTo>
                      <a:pt x="556" y="186"/>
                    </a:lnTo>
                    <a:lnTo>
                      <a:pt x="559" y="183"/>
                    </a:lnTo>
                    <a:lnTo>
                      <a:pt x="562" y="179"/>
                    </a:lnTo>
                    <a:lnTo>
                      <a:pt x="565" y="177"/>
                    </a:lnTo>
                    <a:lnTo>
                      <a:pt x="568" y="174"/>
                    </a:lnTo>
                    <a:lnTo>
                      <a:pt x="572" y="173"/>
                    </a:lnTo>
                    <a:lnTo>
                      <a:pt x="574" y="172"/>
                    </a:lnTo>
                    <a:lnTo>
                      <a:pt x="574" y="161"/>
                    </a:lnTo>
                    <a:lnTo>
                      <a:pt x="574" y="154"/>
                    </a:lnTo>
                    <a:lnTo>
                      <a:pt x="561" y="153"/>
                    </a:lnTo>
                    <a:lnTo>
                      <a:pt x="546" y="151"/>
                    </a:lnTo>
                    <a:lnTo>
                      <a:pt x="532" y="148"/>
                    </a:lnTo>
                    <a:lnTo>
                      <a:pt x="518" y="143"/>
                    </a:lnTo>
                    <a:lnTo>
                      <a:pt x="504" y="138"/>
                    </a:lnTo>
                    <a:lnTo>
                      <a:pt x="489" y="132"/>
                    </a:lnTo>
                    <a:lnTo>
                      <a:pt x="475" y="124"/>
                    </a:lnTo>
                    <a:lnTo>
                      <a:pt x="461" y="116"/>
                    </a:lnTo>
                    <a:lnTo>
                      <a:pt x="433" y="100"/>
                    </a:lnTo>
                    <a:lnTo>
                      <a:pt x="407" y="84"/>
                    </a:lnTo>
                    <a:lnTo>
                      <a:pt x="383" y="68"/>
                    </a:lnTo>
                    <a:lnTo>
                      <a:pt x="362" y="55"/>
                    </a:lnTo>
                    <a:lnTo>
                      <a:pt x="358" y="54"/>
                    </a:lnTo>
                    <a:lnTo>
                      <a:pt x="353" y="52"/>
                    </a:lnTo>
                    <a:lnTo>
                      <a:pt x="348" y="52"/>
                    </a:lnTo>
                    <a:lnTo>
                      <a:pt x="342" y="52"/>
                    </a:lnTo>
                    <a:lnTo>
                      <a:pt x="330" y="52"/>
                    </a:lnTo>
                    <a:lnTo>
                      <a:pt x="318" y="52"/>
                    </a:lnTo>
                    <a:lnTo>
                      <a:pt x="312" y="51"/>
                    </a:lnTo>
                    <a:lnTo>
                      <a:pt x="306" y="50"/>
                    </a:lnTo>
                    <a:lnTo>
                      <a:pt x="302" y="49"/>
                    </a:lnTo>
                    <a:lnTo>
                      <a:pt x="297" y="46"/>
                    </a:lnTo>
                    <a:lnTo>
                      <a:pt x="294" y="43"/>
                    </a:lnTo>
                    <a:lnTo>
                      <a:pt x="291" y="38"/>
                    </a:lnTo>
                    <a:lnTo>
                      <a:pt x="290" y="32"/>
                    </a:lnTo>
                    <a:lnTo>
                      <a:pt x="288" y="25"/>
                    </a:lnTo>
                    <a:lnTo>
                      <a:pt x="142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MX" dirty="0"/>
              </a:p>
            </p:txBody>
          </p:sp>
          <p:sp>
            <p:nvSpPr>
              <p:cNvPr id="452" name="Freeform 217"/>
              <p:cNvSpPr>
                <a:spLocks/>
              </p:cNvSpPr>
              <p:nvPr>
                <p:custDataLst>
                  <p:tags r:id="rId342"/>
                </p:custDataLst>
              </p:nvPr>
            </p:nvSpPr>
            <p:spPr bwMode="auto">
              <a:xfrm>
                <a:off x="7820178" y="3212954"/>
                <a:ext cx="111640" cy="78868"/>
              </a:xfrm>
              <a:custGeom>
                <a:avLst/>
                <a:gdLst>
                  <a:gd name="T0" fmla="*/ 2147483647 w 207"/>
                  <a:gd name="T1" fmla="*/ 2147483647 h 129"/>
                  <a:gd name="T2" fmla="*/ 2147483647 w 207"/>
                  <a:gd name="T3" fmla="*/ 2147483647 h 129"/>
                  <a:gd name="T4" fmla="*/ 2147483647 w 207"/>
                  <a:gd name="T5" fmla="*/ 2147483647 h 129"/>
                  <a:gd name="T6" fmla="*/ 2147483647 w 207"/>
                  <a:gd name="T7" fmla="*/ 2147483647 h 129"/>
                  <a:gd name="T8" fmla="*/ 2147483647 w 207"/>
                  <a:gd name="T9" fmla="*/ 2147483647 h 129"/>
                  <a:gd name="T10" fmla="*/ 2147483647 w 207"/>
                  <a:gd name="T11" fmla="*/ 2147483647 h 129"/>
                  <a:gd name="T12" fmla="*/ 2147483647 w 207"/>
                  <a:gd name="T13" fmla="*/ 2147483647 h 129"/>
                  <a:gd name="T14" fmla="*/ 2147483647 w 207"/>
                  <a:gd name="T15" fmla="*/ 2147483647 h 129"/>
                  <a:gd name="T16" fmla="*/ 2147483647 w 207"/>
                  <a:gd name="T17" fmla="*/ 2147483647 h 129"/>
                  <a:gd name="T18" fmla="*/ 2147483647 w 207"/>
                  <a:gd name="T19" fmla="*/ 2147483647 h 129"/>
                  <a:gd name="T20" fmla="*/ 2147483647 w 207"/>
                  <a:gd name="T21" fmla="*/ 2147483647 h 129"/>
                  <a:gd name="T22" fmla="*/ 2147483647 w 207"/>
                  <a:gd name="T23" fmla="*/ 2147483647 h 129"/>
                  <a:gd name="T24" fmla="*/ 2147483647 w 207"/>
                  <a:gd name="T25" fmla="*/ 2147483647 h 129"/>
                  <a:gd name="T26" fmla="*/ 2147483647 w 207"/>
                  <a:gd name="T27" fmla="*/ 2147483647 h 129"/>
                  <a:gd name="T28" fmla="*/ 2147483647 w 207"/>
                  <a:gd name="T29" fmla="*/ 2147483647 h 129"/>
                  <a:gd name="T30" fmla="*/ 2147483647 w 207"/>
                  <a:gd name="T31" fmla="*/ 2147483647 h 129"/>
                  <a:gd name="T32" fmla="*/ 2147483647 w 207"/>
                  <a:gd name="T33" fmla="*/ 2147483647 h 129"/>
                  <a:gd name="T34" fmla="*/ 2147483647 w 207"/>
                  <a:gd name="T35" fmla="*/ 2147483647 h 129"/>
                  <a:gd name="T36" fmla="*/ 2147483647 w 207"/>
                  <a:gd name="T37" fmla="*/ 2147483647 h 129"/>
                  <a:gd name="T38" fmla="*/ 2147483647 w 207"/>
                  <a:gd name="T39" fmla="*/ 2147483647 h 129"/>
                  <a:gd name="T40" fmla="*/ 2147483647 w 207"/>
                  <a:gd name="T41" fmla="*/ 2147483647 h 129"/>
                  <a:gd name="T42" fmla="*/ 2147483647 w 207"/>
                  <a:gd name="T43" fmla="*/ 1599801309 h 129"/>
                  <a:gd name="T44" fmla="*/ 2147483647 w 207"/>
                  <a:gd name="T45" fmla="*/ 0 h 129"/>
                  <a:gd name="T46" fmla="*/ 0 w 207"/>
                  <a:gd name="T47" fmla="*/ 0 h 129"/>
                  <a:gd name="T48" fmla="*/ 156778695 w 207"/>
                  <a:gd name="T49" fmla="*/ 1371044369 h 129"/>
                  <a:gd name="T50" fmla="*/ 313848624 w 207"/>
                  <a:gd name="T51" fmla="*/ 2147483647 h 129"/>
                  <a:gd name="T52" fmla="*/ 627406553 w 207"/>
                  <a:gd name="T53" fmla="*/ 2147483647 h 129"/>
                  <a:gd name="T54" fmla="*/ 941255177 w 207"/>
                  <a:gd name="T55" fmla="*/ 2147483647 h 129"/>
                  <a:gd name="T56" fmla="*/ 1568662269 w 207"/>
                  <a:gd name="T57" fmla="*/ 2147483647 h 129"/>
                  <a:gd name="T58" fmla="*/ 2039289588 w 207"/>
                  <a:gd name="T59" fmla="*/ 2147483647 h 129"/>
                  <a:gd name="T60" fmla="*/ 2147483647 w 207"/>
                  <a:gd name="T61" fmla="*/ 2147483647 h 129"/>
                  <a:gd name="T62" fmla="*/ 2147483647 w 207"/>
                  <a:gd name="T63" fmla="*/ 2147483647 h 129"/>
                  <a:gd name="T64" fmla="*/ 2147483647 w 207"/>
                  <a:gd name="T65" fmla="*/ 2147483647 h 129"/>
                  <a:gd name="T66" fmla="*/ 2147483647 w 207"/>
                  <a:gd name="T67" fmla="*/ 2147483647 h 129"/>
                  <a:gd name="T68" fmla="*/ 1725731659 w 207"/>
                  <a:gd name="T69" fmla="*/ 2147483647 h 129"/>
                  <a:gd name="T70" fmla="*/ 1098034411 w 207"/>
                  <a:gd name="T71" fmla="*/ 2147483647 h 129"/>
                  <a:gd name="T72" fmla="*/ 0 w 207"/>
                  <a:gd name="T73" fmla="*/ 2147483647 h 129"/>
                  <a:gd name="T74" fmla="*/ 627406553 w 207"/>
                  <a:gd name="T75" fmla="*/ 2147483647 h 129"/>
                  <a:gd name="T76" fmla="*/ 2039289588 w 207"/>
                  <a:gd name="T77" fmla="*/ 2147483647 h 129"/>
                  <a:gd name="T78" fmla="*/ 2147483647 w 207"/>
                  <a:gd name="T79" fmla="*/ 2147483647 h 129"/>
                  <a:gd name="T80" fmla="*/ 2147483647 w 207"/>
                  <a:gd name="T81" fmla="*/ 2147483647 h 129"/>
                  <a:gd name="T82" fmla="*/ 2147483647 w 207"/>
                  <a:gd name="T83" fmla="*/ 2147483647 h 129"/>
                  <a:gd name="T84" fmla="*/ 2147483647 w 207"/>
                  <a:gd name="T85" fmla="*/ 2147483647 h 12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07" h="129">
                    <a:moveTo>
                      <a:pt x="41" y="129"/>
                    </a:moveTo>
                    <a:lnTo>
                      <a:pt x="50" y="121"/>
                    </a:lnTo>
                    <a:lnTo>
                      <a:pt x="60" y="115"/>
                    </a:lnTo>
                    <a:lnTo>
                      <a:pt x="70" y="110"/>
                    </a:lnTo>
                    <a:lnTo>
                      <a:pt x="81" y="105"/>
                    </a:lnTo>
                    <a:lnTo>
                      <a:pt x="105" y="99"/>
                    </a:lnTo>
                    <a:lnTo>
                      <a:pt x="129" y="92"/>
                    </a:lnTo>
                    <a:lnTo>
                      <a:pt x="152" y="87"/>
                    </a:lnTo>
                    <a:lnTo>
                      <a:pt x="173" y="81"/>
                    </a:lnTo>
                    <a:lnTo>
                      <a:pt x="182" y="77"/>
                    </a:lnTo>
                    <a:lnTo>
                      <a:pt x="191" y="73"/>
                    </a:lnTo>
                    <a:lnTo>
                      <a:pt x="200" y="67"/>
                    </a:lnTo>
                    <a:lnTo>
                      <a:pt x="207" y="61"/>
                    </a:lnTo>
                    <a:lnTo>
                      <a:pt x="198" y="54"/>
                    </a:lnTo>
                    <a:lnTo>
                      <a:pt x="188" y="47"/>
                    </a:lnTo>
                    <a:lnTo>
                      <a:pt x="179" y="42"/>
                    </a:lnTo>
                    <a:lnTo>
                      <a:pt x="169" y="36"/>
                    </a:lnTo>
                    <a:lnTo>
                      <a:pt x="150" y="29"/>
                    </a:lnTo>
                    <a:lnTo>
                      <a:pt x="129" y="23"/>
                    </a:lnTo>
                    <a:lnTo>
                      <a:pt x="107" y="18"/>
                    </a:lnTo>
                    <a:lnTo>
                      <a:pt x="85" y="13"/>
                    </a:lnTo>
                    <a:lnTo>
                      <a:pt x="63" y="7"/>
                    </a:lnTo>
                    <a:lnTo>
                      <a:pt x="41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13"/>
                    </a:lnTo>
                    <a:lnTo>
                      <a:pt x="4" y="19"/>
                    </a:lnTo>
                    <a:lnTo>
                      <a:pt x="6" y="25"/>
                    </a:lnTo>
                    <a:lnTo>
                      <a:pt x="10" y="35"/>
                    </a:lnTo>
                    <a:lnTo>
                      <a:pt x="13" y="46"/>
                    </a:lnTo>
                    <a:lnTo>
                      <a:pt x="17" y="54"/>
                    </a:lnTo>
                    <a:lnTo>
                      <a:pt x="18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1" y="71"/>
                    </a:lnTo>
                    <a:lnTo>
                      <a:pt x="7" y="73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13" y="110"/>
                    </a:lnTo>
                    <a:lnTo>
                      <a:pt x="19" y="113"/>
                    </a:lnTo>
                    <a:lnTo>
                      <a:pt x="25" y="117"/>
                    </a:lnTo>
                    <a:lnTo>
                      <a:pt x="33" y="122"/>
                    </a:lnTo>
                    <a:lnTo>
                      <a:pt x="41" y="129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3" name="Freeform 218"/>
              <p:cNvSpPr>
                <a:spLocks/>
              </p:cNvSpPr>
              <p:nvPr>
                <p:custDataLst>
                  <p:tags r:id="rId343"/>
                </p:custDataLst>
              </p:nvPr>
            </p:nvSpPr>
            <p:spPr bwMode="auto">
              <a:xfrm>
                <a:off x="7277926" y="3281067"/>
                <a:ext cx="41866" cy="95000"/>
              </a:xfrm>
              <a:custGeom>
                <a:avLst/>
                <a:gdLst>
                  <a:gd name="T0" fmla="*/ 2147483647 w 72"/>
                  <a:gd name="T1" fmla="*/ 0 h 154"/>
                  <a:gd name="T2" fmla="*/ 2147483647 w 72"/>
                  <a:gd name="T3" fmla="*/ 939184805 h 154"/>
                  <a:gd name="T4" fmla="*/ 2147483647 w 72"/>
                  <a:gd name="T5" fmla="*/ 2112784578 h 154"/>
                  <a:gd name="T6" fmla="*/ 2147483647 w 72"/>
                  <a:gd name="T7" fmla="*/ 2147483647 h 154"/>
                  <a:gd name="T8" fmla="*/ 2147483647 w 72"/>
                  <a:gd name="T9" fmla="*/ 2147483647 h 154"/>
                  <a:gd name="T10" fmla="*/ 2147483647 w 72"/>
                  <a:gd name="T11" fmla="*/ 2147483647 h 154"/>
                  <a:gd name="T12" fmla="*/ 2147483647 w 72"/>
                  <a:gd name="T13" fmla="*/ 2147483647 h 154"/>
                  <a:gd name="T14" fmla="*/ 2147483647 w 72"/>
                  <a:gd name="T15" fmla="*/ 2147483647 h 154"/>
                  <a:gd name="T16" fmla="*/ 2147483647 w 72"/>
                  <a:gd name="T17" fmla="*/ 2147483647 h 154"/>
                  <a:gd name="T18" fmla="*/ 2147483647 w 72"/>
                  <a:gd name="T19" fmla="*/ 2147483647 h 154"/>
                  <a:gd name="T20" fmla="*/ 2147483647 w 72"/>
                  <a:gd name="T21" fmla="*/ 2147483647 h 154"/>
                  <a:gd name="T22" fmla="*/ 2147483647 w 72"/>
                  <a:gd name="T23" fmla="*/ 2147483647 h 154"/>
                  <a:gd name="T24" fmla="*/ 2147483647 w 72"/>
                  <a:gd name="T25" fmla="*/ 2147483647 h 154"/>
                  <a:gd name="T26" fmla="*/ 2147483647 w 72"/>
                  <a:gd name="T27" fmla="*/ 2147483647 h 154"/>
                  <a:gd name="T28" fmla="*/ 2147483647 w 72"/>
                  <a:gd name="T29" fmla="*/ 2147483647 h 154"/>
                  <a:gd name="T30" fmla="*/ 2147483647 w 72"/>
                  <a:gd name="T31" fmla="*/ 2147483647 h 154"/>
                  <a:gd name="T32" fmla="*/ 2147483647 w 72"/>
                  <a:gd name="T33" fmla="*/ 2147483647 h 154"/>
                  <a:gd name="T34" fmla="*/ 2147483647 w 72"/>
                  <a:gd name="T35" fmla="*/ 2147483647 h 154"/>
                  <a:gd name="T36" fmla="*/ 2147483647 w 72"/>
                  <a:gd name="T37" fmla="*/ 2147483647 h 154"/>
                  <a:gd name="T38" fmla="*/ 2147483647 w 72"/>
                  <a:gd name="T39" fmla="*/ 2147483647 h 154"/>
                  <a:gd name="T40" fmla="*/ 2147483647 w 72"/>
                  <a:gd name="T41" fmla="*/ 2147483647 h 154"/>
                  <a:gd name="T42" fmla="*/ 0 w 72"/>
                  <a:gd name="T43" fmla="*/ 2147483647 h 154"/>
                  <a:gd name="T44" fmla="*/ 589664003 w 72"/>
                  <a:gd name="T45" fmla="*/ 2147483647 h 154"/>
                  <a:gd name="T46" fmla="*/ 1572887594 w 72"/>
                  <a:gd name="T47" fmla="*/ 2147483647 h 154"/>
                  <a:gd name="T48" fmla="*/ 1769329263 w 72"/>
                  <a:gd name="T49" fmla="*/ 2147483647 h 154"/>
                  <a:gd name="T50" fmla="*/ 2147483647 w 72"/>
                  <a:gd name="T51" fmla="*/ 2147483647 h 154"/>
                  <a:gd name="T52" fmla="*/ 2147483647 w 72"/>
                  <a:gd name="T53" fmla="*/ 2147483647 h 154"/>
                  <a:gd name="T54" fmla="*/ 2147483647 w 72"/>
                  <a:gd name="T55" fmla="*/ 2147483647 h 154"/>
                  <a:gd name="T56" fmla="*/ 2147483647 w 72"/>
                  <a:gd name="T57" fmla="*/ 0 h 154"/>
                  <a:gd name="T58" fmla="*/ 2147483647 w 72"/>
                  <a:gd name="T59" fmla="*/ 0 h 154"/>
                  <a:gd name="T60" fmla="*/ 2147483647 w 72"/>
                  <a:gd name="T61" fmla="*/ 0 h 154"/>
                  <a:gd name="T62" fmla="*/ 2147483647 w 72"/>
                  <a:gd name="T63" fmla="*/ 0 h 154"/>
                  <a:gd name="T64" fmla="*/ 2147483647 w 72"/>
                  <a:gd name="T65" fmla="*/ 0 h 15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72" h="154">
                    <a:moveTo>
                      <a:pt x="72" y="0"/>
                    </a:moveTo>
                    <a:lnTo>
                      <a:pt x="69" y="4"/>
                    </a:lnTo>
                    <a:lnTo>
                      <a:pt x="67" y="9"/>
                    </a:lnTo>
                    <a:lnTo>
                      <a:pt x="66" y="13"/>
                    </a:lnTo>
                    <a:lnTo>
                      <a:pt x="66" y="18"/>
                    </a:lnTo>
                    <a:lnTo>
                      <a:pt x="66" y="27"/>
                    </a:lnTo>
                    <a:lnTo>
                      <a:pt x="66" y="37"/>
                    </a:lnTo>
                    <a:lnTo>
                      <a:pt x="69" y="43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67" y="82"/>
                    </a:lnTo>
                    <a:lnTo>
                      <a:pt x="65" y="91"/>
                    </a:lnTo>
                    <a:lnTo>
                      <a:pt x="61" y="100"/>
                    </a:lnTo>
                    <a:lnTo>
                      <a:pt x="53" y="116"/>
                    </a:lnTo>
                    <a:lnTo>
                      <a:pt x="44" y="131"/>
                    </a:lnTo>
                    <a:lnTo>
                      <a:pt x="34" y="144"/>
                    </a:lnTo>
                    <a:lnTo>
                      <a:pt x="26" y="154"/>
                    </a:lnTo>
                    <a:lnTo>
                      <a:pt x="26" y="141"/>
                    </a:lnTo>
                    <a:lnTo>
                      <a:pt x="15" y="144"/>
                    </a:lnTo>
                    <a:lnTo>
                      <a:pt x="0" y="148"/>
                    </a:lnTo>
                    <a:lnTo>
                      <a:pt x="3" y="129"/>
                    </a:lnTo>
                    <a:lnTo>
                      <a:pt x="8" y="105"/>
                    </a:lnTo>
                    <a:lnTo>
                      <a:pt x="9" y="92"/>
                    </a:lnTo>
                    <a:lnTo>
                      <a:pt x="12" y="77"/>
                    </a:lnTo>
                    <a:lnTo>
                      <a:pt x="15" y="63"/>
                    </a:lnTo>
                    <a:lnTo>
                      <a:pt x="20" y="49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2" y="0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4" name="Freeform 219"/>
              <p:cNvSpPr>
                <a:spLocks/>
              </p:cNvSpPr>
              <p:nvPr>
                <p:custDataLst>
                  <p:tags r:id="rId344"/>
                </p:custDataLst>
              </p:nvPr>
            </p:nvSpPr>
            <p:spPr bwMode="auto">
              <a:xfrm>
                <a:off x="7178247" y="3281067"/>
                <a:ext cx="117621" cy="164906"/>
              </a:xfrm>
              <a:custGeom>
                <a:avLst/>
                <a:gdLst>
                  <a:gd name="T0" fmla="*/ 1328307694 w 214"/>
                  <a:gd name="T1" fmla="*/ 2147483647 h 271"/>
                  <a:gd name="T2" fmla="*/ 1992612414 w 214"/>
                  <a:gd name="T3" fmla="*/ 2147483647 h 271"/>
                  <a:gd name="T4" fmla="*/ 2147483647 w 214"/>
                  <a:gd name="T5" fmla="*/ 2147483647 h 271"/>
                  <a:gd name="T6" fmla="*/ 2147483647 w 214"/>
                  <a:gd name="T7" fmla="*/ 2147483647 h 271"/>
                  <a:gd name="T8" fmla="*/ 2147483647 w 214"/>
                  <a:gd name="T9" fmla="*/ 2147483647 h 271"/>
                  <a:gd name="T10" fmla="*/ 2147483647 w 214"/>
                  <a:gd name="T11" fmla="*/ 2147483647 h 271"/>
                  <a:gd name="T12" fmla="*/ 2147483647 w 214"/>
                  <a:gd name="T13" fmla="*/ 2147483647 h 271"/>
                  <a:gd name="T14" fmla="*/ 2147483647 w 214"/>
                  <a:gd name="T15" fmla="*/ 2147483647 h 271"/>
                  <a:gd name="T16" fmla="*/ 2147483647 w 214"/>
                  <a:gd name="T17" fmla="*/ 2147483647 h 271"/>
                  <a:gd name="T18" fmla="*/ 2147483647 w 214"/>
                  <a:gd name="T19" fmla="*/ 2147483647 h 271"/>
                  <a:gd name="T20" fmla="*/ 2147483647 w 214"/>
                  <a:gd name="T21" fmla="*/ 2147483647 h 271"/>
                  <a:gd name="T22" fmla="*/ 2147483647 w 214"/>
                  <a:gd name="T23" fmla="*/ 2147483647 h 271"/>
                  <a:gd name="T24" fmla="*/ 2147483647 w 214"/>
                  <a:gd name="T25" fmla="*/ 2147483647 h 271"/>
                  <a:gd name="T26" fmla="*/ 2147483647 w 214"/>
                  <a:gd name="T27" fmla="*/ 2147483647 h 271"/>
                  <a:gd name="T28" fmla="*/ 2147483647 w 214"/>
                  <a:gd name="T29" fmla="*/ 2147483647 h 271"/>
                  <a:gd name="T30" fmla="*/ 2147483647 w 214"/>
                  <a:gd name="T31" fmla="*/ 2147483647 h 271"/>
                  <a:gd name="T32" fmla="*/ 2147483647 w 214"/>
                  <a:gd name="T33" fmla="*/ 2147483647 h 271"/>
                  <a:gd name="T34" fmla="*/ 2147483647 w 214"/>
                  <a:gd name="T35" fmla="*/ 676137723 h 271"/>
                  <a:gd name="T36" fmla="*/ 2147483647 w 214"/>
                  <a:gd name="T37" fmla="*/ 0 h 271"/>
                  <a:gd name="T38" fmla="*/ 2147483647 w 214"/>
                  <a:gd name="T39" fmla="*/ 0 h 271"/>
                  <a:gd name="T40" fmla="*/ 2147483647 w 214"/>
                  <a:gd name="T41" fmla="*/ 2147483647 h 271"/>
                  <a:gd name="T42" fmla="*/ 2147483647 w 214"/>
                  <a:gd name="T43" fmla="*/ 2147483647 h 271"/>
                  <a:gd name="T44" fmla="*/ 2147483647 w 214"/>
                  <a:gd name="T45" fmla="*/ 2147483647 h 271"/>
                  <a:gd name="T46" fmla="*/ 2147483647 w 214"/>
                  <a:gd name="T47" fmla="*/ 2147483647 h 271"/>
                  <a:gd name="T48" fmla="*/ 2147483647 w 214"/>
                  <a:gd name="T49" fmla="*/ 2147483647 h 271"/>
                  <a:gd name="T50" fmla="*/ 2147483647 w 214"/>
                  <a:gd name="T51" fmla="*/ 2147483647 h 271"/>
                  <a:gd name="T52" fmla="*/ 2147483647 w 214"/>
                  <a:gd name="T53" fmla="*/ 2147483647 h 271"/>
                  <a:gd name="T54" fmla="*/ 2147483647 w 214"/>
                  <a:gd name="T55" fmla="*/ 2147483647 h 271"/>
                  <a:gd name="T56" fmla="*/ 2147483647 w 214"/>
                  <a:gd name="T57" fmla="*/ 2147483647 h 271"/>
                  <a:gd name="T58" fmla="*/ 2147483647 w 214"/>
                  <a:gd name="T59" fmla="*/ 2147483647 h 271"/>
                  <a:gd name="T60" fmla="*/ 2147483647 w 214"/>
                  <a:gd name="T61" fmla="*/ 2147483647 h 271"/>
                  <a:gd name="T62" fmla="*/ 2147483647 w 214"/>
                  <a:gd name="T63" fmla="*/ 2147483647 h 271"/>
                  <a:gd name="T64" fmla="*/ 2147483647 w 214"/>
                  <a:gd name="T65" fmla="*/ 2147483647 h 271"/>
                  <a:gd name="T66" fmla="*/ 2147483647 w 214"/>
                  <a:gd name="T67" fmla="*/ 2147483647 h 271"/>
                  <a:gd name="T68" fmla="*/ 2147483647 w 214"/>
                  <a:gd name="T69" fmla="*/ 2147483647 h 271"/>
                  <a:gd name="T70" fmla="*/ 0 w 214"/>
                  <a:gd name="T71" fmla="*/ 2147483647 h 27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14" h="271">
                    <a:moveTo>
                      <a:pt x="7" y="221"/>
                    </a:moveTo>
                    <a:lnTo>
                      <a:pt x="8" y="207"/>
                    </a:lnTo>
                    <a:lnTo>
                      <a:pt x="9" y="192"/>
                    </a:lnTo>
                    <a:lnTo>
                      <a:pt x="12" y="181"/>
                    </a:lnTo>
                    <a:lnTo>
                      <a:pt x="16" y="170"/>
                    </a:lnTo>
                    <a:lnTo>
                      <a:pt x="24" y="148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40" y="114"/>
                    </a:lnTo>
                    <a:lnTo>
                      <a:pt x="44" y="112"/>
                    </a:lnTo>
                    <a:lnTo>
                      <a:pt x="51" y="111"/>
                    </a:lnTo>
                    <a:lnTo>
                      <a:pt x="65" y="111"/>
                    </a:lnTo>
                    <a:lnTo>
                      <a:pt x="82" y="111"/>
                    </a:lnTo>
                    <a:lnTo>
                      <a:pt x="89" y="111"/>
                    </a:lnTo>
                    <a:lnTo>
                      <a:pt x="98" y="111"/>
                    </a:lnTo>
                    <a:lnTo>
                      <a:pt x="106" y="110"/>
                    </a:lnTo>
                    <a:lnTo>
                      <a:pt x="113" y="108"/>
                    </a:lnTo>
                    <a:lnTo>
                      <a:pt x="120" y="105"/>
                    </a:lnTo>
                    <a:lnTo>
                      <a:pt x="125" y="100"/>
                    </a:lnTo>
                    <a:lnTo>
                      <a:pt x="130" y="94"/>
                    </a:lnTo>
                    <a:lnTo>
                      <a:pt x="133" y="85"/>
                    </a:lnTo>
                    <a:lnTo>
                      <a:pt x="113" y="73"/>
                    </a:lnTo>
                    <a:lnTo>
                      <a:pt x="94" y="63"/>
                    </a:lnTo>
                    <a:lnTo>
                      <a:pt x="86" y="58"/>
                    </a:lnTo>
                    <a:lnTo>
                      <a:pt x="79" y="52"/>
                    </a:lnTo>
                    <a:lnTo>
                      <a:pt x="77" y="49"/>
                    </a:lnTo>
                    <a:lnTo>
                      <a:pt x="75" y="45"/>
                    </a:lnTo>
                    <a:lnTo>
                      <a:pt x="74" y="41"/>
                    </a:lnTo>
                    <a:lnTo>
                      <a:pt x="74" y="37"/>
                    </a:lnTo>
                    <a:lnTo>
                      <a:pt x="75" y="34"/>
                    </a:lnTo>
                    <a:lnTo>
                      <a:pt x="77" y="31"/>
                    </a:lnTo>
                    <a:lnTo>
                      <a:pt x="82" y="28"/>
                    </a:lnTo>
                    <a:lnTo>
                      <a:pt x="87" y="25"/>
                    </a:lnTo>
                    <a:lnTo>
                      <a:pt x="101" y="19"/>
                    </a:lnTo>
                    <a:lnTo>
                      <a:pt x="118" y="13"/>
                    </a:lnTo>
                    <a:lnTo>
                      <a:pt x="150" y="3"/>
                    </a:lnTo>
                    <a:lnTo>
                      <a:pt x="167" y="0"/>
                    </a:lnTo>
                    <a:lnTo>
                      <a:pt x="180" y="0"/>
                    </a:lnTo>
                    <a:lnTo>
                      <a:pt x="190" y="0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7" y="49"/>
                    </a:lnTo>
                    <a:lnTo>
                      <a:pt x="202" y="63"/>
                    </a:lnTo>
                    <a:lnTo>
                      <a:pt x="199" y="77"/>
                    </a:lnTo>
                    <a:lnTo>
                      <a:pt x="196" y="92"/>
                    </a:lnTo>
                    <a:lnTo>
                      <a:pt x="195" y="105"/>
                    </a:lnTo>
                    <a:lnTo>
                      <a:pt x="190" y="129"/>
                    </a:lnTo>
                    <a:lnTo>
                      <a:pt x="187" y="148"/>
                    </a:lnTo>
                    <a:lnTo>
                      <a:pt x="202" y="151"/>
                    </a:lnTo>
                    <a:lnTo>
                      <a:pt x="213" y="154"/>
                    </a:lnTo>
                    <a:lnTo>
                      <a:pt x="214" y="158"/>
                    </a:lnTo>
                    <a:lnTo>
                      <a:pt x="214" y="166"/>
                    </a:lnTo>
                    <a:lnTo>
                      <a:pt x="213" y="170"/>
                    </a:lnTo>
                    <a:lnTo>
                      <a:pt x="210" y="174"/>
                    </a:lnTo>
                    <a:lnTo>
                      <a:pt x="209" y="176"/>
                    </a:lnTo>
                    <a:lnTo>
                      <a:pt x="207" y="177"/>
                    </a:lnTo>
                    <a:lnTo>
                      <a:pt x="203" y="178"/>
                    </a:lnTo>
                    <a:lnTo>
                      <a:pt x="200" y="178"/>
                    </a:lnTo>
                    <a:lnTo>
                      <a:pt x="197" y="187"/>
                    </a:lnTo>
                    <a:lnTo>
                      <a:pt x="192" y="196"/>
                    </a:lnTo>
                    <a:lnTo>
                      <a:pt x="188" y="205"/>
                    </a:lnTo>
                    <a:lnTo>
                      <a:pt x="181" y="214"/>
                    </a:lnTo>
                    <a:lnTo>
                      <a:pt x="169" y="229"/>
                    </a:lnTo>
                    <a:lnTo>
                      <a:pt x="155" y="243"/>
                    </a:lnTo>
                    <a:lnTo>
                      <a:pt x="131" y="263"/>
                    </a:lnTo>
                    <a:lnTo>
                      <a:pt x="120" y="271"/>
                    </a:lnTo>
                    <a:lnTo>
                      <a:pt x="103" y="266"/>
                    </a:lnTo>
                    <a:lnTo>
                      <a:pt x="87" y="261"/>
                    </a:lnTo>
                    <a:lnTo>
                      <a:pt x="71" y="254"/>
                    </a:lnTo>
                    <a:lnTo>
                      <a:pt x="55" y="248"/>
                    </a:lnTo>
                    <a:lnTo>
                      <a:pt x="27" y="235"/>
                    </a:lnTo>
                    <a:lnTo>
                      <a:pt x="0" y="221"/>
                    </a:lnTo>
                    <a:lnTo>
                      <a:pt x="7" y="221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5" name="Freeform 220"/>
              <p:cNvSpPr>
                <a:spLocks/>
              </p:cNvSpPr>
              <p:nvPr>
                <p:custDataLst>
                  <p:tags r:id="rId345"/>
                </p:custDataLst>
              </p:nvPr>
            </p:nvSpPr>
            <p:spPr bwMode="auto">
              <a:xfrm>
                <a:off x="7238054" y="3406539"/>
                <a:ext cx="89711" cy="64528"/>
              </a:xfrm>
              <a:custGeom>
                <a:avLst/>
                <a:gdLst>
                  <a:gd name="T0" fmla="*/ 2147483647 w 153"/>
                  <a:gd name="T1" fmla="*/ 0 h 80"/>
                  <a:gd name="T2" fmla="*/ 2147483647 w 153"/>
                  <a:gd name="T3" fmla="*/ 2147483647 h 80"/>
                  <a:gd name="T4" fmla="*/ 2147483647 w 153"/>
                  <a:gd name="T5" fmla="*/ 2147483647 h 80"/>
                  <a:gd name="T6" fmla="*/ 2147483647 w 153"/>
                  <a:gd name="T7" fmla="*/ 2147483647 h 80"/>
                  <a:gd name="T8" fmla="*/ 2147483647 w 153"/>
                  <a:gd name="T9" fmla="*/ 2147483647 h 80"/>
                  <a:gd name="T10" fmla="*/ 2147483647 w 153"/>
                  <a:gd name="T11" fmla="*/ 2147483647 h 80"/>
                  <a:gd name="T12" fmla="*/ 2147483647 w 153"/>
                  <a:gd name="T13" fmla="*/ 2147483647 h 80"/>
                  <a:gd name="T14" fmla="*/ 2147483647 w 153"/>
                  <a:gd name="T15" fmla="*/ 2147483647 h 80"/>
                  <a:gd name="T16" fmla="*/ 2147483647 w 153"/>
                  <a:gd name="T17" fmla="*/ 2147483647 h 80"/>
                  <a:gd name="T18" fmla="*/ 2147483647 w 153"/>
                  <a:gd name="T19" fmla="*/ 2147483647 h 80"/>
                  <a:gd name="T20" fmla="*/ 2147483647 w 153"/>
                  <a:gd name="T21" fmla="*/ 2147483647 h 80"/>
                  <a:gd name="T22" fmla="*/ 2147483647 w 153"/>
                  <a:gd name="T23" fmla="*/ 2147483647 h 80"/>
                  <a:gd name="T24" fmla="*/ 2147483647 w 153"/>
                  <a:gd name="T25" fmla="*/ 2147483647 h 80"/>
                  <a:gd name="T26" fmla="*/ 2147483647 w 153"/>
                  <a:gd name="T27" fmla="*/ 2147483647 h 80"/>
                  <a:gd name="T28" fmla="*/ 2147483647 w 153"/>
                  <a:gd name="T29" fmla="*/ 2147483647 h 80"/>
                  <a:gd name="T30" fmla="*/ 2147483647 w 153"/>
                  <a:gd name="T31" fmla="*/ 2147483647 h 80"/>
                  <a:gd name="T32" fmla="*/ 2147483647 w 153"/>
                  <a:gd name="T33" fmla="*/ 2147483647 h 80"/>
                  <a:gd name="T34" fmla="*/ 2147483647 w 153"/>
                  <a:gd name="T35" fmla="*/ 2147483647 h 80"/>
                  <a:gd name="T36" fmla="*/ 2147483647 w 153"/>
                  <a:gd name="T37" fmla="*/ 2147483647 h 80"/>
                  <a:gd name="T38" fmla="*/ 2147483647 w 153"/>
                  <a:gd name="T39" fmla="*/ 2147483647 h 80"/>
                  <a:gd name="T40" fmla="*/ 2147483647 w 153"/>
                  <a:gd name="T41" fmla="*/ 2147483647 h 80"/>
                  <a:gd name="T42" fmla="*/ 2147483647 w 153"/>
                  <a:gd name="T43" fmla="*/ 2147483647 h 80"/>
                  <a:gd name="T44" fmla="*/ 2147483647 w 153"/>
                  <a:gd name="T45" fmla="*/ 2147483647 h 80"/>
                  <a:gd name="T46" fmla="*/ 2147483647 w 153"/>
                  <a:gd name="T47" fmla="*/ 2147483647 h 80"/>
                  <a:gd name="T48" fmla="*/ 2147483647 w 153"/>
                  <a:gd name="T49" fmla="*/ 2147483647 h 80"/>
                  <a:gd name="T50" fmla="*/ 0 w 153"/>
                  <a:gd name="T51" fmla="*/ 2147483647 h 80"/>
                  <a:gd name="T52" fmla="*/ 1410964054 w 153"/>
                  <a:gd name="T53" fmla="*/ 2147483647 h 80"/>
                  <a:gd name="T54" fmla="*/ 2147483647 w 153"/>
                  <a:gd name="T55" fmla="*/ 2147483647 h 80"/>
                  <a:gd name="T56" fmla="*/ 2147483647 w 153"/>
                  <a:gd name="T57" fmla="*/ 2147483647 h 80"/>
                  <a:gd name="T58" fmla="*/ 2147483647 w 153"/>
                  <a:gd name="T59" fmla="*/ 2147483647 h 80"/>
                  <a:gd name="T60" fmla="*/ 2147483647 w 153"/>
                  <a:gd name="T61" fmla="*/ 2147483647 h 80"/>
                  <a:gd name="T62" fmla="*/ 2147483647 w 153"/>
                  <a:gd name="T63" fmla="*/ 2147483647 h 80"/>
                  <a:gd name="T64" fmla="*/ 2147483647 w 153"/>
                  <a:gd name="T65" fmla="*/ 0 h 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53" h="80">
                    <a:moveTo>
                      <a:pt x="60" y="0"/>
                    </a:moveTo>
                    <a:lnTo>
                      <a:pt x="83" y="14"/>
                    </a:lnTo>
                    <a:lnTo>
                      <a:pt x="104" y="24"/>
                    </a:lnTo>
                    <a:lnTo>
                      <a:pt x="115" y="28"/>
                    </a:lnTo>
                    <a:lnTo>
                      <a:pt x="126" y="31"/>
                    </a:lnTo>
                    <a:lnTo>
                      <a:pt x="133" y="32"/>
                    </a:lnTo>
                    <a:lnTo>
                      <a:pt x="139" y="32"/>
                    </a:lnTo>
                    <a:lnTo>
                      <a:pt x="146" y="31"/>
                    </a:lnTo>
                    <a:lnTo>
                      <a:pt x="153" y="30"/>
                    </a:lnTo>
                    <a:lnTo>
                      <a:pt x="153" y="56"/>
                    </a:lnTo>
                    <a:lnTo>
                      <a:pt x="149" y="60"/>
                    </a:lnTo>
                    <a:lnTo>
                      <a:pt x="145" y="65"/>
                    </a:lnTo>
                    <a:lnTo>
                      <a:pt x="138" y="69"/>
                    </a:lnTo>
                    <a:lnTo>
                      <a:pt x="132" y="72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2" y="79"/>
                    </a:lnTo>
                    <a:lnTo>
                      <a:pt x="106" y="80"/>
                    </a:lnTo>
                    <a:lnTo>
                      <a:pt x="90" y="74"/>
                    </a:lnTo>
                    <a:lnTo>
                      <a:pt x="76" y="71"/>
                    </a:lnTo>
                    <a:lnTo>
                      <a:pt x="63" y="69"/>
                    </a:lnTo>
                    <a:lnTo>
                      <a:pt x="50" y="69"/>
                    </a:lnTo>
                    <a:lnTo>
                      <a:pt x="39" y="68"/>
                    </a:lnTo>
                    <a:lnTo>
                      <a:pt x="27" y="67"/>
                    </a:lnTo>
                    <a:lnTo>
                      <a:pt x="14" y="65"/>
                    </a:lnTo>
                    <a:lnTo>
                      <a:pt x="0" y="62"/>
                    </a:lnTo>
                    <a:lnTo>
                      <a:pt x="7" y="58"/>
                    </a:lnTo>
                    <a:lnTo>
                      <a:pt x="23" y="45"/>
                    </a:lnTo>
                    <a:lnTo>
                      <a:pt x="34" y="37"/>
                    </a:lnTo>
                    <a:lnTo>
                      <a:pt x="45" y="28"/>
                    </a:lnTo>
                    <a:lnTo>
                      <a:pt x="56" y="17"/>
                    </a:lnTo>
                    <a:lnTo>
                      <a:pt x="67" y="6"/>
                    </a:lnTo>
                    <a:lnTo>
                      <a:pt x="60" y="0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6" name="Freeform 221"/>
              <p:cNvSpPr>
                <a:spLocks/>
              </p:cNvSpPr>
              <p:nvPr>
                <p:custDataLst>
                  <p:tags r:id="rId346"/>
                </p:custDataLst>
              </p:nvPr>
            </p:nvSpPr>
            <p:spPr bwMode="auto">
              <a:xfrm>
                <a:off x="7277926" y="3363520"/>
                <a:ext cx="179421" cy="98584"/>
              </a:xfrm>
              <a:custGeom>
                <a:avLst/>
                <a:gdLst>
                  <a:gd name="T0" fmla="*/ 0 w 332"/>
                  <a:gd name="T1" fmla="*/ 2147483647 h 169"/>
                  <a:gd name="T2" fmla="*/ 2147483647 w 332"/>
                  <a:gd name="T3" fmla="*/ 2147483647 h 169"/>
                  <a:gd name="T4" fmla="*/ 2147483647 w 332"/>
                  <a:gd name="T5" fmla="*/ 2147483647 h 169"/>
                  <a:gd name="T6" fmla="*/ 2147483647 w 332"/>
                  <a:gd name="T7" fmla="*/ 2147483647 h 169"/>
                  <a:gd name="T8" fmla="*/ 2147483647 w 332"/>
                  <a:gd name="T9" fmla="*/ 2147483647 h 169"/>
                  <a:gd name="T10" fmla="*/ 2147483647 w 332"/>
                  <a:gd name="T11" fmla="*/ 2147483647 h 169"/>
                  <a:gd name="T12" fmla="*/ 2147483647 w 332"/>
                  <a:gd name="T13" fmla="*/ 2147483647 h 169"/>
                  <a:gd name="T14" fmla="*/ 2147483647 w 332"/>
                  <a:gd name="T15" fmla="*/ 2147483647 h 169"/>
                  <a:gd name="T16" fmla="*/ 2147483647 w 332"/>
                  <a:gd name="T17" fmla="*/ 2147483647 h 169"/>
                  <a:gd name="T18" fmla="*/ 2147483647 w 332"/>
                  <a:gd name="T19" fmla="*/ 2147483647 h 169"/>
                  <a:gd name="T20" fmla="*/ 2147483647 w 332"/>
                  <a:gd name="T21" fmla="*/ 2147483647 h 169"/>
                  <a:gd name="T22" fmla="*/ 2147483647 w 332"/>
                  <a:gd name="T23" fmla="*/ 2147483647 h 169"/>
                  <a:gd name="T24" fmla="*/ 2147483647 w 332"/>
                  <a:gd name="T25" fmla="*/ 2147483647 h 169"/>
                  <a:gd name="T26" fmla="*/ 2147483647 w 332"/>
                  <a:gd name="T27" fmla="*/ 2147483647 h 169"/>
                  <a:gd name="T28" fmla="*/ 2147483647 w 332"/>
                  <a:gd name="T29" fmla="*/ 2147483647 h 169"/>
                  <a:gd name="T30" fmla="*/ 2147483647 w 332"/>
                  <a:gd name="T31" fmla="*/ 2147483647 h 169"/>
                  <a:gd name="T32" fmla="*/ 2147483647 w 332"/>
                  <a:gd name="T33" fmla="*/ 2147483647 h 169"/>
                  <a:gd name="T34" fmla="*/ 2147483647 w 332"/>
                  <a:gd name="T35" fmla="*/ 2147483647 h 169"/>
                  <a:gd name="T36" fmla="*/ 2147483647 w 332"/>
                  <a:gd name="T37" fmla="*/ 2147483647 h 169"/>
                  <a:gd name="T38" fmla="*/ 2147483647 w 332"/>
                  <a:gd name="T39" fmla="*/ 397109769 h 169"/>
                  <a:gd name="T40" fmla="*/ 2147483647 w 332"/>
                  <a:gd name="T41" fmla="*/ 198384842 h 169"/>
                  <a:gd name="T42" fmla="*/ 2147483647 w 332"/>
                  <a:gd name="T43" fmla="*/ 0 h 169"/>
                  <a:gd name="T44" fmla="*/ 2147483647 w 332"/>
                  <a:gd name="T45" fmla="*/ 198384842 h 169"/>
                  <a:gd name="T46" fmla="*/ 2147483647 w 332"/>
                  <a:gd name="T47" fmla="*/ 793878869 h 169"/>
                  <a:gd name="T48" fmla="*/ 2147483647 w 332"/>
                  <a:gd name="T49" fmla="*/ 1984866923 h 169"/>
                  <a:gd name="T50" fmla="*/ 2147483647 w 332"/>
                  <a:gd name="T51" fmla="*/ 2147483647 h 169"/>
                  <a:gd name="T52" fmla="*/ 2147483647 w 332"/>
                  <a:gd name="T53" fmla="*/ 2147483647 h 169"/>
                  <a:gd name="T54" fmla="*/ 2147483647 w 332"/>
                  <a:gd name="T55" fmla="*/ 2147483647 h 169"/>
                  <a:gd name="T56" fmla="*/ 2147483647 w 332"/>
                  <a:gd name="T57" fmla="*/ 2147483647 h 169"/>
                  <a:gd name="T58" fmla="*/ 2147483647 w 332"/>
                  <a:gd name="T59" fmla="*/ 2147483647 h 169"/>
                  <a:gd name="T60" fmla="*/ 2147483647 w 332"/>
                  <a:gd name="T61" fmla="*/ 2147483647 h 169"/>
                  <a:gd name="T62" fmla="*/ 2147483647 w 332"/>
                  <a:gd name="T63" fmla="*/ 2147483647 h 169"/>
                  <a:gd name="T64" fmla="*/ 2147483647 w 332"/>
                  <a:gd name="T65" fmla="*/ 2147483647 h 169"/>
                  <a:gd name="T66" fmla="*/ 1736289983 w 332"/>
                  <a:gd name="T67" fmla="*/ 2147483647 h 169"/>
                  <a:gd name="T68" fmla="*/ 1104858846 w 332"/>
                  <a:gd name="T69" fmla="*/ 2147483647 h 16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32" h="169">
                    <a:moveTo>
                      <a:pt x="7" y="83"/>
                    </a:moveTo>
                    <a:lnTo>
                      <a:pt x="0" y="77"/>
                    </a:lnTo>
                    <a:lnTo>
                      <a:pt x="23" y="91"/>
                    </a:lnTo>
                    <a:lnTo>
                      <a:pt x="44" y="101"/>
                    </a:lnTo>
                    <a:lnTo>
                      <a:pt x="55" y="105"/>
                    </a:lnTo>
                    <a:lnTo>
                      <a:pt x="66" y="108"/>
                    </a:lnTo>
                    <a:lnTo>
                      <a:pt x="73" y="109"/>
                    </a:lnTo>
                    <a:lnTo>
                      <a:pt x="79" y="109"/>
                    </a:lnTo>
                    <a:lnTo>
                      <a:pt x="86" y="108"/>
                    </a:lnTo>
                    <a:lnTo>
                      <a:pt x="93" y="107"/>
                    </a:lnTo>
                    <a:lnTo>
                      <a:pt x="86" y="139"/>
                    </a:lnTo>
                    <a:lnTo>
                      <a:pt x="90" y="144"/>
                    </a:lnTo>
                    <a:lnTo>
                      <a:pt x="94" y="149"/>
                    </a:lnTo>
                    <a:lnTo>
                      <a:pt x="95" y="154"/>
                    </a:lnTo>
                    <a:lnTo>
                      <a:pt x="97" y="158"/>
                    </a:lnTo>
                    <a:lnTo>
                      <a:pt x="99" y="163"/>
                    </a:lnTo>
                    <a:lnTo>
                      <a:pt x="102" y="166"/>
                    </a:lnTo>
                    <a:lnTo>
                      <a:pt x="107" y="168"/>
                    </a:lnTo>
                    <a:lnTo>
                      <a:pt x="113" y="169"/>
                    </a:lnTo>
                    <a:lnTo>
                      <a:pt x="117" y="169"/>
                    </a:lnTo>
                    <a:lnTo>
                      <a:pt x="120" y="167"/>
                    </a:lnTo>
                    <a:lnTo>
                      <a:pt x="123" y="166"/>
                    </a:lnTo>
                    <a:lnTo>
                      <a:pt x="127" y="163"/>
                    </a:lnTo>
                    <a:lnTo>
                      <a:pt x="132" y="157"/>
                    </a:lnTo>
                    <a:lnTo>
                      <a:pt x="138" y="150"/>
                    </a:lnTo>
                    <a:lnTo>
                      <a:pt x="146" y="136"/>
                    </a:lnTo>
                    <a:lnTo>
                      <a:pt x="153" y="127"/>
                    </a:lnTo>
                    <a:lnTo>
                      <a:pt x="174" y="115"/>
                    </a:lnTo>
                    <a:lnTo>
                      <a:pt x="195" y="105"/>
                    </a:lnTo>
                    <a:lnTo>
                      <a:pt x="214" y="96"/>
                    </a:lnTo>
                    <a:lnTo>
                      <a:pt x="235" y="88"/>
                    </a:lnTo>
                    <a:lnTo>
                      <a:pt x="256" y="80"/>
                    </a:lnTo>
                    <a:lnTo>
                      <a:pt x="279" y="73"/>
                    </a:lnTo>
                    <a:lnTo>
                      <a:pt x="304" y="65"/>
                    </a:lnTo>
                    <a:lnTo>
                      <a:pt x="332" y="58"/>
                    </a:lnTo>
                    <a:lnTo>
                      <a:pt x="332" y="46"/>
                    </a:lnTo>
                    <a:lnTo>
                      <a:pt x="332" y="35"/>
                    </a:lnTo>
                    <a:lnTo>
                      <a:pt x="332" y="22"/>
                    </a:lnTo>
                    <a:lnTo>
                      <a:pt x="332" y="3"/>
                    </a:lnTo>
                    <a:lnTo>
                      <a:pt x="320" y="2"/>
                    </a:lnTo>
                    <a:lnTo>
                      <a:pt x="303" y="2"/>
                    </a:lnTo>
                    <a:lnTo>
                      <a:pt x="283" y="1"/>
                    </a:lnTo>
                    <a:lnTo>
                      <a:pt x="259" y="0"/>
                    </a:lnTo>
                    <a:lnTo>
                      <a:pt x="234" y="0"/>
                    </a:lnTo>
                    <a:lnTo>
                      <a:pt x="208" y="0"/>
                    </a:lnTo>
                    <a:lnTo>
                      <a:pt x="180" y="1"/>
                    </a:lnTo>
                    <a:lnTo>
                      <a:pt x="153" y="3"/>
                    </a:lnTo>
                    <a:lnTo>
                      <a:pt x="131" y="4"/>
                    </a:lnTo>
                    <a:lnTo>
                      <a:pt x="110" y="6"/>
                    </a:lnTo>
                    <a:lnTo>
                      <a:pt x="90" y="10"/>
                    </a:lnTo>
                    <a:lnTo>
                      <a:pt x="73" y="15"/>
                    </a:lnTo>
                    <a:lnTo>
                      <a:pt x="59" y="19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3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3" y="38"/>
                    </a:lnTo>
                    <a:lnTo>
                      <a:pt x="30" y="42"/>
                    </a:lnTo>
                    <a:lnTo>
                      <a:pt x="29" y="44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6"/>
                    </a:lnTo>
                    <a:lnTo>
                      <a:pt x="19" y="55"/>
                    </a:lnTo>
                    <a:lnTo>
                      <a:pt x="16" y="63"/>
                    </a:lnTo>
                    <a:lnTo>
                      <a:pt x="11" y="72"/>
                    </a:lnTo>
                    <a:lnTo>
                      <a:pt x="7" y="77"/>
                    </a:lnTo>
                    <a:lnTo>
                      <a:pt x="7" y="8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7" name="Freeform 222"/>
              <p:cNvSpPr>
                <a:spLocks/>
              </p:cNvSpPr>
              <p:nvPr>
                <p:custDataLst>
                  <p:tags r:id="rId347"/>
                </p:custDataLst>
              </p:nvPr>
            </p:nvSpPr>
            <p:spPr bwMode="auto">
              <a:xfrm>
                <a:off x="7299856" y="3397576"/>
                <a:ext cx="157492" cy="138020"/>
              </a:xfrm>
              <a:custGeom>
                <a:avLst/>
                <a:gdLst>
                  <a:gd name="T0" fmla="*/ 2147483647 w 286"/>
                  <a:gd name="T1" fmla="*/ 2147483647 h 235"/>
                  <a:gd name="T2" fmla="*/ 2147483647 w 286"/>
                  <a:gd name="T3" fmla="*/ 2147483647 h 235"/>
                  <a:gd name="T4" fmla="*/ 2147483647 w 286"/>
                  <a:gd name="T5" fmla="*/ 2147483647 h 235"/>
                  <a:gd name="T6" fmla="*/ 2147483647 w 286"/>
                  <a:gd name="T7" fmla="*/ 2147483647 h 235"/>
                  <a:gd name="T8" fmla="*/ 2147483647 w 286"/>
                  <a:gd name="T9" fmla="*/ 2147483647 h 235"/>
                  <a:gd name="T10" fmla="*/ 2147483647 w 286"/>
                  <a:gd name="T11" fmla="*/ 2147483647 h 235"/>
                  <a:gd name="T12" fmla="*/ 2147483647 w 286"/>
                  <a:gd name="T13" fmla="*/ 2147483647 h 235"/>
                  <a:gd name="T14" fmla="*/ 2147483647 w 286"/>
                  <a:gd name="T15" fmla="*/ 2147483647 h 235"/>
                  <a:gd name="T16" fmla="*/ 2147483647 w 286"/>
                  <a:gd name="T17" fmla="*/ 2147483647 h 235"/>
                  <a:gd name="T18" fmla="*/ 2147483647 w 286"/>
                  <a:gd name="T19" fmla="*/ 2147483647 h 235"/>
                  <a:gd name="T20" fmla="*/ 2147483647 w 286"/>
                  <a:gd name="T21" fmla="*/ 2147483647 h 235"/>
                  <a:gd name="T22" fmla="*/ 2147483647 w 286"/>
                  <a:gd name="T23" fmla="*/ 1418063878 h 235"/>
                  <a:gd name="T24" fmla="*/ 2147483647 w 286"/>
                  <a:gd name="T25" fmla="*/ 2147483647 h 235"/>
                  <a:gd name="T26" fmla="*/ 2147483647 w 286"/>
                  <a:gd name="T27" fmla="*/ 2147483647 h 235"/>
                  <a:gd name="T28" fmla="*/ 2147483647 w 286"/>
                  <a:gd name="T29" fmla="*/ 2147483647 h 235"/>
                  <a:gd name="T30" fmla="*/ 2147483647 w 286"/>
                  <a:gd name="T31" fmla="*/ 2147483647 h 235"/>
                  <a:gd name="T32" fmla="*/ 2147483647 w 286"/>
                  <a:gd name="T33" fmla="*/ 2147483647 h 235"/>
                  <a:gd name="T34" fmla="*/ 2147483647 w 286"/>
                  <a:gd name="T35" fmla="*/ 2147483647 h 235"/>
                  <a:gd name="T36" fmla="*/ 2147483647 w 286"/>
                  <a:gd name="T37" fmla="*/ 2147483647 h 235"/>
                  <a:gd name="T38" fmla="*/ 2147483647 w 286"/>
                  <a:gd name="T39" fmla="*/ 2147483647 h 235"/>
                  <a:gd name="T40" fmla="*/ 2147483647 w 286"/>
                  <a:gd name="T41" fmla="*/ 2147483647 h 235"/>
                  <a:gd name="T42" fmla="*/ 2147483647 w 286"/>
                  <a:gd name="T43" fmla="*/ 2147483647 h 235"/>
                  <a:gd name="T44" fmla="*/ 2147483647 w 286"/>
                  <a:gd name="T45" fmla="*/ 2147483647 h 235"/>
                  <a:gd name="T46" fmla="*/ 2147483647 w 286"/>
                  <a:gd name="T47" fmla="*/ 2147483647 h 235"/>
                  <a:gd name="T48" fmla="*/ 2147483647 w 286"/>
                  <a:gd name="T49" fmla="*/ 2147483647 h 235"/>
                  <a:gd name="T50" fmla="*/ 2147483647 w 286"/>
                  <a:gd name="T51" fmla="*/ 2147483647 h 235"/>
                  <a:gd name="T52" fmla="*/ 2147483647 w 286"/>
                  <a:gd name="T53" fmla="*/ 2147483647 h 235"/>
                  <a:gd name="T54" fmla="*/ 2147483647 w 286"/>
                  <a:gd name="T55" fmla="*/ 2147483647 h 235"/>
                  <a:gd name="T56" fmla="*/ 0 w 286"/>
                  <a:gd name="T57" fmla="*/ 2147483647 h 235"/>
                  <a:gd name="T58" fmla="*/ 2147483647 w 286"/>
                  <a:gd name="T59" fmla="*/ 2147483647 h 235"/>
                  <a:gd name="T60" fmla="*/ 2147483647 w 286"/>
                  <a:gd name="T61" fmla="*/ 2147483647 h 235"/>
                  <a:gd name="T62" fmla="*/ 2147483647 w 286"/>
                  <a:gd name="T63" fmla="*/ 2147483647 h 235"/>
                  <a:gd name="T64" fmla="*/ 2147483647 w 286"/>
                  <a:gd name="T65" fmla="*/ 2147483647 h 23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86" h="235">
                    <a:moveTo>
                      <a:pt x="40" y="81"/>
                    </a:moveTo>
                    <a:lnTo>
                      <a:pt x="44" y="86"/>
                    </a:lnTo>
                    <a:lnTo>
                      <a:pt x="48" y="91"/>
                    </a:lnTo>
                    <a:lnTo>
                      <a:pt x="49" y="96"/>
                    </a:lnTo>
                    <a:lnTo>
                      <a:pt x="51" y="100"/>
                    </a:lnTo>
                    <a:lnTo>
                      <a:pt x="53" y="105"/>
                    </a:lnTo>
                    <a:lnTo>
                      <a:pt x="56" y="108"/>
                    </a:lnTo>
                    <a:lnTo>
                      <a:pt x="61" y="110"/>
                    </a:lnTo>
                    <a:lnTo>
                      <a:pt x="67" y="111"/>
                    </a:lnTo>
                    <a:lnTo>
                      <a:pt x="71" y="111"/>
                    </a:lnTo>
                    <a:lnTo>
                      <a:pt x="74" y="109"/>
                    </a:lnTo>
                    <a:lnTo>
                      <a:pt x="77" y="108"/>
                    </a:lnTo>
                    <a:lnTo>
                      <a:pt x="81" y="105"/>
                    </a:lnTo>
                    <a:lnTo>
                      <a:pt x="86" y="99"/>
                    </a:lnTo>
                    <a:lnTo>
                      <a:pt x="92" y="92"/>
                    </a:lnTo>
                    <a:lnTo>
                      <a:pt x="100" y="78"/>
                    </a:lnTo>
                    <a:lnTo>
                      <a:pt x="107" y="69"/>
                    </a:lnTo>
                    <a:lnTo>
                      <a:pt x="128" y="57"/>
                    </a:lnTo>
                    <a:lnTo>
                      <a:pt x="149" y="47"/>
                    </a:lnTo>
                    <a:lnTo>
                      <a:pt x="168" y="38"/>
                    </a:lnTo>
                    <a:lnTo>
                      <a:pt x="189" y="30"/>
                    </a:lnTo>
                    <a:lnTo>
                      <a:pt x="210" y="22"/>
                    </a:lnTo>
                    <a:lnTo>
                      <a:pt x="233" y="15"/>
                    </a:lnTo>
                    <a:lnTo>
                      <a:pt x="258" y="7"/>
                    </a:lnTo>
                    <a:lnTo>
                      <a:pt x="286" y="0"/>
                    </a:lnTo>
                    <a:lnTo>
                      <a:pt x="286" y="11"/>
                    </a:lnTo>
                    <a:lnTo>
                      <a:pt x="284" y="21"/>
                    </a:lnTo>
                    <a:lnTo>
                      <a:pt x="282" y="32"/>
                    </a:lnTo>
                    <a:lnTo>
                      <a:pt x="279" y="44"/>
                    </a:lnTo>
                    <a:lnTo>
                      <a:pt x="272" y="70"/>
                    </a:lnTo>
                    <a:lnTo>
                      <a:pt x="263" y="97"/>
                    </a:lnTo>
                    <a:lnTo>
                      <a:pt x="254" y="128"/>
                    </a:lnTo>
                    <a:lnTo>
                      <a:pt x="246" y="158"/>
                    </a:lnTo>
                    <a:lnTo>
                      <a:pt x="244" y="174"/>
                    </a:lnTo>
                    <a:lnTo>
                      <a:pt x="242" y="190"/>
                    </a:lnTo>
                    <a:lnTo>
                      <a:pt x="240" y="206"/>
                    </a:lnTo>
                    <a:lnTo>
                      <a:pt x="240" y="222"/>
                    </a:lnTo>
                    <a:lnTo>
                      <a:pt x="146" y="216"/>
                    </a:lnTo>
                    <a:lnTo>
                      <a:pt x="142" y="216"/>
                    </a:lnTo>
                    <a:lnTo>
                      <a:pt x="138" y="218"/>
                    </a:lnTo>
                    <a:lnTo>
                      <a:pt x="134" y="220"/>
                    </a:lnTo>
                    <a:lnTo>
                      <a:pt x="132" y="223"/>
                    </a:lnTo>
                    <a:lnTo>
                      <a:pt x="128" y="229"/>
                    </a:lnTo>
                    <a:lnTo>
                      <a:pt x="127" y="235"/>
                    </a:lnTo>
                    <a:lnTo>
                      <a:pt x="117" y="226"/>
                    </a:lnTo>
                    <a:lnTo>
                      <a:pt x="109" y="217"/>
                    </a:lnTo>
                    <a:lnTo>
                      <a:pt x="101" y="208"/>
                    </a:lnTo>
                    <a:lnTo>
                      <a:pt x="94" y="199"/>
                    </a:lnTo>
                    <a:lnTo>
                      <a:pt x="81" y="180"/>
                    </a:lnTo>
                    <a:lnTo>
                      <a:pt x="69" y="160"/>
                    </a:lnTo>
                    <a:lnTo>
                      <a:pt x="62" y="150"/>
                    </a:lnTo>
                    <a:lnTo>
                      <a:pt x="55" y="142"/>
                    </a:lnTo>
                    <a:lnTo>
                      <a:pt x="49" y="133"/>
                    </a:lnTo>
                    <a:lnTo>
                      <a:pt x="41" y="125"/>
                    </a:lnTo>
                    <a:lnTo>
                      <a:pt x="32" y="117"/>
                    </a:lnTo>
                    <a:lnTo>
                      <a:pt x="22" y="110"/>
                    </a:lnTo>
                    <a:lnTo>
                      <a:pt x="13" y="104"/>
                    </a:lnTo>
                    <a:lnTo>
                      <a:pt x="0" y="99"/>
                    </a:lnTo>
                    <a:lnTo>
                      <a:pt x="6" y="98"/>
                    </a:lnTo>
                    <a:lnTo>
                      <a:pt x="13" y="97"/>
                    </a:lnTo>
                    <a:lnTo>
                      <a:pt x="19" y="94"/>
                    </a:lnTo>
                    <a:lnTo>
                      <a:pt x="26" y="91"/>
                    </a:lnTo>
                    <a:lnTo>
                      <a:pt x="32" y="88"/>
                    </a:lnTo>
                    <a:lnTo>
                      <a:pt x="39" y="84"/>
                    </a:lnTo>
                    <a:lnTo>
                      <a:pt x="43" y="79"/>
                    </a:lnTo>
                    <a:lnTo>
                      <a:pt x="47" y="75"/>
                    </a:lnTo>
                    <a:lnTo>
                      <a:pt x="40" y="81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8" name="Freeform 223"/>
              <p:cNvSpPr>
                <a:spLocks/>
              </p:cNvSpPr>
              <p:nvPr>
                <p:custDataLst>
                  <p:tags r:id="rId348"/>
                </p:custDataLst>
              </p:nvPr>
            </p:nvSpPr>
            <p:spPr bwMode="auto">
              <a:xfrm>
                <a:off x="7363650" y="3524841"/>
                <a:ext cx="105659" cy="112924"/>
              </a:xfrm>
              <a:custGeom>
                <a:avLst/>
                <a:gdLst>
                  <a:gd name="T0" fmla="*/ 2147483647 w 205"/>
                  <a:gd name="T1" fmla="*/ 2147483647 h 191"/>
                  <a:gd name="T2" fmla="*/ 2147483647 w 205"/>
                  <a:gd name="T3" fmla="*/ 2147483647 h 191"/>
                  <a:gd name="T4" fmla="*/ 2147483647 w 205"/>
                  <a:gd name="T5" fmla="*/ 2147483647 h 191"/>
                  <a:gd name="T6" fmla="*/ 2147483647 w 205"/>
                  <a:gd name="T7" fmla="*/ 2147483647 h 191"/>
                  <a:gd name="T8" fmla="*/ 2147483647 w 205"/>
                  <a:gd name="T9" fmla="*/ 2147483647 h 191"/>
                  <a:gd name="T10" fmla="*/ 2147483647 w 205"/>
                  <a:gd name="T11" fmla="*/ 2147483647 h 191"/>
                  <a:gd name="T12" fmla="*/ 2147483647 w 205"/>
                  <a:gd name="T13" fmla="*/ 2147483647 h 191"/>
                  <a:gd name="T14" fmla="*/ 2147483647 w 205"/>
                  <a:gd name="T15" fmla="*/ 2147483647 h 191"/>
                  <a:gd name="T16" fmla="*/ 2147483647 w 205"/>
                  <a:gd name="T17" fmla="*/ 2147483647 h 191"/>
                  <a:gd name="T18" fmla="*/ 2147483647 w 205"/>
                  <a:gd name="T19" fmla="*/ 2147483647 h 191"/>
                  <a:gd name="T20" fmla="*/ 2147483647 w 205"/>
                  <a:gd name="T21" fmla="*/ 2147483647 h 191"/>
                  <a:gd name="T22" fmla="*/ 2147483647 w 205"/>
                  <a:gd name="T23" fmla="*/ 2147483647 h 191"/>
                  <a:gd name="T24" fmla="*/ 2147483647 w 205"/>
                  <a:gd name="T25" fmla="*/ 2147483647 h 191"/>
                  <a:gd name="T26" fmla="*/ 2147483647 w 205"/>
                  <a:gd name="T27" fmla="*/ 2147483647 h 191"/>
                  <a:gd name="T28" fmla="*/ 2147483647 w 205"/>
                  <a:gd name="T29" fmla="*/ 2147483647 h 191"/>
                  <a:gd name="T30" fmla="*/ 2147483647 w 205"/>
                  <a:gd name="T31" fmla="*/ 2147483647 h 191"/>
                  <a:gd name="T32" fmla="*/ 2147483647 w 205"/>
                  <a:gd name="T33" fmla="*/ 2147483647 h 191"/>
                  <a:gd name="T34" fmla="*/ 2147483647 w 205"/>
                  <a:gd name="T35" fmla="*/ 2147483647 h 191"/>
                  <a:gd name="T36" fmla="*/ 2147483647 w 205"/>
                  <a:gd name="T37" fmla="*/ 2147483647 h 191"/>
                  <a:gd name="T38" fmla="*/ 2147483647 w 205"/>
                  <a:gd name="T39" fmla="*/ 2147483647 h 191"/>
                  <a:gd name="T40" fmla="*/ 2147483647 w 205"/>
                  <a:gd name="T41" fmla="*/ 2147483647 h 191"/>
                  <a:gd name="T42" fmla="*/ 1779836163 w 205"/>
                  <a:gd name="T43" fmla="*/ 2147483647 h 191"/>
                  <a:gd name="T44" fmla="*/ 547764604 w 205"/>
                  <a:gd name="T45" fmla="*/ 2147483647 h 191"/>
                  <a:gd name="T46" fmla="*/ 0 w 205"/>
                  <a:gd name="T47" fmla="*/ 2147483647 h 191"/>
                  <a:gd name="T48" fmla="*/ 0 w 205"/>
                  <a:gd name="T49" fmla="*/ 2147483647 h 191"/>
                  <a:gd name="T50" fmla="*/ 410690348 w 205"/>
                  <a:gd name="T51" fmla="*/ 2147483647 h 191"/>
                  <a:gd name="T52" fmla="*/ 1095263256 w 205"/>
                  <a:gd name="T53" fmla="*/ 2147483647 h 191"/>
                  <a:gd name="T54" fmla="*/ 1916910419 w 205"/>
                  <a:gd name="T55" fmla="*/ 2147483647 h 191"/>
                  <a:gd name="T56" fmla="*/ 2147483647 w 205"/>
                  <a:gd name="T57" fmla="*/ 826678766 h 191"/>
                  <a:gd name="T58" fmla="*/ 2147483647 w 205"/>
                  <a:gd name="T59" fmla="*/ 0 h 191"/>
                  <a:gd name="T60" fmla="*/ 2147483647 w 205"/>
                  <a:gd name="T61" fmla="*/ 1239844033 h 191"/>
                  <a:gd name="T62" fmla="*/ 2147483647 w 205"/>
                  <a:gd name="T63" fmla="*/ 2147483647 h 191"/>
                  <a:gd name="T64" fmla="*/ 2147483647 w 205"/>
                  <a:gd name="T65" fmla="*/ 2147483647 h 191"/>
                  <a:gd name="T66" fmla="*/ 2147483647 w 205"/>
                  <a:gd name="T67" fmla="*/ 2147483647 h 191"/>
                  <a:gd name="T68" fmla="*/ 2147483647 w 205"/>
                  <a:gd name="T69" fmla="*/ 2147483647 h 191"/>
                  <a:gd name="T70" fmla="*/ 2147483647 w 205"/>
                  <a:gd name="T71" fmla="*/ 2147483647 h 191"/>
                  <a:gd name="T72" fmla="*/ 2147483647 w 205"/>
                  <a:gd name="T73" fmla="*/ 2147483647 h 191"/>
                  <a:gd name="T74" fmla="*/ 2147483647 w 205"/>
                  <a:gd name="T75" fmla="*/ 2147483647 h 191"/>
                  <a:gd name="T76" fmla="*/ 2147483647 w 205"/>
                  <a:gd name="T77" fmla="*/ 2147483647 h 191"/>
                  <a:gd name="T78" fmla="*/ 2147483647 w 205"/>
                  <a:gd name="T79" fmla="*/ 2147483647 h 191"/>
                  <a:gd name="T80" fmla="*/ 2147483647 w 205"/>
                  <a:gd name="T81" fmla="*/ 2147483647 h 19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05" h="191">
                    <a:moveTo>
                      <a:pt x="205" y="185"/>
                    </a:moveTo>
                    <a:lnTo>
                      <a:pt x="188" y="185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5" y="185"/>
                    </a:lnTo>
                    <a:lnTo>
                      <a:pt x="158" y="185"/>
                    </a:lnTo>
                    <a:lnTo>
                      <a:pt x="151" y="182"/>
                    </a:lnTo>
                    <a:lnTo>
                      <a:pt x="144" y="180"/>
                    </a:lnTo>
                    <a:lnTo>
                      <a:pt x="140" y="177"/>
                    </a:lnTo>
                    <a:lnTo>
                      <a:pt x="136" y="173"/>
                    </a:lnTo>
                    <a:lnTo>
                      <a:pt x="132" y="168"/>
                    </a:lnTo>
                    <a:lnTo>
                      <a:pt x="129" y="163"/>
                    </a:lnTo>
                    <a:lnTo>
                      <a:pt x="127" y="158"/>
                    </a:lnTo>
                    <a:lnTo>
                      <a:pt x="120" y="147"/>
                    </a:lnTo>
                    <a:lnTo>
                      <a:pt x="114" y="136"/>
                    </a:lnTo>
                    <a:lnTo>
                      <a:pt x="110" y="131"/>
                    </a:lnTo>
                    <a:lnTo>
                      <a:pt x="105" y="125"/>
                    </a:lnTo>
                    <a:lnTo>
                      <a:pt x="99" y="121"/>
                    </a:lnTo>
                    <a:lnTo>
                      <a:pt x="93" y="117"/>
                    </a:lnTo>
                    <a:lnTo>
                      <a:pt x="93" y="126"/>
                    </a:lnTo>
                    <a:lnTo>
                      <a:pt x="93" y="136"/>
                    </a:lnTo>
                    <a:lnTo>
                      <a:pt x="90" y="135"/>
                    </a:lnTo>
                    <a:lnTo>
                      <a:pt x="86" y="133"/>
                    </a:lnTo>
                    <a:lnTo>
                      <a:pt x="84" y="130"/>
                    </a:lnTo>
                    <a:lnTo>
                      <a:pt x="80" y="124"/>
                    </a:lnTo>
                    <a:lnTo>
                      <a:pt x="72" y="113"/>
                    </a:lnTo>
                    <a:lnTo>
                      <a:pt x="64" y="100"/>
                    </a:lnTo>
                    <a:lnTo>
                      <a:pt x="56" y="87"/>
                    </a:lnTo>
                    <a:lnTo>
                      <a:pt x="46" y="74"/>
                    </a:lnTo>
                    <a:lnTo>
                      <a:pt x="41" y="67"/>
                    </a:lnTo>
                    <a:lnTo>
                      <a:pt x="36" y="62"/>
                    </a:lnTo>
                    <a:lnTo>
                      <a:pt x="31" y="58"/>
                    </a:lnTo>
                    <a:lnTo>
                      <a:pt x="26" y="55"/>
                    </a:lnTo>
                    <a:lnTo>
                      <a:pt x="26" y="60"/>
                    </a:lnTo>
                    <a:lnTo>
                      <a:pt x="27" y="64"/>
                    </a:lnTo>
                    <a:lnTo>
                      <a:pt x="29" y="69"/>
                    </a:lnTo>
                    <a:lnTo>
                      <a:pt x="31" y="74"/>
                    </a:lnTo>
                    <a:lnTo>
                      <a:pt x="34" y="78"/>
                    </a:lnTo>
                    <a:lnTo>
                      <a:pt x="37" y="81"/>
                    </a:lnTo>
                    <a:lnTo>
                      <a:pt x="41" y="84"/>
                    </a:lnTo>
                    <a:lnTo>
                      <a:pt x="46" y="87"/>
                    </a:lnTo>
                    <a:lnTo>
                      <a:pt x="46" y="105"/>
                    </a:lnTo>
                    <a:lnTo>
                      <a:pt x="19" y="105"/>
                    </a:lnTo>
                    <a:lnTo>
                      <a:pt x="13" y="98"/>
                    </a:lnTo>
                    <a:lnTo>
                      <a:pt x="8" y="91"/>
                    </a:lnTo>
                    <a:lnTo>
                      <a:pt x="4" y="84"/>
                    </a:lnTo>
                    <a:lnTo>
                      <a:pt x="2" y="77"/>
                    </a:lnTo>
                    <a:lnTo>
                      <a:pt x="0" y="60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8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13" y="19"/>
                    </a:lnTo>
                    <a:lnTo>
                      <a:pt x="14" y="13"/>
                    </a:lnTo>
                    <a:lnTo>
                      <a:pt x="18" y="7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126" y="6"/>
                    </a:lnTo>
                    <a:lnTo>
                      <a:pt x="126" y="13"/>
                    </a:lnTo>
                    <a:lnTo>
                      <a:pt x="127" y="21"/>
                    </a:lnTo>
                    <a:lnTo>
                      <a:pt x="128" y="29"/>
                    </a:lnTo>
                    <a:lnTo>
                      <a:pt x="130" y="37"/>
                    </a:lnTo>
                    <a:lnTo>
                      <a:pt x="136" y="53"/>
                    </a:lnTo>
                    <a:lnTo>
                      <a:pt x="143" y="70"/>
                    </a:lnTo>
                    <a:lnTo>
                      <a:pt x="153" y="87"/>
                    </a:lnTo>
                    <a:lnTo>
                      <a:pt x="165" y="102"/>
                    </a:lnTo>
                    <a:lnTo>
                      <a:pt x="171" y="110"/>
                    </a:lnTo>
                    <a:lnTo>
                      <a:pt x="177" y="117"/>
                    </a:lnTo>
                    <a:lnTo>
                      <a:pt x="185" y="123"/>
                    </a:lnTo>
                    <a:lnTo>
                      <a:pt x="192" y="130"/>
                    </a:lnTo>
                    <a:lnTo>
                      <a:pt x="191" y="137"/>
                    </a:lnTo>
                    <a:lnTo>
                      <a:pt x="189" y="143"/>
                    </a:lnTo>
                    <a:lnTo>
                      <a:pt x="189" y="149"/>
                    </a:lnTo>
                    <a:lnTo>
                      <a:pt x="189" y="156"/>
                    </a:lnTo>
                    <a:lnTo>
                      <a:pt x="192" y="171"/>
                    </a:lnTo>
                    <a:lnTo>
                      <a:pt x="192" y="191"/>
                    </a:lnTo>
                    <a:lnTo>
                      <a:pt x="192" y="185"/>
                    </a:lnTo>
                    <a:lnTo>
                      <a:pt x="205" y="185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9" name="Freeform 224"/>
              <p:cNvSpPr>
                <a:spLocks/>
              </p:cNvSpPr>
              <p:nvPr>
                <p:custDataLst>
                  <p:tags r:id="rId349"/>
                </p:custDataLst>
              </p:nvPr>
            </p:nvSpPr>
            <p:spPr bwMode="auto">
              <a:xfrm>
                <a:off x="7465322" y="3585785"/>
                <a:ext cx="179421" cy="89623"/>
              </a:xfrm>
              <a:custGeom>
                <a:avLst/>
                <a:gdLst>
                  <a:gd name="T0" fmla="*/ 486561939 w 329"/>
                  <a:gd name="T1" fmla="*/ 2147483647 h 154"/>
                  <a:gd name="T2" fmla="*/ 0 w 329"/>
                  <a:gd name="T3" fmla="*/ 2147483647 h 154"/>
                  <a:gd name="T4" fmla="*/ 324473880 w 329"/>
                  <a:gd name="T5" fmla="*/ 2147483647 h 154"/>
                  <a:gd name="T6" fmla="*/ 2147483647 w 329"/>
                  <a:gd name="T7" fmla="*/ 2147483647 h 154"/>
                  <a:gd name="T8" fmla="*/ 2147483647 w 329"/>
                  <a:gd name="T9" fmla="*/ 2147483647 h 154"/>
                  <a:gd name="T10" fmla="*/ 2147483647 w 329"/>
                  <a:gd name="T11" fmla="*/ 2147483647 h 154"/>
                  <a:gd name="T12" fmla="*/ 2147483647 w 329"/>
                  <a:gd name="T13" fmla="*/ 2147483647 h 154"/>
                  <a:gd name="T14" fmla="*/ 2147483647 w 329"/>
                  <a:gd name="T15" fmla="*/ 2147483647 h 154"/>
                  <a:gd name="T16" fmla="*/ 2147483647 w 329"/>
                  <a:gd name="T17" fmla="*/ 2147483647 h 154"/>
                  <a:gd name="T18" fmla="*/ 2147483647 w 329"/>
                  <a:gd name="T19" fmla="*/ 2147483647 h 154"/>
                  <a:gd name="T20" fmla="*/ 2147483647 w 329"/>
                  <a:gd name="T21" fmla="*/ 788461252 h 154"/>
                  <a:gd name="T22" fmla="*/ 2147483647 w 329"/>
                  <a:gd name="T23" fmla="*/ 0 h 154"/>
                  <a:gd name="T24" fmla="*/ 2147483647 w 329"/>
                  <a:gd name="T25" fmla="*/ 0 h 154"/>
                  <a:gd name="T26" fmla="*/ 2147483647 w 329"/>
                  <a:gd name="T27" fmla="*/ 1182692460 h 154"/>
                  <a:gd name="T28" fmla="*/ 2147483647 w 329"/>
                  <a:gd name="T29" fmla="*/ 2147483647 h 154"/>
                  <a:gd name="T30" fmla="*/ 2147483647 w 329"/>
                  <a:gd name="T31" fmla="*/ 2147483647 h 154"/>
                  <a:gd name="T32" fmla="*/ 2147483647 w 329"/>
                  <a:gd name="T33" fmla="*/ 2147483647 h 154"/>
                  <a:gd name="T34" fmla="*/ 2147483647 w 329"/>
                  <a:gd name="T35" fmla="*/ 2147483647 h 154"/>
                  <a:gd name="T36" fmla="*/ 2147483647 w 329"/>
                  <a:gd name="T37" fmla="*/ 2147483647 h 154"/>
                  <a:gd name="T38" fmla="*/ 2147483647 w 329"/>
                  <a:gd name="T39" fmla="*/ 2147483647 h 154"/>
                  <a:gd name="T40" fmla="*/ 2147483647 w 329"/>
                  <a:gd name="T41" fmla="*/ 2147483647 h 154"/>
                  <a:gd name="T42" fmla="*/ 2147483647 w 329"/>
                  <a:gd name="T43" fmla="*/ 2147483647 h 154"/>
                  <a:gd name="T44" fmla="*/ 2147483647 w 329"/>
                  <a:gd name="T45" fmla="*/ 2147483647 h 154"/>
                  <a:gd name="T46" fmla="*/ 2147483647 w 329"/>
                  <a:gd name="T47" fmla="*/ 2147483647 h 154"/>
                  <a:gd name="T48" fmla="*/ 2147483647 w 329"/>
                  <a:gd name="T49" fmla="*/ 2147483647 h 154"/>
                  <a:gd name="T50" fmla="*/ 2147483647 w 329"/>
                  <a:gd name="T51" fmla="*/ 2147483647 h 154"/>
                  <a:gd name="T52" fmla="*/ 2147483647 w 329"/>
                  <a:gd name="T53" fmla="*/ 2147483647 h 154"/>
                  <a:gd name="T54" fmla="*/ 2147483647 w 329"/>
                  <a:gd name="T55" fmla="*/ 2147483647 h 154"/>
                  <a:gd name="T56" fmla="*/ 2147483647 w 329"/>
                  <a:gd name="T57" fmla="*/ 2147483647 h 154"/>
                  <a:gd name="T58" fmla="*/ 2147483647 w 329"/>
                  <a:gd name="T59" fmla="*/ 2147483647 h 154"/>
                  <a:gd name="T60" fmla="*/ 2147483647 w 329"/>
                  <a:gd name="T61" fmla="*/ 2147483647 h 154"/>
                  <a:gd name="T62" fmla="*/ 2147483647 w 329"/>
                  <a:gd name="T63" fmla="*/ 2147483647 h 154"/>
                  <a:gd name="T64" fmla="*/ 2147483647 w 329"/>
                  <a:gd name="T65" fmla="*/ 2147483647 h 154"/>
                  <a:gd name="T66" fmla="*/ 2147483647 w 329"/>
                  <a:gd name="T67" fmla="*/ 2147483647 h 154"/>
                  <a:gd name="T68" fmla="*/ 2147483647 w 329"/>
                  <a:gd name="T69" fmla="*/ 2147483647 h 154"/>
                  <a:gd name="T70" fmla="*/ 2147483647 w 329"/>
                  <a:gd name="T71" fmla="*/ 2147483647 h 154"/>
                  <a:gd name="T72" fmla="*/ 2147483647 w 329"/>
                  <a:gd name="T73" fmla="*/ 2147483647 h 154"/>
                  <a:gd name="T74" fmla="*/ 2147483647 w 329"/>
                  <a:gd name="T75" fmla="*/ 2147483647 h 154"/>
                  <a:gd name="T76" fmla="*/ 2147483647 w 329"/>
                  <a:gd name="T77" fmla="*/ 2147483647 h 154"/>
                  <a:gd name="T78" fmla="*/ 2147483647 w 329"/>
                  <a:gd name="T79" fmla="*/ 2147483647 h 154"/>
                  <a:gd name="T80" fmla="*/ 2147483647 w 329"/>
                  <a:gd name="T81" fmla="*/ 2147483647 h 154"/>
                  <a:gd name="T82" fmla="*/ 2147483647 w 329"/>
                  <a:gd name="T83" fmla="*/ 2147483647 h 154"/>
                  <a:gd name="T84" fmla="*/ 2147483647 w 329"/>
                  <a:gd name="T85" fmla="*/ 2147483647 h 154"/>
                  <a:gd name="T86" fmla="*/ 2147483647 w 329"/>
                  <a:gd name="T87" fmla="*/ 2147483647 h 154"/>
                  <a:gd name="T88" fmla="*/ 2147483647 w 329"/>
                  <a:gd name="T89" fmla="*/ 2147483647 h 154"/>
                  <a:gd name="T90" fmla="*/ 2147483647 w 329"/>
                  <a:gd name="T91" fmla="*/ 2147483647 h 154"/>
                  <a:gd name="T92" fmla="*/ 2147483647 w 329"/>
                  <a:gd name="T93" fmla="*/ 2147483647 h 154"/>
                  <a:gd name="T94" fmla="*/ 2147483647 w 329"/>
                  <a:gd name="T95" fmla="*/ 2147483647 h 154"/>
                  <a:gd name="T96" fmla="*/ 486561939 w 329"/>
                  <a:gd name="T97" fmla="*/ 2147483647 h 15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329" h="154">
                    <a:moveTo>
                      <a:pt x="3" y="73"/>
                    </a:moveTo>
                    <a:lnTo>
                      <a:pt x="3" y="58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2" y="31"/>
                    </a:lnTo>
                    <a:lnTo>
                      <a:pt x="3" y="25"/>
                    </a:lnTo>
                    <a:lnTo>
                      <a:pt x="17" y="33"/>
                    </a:lnTo>
                    <a:lnTo>
                      <a:pt x="30" y="39"/>
                    </a:lnTo>
                    <a:lnTo>
                      <a:pt x="36" y="41"/>
                    </a:lnTo>
                    <a:lnTo>
                      <a:pt x="42" y="42"/>
                    </a:lnTo>
                    <a:lnTo>
                      <a:pt x="49" y="43"/>
                    </a:lnTo>
                    <a:lnTo>
                      <a:pt x="56" y="43"/>
                    </a:lnTo>
                    <a:lnTo>
                      <a:pt x="67" y="43"/>
                    </a:lnTo>
                    <a:lnTo>
                      <a:pt x="77" y="41"/>
                    </a:lnTo>
                    <a:lnTo>
                      <a:pt x="86" y="39"/>
                    </a:lnTo>
                    <a:lnTo>
                      <a:pt x="95" y="36"/>
                    </a:lnTo>
                    <a:lnTo>
                      <a:pt x="110" y="30"/>
                    </a:lnTo>
                    <a:lnTo>
                      <a:pt x="126" y="21"/>
                    </a:lnTo>
                    <a:lnTo>
                      <a:pt x="140" y="13"/>
                    </a:lnTo>
                    <a:lnTo>
                      <a:pt x="154" y="6"/>
                    </a:lnTo>
                    <a:lnTo>
                      <a:pt x="162" y="4"/>
                    </a:lnTo>
                    <a:lnTo>
                      <a:pt x="171" y="2"/>
                    </a:lnTo>
                    <a:lnTo>
                      <a:pt x="179" y="0"/>
                    </a:lnTo>
                    <a:lnTo>
                      <a:pt x="189" y="0"/>
                    </a:lnTo>
                    <a:lnTo>
                      <a:pt x="203" y="0"/>
                    </a:lnTo>
                    <a:lnTo>
                      <a:pt x="214" y="3"/>
                    </a:lnTo>
                    <a:lnTo>
                      <a:pt x="224" y="6"/>
                    </a:lnTo>
                    <a:lnTo>
                      <a:pt x="234" y="10"/>
                    </a:lnTo>
                    <a:lnTo>
                      <a:pt x="243" y="15"/>
                    </a:lnTo>
                    <a:lnTo>
                      <a:pt x="251" y="21"/>
                    </a:lnTo>
                    <a:lnTo>
                      <a:pt x="259" y="28"/>
                    </a:lnTo>
                    <a:lnTo>
                      <a:pt x="266" y="34"/>
                    </a:lnTo>
                    <a:lnTo>
                      <a:pt x="280" y="46"/>
                    </a:lnTo>
                    <a:lnTo>
                      <a:pt x="295" y="57"/>
                    </a:lnTo>
                    <a:lnTo>
                      <a:pt x="302" y="61"/>
                    </a:lnTo>
                    <a:lnTo>
                      <a:pt x="310" y="64"/>
                    </a:lnTo>
                    <a:lnTo>
                      <a:pt x="319" y="67"/>
                    </a:lnTo>
                    <a:lnTo>
                      <a:pt x="329" y="67"/>
                    </a:lnTo>
                    <a:lnTo>
                      <a:pt x="313" y="82"/>
                    </a:lnTo>
                    <a:lnTo>
                      <a:pt x="301" y="94"/>
                    </a:lnTo>
                    <a:lnTo>
                      <a:pt x="293" y="106"/>
                    </a:lnTo>
                    <a:lnTo>
                      <a:pt x="286" y="117"/>
                    </a:lnTo>
                    <a:lnTo>
                      <a:pt x="277" y="138"/>
                    </a:lnTo>
                    <a:lnTo>
                      <a:pt x="268" y="154"/>
                    </a:lnTo>
                    <a:lnTo>
                      <a:pt x="265" y="153"/>
                    </a:lnTo>
                    <a:lnTo>
                      <a:pt x="260" y="150"/>
                    </a:lnTo>
                    <a:lnTo>
                      <a:pt x="253" y="146"/>
                    </a:lnTo>
                    <a:lnTo>
                      <a:pt x="246" y="141"/>
                    </a:lnTo>
                    <a:lnTo>
                      <a:pt x="240" y="136"/>
                    </a:lnTo>
                    <a:lnTo>
                      <a:pt x="234" y="130"/>
                    </a:lnTo>
                    <a:lnTo>
                      <a:pt x="230" y="126"/>
                    </a:lnTo>
                    <a:lnTo>
                      <a:pt x="229" y="123"/>
                    </a:lnTo>
                    <a:lnTo>
                      <a:pt x="230" y="114"/>
                    </a:lnTo>
                    <a:lnTo>
                      <a:pt x="232" y="107"/>
                    </a:lnTo>
                    <a:lnTo>
                      <a:pt x="235" y="100"/>
                    </a:lnTo>
                    <a:lnTo>
                      <a:pt x="240" y="95"/>
                    </a:lnTo>
                    <a:lnTo>
                      <a:pt x="249" y="86"/>
                    </a:lnTo>
                    <a:lnTo>
                      <a:pt x="255" y="80"/>
                    </a:lnTo>
                    <a:lnTo>
                      <a:pt x="233" y="68"/>
                    </a:lnTo>
                    <a:lnTo>
                      <a:pt x="215" y="60"/>
                    </a:lnTo>
                    <a:lnTo>
                      <a:pt x="207" y="55"/>
                    </a:lnTo>
                    <a:lnTo>
                      <a:pt x="200" y="49"/>
                    </a:lnTo>
                    <a:lnTo>
                      <a:pt x="195" y="41"/>
                    </a:lnTo>
                    <a:lnTo>
                      <a:pt x="189" y="31"/>
                    </a:lnTo>
                    <a:lnTo>
                      <a:pt x="179" y="34"/>
                    </a:lnTo>
                    <a:lnTo>
                      <a:pt x="171" y="37"/>
                    </a:lnTo>
                    <a:lnTo>
                      <a:pt x="163" y="41"/>
                    </a:lnTo>
                    <a:lnTo>
                      <a:pt x="156" y="45"/>
                    </a:lnTo>
                    <a:lnTo>
                      <a:pt x="150" y="50"/>
                    </a:lnTo>
                    <a:lnTo>
                      <a:pt x="144" y="55"/>
                    </a:lnTo>
                    <a:lnTo>
                      <a:pt x="140" y="61"/>
                    </a:lnTo>
                    <a:lnTo>
                      <a:pt x="136" y="67"/>
                    </a:lnTo>
                    <a:lnTo>
                      <a:pt x="132" y="74"/>
                    </a:lnTo>
                    <a:lnTo>
                      <a:pt x="130" y="81"/>
                    </a:lnTo>
                    <a:lnTo>
                      <a:pt x="128" y="88"/>
                    </a:lnTo>
                    <a:lnTo>
                      <a:pt x="126" y="95"/>
                    </a:lnTo>
                    <a:lnTo>
                      <a:pt x="123" y="109"/>
                    </a:lnTo>
                    <a:lnTo>
                      <a:pt x="122" y="123"/>
                    </a:lnTo>
                    <a:lnTo>
                      <a:pt x="122" y="125"/>
                    </a:lnTo>
                    <a:lnTo>
                      <a:pt x="120" y="127"/>
                    </a:lnTo>
                    <a:lnTo>
                      <a:pt x="118" y="129"/>
                    </a:lnTo>
                    <a:lnTo>
                      <a:pt x="115" y="131"/>
                    </a:lnTo>
                    <a:lnTo>
                      <a:pt x="108" y="135"/>
                    </a:lnTo>
                    <a:lnTo>
                      <a:pt x="103" y="136"/>
                    </a:lnTo>
                    <a:lnTo>
                      <a:pt x="96" y="135"/>
                    </a:lnTo>
                    <a:lnTo>
                      <a:pt x="89" y="132"/>
                    </a:lnTo>
                    <a:lnTo>
                      <a:pt x="83" y="129"/>
                    </a:lnTo>
                    <a:lnTo>
                      <a:pt x="77" y="125"/>
                    </a:lnTo>
                    <a:lnTo>
                      <a:pt x="66" y="116"/>
                    </a:lnTo>
                    <a:lnTo>
                      <a:pt x="58" y="105"/>
                    </a:lnTo>
                    <a:lnTo>
                      <a:pt x="48" y="94"/>
                    </a:lnTo>
                    <a:lnTo>
                      <a:pt x="38" y="84"/>
                    </a:lnTo>
                    <a:lnTo>
                      <a:pt x="33" y="80"/>
                    </a:lnTo>
                    <a:lnTo>
                      <a:pt x="28" y="76"/>
                    </a:lnTo>
                    <a:lnTo>
                      <a:pt x="22" y="74"/>
                    </a:lnTo>
                    <a:lnTo>
                      <a:pt x="16" y="73"/>
                    </a:lnTo>
                    <a:lnTo>
                      <a:pt x="3" y="7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0" name="Freeform 225"/>
              <p:cNvSpPr>
                <a:spLocks/>
              </p:cNvSpPr>
              <p:nvPr>
                <p:custDataLst>
                  <p:tags r:id="rId350"/>
                </p:custDataLst>
              </p:nvPr>
            </p:nvSpPr>
            <p:spPr bwMode="auto">
              <a:xfrm>
                <a:off x="8320565" y="5001824"/>
                <a:ext cx="167460" cy="175661"/>
              </a:xfrm>
              <a:custGeom>
                <a:avLst/>
                <a:gdLst>
                  <a:gd name="T0" fmla="*/ 2147483647 w 306"/>
                  <a:gd name="T1" fmla="*/ 2147483647 h 293"/>
                  <a:gd name="T2" fmla="*/ 2147483647 w 306"/>
                  <a:gd name="T3" fmla="*/ 2147483647 h 293"/>
                  <a:gd name="T4" fmla="*/ 2147483647 w 306"/>
                  <a:gd name="T5" fmla="*/ 2147483647 h 293"/>
                  <a:gd name="T6" fmla="*/ 2147483647 w 306"/>
                  <a:gd name="T7" fmla="*/ 2147483647 h 293"/>
                  <a:gd name="T8" fmla="*/ 2147483647 w 306"/>
                  <a:gd name="T9" fmla="*/ 2147483647 h 293"/>
                  <a:gd name="T10" fmla="*/ 2147483647 w 306"/>
                  <a:gd name="T11" fmla="*/ 2147483647 h 293"/>
                  <a:gd name="T12" fmla="*/ 2147483647 w 306"/>
                  <a:gd name="T13" fmla="*/ 2147483647 h 293"/>
                  <a:gd name="T14" fmla="*/ 2147483647 w 306"/>
                  <a:gd name="T15" fmla="*/ 2147483647 h 293"/>
                  <a:gd name="T16" fmla="*/ 2147483647 w 306"/>
                  <a:gd name="T17" fmla="*/ 2147483647 h 293"/>
                  <a:gd name="T18" fmla="*/ 2147483647 w 306"/>
                  <a:gd name="T19" fmla="*/ 2147483647 h 293"/>
                  <a:gd name="T20" fmla="*/ 2147483647 w 306"/>
                  <a:gd name="T21" fmla="*/ 2147483647 h 293"/>
                  <a:gd name="T22" fmla="*/ 2147483647 w 306"/>
                  <a:gd name="T23" fmla="*/ 2147483647 h 293"/>
                  <a:gd name="T24" fmla="*/ 2147483647 w 306"/>
                  <a:gd name="T25" fmla="*/ 2147483647 h 293"/>
                  <a:gd name="T26" fmla="*/ 2147483647 w 306"/>
                  <a:gd name="T27" fmla="*/ 2147483647 h 293"/>
                  <a:gd name="T28" fmla="*/ 2147483647 w 306"/>
                  <a:gd name="T29" fmla="*/ 2147483647 h 293"/>
                  <a:gd name="T30" fmla="*/ 2147483647 w 306"/>
                  <a:gd name="T31" fmla="*/ 2147483647 h 293"/>
                  <a:gd name="T32" fmla="*/ 2147483647 w 306"/>
                  <a:gd name="T33" fmla="*/ 2147483647 h 293"/>
                  <a:gd name="T34" fmla="*/ 2147483647 w 306"/>
                  <a:gd name="T35" fmla="*/ 2147483647 h 293"/>
                  <a:gd name="T36" fmla="*/ 163819660 w 306"/>
                  <a:gd name="T37" fmla="*/ 2147483647 h 293"/>
                  <a:gd name="T38" fmla="*/ 0 w 306"/>
                  <a:gd name="T39" fmla="*/ 2147483647 h 293"/>
                  <a:gd name="T40" fmla="*/ 163819660 w 306"/>
                  <a:gd name="T41" fmla="*/ 2147483647 h 293"/>
                  <a:gd name="T42" fmla="*/ 655579085 w 306"/>
                  <a:gd name="T43" fmla="*/ 2147483647 h 293"/>
                  <a:gd name="T44" fmla="*/ 1802917593 w 306"/>
                  <a:gd name="T45" fmla="*/ 2147483647 h 293"/>
                  <a:gd name="T46" fmla="*/ 2147483647 w 306"/>
                  <a:gd name="T47" fmla="*/ 1723830938 h 293"/>
                  <a:gd name="T48" fmla="*/ 2147483647 w 306"/>
                  <a:gd name="T49" fmla="*/ 430957585 h 293"/>
                  <a:gd name="T50" fmla="*/ 2147483647 w 306"/>
                  <a:gd name="T51" fmla="*/ 0 h 293"/>
                  <a:gd name="T52" fmla="*/ 2147483647 w 306"/>
                  <a:gd name="T53" fmla="*/ 1292873353 h 293"/>
                  <a:gd name="T54" fmla="*/ 2147483647 w 306"/>
                  <a:gd name="T55" fmla="*/ 1508531704 h 293"/>
                  <a:gd name="T56" fmla="*/ 2147483647 w 306"/>
                  <a:gd name="T57" fmla="*/ 861915169 h 293"/>
                  <a:gd name="T58" fmla="*/ 2147483647 w 306"/>
                  <a:gd name="T59" fmla="*/ 1077574119 h 293"/>
                  <a:gd name="T60" fmla="*/ 2147483647 w 306"/>
                  <a:gd name="T61" fmla="*/ 2147483647 h 293"/>
                  <a:gd name="T62" fmla="*/ 2147483647 w 306"/>
                  <a:gd name="T63" fmla="*/ 2147483647 h 293"/>
                  <a:gd name="T64" fmla="*/ 2147483647 w 306"/>
                  <a:gd name="T65" fmla="*/ 2147483647 h 293"/>
                  <a:gd name="T66" fmla="*/ 2147483647 w 306"/>
                  <a:gd name="T67" fmla="*/ 2147483647 h 293"/>
                  <a:gd name="T68" fmla="*/ 2147483647 w 306"/>
                  <a:gd name="T69" fmla="*/ 2147483647 h 293"/>
                  <a:gd name="T70" fmla="*/ 2147483647 w 306"/>
                  <a:gd name="T71" fmla="*/ 2147483647 h 293"/>
                  <a:gd name="T72" fmla="*/ 2147483647 w 306"/>
                  <a:gd name="T73" fmla="*/ 2147483647 h 293"/>
                  <a:gd name="T74" fmla="*/ 2147483647 w 306"/>
                  <a:gd name="T75" fmla="*/ 2147483647 h 293"/>
                  <a:gd name="T76" fmla="*/ 2147483647 w 306"/>
                  <a:gd name="T77" fmla="*/ 2147483647 h 293"/>
                  <a:gd name="T78" fmla="*/ 2147483647 w 306"/>
                  <a:gd name="T79" fmla="*/ 2147483647 h 293"/>
                  <a:gd name="T80" fmla="*/ 2147483647 w 306"/>
                  <a:gd name="T81" fmla="*/ 2147483647 h 293"/>
                  <a:gd name="T82" fmla="*/ 2147483647 w 306"/>
                  <a:gd name="T83" fmla="*/ 2147483647 h 293"/>
                  <a:gd name="T84" fmla="*/ 2147483647 w 306"/>
                  <a:gd name="T85" fmla="*/ 2147483647 h 29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306" h="293">
                    <a:moveTo>
                      <a:pt x="300" y="169"/>
                    </a:moveTo>
                    <a:lnTo>
                      <a:pt x="297" y="181"/>
                    </a:lnTo>
                    <a:lnTo>
                      <a:pt x="297" y="185"/>
                    </a:lnTo>
                    <a:lnTo>
                      <a:pt x="296" y="185"/>
                    </a:lnTo>
                    <a:lnTo>
                      <a:pt x="294" y="187"/>
                    </a:lnTo>
                    <a:lnTo>
                      <a:pt x="291" y="194"/>
                    </a:lnTo>
                    <a:lnTo>
                      <a:pt x="286" y="197"/>
                    </a:lnTo>
                    <a:lnTo>
                      <a:pt x="282" y="199"/>
                    </a:lnTo>
                    <a:lnTo>
                      <a:pt x="276" y="200"/>
                    </a:lnTo>
                    <a:lnTo>
                      <a:pt x="272" y="201"/>
                    </a:lnTo>
                    <a:lnTo>
                      <a:pt x="267" y="203"/>
                    </a:lnTo>
                    <a:lnTo>
                      <a:pt x="263" y="207"/>
                    </a:lnTo>
                    <a:lnTo>
                      <a:pt x="260" y="212"/>
                    </a:lnTo>
                    <a:lnTo>
                      <a:pt x="253" y="229"/>
                    </a:lnTo>
                    <a:lnTo>
                      <a:pt x="248" y="242"/>
                    </a:lnTo>
                    <a:lnTo>
                      <a:pt x="242" y="254"/>
                    </a:lnTo>
                    <a:lnTo>
                      <a:pt x="236" y="263"/>
                    </a:lnTo>
                    <a:lnTo>
                      <a:pt x="231" y="267"/>
                    </a:lnTo>
                    <a:lnTo>
                      <a:pt x="227" y="270"/>
                    </a:lnTo>
                    <a:lnTo>
                      <a:pt x="221" y="273"/>
                    </a:lnTo>
                    <a:lnTo>
                      <a:pt x="215" y="276"/>
                    </a:lnTo>
                    <a:lnTo>
                      <a:pt x="200" y="281"/>
                    </a:lnTo>
                    <a:lnTo>
                      <a:pt x="181" y="286"/>
                    </a:lnTo>
                    <a:lnTo>
                      <a:pt x="164" y="290"/>
                    </a:lnTo>
                    <a:lnTo>
                      <a:pt x="148" y="292"/>
                    </a:lnTo>
                    <a:lnTo>
                      <a:pt x="139" y="293"/>
                    </a:lnTo>
                    <a:lnTo>
                      <a:pt x="130" y="293"/>
                    </a:lnTo>
                    <a:lnTo>
                      <a:pt x="123" y="293"/>
                    </a:lnTo>
                    <a:lnTo>
                      <a:pt x="114" y="292"/>
                    </a:lnTo>
                    <a:lnTo>
                      <a:pt x="106" y="290"/>
                    </a:lnTo>
                    <a:lnTo>
                      <a:pt x="98" y="288"/>
                    </a:lnTo>
                    <a:lnTo>
                      <a:pt x="92" y="286"/>
                    </a:lnTo>
                    <a:lnTo>
                      <a:pt x="85" y="282"/>
                    </a:lnTo>
                    <a:lnTo>
                      <a:pt x="80" y="278"/>
                    </a:lnTo>
                    <a:lnTo>
                      <a:pt x="74" y="274"/>
                    </a:lnTo>
                    <a:lnTo>
                      <a:pt x="71" y="268"/>
                    </a:lnTo>
                    <a:lnTo>
                      <a:pt x="68" y="262"/>
                    </a:lnTo>
                    <a:lnTo>
                      <a:pt x="1" y="236"/>
                    </a:lnTo>
                    <a:lnTo>
                      <a:pt x="1" y="119"/>
                    </a:lnTo>
                    <a:lnTo>
                      <a:pt x="0" y="88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2" y="42"/>
                    </a:lnTo>
                    <a:lnTo>
                      <a:pt x="4" y="35"/>
                    </a:lnTo>
                    <a:lnTo>
                      <a:pt x="6" y="28"/>
                    </a:lnTo>
                    <a:lnTo>
                      <a:pt x="11" y="21"/>
                    </a:lnTo>
                    <a:lnTo>
                      <a:pt x="15" y="14"/>
                    </a:lnTo>
                    <a:lnTo>
                      <a:pt x="20" y="8"/>
                    </a:lnTo>
                    <a:lnTo>
                      <a:pt x="28" y="2"/>
                    </a:lnTo>
                    <a:lnTo>
                      <a:pt x="41" y="2"/>
                    </a:lnTo>
                    <a:lnTo>
                      <a:pt x="48" y="0"/>
                    </a:lnTo>
                    <a:lnTo>
                      <a:pt x="53" y="0"/>
                    </a:lnTo>
                    <a:lnTo>
                      <a:pt x="68" y="2"/>
                    </a:lnTo>
                    <a:lnTo>
                      <a:pt x="72" y="6"/>
                    </a:lnTo>
                    <a:lnTo>
                      <a:pt x="76" y="7"/>
                    </a:lnTo>
                    <a:lnTo>
                      <a:pt x="80" y="7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7" y="5"/>
                    </a:lnTo>
                    <a:lnTo>
                      <a:pt x="87" y="9"/>
                    </a:lnTo>
                    <a:lnTo>
                      <a:pt x="90" y="11"/>
                    </a:lnTo>
                    <a:lnTo>
                      <a:pt x="94" y="15"/>
                    </a:lnTo>
                    <a:lnTo>
                      <a:pt x="99" y="19"/>
                    </a:lnTo>
                    <a:lnTo>
                      <a:pt x="107" y="23"/>
                    </a:lnTo>
                    <a:lnTo>
                      <a:pt x="121" y="31"/>
                    </a:lnTo>
                    <a:lnTo>
                      <a:pt x="127" y="34"/>
                    </a:lnTo>
                    <a:lnTo>
                      <a:pt x="148" y="41"/>
                    </a:lnTo>
                    <a:lnTo>
                      <a:pt x="165" y="49"/>
                    </a:lnTo>
                    <a:lnTo>
                      <a:pt x="182" y="59"/>
                    </a:lnTo>
                    <a:lnTo>
                      <a:pt x="196" y="69"/>
                    </a:lnTo>
                    <a:lnTo>
                      <a:pt x="210" y="79"/>
                    </a:lnTo>
                    <a:lnTo>
                      <a:pt x="226" y="91"/>
                    </a:lnTo>
                    <a:lnTo>
                      <a:pt x="241" y="102"/>
                    </a:lnTo>
                    <a:lnTo>
                      <a:pt x="260" y="113"/>
                    </a:lnTo>
                    <a:lnTo>
                      <a:pt x="261" y="117"/>
                    </a:lnTo>
                    <a:lnTo>
                      <a:pt x="263" y="120"/>
                    </a:lnTo>
                    <a:lnTo>
                      <a:pt x="266" y="124"/>
                    </a:lnTo>
                    <a:lnTo>
                      <a:pt x="270" y="128"/>
                    </a:lnTo>
                    <a:lnTo>
                      <a:pt x="280" y="135"/>
                    </a:lnTo>
                    <a:lnTo>
                      <a:pt x="291" y="144"/>
                    </a:lnTo>
                    <a:lnTo>
                      <a:pt x="299" y="151"/>
                    </a:lnTo>
                    <a:lnTo>
                      <a:pt x="305" y="158"/>
                    </a:lnTo>
                    <a:lnTo>
                      <a:pt x="306" y="161"/>
                    </a:lnTo>
                    <a:lnTo>
                      <a:pt x="306" y="164"/>
                    </a:lnTo>
                    <a:lnTo>
                      <a:pt x="304" y="166"/>
                    </a:lnTo>
                    <a:lnTo>
                      <a:pt x="300" y="169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1" name="Freeform 363"/>
              <p:cNvSpPr>
                <a:spLocks/>
              </p:cNvSpPr>
              <p:nvPr/>
            </p:nvSpPr>
            <p:spPr bwMode="auto">
              <a:xfrm>
                <a:off x="7496104" y="3863615"/>
                <a:ext cx="190505" cy="227642"/>
              </a:xfrm>
              <a:custGeom>
                <a:avLst/>
                <a:gdLst>
                  <a:gd name="T0" fmla="*/ 2147483647 w 352"/>
                  <a:gd name="T1" fmla="*/ 2147483647 h 387"/>
                  <a:gd name="T2" fmla="*/ 2147483647 w 352"/>
                  <a:gd name="T3" fmla="*/ 2147483647 h 387"/>
                  <a:gd name="T4" fmla="*/ 2147483647 w 352"/>
                  <a:gd name="T5" fmla="*/ 2147483647 h 387"/>
                  <a:gd name="T6" fmla="*/ 2147483647 w 352"/>
                  <a:gd name="T7" fmla="*/ 2147483647 h 387"/>
                  <a:gd name="T8" fmla="*/ 2147483647 w 352"/>
                  <a:gd name="T9" fmla="*/ 2147483647 h 387"/>
                  <a:gd name="T10" fmla="*/ 2147483647 w 352"/>
                  <a:gd name="T11" fmla="*/ 2147483647 h 387"/>
                  <a:gd name="T12" fmla="*/ 2147483647 w 352"/>
                  <a:gd name="T13" fmla="*/ 1221052865 h 387"/>
                  <a:gd name="T14" fmla="*/ 2147483647 w 352"/>
                  <a:gd name="T15" fmla="*/ 2147483647 h 387"/>
                  <a:gd name="T16" fmla="*/ 2147483647 w 352"/>
                  <a:gd name="T17" fmla="*/ 2147483647 h 387"/>
                  <a:gd name="T18" fmla="*/ 2147483647 w 352"/>
                  <a:gd name="T19" fmla="*/ 2147483647 h 387"/>
                  <a:gd name="T20" fmla="*/ 2147483647 w 352"/>
                  <a:gd name="T21" fmla="*/ 2147483647 h 387"/>
                  <a:gd name="T22" fmla="*/ 2147483647 w 352"/>
                  <a:gd name="T23" fmla="*/ 2147483647 h 387"/>
                  <a:gd name="T24" fmla="*/ 2147483647 w 352"/>
                  <a:gd name="T25" fmla="*/ 2147483647 h 387"/>
                  <a:gd name="T26" fmla="*/ 2147483647 w 352"/>
                  <a:gd name="T27" fmla="*/ 2147483647 h 387"/>
                  <a:gd name="T28" fmla="*/ 1109526016 w 352"/>
                  <a:gd name="T29" fmla="*/ 2147483647 h 387"/>
                  <a:gd name="T30" fmla="*/ 0 w 352"/>
                  <a:gd name="T31" fmla="*/ 2147483647 h 387"/>
                  <a:gd name="T32" fmla="*/ 0 w 352"/>
                  <a:gd name="T33" fmla="*/ 2147483647 h 387"/>
                  <a:gd name="T34" fmla="*/ 475678537 w 352"/>
                  <a:gd name="T35" fmla="*/ 2147483647 h 387"/>
                  <a:gd name="T36" fmla="*/ 1426742277 w 352"/>
                  <a:gd name="T37" fmla="*/ 2147483647 h 387"/>
                  <a:gd name="T38" fmla="*/ 2147483647 w 352"/>
                  <a:gd name="T39" fmla="*/ 2147483647 h 387"/>
                  <a:gd name="T40" fmla="*/ 2147483647 w 352"/>
                  <a:gd name="T41" fmla="*/ 2147483647 h 387"/>
                  <a:gd name="T42" fmla="*/ 2147483647 w 352"/>
                  <a:gd name="T43" fmla="*/ 2147483647 h 387"/>
                  <a:gd name="T44" fmla="*/ 2147483647 w 352"/>
                  <a:gd name="T45" fmla="*/ 2147483647 h 387"/>
                  <a:gd name="T46" fmla="*/ 2147483647 w 352"/>
                  <a:gd name="T47" fmla="*/ 2147483647 h 387"/>
                  <a:gd name="T48" fmla="*/ 2147483647 w 352"/>
                  <a:gd name="T49" fmla="*/ 2147483647 h 387"/>
                  <a:gd name="T50" fmla="*/ 2147483647 w 352"/>
                  <a:gd name="T51" fmla="*/ 2147483647 h 387"/>
                  <a:gd name="T52" fmla="*/ 2147483647 w 352"/>
                  <a:gd name="T53" fmla="*/ 2147483647 h 387"/>
                  <a:gd name="T54" fmla="*/ 2147483647 w 352"/>
                  <a:gd name="T55" fmla="*/ 2147483647 h 387"/>
                  <a:gd name="T56" fmla="*/ 2147483647 w 352"/>
                  <a:gd name="T57" fmla="*/ 2147483647 h 387"/>
                  <a:gd name="T58" fmla="*/ 2147483647 w 352"/>
                  <a:gd name="T59" fmla="*/ 2147483647 h 387"/>
                  <a:gd name="T60" fmla="*/ 2147483647 w 352"/>
                  <a:gd name="T61" fmla="*/ 2147483647 h 387"/>
                  <a:gd name="T62" fmla="*/ 2147483647 w 352"/>
                  <a:gd name="T63" fmla="*/ 2147483647 h 387"/>
                  <a:gd name="T64" fmla="*/ 2147483647 w 352"/>
                  <a:gd name="T65" fmla="*/ 2147483647 h 387"/>
                  <a:gd name="T66" fmla="*/ 2147483647 w 352"/>
                  <a:gd name="T67" fmla="*/ 2147483647 h 387"/>
                  <a:gd name="T68" fmla="*/ 2147483647 w 352"/>
                  <a:gd name="T69" fmla="*/ 2147483647 h 387"/>
                  <a:gd name="T70" fmla="*/ 2147483647 w 352"/>
                  <a:gd name="T71" fmla="*/ 2147483647 h 387"/>
                  <a:gd name="T72" fmla="*/ 2147483647 w 352"/>
                  <a:gd name="T73" fmla="*/ 2147483647 h 387"/>
                  <a:gd name="T74" fmla="*/ 2147483647 w 352"/>
                  <a:gd name="T75" fmla="*/ 2147483647 h 387"/>
                  <a:gd name="T76" fmla="*/ 2147483647 w 352"/>
                  <a:gd name="T77" fmla="*/ 2147483647 h 387"/>
                  <a:gd name="T78" fmla="*/ 2147483647 w 352"/>
                  <a:gd name="T79" fmla="*/ 2147483647 h 387"/>
                  <a:gd name="T80" fmla="*/ 2147483647 w 352"/>
                  <a:gd name="T81" fmla="*/ 2147483647 h 387"/>
                  <a:gd name="T82" fmla="*/ 2147483647 w 352"/>
                  <a:gd name="T83" fmla="*/ 2147483647 h 387"/>
                  <a:gd name="T84" fmla="*/ 2147483647 w 352"/>
                  <a:gd name="T85" fmla="*/ 2147483647 h 387"/>
                  <a:gd name="T86" fmla="*/ 2147483647 w 352"/>
                  <a:gd name="T87" fmla="*/ 2147483647 h 387"/>
                  <a:gd name="T88" fmla="*/ 2147483647 w 352"/>
                  <a:gd name="T89" fmla="*/ 2147483647 h 387"/>
                  <a:gd name="T90" fmla="*/ 2147483647 w 352"/>
                  <a:gd name="T91" fmla="*/ 2147483647 h 387"/>
                  <a:gd name="T92" fmla="*/ 2147483647 w 352"/>
                  <a:gd name="T93" fmla="*/ 2147483647 h 387"/>
                  <a:gd name="T94" fmla="*/ 2147483647 w 352"/>
                  <a:gd name="T95" fmla="*/ 2147483647 h 387"/>
                  <a:gd name="T96" fmla="*/ 2147483647 w 352"/>
                  <a:gd name="T97" fmla="*/ 2147483647 h 387"/>
                  <a:gd name="T98" fmla="*/ 2147483647 w 352"/>
                  <a:gd name="T99" fmla="*/ 2147483647 h 387"/>
                  <a:gd name="T100" fmla="*/ 2147483647 w 352"/>
                  <a:gd name="T101" fmla="*/ 2147483647 h 387"/>
                  <a:gd name="T102" fmla="*/ 2147483647 w 352"/>
                  <a:gd name="T103" fmla="*/ 2147483647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462" name="Group 391"/>
              <p:cNvGrpSpPr>
                <a:grpSpLocks/>
              </p:cNvGrpSpPr>
              <p:nvPr>
                <p:custDataLst>
                  <p:tags r:id="rId351"/>
                </p:custDataLst>
              </p:nvPr>
            </p:nvGrpSpPr>
            <p:grpSpPr bwMode="auto">
              <a:xfrm>
                <a:off x="6508407" y="1124744"/>
                <a:ext cx="2382319" cy="1279813"/>
                <a:chOff x="527" y="1110"/>
                <a:chExt cx="1410" cy="709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469" name="Freeform 392"/>
                <p:cNvSpPr>
                  <a:spLocks/>
                </p:cNvSpPr>
                <p:nvPr/>
              </p:nvSpPr>
              <p:spPr bwMode="auto">
                <a:xfrm>
                  <a:off x="1401" y="1427"/>
                  <a:ext cx="31" cy="17"/>
                </a:xfrm>
                <a:custGeom>
                  <a:avLst/>
                  <a:gdLst>
                    <a:gd name="T0" fmla="*/ 0 w 98"/>
                    <a:gd name="T1" fmla="*/ 41 h 54"/>
                    <a:gd name="T2" fmla="*/ 5 w 98"/>
                    <a:gd name="T3" fmla="*/ 46 h 54"/>
                    <a:gd name="T4" fmla="*/ 13 w 98"/>
                    <a:gd name="T5" fmla="*/ 50 h 54"/>
                    <a:gd name="T6" fmla="*/ 23 w 98"/>
                    <a:gd name="T7" fmla="*/ 53 h 54"/>
                    <a:gd name="T8" fmla="*/ 32 w 98"/>
                    <a:gd name="T9" fmla="*/ 54 h 54"/>
                    <a:gd name="T10" fmla="*/ 38 w 98"/>
                    <a:gd name="T11" fmla="*/ 54 h 54"/>
                    <a:gd name="T12" fmla="*/ 45 w 98"/>
                    <a:gd name="T13" fmla="*/ 53 h 54"/>
                    <a:gd name="T14" fmla="*/ 50 w 98"/>
                    <a:gd name="T15" fmla="*/ 51 h 54"/>
                    <a:gd name="T16" fmla="*/ 56 w 98"/>
                    <a:gd name="T17" fmla="*/ 49 h 54"/>
                    <a:gd name="T18" fmla="*/ 67 w 98"/>
                    <a:gd name="T19" fmla="*/ 42 h 54"/>
                    <a:gd name="T20" fmla="*/ 75 w 98"/>
                    <a:gd name="T21" fmla="*/ 35 h 54"/>
                    <a:gd name="T22" fmla="*/ 84 w 98"/>
                    <a:gd name="T23" fmla="*/ 28 h 54"/>
                    <a:gd name="T24" fmla="*/ 91 w 98"/>
                    <a:gd name="T25" fmla="*/ 20 h 54"/>
                    <a:gd name="T26" fmla="*/ 95 w 98"/>
                    <a:gd name="T27" fmla="*/ 12 h 54"/>
                    <a:gd name="T28" fmla="*/ 98 w 98"/>
                    <a:gd name="T29" fmla="*/ 4 h 54"/>
                    <a:gd name="T30" fmla="*/ 91 w 98"/>
                    <a:gd name="T31" fmla="*/ 2 h 54"/>
                    <a:gd name="T32" fmla="*/ 83 w 98"/>
                    <a:gd name="T33" fmla="*/ 0 h 54"/>
                    <a:gd name="T34" fmla="*/ 75 w 98"/>
                    <a:gd name="T35" fmla="*/ 0 h 54"/>
                    <a:gd name="T36" fmla="*/ 68 w 98"/>
                    <a:gd name="T37" fmla="*/ 0 h 54"/>
                    <a:gd name="T38" fmla="*/ 59 w 98"/>
                    <a:gd name="T39" fmla="*/ 1 h 54"/>
                    <a:gd name="T40" fmla="*/ 51 w 98"/>
                    <a:gd name="T41" fmla="*/ 3 h 54"/>
                    <a:gd name="T42" fmla="*/ 43 w 98"/>
                    <a:gd name="T43" fmla="*/ 6 h 54"/>
                    <a:gd name="T44" fmla="*/ 37 w 98"/>
                    <a:gd name="T45" fmla="*/ 9 h 54"/>
                    <a:gd name="T46" fmla="*/ 23 w 98"/>
                    <a:gd name="T47" fmla="*/ 17 h 54"/>
                    <a:gd name="T48" fmla="*/ 12 w 98"/>
                    <a:gd name="T49" fmla="*/ 25 h 54"/>
                    <a:gd name="T50" fmla="*/ 7 w 98"/>
                    <a:gd name="T51" fmla="*/ 29 h 54"/>
                    <a:gd name="T52" fmla="*/ 4 w 98"/>
                    <a:gd name="T53" fmla="*/ 33 h 54"/>
                    <a:gd name="T54" fmla="*/ 1 w 98"/>
                    <a:gd name="T55" fmla="*/ 37 h 54"/>
                    <a:gd name="T56" fmla="*/ 0 w 98"/>
                    <a:gd name="T57" fmla="*/ 4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98" h="54">
                      <a:moveTo>
                        <a:pt x="0" y="41"/>
                      </a:moveTo>
                      <a:lnTo>
                        <a:pt x="5" y="46"/>
                      </a:lnTo>
                      <a:lnTo>
                        <a:pt x="13" y="50"/>
                      </a:lnTo>
                      <a:lnTo>
                        <a:pt x="23" y="53"/>
                      </a:lnTo>
                      <a:lnTo>
                        <a:pt x="32" y="54"/>
                      </a:lnTo>
                      <a:lnTo>
                        <a:pt x="38" y="54"/>
                      </a:lnTo>
                      <a:lnTo>
                        <a:pt x="45" y="53"/>
                      </a:lnTo>
                      <a:lnTo>
                        <a:pt x="50" y="51"/>
                      </a:lnTo>
                      <a:lnTo>
                        <a:pt x="56" y="49"/>
                      </a:lnTo>
                      <a:lnTo>
                        <a:pt x="67" y="42"/>
                      </a:lnTo>
                      <a:lnTo>
                        <a:pt x="75" y="35"/>
                      </a:lnTo>
                      <a:lnTo>
                        <a:pt x="84" y="28"/>
                      </a:lnTo>
                      <a:lnTo>
                        <a:pt x="91" y="20"/>
                      </a:lnTo>
                      <a:lnTo>
                        <a:pt x="95" y="12"/>
                      </a:lnTo>
                      <a:lnTo>
                        <a:pt x="98" y="4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8" y="0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6"/>
                      </a:lnTo>
                      <a:lnTo>
                        <a:pt x="37" y="9"/>
                      </a:lnTo>
                      <a:lnTo>
                        <a:pt x="23" y="17"/>
                      </a:lnTo>
                      <a:lnTo>
                        <a:pt x="12" y="25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7"/>
                      </a:lnTo>
                      <a:lnTo>
                        <a:pt x="0" y="4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0" name="Freeform 393"/>
                <p:cNvSpPr>
                  <a:spLocks/>
                </p:cNvSpPr>
                <p:nvPr/>
              </p:nvSpPr>
              <p:spPr bwMode="auto">
                <a:xfrm>
                  <a:off x="1387" y="1551"/>
                  <a:ext cx="21" cy="8"/>
                </a:xfrm>
                <a:custGeom>
                  <a:avLst/>
                  <a:gdLst>
                    <a:gd name="T0" fmla="*/ 0 w 67"/>
                    <a:gd name="T1" fmla="*/ 27 h 28"/>
                    <a:gd name="T2" fmla="*/ 11 w 67"/>
                    <a:gd name="T3" fmla="*/ 28 h 28"/>
                    <a:gd name="T4" fmla="*/ 21 w 67"/>
                    <a:gd name="T5" fmla="*/ 27 h 28"/>
                    <a:gd name="T6" fmla="*/ 31 w 67"/>
                    <a:gd name="T7" fmla="*/ 25 h 28"/>
                    <a:gd name="T8" fmla="*/ 41 w 67"/>
                    <a:gd name="T9" fmla="*/ 21 h 28"/>
                    <a:gd name="T10" fmla="*/ 49 w 67"/>
                    <a:gd name="T11" fmla="*/ 17 h 28"/>
                    <a:gd name="T12" fmla="*/ 57 w 67"/>
                    <a:gd name="T13" fmla="*/ 12 h 28"/>
                    <a:gd name="T14" fmla="*/ 63 w 67"/>
                    <a:gd name="T15" fmla="*/ 7 h 28"/>
                    <a:gd name="T16" fmla="*/ 67 w 67"/>
                    <a:gd name="T17" fmla="*/ 3 h 28"/>
                    <a:gd name="T18" fmla="*/ 57 w 67"/>
                    <a:gd name="T19" fmla="*/ 1 h 28"/>
                    <a:gd name="T20" fmla="*/ 46 w 67"/>
                    <a:gd name="T21" fmla="*/ 0 h 28"/>
                    <a:gd name="T22" fmla="*/ 36 w 67"/>
                    <a:gd name="T23" fmla="*/ 1 h 28"/>
                    <a:gd name="T24" fmla="*/ 26 w 67"/>
                    <a:gd name="T25" fmla="*/ 3 h 28"/>
                    <a:gd name="T26" fmla="*/ 17 w 67"/>
                    <a:gd name="T27" fmla="*/ 7 h 28"/>
                    <a:gd name="T28" fmla="*/ 10 w 67"/>
                    <a:gd name="T29" fmla="*/ 12 h 28"/>
                    <a:gd name="T30" fmla="*/ 7 w 67"/>
                    <a:gd name="T31" fmla="*/ 15 h 28"/>
                    <a:gd name="T32" fmla="*/ 4 w 67"/>
                    <a:gd name="T33" fmla="*/ 19 h 28"/>
                    <a:gd name="T34" fmla="*/ 2 w 67"/>
                    <a:gd name="T35" fmla="*/ 22 h 28"/>
                    <a:gd name="T36" fmla="*/ 0 w 67"/>
                    <a:gd name="T37" fmla="*/ 27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7" h="28">
                      <a:moveTo>
                        <a:pt x="0" y="27"/>
                      </a:moveTo>
                      <a:lnTo>
                        <a:pt x="11" y="28"/>
                      </a:lnTo>
                      <a:lnTo>
                        <a:pt x="21" y="27"/>
                      </a:lnTo>
                      <a:lnTo>
                        <a:pt x="31" y="25"/>
                      </a:lnTo>
                      <a:lnTo>
                        <a:pt x="41" y="21"/>
                      </a:lnTo>
                      <a:lnTo>
                        <a:pt x="49" y="17"/>
                      </a:lnTo>
                      <a:lnTo>
                        <a:pt x="57" y="12"/>
                      </a:lnTo>
                      <a:lnTo>
                        <a:pt x="63" y="7"/>
                      </a:lnTo>
                      <a:lnTo>
                        <a:pt x="67" y="3"/>
                      </a:lnTo>
                      <a:lnTo>
                        <a:pt x="57" y="1"/>
                      </a:lnTo>
                      <a:lnTo>
                        <a:pt x="46" y="0"/>
                      </a:lnTo>
                      <a:lnTo>
                        <a:pt x="36" y="1"/>
                      </a:lnTo>
                      <a:lnTo>
                        <a:pt x="26" y="3"/>
                      </a:lnTo>
                      <a:lnTo>
                        <a:pt x="17" y="7"/>
                      </a:lnTo>
                      <a:lnTo>
                        <a:pt x="10" y="12"/>
                      </a:lnTo>
                      <a:lnTo>
                        <a:pt x="7" y="15"/>
                      </a:lnTo>
                      <a:lnTo>
                        <a:pt x="4" y="19"/>
                      </a:lnTo>
                      <a:lnTo>
                        <a:pt x="2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1" name="Freeform 394"/>
                <p:cNvSpPr>
                  <a:spLocks/>
                </p:cNvSpPr>
                <p:nvPr/>
              </p:nvSpPr>
              <p:spPr bwMode="auto">
                <a:xfrm>
                  <a:off x="1332" y="1608"/>
                  <a:ext cx="11" cy="11"/>
                </a:xfrm>
                <a:custGeom>
                  <a:avLst/>
                  <a:gdLst>
                    <a:gd name="T0" fmla="*/ 0 w 32"/>
                    <a:gd name="T1" fmla="*/ 18 h 36"/>
                    <a:gd name="T2" fmla="*/ 1 w 32"/>
                    <a:gd name="T3" fmla="*/ 24 h 36"/>
                    <a:gd name="T4" fmla="*/ 4 w 32"/>
                    <a:gd name="T5" fmla="*/ 29 h 36"/>
                    <a:gd name="T6" fmla="*/ 6 w 32"/>
                    <a:gd name="T7" fmla="*/ 32 h 36"/>
                    <a:gd name="T8" fmla="*/ 8 w 32"/>
                    <a:gd name="T9" fmla="*/ 34 h 36"/>
                    <a:gd name="T10" fmla="*/ 11 w 32"/>
                    <a:gd name="T11" fmla="*/ 36 h 36"/>
                    <a:gd name="T12" fmla="*/ 13 w 32"/>
                    <a:gd name="T13" fmla="*/ 36 h 36"/>
                    <a:gd name="T14" fmla="*/ 32 w 32"/>
                    <a:gd name="T15" fmla="*/ 36 h 36"/>
                    <a:gd name="T16" fmla="*/ 32 w 32"/>
                    <a:gd name="T17" fmla="*/ 22 h 36"/>
                    <a:gd name="T18" fmla="*/ 31 w 32"/>
                    <a:gd name="T19" fmla="*/ 14 h 36"/>
                    <a:gd name="T20" fmla="*/ 30 w 32"/>
                    <a:gd name="T21" fmla="*/ 7 h 36"/>
                    <a:gd name="T22" fmla="*/ 26 w 32"/>
                    <a:gd name="T23" fmla="*/ 0 h 36"/>
                    <a:gd name="T24" fmla="*/ 19 w 32"/>
                    <a:gd name="T25" fmla="*/ 2 h 36"/>
                    <a:gd name="T26" fmla="*/ 11 w 32"/>
                    <a:gd name="T27" fmla="*/ 7 h 36"/>
                    <a:gd name="T28" fmla="*/ 6 w 32"/>
                    <a:gd name="T29" fmla="*/ 10 h 36"/>
                    <a:gd name="T30" fmla="*/ 3 w 32"/>
                    <a:gd name="T31" fmla="*/ 13 h 36"/>
                    <a:gd name="T32" fmla="*/ 1 w 32"/>
                    <a:gd name="T33" fmla="*/ 16 h 36"/>
                    <a:gd name="T34" fmla="*/ 0 w 32"/>
                    <a:gd name="T35" fmla="*/ 1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" h="36">
                      <a:moveTo>
                        <a:pt x="0" y="18"/>
                      </a:moveTo>
                      <a:lnTo>
                        <a:pt x="1" y="24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1" y="36"/>
                      </a:lnTo>
                      <a:lnTo>
                        <a:pt x="13" y="36"/>
                      </a:lnTo>
                      <a:lnTo>
                        <a:pt x="32" y="36"/>
                      </a:lnTo>
                      <a:lnTo>
                        <a:pt x="32" y="22"/>
                      </a:lnTo>
                      <a:lnTo>
                        <a:pt x="31" y="14"/>
                      </a:lnTo>
                      <a:lnTo>
                        <a:pt x="30" y="7"/>
                      </a:lnTo>
                      <a:lnTo>
                        <a:pt x="26" y="0"/>
                      </a:lnTo>
                      <a:lnTo>
                        <a:pt x="19" y="2"/>
                      </a:lnTo>
                      <a:lnTo>
                        <a:pt x="11" y="7"/>
                      </a:lnTo>
                      <a:lnTo>
                        <a:pt x="6" y="10"/>
                      </a:lnTo>
                      <a:lnTo>
                        <a:pt x="3" y="13"/>
                      </a:lnTo>
                      <a:lnTo>
                        <a:pt x="1" y="16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2" name="Freeform 395"/>
                <p:cNvSpPr>
                  <a:spLocks/>
                </p:cNvSpPr>
                <p:nvPr/>
              </p:nvSpPr>
              <p:spPr bwMode="auto">
                <a:xfrm>
                  <a:off x="1279" y="1314"/>
                  <a:ext cx="46" cy="17"/>
                </a:xfrm>
                <a:custGeom>
                  <a:avLst/>
                  <a:gdLst>
                    <a:gd name="T0" fmla="*/ 0 w 146"/>
                    <a:gd name="T1" fmla="*/ 43 h 52"/>
                    <a:gd name="T2" fmla="*/ 11 w 146"/>
                    <a:gd name="T3" fmla="*/ 46 h 52"/>
                    <a:gd name="T4" fmla="*/ 22 w 146"/>
                    <a:gd name="T5" fmla="*/ 48 h 52"/>
                    <a:gd name="T6" fmla="*/ 33 w 146"/>
                    <a:gd name="T7" fmla="*/ 51 h 52"/>
                    <a:gd name="T8" fmla="*/ 43 w 146"/>
                    <a:gd name="T9" fmla="*/ 52 h 52"/>
                    <a:gd name="T10" fmla="*/ 63 w 146"/>
                    <a:gd name="T11" fmla="*/ 52 h 52"/>
                    <a:gd name="T12" fmla="*/ 82 w 146"/>
                    <a:gd name="T13" fmla="*/ 51 h 52"/>
                    <a:gd name="T14" fmla="*/ 117 w 146"/>
                    <a:gd name="T15" fmla="*/ 46 h 52"/>
                    <a:gd name="T16" fmla="*/ 146 w 146"/>
                    <a:gd name="T17" fmla="*/ 43 h 52"/>
                    <a:gd name="T18" fmla="*/ 144 w 146"/>
                    <a:gd name="T19" fmla="*/ 36 h 52"/>
                    <a:gd name="T20" fmla="*/ 142 w 146"/>
                    <a:gd name="T21" fmla="*/ 30 h 52"/>
                    <a:gd name="T22" fmla="*/ 139 w 146"/>
                    <a:gd name="T23" fmla="*/ 24 h 52"/>
                    <a:gd name="T24" fmla="*/ 137 w 146"/>
                    <a:gd name="T25" fmla="*/ 19 h 52"/>
                    <a:gd name="T26" fmla="*/ 134 w 146"/>
                    <a:gd name="T27" fmla="*/ 15 h 52"/>
                    <a:gd name="T28" fmla="*/ 129 w 146"/>
                    <a:gd name="T29" fmla="*/ 11 h 52"/>
                    <a:gd name="T30" fmla="*/ 125 w 146"/>
                    <a:gd name="T31" fmla="*/ 8 h 52"/>
                    <a:gd name="T32" fmla="*/ 121 w 146"/>
                    <a:gd name="T33" fmla="*/ 6 h 52"/>
                    <a:gd name="T34" fmla="*/ 111 w 146"/>
                    <a:gd name="T35" fmla="*/ 2 h 52"/>
                    <a:gd name="T36" fmla="*/ 101 w 146"/>
                    <a:gd name="T37" fmla="*/ 0 h 52"/>
                    <a:gd name="T38" fmla="*/ 89 w 146"/>
                    <a:gd name="T39" fmla="*/ 1 h 52"/>
                    <a:gd name="T40" fmla="*/ 78 w 146"/>
                    <a:gd name="T41" fmla="*/ 2 h 52"/>
                    <a:gd name="T42" fmla="*/ 66 w 146"/>
                    <a:gd name="T43" fmla="*/ 5 h 52"/>
                    <a:gd name="T44" fmla="*/ 54 w 146"/>
                    <a:gd name="T45" fmla="*/ 9 h 52"/>
                    <a:gd name="T46" fmla="*/ 43 w 146"/>
                    <a:gd name="T47" fmla="*/ 14 h 52"/>
                    <a:gd name="T48" fmla="*/ 32 w 146"/>
                    <a:gd name="T49" fmla="*/ 19 h 52"/>
                    <a:gd name="T50" fmla="*/ 22 w 146"/>
                    <a:gd name="T51" fmla="*/ 25 h 52"/>
                    <a:gd name="T52" fmla="*/ 13 w 146"/>
                    <a:gd name="T53" fmla="*/ 31 h 52"/>
                    <a:gd name="T54" fmla="*/ 5 w 146"/>
                    <a:gd name="T55" fmla="*/ 37 h 52"/>
                    <a:gd name="T56" fmla="*/ 0 w 146"/>
                    <a:gd name="T57" fmla="*/ 43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46" h="52">
                      <a:moveTo>
                        <a:pt x="0" y="43"/>
                      </a:moveTo>
                      <a:lnTo>
                        <a:pt x="11" y="46"/>
                      </a:lnTo>
                      <a:lnTo>
                        <a:pt x="22" y="48"/>
                      </a:lnTo>
                      <a:lnTo>
                        <a:pt x="33" y="51"/>
                      </a:lnTo>
                      <a:lnTo>
                        <a:pt x="43" y="52"/>
                      </a:lnTo>
                      <a:lnTo>
                        <a:pt x="63" y="52"/>
                      </a:lnTo>
                      <a:lnTo>
                        <a:pt x="82" y="51"/>
                      </a:lnTo>
                      <a:lnTo>
                        <a:pt x="117" y="46"/>
                      </a:lnTo>
                      <a:lnTo>
                        <a:pt x="146" y="43"/>
                      </a:lnTo>
                      <a:lnTo>
                        <a:pt x="144" y="36"/>
                      </a:lnTo>
                      <a:lnTo>
                        <a:pt x="142" y="30"/>
                      </a:lnTo>
                      <a:lnTo>
                        <a:pt x="139" y="24"/>
                      </a:lnTo>
                      <a:lnTo>
                        <a:pt x="137" y="19"/>
                      </a:lnTo>
                      <a:lnTo>
                        <a:pt x="134" y="15"/>
                      </a:lnTo>
                      <a:lnTo>
                        <a:pt x="129" y="11"/>
                      </a:lnTo>
                      <a:lnTo>
                        <a:pt x="125" y="8"/>
                      </a:lnTo>
                      <a:lnTo>
                        <a:pt x="121" y="6"/>
                      </a:lnTo>
                      <a:lnTo>
                        <a:pt x="111" y="2"/>
                      </a:lnTo>
                      <a:lnTo>
                        <a:pt x="101" y="0"/>
                      </a:lnTo>
                      <a:lnTo>
                        <a:pt x="89" y="1"/>
                      </a:lnTo>
                      <a:lnTo>
                        <a:pt x="78" y="2"/>
                      </a:lnTo>
                      <a:lnTo>
                        <a:pt x="66" y="5"/>
                      </a:lnTo>
                      <a:lnTo>
                        <a:pt x="54" y="9"/>
                      </a:lnTo>
                      <a:lnTo>
                        <a:pt x="43" y="14"/>
                      </a:lnTo>
                      <a:lnTo>
                        <a:pt x="32" y="19"/>
                      </a:lnTo>
                      <a:lnTo>
                        <a:pt x="22" y="25"/>
                      </a:lnTo>
                      <a:lnTo>
                        <a:pt x="13" y="31"/>
                      </a:lnTo>
                      <a:lnTo>
                        <a:pt x="5" y="37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3" name="Freeform 396"/>
                <p:cNvSpPr>
                  <a:spLocks/>
                </p:cNvSpPr>
                <p:nvPr/>
              </p:nvSpPr>
              <p:spPr bwMode="auto">
                <a:xfrm>
                  <a:off x="1261" y="1252"/>
                  <a:ext cx="20" cy="10"/>
                </a:xfrm>
                <a:custGeom>
                  <a:avLst/>
                  <a:gdLst>
                    <a:gd name="T0" fmla="*/ 60 w 60"/>
                    <a:gd name="T1" fmla="*/ 0 h 31"/>
                    <a:gd name="T2" fmla="*/ 49 w 60"/>
                    <a:gd name="T3" fmla="*/ 0 h 31"/>
                    <a:gd name="T4" fmla="*/ 38 w 60"/>
                    <a:gd name="T5" fmla="*/ 0 h 31"/>
                    <a:gd name="T6" fmla="*/ 31 w 60"/>
                    <a:gd name="T7" fmla="*/ 0 h 31"/>
                    <a:gd name="T8" fmla="*/ 27 w 60"/>
                    <a:gd name="T9" fmla="*/ 0 h 31"/>
                    <a:gd name="T10" fmla="*/ 18 w 60"/>
                    <a:gd name="T11" fmla="*/ 0 h 31"/>
                    <a:gd name="T12" fmla="*/ 9 w 60"/>
                    <a:gd name="T13" fmla="*/ 2 h 31"/>
                    <a:gd name="T14" fmla="*/ 5 w 60"/>
                    <a:gd name="T15" fmla="*/ 3 h 31"/>
                    <a:gd name="T16" fmla="*/ 2 w 60"/>
                    <a:gd name="T17" fmla="*/ 5 h 31"/>
                    <a:gd name="T18" fmla="*/ 1 w 60"/>
                    <a:gd name="T19" fmla="*/ 8 h 31"/>
                    <a:gd name="T20" fmla="*/ 0 w 60"/>
                    <a:gd name="T21" fmla="*/ 12 h 31"/>
                    <a:gd name="T22" fmla="*/ 1 w 60"/>
                    <a:gd name="T23" fmla="*/ 15 h 31"/>
                    <a:gd name="T24" fmla="*/ 2 w 60"/>
                    <a:gd name="T25" fmla="*/ 18 h 31"/>
                    <a:gd name="T26" fmla="*/ 5 w 60"/>
                    <a:gd name="T27" fmla="*/ 22 h 31"/>
                    <a:gd name="T28" fmla="*/ 9 w 60"/>
                    <a:gd name="T29" fmla="*/ 24 h 31"/>
                    <a:gd name="T30" fmla="*/ 12 w 60"/>
                    <a:gd name="T31" fmla="*/ 27 h 31"/>
                    <a:gd name="T32" fmla="*/ 18 w 60"/>
                    <a:gd name="T33" fmla="*/ 29 h 31"/>
                    <a:gd name="T34" fmla="*/ 22 w 60"/>
                    <a:gd name="T35" fmla="*/ 31 h 31"/>
                    <a:gd name="T36" fmla="*/ 27 w 60"/>
                    <a:gd name="T37" fmla="*/ 31 h 31"/>
                    <a:gd name="T38" fmla="*/ 32 w 60"/>
                    <a:gd name="T39" fmla="*/ 30 h 31"/>
                    <a:gd name="T40" fmla="*/ 37 w 60"/>
                    <a:gd name="T41" fmla="*/ 28 h 31"/>
                    <a:gd name="T42" fmla="*/ 43 w 60"/>
                    <a:gd name="T43" fmla="*/ 24 h 31"/>
                    <a:gd name="T44" fmla="*/ 48 w 60"/>
                    <a:gd name="T45" fmla="*/ 18 h 31"/>
                    <a:gd name="T46" fmla="*/ 57 w 60"/>
                    <a:gd name="T47" fmla="*/ 10 h 31"/>
                    <a:gd name="T48" fmla="*/ 60 w 60"/>
                    <a:gd name="T49" fmla="*/ 6 h 31"/>
                    <a:gd name="T50" fmla="*/ 60 w 60"/>
                    <a:gd name="T51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60" h="31">
                      <a:moveTo>
                        <a:pt x="60" y="0"/>
                      </a:moveTo>
                      <a:lnTo>
                        <a:pt x="49" y="0"/>
                      </a:lnTo>
                      <a:lnTo>
                        <a:pt x="38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9" y="2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8"/>
                      </a:lnTo>
                      <a:lnTo>
                        <a:pt x="5" y="22"/>
                      </a:lnTo>
                      <a:lnTo>
                        <a:pt x="9" y="24"/>
                      </a:lnTo>
                      <a:lnTo>
                        <a:pt x="12" y="27"/>
                      </a:lnTo>
                      <a:lnTo>
                        <a:pt x="18" y="29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32" y="30"/>
                      </a:lnTo>
                      <a:lnTo>
                        <a:pt x="37" y="28"/>
                      </a:lnTo>
                      <a:lnTo>
                        <a:pt x="43" y="24"/>
                      </a:lnTo>
                      <a:lnTo>
                        <a:pt x="48" y="18"/>
                      </a:lnTo>
                      <a:lnTo>
                        <a:pt x="57" y="10"/>
                      </a:lnTo>
                      <a:lnTo>
                        <a:pt x="60" y="6"/>
                      </a:lnTo>
                      <a:lnTo>
                        <a:pt x="6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4" name="Freeform 397"/>
                <p:cNvSpPr>
                  <a:spLocks/>
                </p:cNvSpPr>
                <p:nvPr/>
              </p:nvSpPr>
              <p:spPr bwMode="auto">
                <a:xfrm>
                  <a:off x="1730" y="1713"/>
                  <a:ext cx="26" cy="20"/>
                </a:xfrm>
                <a:custGeom>
                  <a:avLst/>
                  <a:gdLst>
                    <a:gd name="T0" fmla="*/ 0 w 80"/>
                    <a:gd name="T1" fmla="*/ 43 h 62"/>
                    <a:gd name="T2" fmla="*/ 1 w 80"/>
                    <a:gd name="T3" fmla="*/ 46 h 62"/>
                    <a:gd name="T4" fmla="*/ 1 w 80"/>
                    <a:gd name="T5" fmla="*/ 49 h 62"/>
                    <a:gd name="T6" fmla="*/ 3 w 80"/>
                    <a:gd name="T7" fmla="*/ 51 h 62"/>
                    <a:gd name="T8" fmla="*/ 4 w 80"/>
                    <a:gd name="T9" fmla="*/ 53 h 62"/>
                    <a:gd name="T10" fmla="*/ 10 w 80"/>
                    <a:gd name="T11" fmla="*/ 57 h 62"/>
                    <a:gd name="T12" fmla="*/ 15 w 80"/>
                    <a:gd name="T13" fmla="*/ 59 h 62"/>
                    <a:gd name="T14" fmla="*/ 28 w 80"/>
                    <a:gd name="T15" fmla="*/ 62 h 62"/>
                    <a:gd name="T16" fmla="*/ 40 w 80"/>
                    <a:gd name="T17" fmla="*/ 62 h 62"/>
                    <a:gd name="T18" fmla="*/ 45 w 80"/>
                    <a:gd name="T19" fmla="*/ 62 h 62"/>
                    <a:gd name="T20" fmla="*/ 49 w 80"/>
                    <a:gd name="T21" fmla="*/ 59 h 62"/>
                    <a:gd name="T22" fmla="*/ 54 w 80"/>
                    <a:gd name="T23" fmla="*/ 57 h 62"/>
                    <a:gd name="T24" fmla="*/ 58 w 80"/>
                    <a:gd name="T25" fmla="*/ 54 h 62"/>
                    <a:gd name="T26" fmla="*/ 65 w 80"/>
                    <a:gd name="T27" fmla="*/ 47 h 62"/>
                    <a:gd name="T28" fmla="*/ 70 w 80"/>
                    <a:gd name="T29" fmla="*/ 38 h 62"/>
                    <a:gd name="T30" fmla="*/ 74 w 80"/>
                    <a:gd name="T31" fmla="*/ 28 h 62"/>
                    <a:gd name="T32" fmla="*/ 78 w 80"/>
                    <a:gd name="T33" fmla="*/ 18 h 62"/>
                    <a:gd name="T34" fmla="*/ 79 w 80"/>
                    <a:gd name="T35" fmla="*/ 8 h 62"/>
                    <a:gd name="T36" fmla="*/ 80 w 80"/>
                    <a:gd name="T37" fmla="*/ 0 h 62"/>
                    <a:gd name="T38" fmla="*/ 71 w 80"/>
                    <a:gd name="T39" fmla="*/ 0 h 62"/>
                    <a:gd name="T40" fmla="*/ 59 w 80"/>
                    <a:gd name="T41" fmla="*/ 3 h 62"/>
                    <a:gd name="T42" fmla="*/ 46 w 80"/>
                    <a:gd name="T43" fmla="*/ 8 h 62"/>
                    <a:gd name="T44" fmla="*/ 33 w 80"/>
                    <a:gd name="T45" fmla="*/ 13 h 62"/>
                    <a:gd name="T46" fmla="*/ 21 w 80"/>
                    <a:gd name="T47" fmla="*/ 19 h 62"/>
                    <a:gd name="T48" fmla="*/ 10 w 80"/>
                    <a:gd name="T49" fmla="*/ 26 h 62"/>
                    <a:gd name="T50" fmla="*/ 6 w 80"/>
                    <a:gd name="T51" fmla="*/ 30 h 62"/>
                    <a:gd name="T52" fmla="*/ 3 w 80"/>
                    <a:gd name="T53" fmla="*/ 34 h 62"/>
                    <a:gd name="T54" fmla="*/ 1 w 80"/>
                    <a:gd name="T55" fmla="*/ 39 h 62"/>
                    <a:gd name="T56" fmla="*/ 0 w 80"/>
                    <a:gd name="T57" fmla="*/ 43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80" h="62">
                      <a:moveTo>
                        <a:pt x="0" y="43"/>
                      </a:moveTo>
                      <a:lnTo>
                        <a:pt x="1" y="46"/>
                      </a:lnTo>
                      <a:lnTo>
                        <a:pt x="1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10" y="57"/>
                      </a:lnTo>
                      <a:lnTo>
                        <a:pt x="15" y="59"/>
                      </a:lnTo>
                      <a:lnTo>
                        <a:pt x="28" y="62"/>
                      </a:lnTo>
                      <a:lnTo>
                        <a:pt x="40" y="62"/>
                      </a:lnTo>
                      <a:lnTo>
                        <a:pt x="45" y="62"/>
                      </a:lnTo>
                      <a:lnTo>
                        <a:pt x="49" y="59"/>
                      </a:lnTo>
                      <a:lnTo>
                        <a:pt x="54" y="57"/>
                      </a:lnTo>
                      <a:lnTo>
                        <a:pt x="58" y="54"/>
                      </a:lnTo>
                      <a:lnTo>
                        <a:pt x="65" y="47"/>
                      </a:lnTo>
                      <a:lnTo>
                        <a:pt x="70" y="38"/>
                      </a:lnTo>
                      <a:lnTo>
                        <a:pt x="74" y="28"/>
                      </a:lnTo>
                      <a:lnTo>
                        <a:pt x="78" y="18"/>
                      </a:lnTo>
                      <a:lnTo>
                        <a:pt x="79" y="8"/>
                      </a:lnTo>
                      <a:lnTo>
                        <a:pt x="80" y="0"/>
                      </a:lnTo>
                      <a:lnTo>
                        <a:pt x="71" y="0"/>
                      </a:lnTo>
                      <a:lnTo>
                        <a:pt x="59" y="3"/>
                      </a:lnTo>
                      <a:lnTo>
                        <a:pt x="46" y="8"/>
                      </a:lnTo>
                      <a:lnTo>
                        <a:pt x="33" y="13"/>
                      </a:lnTo>
                      <a:lnTo>
                        <a:pt x="21" y="19"/>
                      </a:lnTo>
                      <a:lnTo>
                        <a:pt x="10" y="26"/>
                      </a:lnTo>
                      <a:lnTo>
                        <a:pt x="6" y="30"/>
                      </a:lnTo>
                      <a:lnTo>
                        <a:pt x="3" y="34"/>
                      </a:lnTo>
                      <a:lnTo>
                        <a:pt x="1" y="39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5" name="Freeform 398"/>
                <p:cNvSpPr>
                  <a:spLocks/>
                </p:cNvSpPr>
                <p:nvPr/>
              </p:nvSpPr>
              <p:spPr bwMode="auto">
                <a:xfrm>
                  <a:off x="1583" y="1674"/>
                  <a:ext cx="33" cy="16"/>
                </a:xfrm>
                <a:custGeom>
                  <a:avLst/>
                  <a:gdLst>
                    <a:gd name="T0" fmla="*/ 80 w 106"/>
                    <a:gd name="T1" fmla="*/ 13 h 49"/>
                    <a:gd name="T2" fmla="*/ 72 w 106"/>
                    <a:gd name="T3" fmla="*/ 12 h 49"/>
                    <a:gd name="T4" fmla="*/ 66 w 106"/>
                    <a:gd name="T5" fmla="*/ 11 h 49"/>
                    <a:gd name="T6" fmla="*/ 59 w 106"/>
                    <a:gd name="T7" fmla="*/ 8 h 49"/>
                    <a:gd name="T8" fmla="*/ 53 w 106"/>
                    <a:gd name="T9" fmla="*/ 6 h 49"/>
                    <a:gd name="T10" fmla="*/ 47 w 106"/>
                    <a:gd name="T11" fmla="*/ 4 h 49"/>
                    <a:gd name="T12" fmla="*/ 41 w 106"/>
                    <a:gd name="T13" fmla="*/ 2 h 49"/>
                    <a:gd name="T14" fmla="*/ 34 w 106"/>
                    <a:gd name="T15" fmla="*/ 0 h 49"/>
                    <a:gd name="T16" fmla="*/ 26 w 106"/>
                    <a:gd name="T17" fmla="*/ 0 h 49"/>
                    <a:gd name="T18" fmla="*/ 15 w 106"/>
                    <a:gd name="T19" fmla="*/ 0 h 49"/>
                    <a:gd name="T20" fmla="*/ 0 w 106"/>
                    <a:gd name="T21" fmla="*/ 0 h 49"/>
                    <a:gd name="T22" fmla="*/ 9 w 106"/>
                    <a:gd name="T23" fmla="*/ 11 h 49"/>
                    <a:gd name="T24" fmla="*/ 17 w 106"/>
                    <a:gd name="T25" fmla="*/ 21 h 49"/>
                    <a:gd name="T26" fmla="*/ 26 w 106"/>
                    <a:gd name="T27" fmla="*/ 29 h 49"/>
                    <a:gd name="T28" fmla="*/ 34 w 106"/>
                    <a:gd name="T29" fmla="*/ 36 h 49"/>
                    <a:gd name="T30" fmla="*/ 42 w 106"/>
                    <a:gd name="T31" fmla="*/ 42 h 49"/>
                    <a:gd name="T32" fmla="*/ 52 w 106"/>
                    <a:gd name="T33" fmla="*/ 46 h 49"/>
                    <a:gd name="T34" fmla="*/ 61 w 106"/>
                    <a:gd name="T35" fmla="*/ 48 h 49"/>
                    <a:gd name="T36" fmla="*/ 72 w 106"/>
                    <a:gd name="T37" fmla="*/ 49 h 49"/>
                    <a:gd name="T38" fmla="*/ 79 w 106"/>
                    <a:gd name="T39" fmla="*/ 48 h 49"/>
                    <a:gd name="T40" fmla="*/ 87 w 106"/>
                    <a:gd name="T41" fmla="*/ 45 h 49"/>
                    <a:gd name="T42" fmla="*/ 97 w 106"/>
                    <a:gd name="T43" fmla="*/ 39 h 49"/>
                    <a:gd name="T44" fmla="*/ 106 w 106"/>
                    <a:gd name="T45" fmla="*/ 31 h 49"/>
                    <a:gd name="T46" fmla="*/ 101 w 106"/>
                    <a:gd name="T47" fmla="*/ 30 h 49"/>
                    <a:gd name="T48" fmla="*/ 98 w 106"/>
                    <a:gd name="T49" fmla="*/ 28 h 49"/>
                    <a:gd name="T50" fmla="*/ 93 w 106"/>
                    <a:gd name="T51" fmla="*/ 25 h 49"/>
                    <a:gd name="T52" fmla="*/ 90 w 106"/>
                    <a:gd name="T53" fmla="*/ 22 h 49"/>
                    <a:gd name="T54" fmla="*/ 88 w 106"/>
                    <a:gd name="T55" fmla="*/ 19 h 49"/>
                    <a:gd name="T56" fmla="*/ 84 w 106"/>
                    <a:gd name="T57" fmla="*/ 16 h 49"/>
                    <a:gd name="T58" fmla="*/ 82 w 106"/>
                    <a:gd name="T59" fmla="*/ 14 h 49"/>
                    <a:gd name="T60" fmla="*/ 80 w 106"/>
                    <a:gd name="T61" fmla="*/ 1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49">
                      <a:moveTo>
                        <a:pt x="80" y="13"/>
                      </a:moveTo>
                      <a:lnTo>
                        <a:pt x="72" y="12"/>
                      </a:lnTo>
                      <a:lnTo>
                        <a:pt x="66" y="11"/>
                      </a:lnTo>
                      <a:lnTo>
                        <a:pt x="59" y="8"/>
                      </a:lnTo>
                      <a:lnTo>
                        <a:pt x="53" y="6"/>
                      </a:lnTo>
                      <a:lnTo>
                        <a:pt x="47" y="4"/>
                      </a:lnTo>
                      <a:lnTo>
                        <a:pt x="41" y="2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9" y="11"/>
                      </a:lnTo>
                      <a:lnTo>
                        <a:pt x="17" y="21"/>
                      </a:lnTo>
                      <a:lnTo>
                        <a:pt x="26" y="29"/>
                      </a:lnTo>
                      <a:lnTo>
                        <a:pt x="34" y="36"/>
                      </a:lnTo>
                      <a:lnTo>
                        <a:pt x="42" y="42"/>
                      </a:lnTo>
                      <a:lnTo>
                        <a:pt x="52" y="46"/>
                      </a:lnTo>
                      <a:lnTo>
                        <a:pt x="61" y="48"/>
                      </a:lnTo>
                      <a:lnTo>
                        <a:pt x="72" y="49"/>
                      </a:lnTo>
                      <a:lnTo>
                        <a:pt x="79" y="48"/>
                      </a:lnTo>
                      <a:lnTo>
                        <a:pt x="87" y="45"/>
                      </a:lnTo>
                      <a:lnTo>
                        <a:pt x="97" y="39"/>
                      </a:lnTo>
                      <a:lnTo>
                        <a:pt x="106" y="31"/>
                      </a:lnTo>
                      <a:lnTo>
                        <a:pt x="101" y="30"/>
                      </a:lnTo>
                      <a:lnTo>
                        <a:pt x="98" y="28"/>
                      </a:lnTo>
                      <a:lnTo>
                        <a:pt x="93" y="25"/>
                      </a:lnTo>
                      <a:lnTo>
                        <a:pt x="90" y="22"/>
                      </a:lnTo>
                      <a:lnTo>
                        <a:pt x="88" y="19"/>
                      </a:lnTo>
                      <a:lnTo>
                        <a:pt x="84" y="16"/>
                      </a:lnTo>
                      <a:lnTo>
                        <a:pt x="82" y="14"/>
                      </a:lnTo>
                      <a:lnTo>
                        <a:pt x="8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6" name="Freeform 399"/>
                <p:cNvSpPr>
                  <a:spLocks/>
                </p:cNvSpPr>
                <p:nvPr/>
              </p:nvSpPr>
              <p:spPr bwMode="auto">
                <a:xfrm>
                  <a:off x="1599" y="1713"/>
                  <a:ext cx="15" cy="7"/>
                </a:xfrm>
                <a:custGeom>
                  <a:avLst/>
                  <a:gdLst>
                    <a:gd name="T0" fmla="*/ 0 w 47"/>
                    <a:gd name="T1" fmla="*/ 19 h 22"/>
                    <a:gd name="T2" fmla="*/ 5 w 47"/>
                    <a:gd name="T3" fmla="*/ 21 h 22"/>
                    <a:gd name="T4" fmla="*/ 12 w 47"/>
                    <a:gd name="T5" fmla="*/ 22 h 22"/>
                    <a:gd name="T6" fmla="*/ 18 w 47"/>
                    <a:gd name="T7" fmla="*/ 22 h 22"/>
                    <a:gd name="T8" fmla="*/ 26 w 47"/>
                    <a:gd name="T9" fmla="*/ 21 h 22"/>
                    <a:gd name="T10" fmla="*/ 33 w 47"/>
                    <a:gd name="T11" fmla="*/ 19 h 22"/>
                    <a:gd name="T12" fmla="*/ 38 w 47"/>
                    <a:gd name="T13" fmla="*/ 15 h 22"/>
                    <a:gd name="T14" fmla="*/ 41 w 47"/>
                    <a:gd name="T15" fmla="*/ 12 h 22"/>
                    <a:gd name="T16" fmla="*/ 44 w 47"/>
                    <a:gd name="T17" fmla="*/ 9 h 22"/>
                    <a:gd name="T18" fmla="*/ 45 w 47"/>
                    <a:gd name="T19" fmla="*/ 5 h 22"/>
                    <a:gd name="T20" fmla="*/ 47 w 47"/>
                    <a:gd name="T21" fmla="*/ 0 h 22"/>
                    <a:gd name="T22" fmla="*/ 0 w 47"/>
                    <a:gd name="T23" fmla="*/ 19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7" h="22">
                      <a:moveTo>
                        <a:pt x="0" y="19"/>
                      </a:move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8" y="22"/>
                      </a:lnTo>
                      <a:lnTo>
                        <a:pt x="26" y="21"/>
                      </a:lnTo>
                      <a:lnTo>
                        <a:pt x="33" y="19"/>
                      </a:lnTo>
                      <a:lnTo>
                        <a:pt x="38" y="15"/>
                      </a:lnTo>
                      <a:lnTo>
                        <a:pt x="41" y="12"/>
                      </a:lnTo>
                      <a:lnTo>
                        <a:pt x="44" y="9"/>
                      </a:lnTo>
                      <a:lnTo>
                        <a:pt x="45" y="5"/>
                      </a:lnTo>
                      <a:lnTo>
                        <a:pt x="47" y="0"/>
                      </a:lnTo>
                      <a:lnTo>
                        <a:pt x="0" y="1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7" name="Freeform 400"/>
                <p:cNvSpPr>
                  <a:spLocks/>
                </p:cNvSpPr>
                <p:nvPr/>
              </p:nvSpPr>
              <p:spPr bwMode="auto">
                <a:xfrm>
                  <a:off x="1608" y="1742"/>
                  <a:ext cx="17" cy="11"/>
                </a:xfrm>
                <a:custGeom>
                  <a:avLst/>
                  <a:gdLst>
                    <a:gd name="T0" fmla="*/ 53 w 53"/>
                    <a:gd name="T1" fmla="*/ 0 h 32"/>
                    <a:gd name="T2" fmla="*/ 37 w 53"/>
                    <a:gd name="T3" fmla="*/ 9 h 32"/>
                    <a:gd name="T4" fmla="*/ 23 w 53"/>
                    <a:gd name="T5" fmla="*/ 18 h 32"/>
                    <a:gd name="T6" fmla="*/ 11 w 53"/>
                    <a:gd name="T7" fmla="*/ 26 h 32"/>
                    <a:gd name="T8" fmla="*/ 0 w 53"/>
                    <a:gd name="T9" fmla="*/ 32 h 32"/>
                    <a:gd name="T10" fmla="*/ 13 w 53"/>
                    <a:gd name="T11" fmla="*/ 32 h 32"/>
                    <a:gd name="T12" fmla="*/ 26 w 53"/>
                    <a:gd name="T13" fmla="*/ 32 h 32"/>
                    <a:gd name="T14" fmla="*/ 39 w 53"/>
                    <a:gd name="T15" fmla="*/ 32 h 32"/>
                    <a:gd name="T16" fmla="*/ 53 w 53"/>
                    <a:gd name="T17" fmla="*/ 32 h 32"/>
                    <a:gd name="T18" fmla="*/ 53 w 53"/>
                    <a:gd name="T19" fmla="*/ 24 h 32"/>
                    <a:gd name="T20" fmla="*/ 53 w 53"/>
                    <a:gd name="T21" fmla="*/ 16 h 32"/>
                    <a:gd name="T22" fmla="*/ 53 w 53"/>
                    <a:gd name="T23" fmla="*/ 9 h 32"/>
                    <a:gd name="T24" fmla="*/ 53 w 53"/>
                    <a:gd name="T25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3" h="32">
                      <a:moveTo>
                        <a:pt x="53" y="0"/>
                      </a:moveTo>
                      <a:lnTo>
                        <a:pt x="37" y="9"/>
                      </a:lnTo>
                      <a:lnTo>
                        <a:pt x="23" y="18"/>
                      </a:lnTo>
                      <a:lnTo>
                        <a:pt x="11" y="26"/>
                      </a:lnTo>
                      <a:lnTo>
                        <a:pt x="0" y="32"/>
                      </a:lnTo>
                      <a:lnTo>
                        <a:pt x="13" y="32"/>
                      </a:lnTo>
                      <a:lnTo>
                        <a:pt x="26" y="32"/>
                      </a:lnTo>
                      <a:lnTo>
                        <a:pt x="39" y="32"/>
                      </a:lnTo>
                      <a:lnTo>
                        <a:pt x="53" y="32"/>
                      </a:lnTo>
                      <a:lnTo>
                        <a:pt x="53" y="24"/>
                      </a:lnTo>
                      <a:lnTo>
                        <a:pt x="53" y="16"/>
                      </a:lnTo>
                      <a:lnTo>
                        <a:pt x="53" y="9"/>
                      </a:lnTo>
                      <a:lnTo>
                        <a:pt x="5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8" name="Freeform 401"/>
                <p:cNvSpPr>
                  <a:spLocks/>
                </p:cNvSpPr>
                <p:nvPr/>
              </p:nvSpPr>
              <p:spPr bwMode="auto">
                <a:xfrm>
                  <a:off x="1450" y="1438"/>
                  <a:ext cx="14" cy="12"/>
                </a:xfrm>
                <a:custGeom>
                  <a:avLst/>
                  <a:gdLst>
                    <a:gd name="T0" fmla="*/ 27 w 46"/>
                    <a:gd name="T1" fmla="*/ 3 h 34"/>
                    <a:gd name="T2" fmla="*/ 0 w 46"/>
                    <a:gd name="T3" fmla="*/ 16 h 34"/>
                    <a:gd name="T4" fmla="*/ 0 w 46"/>
                    <a:gd name="T5" fmla="*/ 34 h 34"/>
                    <a:gd name="T6" fmla="*/ 27 w 46"/>
                    <a:gd name="T7" fmla="*/ 34 h 34"/>
                    <a:gd name="T8" fmla="*/ 31 w 46"/>
                    <a:gd name="T9" fmla="*/ 32 h 34"/>
                    <a:gd name="T10" fmla="*/ 35 w 46"/>
                    <a:gd name="T11" fmla="*/ 28 h 34"/>
                    <a:gd name="T12" fmla="*/ 39 w 46"/>
                    <a:gd name="T13" fmla="*/ 25 h 34"/>
                    <a:gd name="T14" fmla="*/ 42 w 46"/>
                    <a:gd name="T15" fmla="*/ 21 h 34"/>
                    <a:gd name="T16" fmla="*/ 44 w 46"/>
                    <a:gd name="T17" fmla="*/ 17 h 34"/>
                    <a:gd name="T18" fmla="*/ 45 w 46"/>
                    <a:gd name="T19" fmla="*/ 13 h 34"/>
                    <a:gd name="T20" fmla="*/ 46 w 46"/>
                    <a:gd name="T21" fmla="*/ 8 h 34"/>
                    <a:gd name="T22" fmla="*/ 46 w 46"/>
                    <a:gd name="T23" fmla="*/ 3 h 34"/>
                    <a:gd name="T24" fmla="*/ 46 w 46"/>
                    <a:gd name="T25" fmla="*/ 1 h 34"/>
                    <a:gd name="T26" fmla="*/ 44 w 46"/>
                    <a:gd name="T27" fmla="*/ 0 h 34"/>
                    <a:gd name="T28" fmla="*/ 42 w 46"/>
                    <a:gd name="T29" fmla="*/ 0 h 34"/>
                    <a:gd name="T30" fmla="*/ 39 w 46"/>
                    <a:gd name="T31" fmla="*/ 0 h 34"/>
                    <a:gd name="T32" fmla="*/ 32 w 46"/>
                    <a:gd name="T33" fmla="*/ 2 h 34"/>
                    <a:gd name="T34" fmla="*/ 27 w 46"/>
                    <a:gd name="T35" fmla="*/ 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6" h="34">
                      <a:moveTo>
                        <a:pt x="27" y="3"/>
                      </a:moveTo>
                      <a:lnTo>
                        <a:pt x="0" y="16"/>
                      </a:lnTo>
                      <a:lnTo>
                        <a:pt x="0" y="34"/>
                      </a:lnTo>
                      <a:lnTo>
                        <a:pt x="27" y="34"/>
                      </a:lnTo>
                      <a:lnTo>
                        <a:pt x="31" y="32"/>
                      </a:lnTo>
                      <a:lnTo>
                        <a:pt x="35" y="28"/>
                      </a:lnTo>
                      <a:lnTo>
                        <a:pt x="39" y="25"/>
                      </a:lnTo>
                      <a:lnTo>
                        <a:pt x="42" y="21"/>
                      </a:ln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6" y="8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2" y="2"/>
                      </a:lnTo>
                      <a:lnTo>
                        <a:pt x="27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79" name="Freeform 402"/>
                <p:cNvSpPr>
                  <a:spLocks/>
                </p:cNvSpPr>
                <p:nvPr/>
              </p:nvSpPr>
              <p:spPr bwMode="auto">
                <a:xfrm>
                  <a:off x="1305" y="1224"/>
                  <a:ext cx="16" cy="8"/>
                </a:xfrm>
                <a:custGeom>
                  <a:avLst/>
                  <a:gdLst>
                    <a:gd name="T0" fmla="*/ 0 w 48"/>
                    <a:gd name="T1" fmla="*/ 25 h 25"/>
                    <a:gd name="T2" fmla="*/ 14 w 48"/>
                    <a:gd name="T3" fmla="*/ 25 h 25"/>
                    <a:gd name="T4" fmla="*/ 28 w 48"/>
                    <a:gd name="T5" fmla="*/ 25 h 25"/>
                    <a:gd name="T6" fmla="*/ 30 w 48"/>
                    <a:gd name="T7" fmla="*/ 24 h 25"/>
                    <a:gd name="T8" fmla="*/ 33 w 48"/>
                    <a:gd name="T9" fmla="*/ 22 h 25"/>
                    <a:gd name="T10" fmla="*/ 37 w 48"/>
                    <a:gd name="T11" fmla="*/ 18 h 25"/>
                    <a:gd name="T12" fmla="*/ 40 w 48"/>
                    <a:gd name="T13" fmla="*/ 15 h 25"/>
                    <a:gd name="T14" fmla="*/ 45 w 48"/>
                    <a:gd name="T15" fmla="*/ 7 h 25"/>
                    <a:gd name="T16" fmla="*/ 48 w 48"/>
                    <a:gd name="T17" fmla="*/ 0 h 25"/>
                    <a:gd name="T18" fmla="*/ 40 w 48"/>
                    <a:gd name="T19" fmla="*/ 1 h 25"/>
                    <a:gd name="T20" fmla="*/ 33 w 48"/>
                    <a:gd name="T21" fmla="*/ 2 h 25"/>
                    <a:gd name="T22" fmla="*/ 28 w 48"/>
                    <a:gd name="T23" fmla="*/ 5 h 25"/>
                    <a:gd name="T24" fmla="*/ 21 w 48"/>
                    <a:gd name="T25" fmla="*/ 8 h 25"/>
                    <a:gd name="T26" fmla="*/ 11 w 48"/>
                    <a:gd name="T27" fmla="*/ 16 h 25"/>
                    <a:gd name="T28" fmla="*/ 0 w 48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25">
                      <a:moveTo>
                        <a:pt x="0" y="25"/>
                      </a:moveTo>
                      <a:lnTo>
                        <a:pt x="14" y="25"/>
                      </a:lnTo>
                      <a:lnTo>
                        <a:pt x="28" y="25"/>
                      </a:lnTo>
                      <a:lnTo>
                        <a:pt x="30" y="24"/>
                      </a:lnTo>
                      <a:lnTo>
                        <a:pt x="33" y="22"/>
                      </a:lnTo>
                      <a:lnTo>
                        <a:pt x="37" y="18"/>
                      </a:lnTo>
                      <a:lnTo>
                        <a:pt x="40" y="15"/>
                      </a:lnTo>
                      <a:lnTo>
                        <a:pt x="45" y="7"/>
                      </a:lnTo>
                      <a:lnTo>
                        <a:pt x="48" y="0"/>
                      </a:lnTo>
                      <a:lnTo>
                        <a:pt x="40" y="1"/>
                      </a:lnTo>
                      <a:lnTo>
                        <a:pt x="33" y="2"/>
                      </a:lnTo>
                      <a:lnTo>
                        <a:pt x="28" y="5"/>
                      </a:lnTo>
                      <a:lnTo>
                        <a:pt x="21" y="8"/>
                      </a:lnTo>
                      <a:lnTo>
                        <a:pt x="11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0" name="Freeform 403"/>
                <p:cNvSpPr>
                  <a:spLocks/>
                </p:cNvSpPr>
                <p:nvPr/>
              </p:nvSpPr>
              <p:spPr bwMode="auto">
                <a:xfrm>
                  <a:off x="1343" y="1188"/>
                  <a:ext cx="8" cy="11"/>
                </a:xfrm>
                <a:custGeom>
                  <a:avLst/>
                  <a:gdLst>
                    <a:gd name="T0" fmla="*/ 0 w 30"/>
                    <a:gd name="T1" fmla="*/ 0 h 37"/>
                    <a:gd name="T2" fmla="*/ 0 w 30"/>
                    <a:gd name="T3" fmla="*/ 37 h 37"/>
                    <a:gd name="T4" fmla="*/ 11 w 30"/>
                    <a:gd name="T5" fmla="*/ 36 h 37"/>
                    <a:gd name="T6" fmla="*/ 20 w 30"/>
                    <a:gd name="T7" fmla="*/ 34 h 37"/>
                    <a:gd name="T8" fmla="*/ 22 w 30"/>
                    <a:gd name="T9" fmla="*/ 33 h 37"/>
                    <a:gd name="T10" fmla="*/ 26 w 30"/>
                    <a:gd name="T11" fmla="*/ 32 h 37"/>
                    <a:gd name="T12" fmla="*/ 28 w 30"/>
                    <a:gd name="T13" fmla="*/ 30 h 37"/>
                    <a:gd name="T14" fmla="*/ 29 w 30"/>
                    <a:gd name="T15" fmla="*/ 28 h 37"/>
                    <a:gd name="T16" fmla="*/ 30 w 30"/>
                    <a:gd name="T17" fmla="*/ 23 h 37"/>
                    <a:gd name="T18" fmla="*/ 30 w 30"/>
                    <a:gd name="T19" fmla="*/ 16 h 37"/>
                    <a:gd name="T20" fmla="*/ 29 w 30"/>
                    <a:gd name="T21" fmla="*/ 9 h 37"/>
                    <a:gd name="T22" fmla="*/ 27 w 30"/>
                    <a:gd name="T23" fmla="*/ 0 h 37"/>
                    <a:gd name="T24" fmla="*/ 0 w 30"/>
                    <a:gd name="T2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0" h="37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11" y="36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6" y="32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0" y="23"/>
                      </a:lnTo>
                      <a:lnTo>
                        <a:pt x="30" y="16"/>
                      </a:lnTo>
                      <a:lnTo>
                        <a:pt x="29" y="9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1" name="Freeform 404"/>
                <p:cNvSpPr>
                  <a:spLocks/>
                </p:cNvSpPr>
                <p:nvPr/>
              </p:nvSpPr>
              <p:spPr bwMode="auto">
                <a:xfrm>
                  <a:off x="1334" y="1208"/>
                  <a:ext cx="36" cy="16"/>
                </a:xfrm>
                <a:custGeom>
                  <a:avLst/>
                  <a:gdLst>
                    <a:gd name="T0" fmla="*/ 33 w 113"/>
                    <a:gd name="T1" fmla="*/ 3 h 46"/>
                    <a:gd name="T2" fmla="*/ 22 w 113"/>
                    <a:gd name="T3" fmla="*/ 3 h 46"/>
                    <a:gd name="T4" fmla="*/ 12 w 113"/>
                    <a:gd name="T5" fmla="*/ 5 h 46"/>
                    <a:gd name="T6" fmla="*/ 7 w 113"/>
                    <a:gd name="T7" fmla="*/ 7 h 46"/>
                    <a:gd name="T8" fmla="*/ 3 w 113"/>
                    <a:gd name="T9" fmla="*/ 11 h 46"/>
                    <a:gd name="T10" fmla="*/ 1 w 113"/>
                    <a:gd name="T11" fmla="*/ 15 h 46"/>
                    <a:gd name="T12" fmla="*/ 0 w 113"/>
                    <a:gd name="T13" fmla="*/ 21 h 46"/>
                    <a:gd name="T14" fmla="*/ 6 w 113"/>
                    <a:gd name="T15" fmla="*/ 27 h 46"/>
                    <a:gd name="T16" fmla="*/ 10 w 113"/>
                    <a:gd name="T17" fmla="*/ 33 h 46"/>
                    <a:gd name="T18" fmla="*/ 16 w 113"/>
                    <a:gd name="T19" fmla="*/ 37 h 46"/>
                    <a:gd name="T20" fmla="*/ 20 w 113"/>
                    <a:gd name="T21" fmla="*/ 41 h 46"/>
                    <a:gd name="T22" fmla="*/ 25 w 113"/>
                    <a:gd name="T23" fmla="*/ 43 h 46"/>
                    <a:gd name="T24" fmla="*/ 30 w 113"/>
                    <a:gd name="T25" fmla="*/ 45 h 46"/>
                    <a:gd name="T26" fmla="*/ 35 w 113"/>
                    <a:gd name="T27" fmla="*/ 46 h 46"/>
                    <a:gd name="T28" fmla="*/ 40 w 113"/>
                    <a:gd name="T29" fmla="*/ 46 h 46"/>
                    <a:gd name="T30" fmla="*/ 56 w 113"/>
                    <a:gd name="T31" fmla="*/ 46 h 46"/>
                    <a:gd name="T32" fmla="*/ 70 w 113"/>
                    <a:gd name="T33" fmla="*/ 43 h 46"/>
                    <a:gd name="T34" fmla="*/ 76 w 113"/>
                    <a:gd name="T35" fmla="*/ 41 h 46"/>
                    <a:gd name="T36" fmla="*/ 81 w 113"/>
                    <a:gd name="T37" fmla="*/ 38 h 46"/>
                    <a:gd name="T38" fmla="*/ 87 w 113"/>
                    <a:gd name="T39" fmla="*/ 36 h 46"/>
                    <a:gd name="T40" fmla="*/ 91 w 113"/>
                    <a:gd name="T41" fmla="*/ 33 h 46"/>
                    <a:gd name="T42" fmla="*/ 99 w 113"/>
                    <a:gd name="T43" fmla="*/ 27 h 46"/>
                    <a:gd name="T44" fmla="*/ 106 w 113"/>
                    <a:gd name="T45" fmla="*/ 20 h 46"/>
                    <a:gd name="T46" fmla="*/ 110 w 113"/>
                    <a:gd name="T47" fmla="*/ 12 h 46"/>
                    <a:gd name="T48" fmla="*/ 113 w 113"/>
                    <a:gd name="T49" fmla="*/ 3 h 46"/>
                    <a:gd name="T50" fmla="*/ 99 w 113"/>
                    <a:gd name="T51" fmla="*/ 1 h 46"/>
                    <a:gd name="T52" fmla="*/ 87 w 113"/>
                    <a:gd name="T53" fmla="*/ 0 h 46"/>
                    <a:gd name="T54" fmla="*/ 76 w 113"/>
                    <a:gd name="T55" fmla="*/ 0 h 46"/>
                    <a:gd name="T56" fmla="*/ 66 w 113"/>
                    <a:gd name="T57" fmla="*/ 1 h 46"/>
                    <a:gd name="T58" fmla="*/ 48 w 113"/>
                    <a:gd name="T59" fmla="*/ 2 h 46"/>
                    <a:gd name="T60" fmla="*/ 33 w 113"/>
                    <a:gd name="T61" fmla="*/ 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3" h="46">
                      <a:moveTo>
                        <a:pt x="33" y="3"/>
                      </a:moveTo>
                      <a:lnTo>
                        <a:pt x="22" y="3"/>
                      </a:lnTo>
                      <a:lnTo>
                        <a:pt x="12" y="5"/>
                      </a:lnTo>
                      <a:lnTo>
                        <a:pt x="7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21"/>
                      </a:lnTo>
                      <a:lnTo>
                        <a:pt x="6" y="27"/>
                      </a:lnTo>
                      <a:lnTo>
                        <a:pt x="10" y="33"/>
                      </a:lnTo>
                      <a:lnTo>
                        <a:pt x="16" y="37"/>
                      </a:lnTo>
                      <a:lnTo>
                        <a:pt x="20" y="41"/>
                      </a:lnTo>
                      <a:lnTo>
                        <a:pt x="25" y="43"/>
                      </a:lnTo>
                      <a:lnTo>
                        <a:pt x="30" y="45"/>
                      </a:lnTo>
                      <a:lnTo>
                        <a:pt x="35" y="46"/>
                      </a:lnTo>
                      <a:lnTo>
                        <a:pt x="40" y="46"/>
                      </a:lnTo>
                      <a:lnTo>
                        <a:pt x="56" y="46"/>
                      </a:lnTo>
                      <a:lnTo>
                        <a:pt x="70" y="43"/>
                      </a:lnTo>
                      <a:lnTo>
                        <a:pt x="76" y="41"/>
                      </a:lnTo>
                      <a:lnTo>
                        <a:pt x="81" y="38"/>
                      </a:lnTo>
                      <a:lnTo>
                        <a:pt x="87" y="36"/>
                      </a:lnTo>
                      <a:lnTo>
                        <a:pt x="91" y="33"/>
                      </a:lnTo>
                      <a:lnTo>
                        <a:pt x="99" y="27"/>
                      </a:lnTo>
                      <a:lnTo>
                        <a:pt x="106" y="20"/>
                      </a:lnTo>
                      <a:lnTo>
                        <a:pt x="110" y="12"/>
                      </a:lnTo>
                      <a:lnTo>
                        <a:pt x="113" y="3"/>
                      </a:lnTo>
                      <a:lnTo>
                        <a:pt x="99" y="1"/>
                      </a:lnTo>
                      <a:lnTo>
                        <a:pt x="87" y="0"/>
                      </a:lnTo>
                      <a:lnTo>
                        <a:pt x="76" y="0"/>
                      </a:lnTo>
                      <a:lnTo>
                        <a:pt x="66" y="1"/>
                      </a:lnTo>
                      <a:lnTo>
                        <a:pt x="48" y="2"/>
                      </a:lnTo>
                      <a:lnTo>
                        <a:pt x="33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2" name="Freeform 405"/>
                <p:cNvSpPr>
                  <a:spLocks/>
                </p:cNvSpPr>
                <p:nvPr/>
              </p:nvSpPr>
              <p:spPr bwMode="auto">
                <a:xfrm>
                  <a:off x="1365" y="1201"/>
                  <a:ext cx="49" cy="28"/>
                </a:xfrm>
                <a:custGeom>
                  <a:avLst/>
                  <a:gdLst>
                    <a:gd name="T0" fmla="*/ 0 w 153"/>
                    <a:gd name="T1" fmla="*/ 79 h 82"/>
                    <a:gd name="T2" fmla="*/ 2 w 153"/>
                    <a:gd name="T3" fmla="*/ 81 h 82"/>
                    <a:gd name="T4" fmla="*/ 6 w 153"/>
                    <a:gd name="T5" fmla="*/ 82 h 82"/>
                    <a:gd name="T6" fmla="*/ 10 w 153"/>
                    <a:gd name="T7" fmla="*/ 82 h 82"/>
                    <a:gd name="T8" fmla="*/ 14 w 153"/>
                    <a:gd name="T9" fmla="*/ 82 h 82"/>
                    <a:gd name="T10" fmla="*/ 23 w 153"/>
                    <a:gd name="T11" fmla="*/ 80 h 82"/>
                    <a:gd name="T12" fmla="*/ 33 w 153"/>
                    <a:gd name="T13" fmla="*/ 79 h 82"/>
                    <a:gd name="T14" fmla="*/ 40 w 153"/>
                    <a:gd name="T15" fmla="*/ 79 h 82"/>
                    <a:gd name="T16" fmla="*/ 47 w 153"/>
                    <a:gd name="T17" fmla="*/ 78 h 82"/>
                    <a:gd name="T18" fmla="*/ 56 w 153"/>
                    <a:gd name="T19" fmla="*/ 76 h 82"/>
                    <a:gd name="T20" fmla="*/ 65 w 153"/>
                    <a:gd name="T21" fmla="*/ 74 h 82"/>
                    <a:gd name="T22" fmla="*/ 83 w 153"/>
                    <a:gd name="T23" fmla="*/ 68 h 82"/>
                    <a:gd name="T24" fmla="*/ 103 w 153"/>
                    <a:gd name="T25" fmla="*/ 59 h 82"/>
                    <a:gd name="T26" fmla="*/ 112 w 153"/>
                    <a:gd name="T27" fmla="*/ 54 h 82"/>
                    <a:gd name="T28" fmla="*/ 121 w 153"/>
                    <a:gd name="T29" fmla="*/ 49 h 82"/>
                    <a:gd name="T30" fmla="*/ 129 w 153"/>
                    <a:gd name="T31" fmla="*/ 43 h 82"/>
                    <a:gd name="T32" fmla="*/ 136 w 153"/>
                    <a:gd name="T33" fmla="*/ 38 h 82"/>
                    <a:gd name="T34" fmla="*/ 142 w 153"/>
                    <a:gd name="T35" fmla="*/ 32 h 82"/>
                    <a:gd name="T36" fmla="*/ 147 w 153"/>
                    <a:gd name="T37" fmla="*/ 25 h 82"/>
                    <a:gd name="T38" fmla="*/ 150 w 153"/>
                    <a:gd name="T39" fmla="*/ 19 h 82"/>
                    <a:gd name="T40" fmla="*/ 153 w 153"/>
                    <a:gd name="T41" fmla="*/ 12 h 82"/>
                    <a:gd name="T42" fmla="*/ 134 w 153"/>
                    <a:gd name="T43" fmla="*/ 8 h 82"/>
                    <a:gd name="T44" fmla="*/ 115 w 153"/>
                    <a:gd name="T45" fmla="*/ 3 h 82"/>
                    <a:gd name="T46" fmla="*/ 96 w 153"/>
                    <a:gd name="T47" fmla="*/ 1 h 82"/>
                    <a:gd name="T48" fmla="*/ 77 w 153"/>
                    <a:gd name="T49" fmla="*/ 0 h 82"/>
                    <a:gd name="T50" fmla="*/ 68 w 153"/>
                    <a:gd name="T51" fmla="*/ 1 h 82"/>
                    <a:gd name="T52" fmla="*/ 60 w 153"/>
                    <a:gd name="T53" fmla="*/ 1 h 82"/>
                    <a:gd name="T54" fmla="*/ 52 w 153"/>
                    <a:gd name="T55" fmla="*/ 2 h 82"/>
                    <a:gd name="T56" fmla="*/ 45 w 153"/>
                    <a:gd name="T57" fmla="*/ 4 h 82"/>
                    <a:gd name="T58" fmla="*/ 38 w 153"/>
                    <a:gd name="T59" fmla="*/ 7 h 82"/>
                    <a:gd name="T60" fmla="*/ 34 w 153"/>
                    <a:gd name="T61" fmla="*/ 10 h 82"/>
                    <a:gd name="T62" fmla="*/ 30 w 153"/>
                    <a:gd name="T63" fmla="*/ 14 h 82"/>
                    <a:gd name="T64" fmla="*/ 26 w 153"/>
                    <a:gd name="T65" fmla="*/ 18 h 82"/>
                    <a:gd name="T66" fmla="*/ 32 w 153"/>
                    <a:gd name="T67" fmla="*/ 23 h 82"/>
                    <a:gd name="T68" fmla="*/ 36 w 153"/>
                    <a:gd name="T69" fmla="*/ 29 h 82"/>
                    <a:gd name="T70" fmla="*/ 38 w 153"/>
                    <a:gd name="T71" fmla="*/ 32 h 82"/>
                    <a:gd name="T72" fmla="*/ 42 w 153"/>
                    <a:gd name="T73" fmla="*/ 34 h 82"/>
                    <a:gd name="T74" fmla="*/ 44 w 153"/>
                    <a:gd name="T75" fmla="*/ 36 h 82"/>
                    <a:gd name="T76" fmla="*/ 46 w 153"/>
                    <a:gd name="T77" fmla="*/ 36 h 82"/>
                    <a:gd name="T78" fmla="*/ 40 w 153"/>
                    <a:gd name="T79" fmla="*/ 41 h 82"/>
                    <a:gd name="T80" fmla="*/ 33 w 153"/>
                    <a:gd name="T81" fmla="*/ 46 h 82"/>
                    <a:gd name="T82" fmla="*/ 29 w 153"/>
                    <a:gd name="T83" fmla="*/ 52 h 82"/>
                    <a:gd name="T84" fmla="*/ 23 w 153"/>
                    <a:gd name="T85" fmla="*/ 57 h 82"/>
                    <a:gd name="T86" fmla="*/ 18 w 153"/>
                    <a:gd name="T87" fmla="*/ 64 h 82"/>
                    <a:gd name="T88" fmla="*/ 13 w 153"/>
                    <a:gd name="T89" fmla="*/ 69 h 82"/>
                    <a:gd name="T90" fmla="*/ 7 w 153"/>
                    <a:gd name="T91" fmla="*/ 75 h 82"/>
                    <a:gd name="T92" fmla="*/ 0 w 153"/>
                    <a:gd name="T93" fmla="*/ 79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53" h="82">
                      <a:moveTo>
                        <a:pt x="0" y="79"/>
                      </a:moveTo>
                      <a:lnTo>
                        <a:pt x="2" y="81"/>
                      </a:lnTo>
                      <a:lnTo>
                        <a:pt x="6" y="82"/>
                      </a:lnTo>
                      <a:lnTo>
                        <a:pt x="10" y="82"/>
                      </a:lnTo>
                      <a:lnTo>
                        <a:pt x="14" y="82"/>
                      </a:lnTo>
                      <a:lnTo>
                        <a:pt x="23" y="80"/>
                      </a:lnTo>
                      <a:lnTo>
                        <a:pt x="33" y="79"/>
                      </a:lnTo>
                      <a:lnTo>
                        <a:pt x="40" y="79"/>
                      </a:lnTo>
                      <a:lnTo>
                        <a:pt x="47" y="78"/>
                      </a:lnTo>
                      <a:lnTo>
                        <a:pt x="56" y="76"/>
                      </a:lnTo>
                      <a:lnTo>
                        <a:pt x="65" y="74"/>
                      </a:lnTo>
                      <a:lnTo>
                        <a:pt x="83" y="68"/>
                      </a:lnTo>
                      <a:lnTo>
                        <a:pt x="103" y="59"/>
                      </a:lnTo>
                      <a:lnTo>
                        <a:pt x="112" y="54"/>
                      </a:lnTo>
                      <a:lnTo>
                        <a:pt x="121" y="49"/>
                      </a:lnTo>
                      <a:lnTo>
                        <a:pt x="129" y="43"/>
                      </a:lnTo>
                      <a:lnTo>
                        <a:pt x="136" y="38"/>
                      </a:lnTo>
                      <a:lnTo>
                        <a:pt x="142" y="32"/>
                      </a:lnTo>
                      <a:lnTo>
                        <a:pt x="147" y="25"/>
                      </a:lnTo>
                      <a:lnTo>
                        <a:pt x="150" y="19"/>
                      </a:lnTo>
                      <a:lnTo>
                        <a:pt x="153" y="12"/>
                      </a:lnTo>
                      <a:lnTo>
                        <a:pt x="134" y="8"/>
                      </a:lnTo>
                      <a:lnTo>
                        <a:pt x="115" y="3"/>
                      </a:lnTo>
                      <a:lnTo>
                        <a:pt x="96" y="1"/>
                      </a:lnTo>
                      <a:lnTo>
                        <a:pt x="77" y="0"/>
                      </a:lnTo>
                      <a:lnTo>
                        <a:pt x="68" y="1"/>
                      </a:lnTo>
                      <a:lnTo>
                        <a:pt x="60" y="1"/>
                      </a:lnTo>
                      <a:lnTo>
                        <a:pt x="52" y="2"/>
                      </a:lnTo>
                      <a:lnTo>
                        <a:pt x="45" y="4"/>
                      </a:lnTo>
                      <a:lnTo>
                        <a:pt x="38" y="7"/>
                      </a:lnTo>
                      <a:lnTo>
                        <a:pt x="34" y="10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32" y="23"/>
                      </a:lnTo>
                      <a:lnTo>
                        <a:pt x="36" y="29"/>
                      </a:lnTo>
                      <a:lnTo>
                        <a:pt x="38" y="32"/>
                      </a:lnTo>
                      <a:lnTo>
                        <a:pt x="42" y="34"/>
                      </a:lnTo>
                      <a:lnTo>
                        <a:pt x="44" y="36"/>
                      </a:lnTo>
                      <a:lnTo>
                        <a:pt x="46" y="36"/>
                      </a:lnTo>
                      <a:lnTo>
                        <a:pt x="40" y="41"/>
                      </a:lnTo>
                      <a:lnTo>
                        <a:pt x="33" y="46"/>
                      </a:lnTo>
                      <a:lnTo>
                        <a:pt x="29" y="52"/>
                      </a:lnTo>
                      <a:lnTo>
                        <a:pt x="23" y="57"/>
                      </a:lnTo>
                      <a:lnTo>
                        <a:pt x="18" y="64"/>
                      </a:lnTo>
                      <a:lnTo>
                        <a:pt x="13" y="69"/>
                      </a:lnTo>
                      <a:lnTo>
                        <a:pt x="7" y="75"/>
                      </a:lnTo>
                      <a:lnTo>
                        <a:pt x="0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3" name="Freeform 406"/>
                <p:cNvSpPr>
                  <a:spLocks/>
                </p:cNvSpPr>
                <p:nvPr/>
              </p:nvSpPr>
              <p:spPr bwMode="auto">
                <a:xfrm>
                  <a:off x="1414" y="1217"/>
                  <a:ext cx="29" cy="17"/>
                </a:xfrm>
                <a:custGeom>
                  <a:avLst/>
                  <a:gdLst>
                    <a:gd name="T0" fmla="*/ 0 w 86"/>
                    <a:gd name="T1" fmla="*/ 37 h 50"/>
                    <a:gd name="T2" fmla="*/ 5 w 86"/>
                    <a:gd name="T3" fmla="*/ 41 h 50"/>
                    <a:gd name="T4" fmla="*/ 11 w 86"/>
                    <a:gd name="T5" fmla="*/ 44 h 50"/>
                    <a:gd name="T6" fmla="*/ 16 w 86"/>
                    <a:gd name="T7" fmla="*/ 47 h 50"/>
                    <a:gd name="T8" fmla="*/ 23 w 86"/>
                    <a:gd name="T9" fmla="*/ 48 h 50"/>
                    <a:gd name="T10" fmla="*/ 35 w 86"/>
                    <a:gd name="T11" fmla="*/ 49 h 50"/>
                    <a:gd name="T12" fmla="*/ 46 w 86"/>
                    <a:gd name="T13" fmla="*/ 50 h 50"/>
                    <a:gd name="T14" fmla="*/ 58 w 86"/>
                    <a:gd name="T15" fmla="*/ 49 h 50"/>
                    <a:gd name="T16" fmla="*/ 67 w 86"/>
                    <a:gd name="T17" fmla="*/ 48 h 50"/>
                    <a:gd name="T18" fmla="*/ 73 w 86"/>
                    <a:gd name="T19" fmla="*/ 47 h 50"/>
                    <a:gd name="T20" fmla="*/ 79 w 86"/>
                    <a:gd name="T21" fmla="*/ 44 h 50"/>
                    <a:gd name="T22" fmla="*/ 82 w 86"/>
                    <a:gd name="T23" fmla="*/ 41 h 50"/>
                    <a:gd name="T24" fmla="*/ 84 w 86"/>
                    <a:gd name="T25" fmla="*/ 37 h 50"/>
                    <a:gd name="T26" fmla="*/ 85 w 86"/>
                    <a:gd name="T27" fmla="*/ 32 h 50"/>
                    <a:gd name="T28" fmla="*/ 86 w 86"/>
                    <a:gd name="T29" fmla="*/ 25 h 50"/>
                    <a:gd name="T30" fmla="*/ 85 w 86"/>
                    <a:gd name="T31" fmla="*/ 17 h 50"/>
                    <a:gd name="T32" fmla="*/ 84 w 86"/>
                    <a:gd name="T33" fmla="*/ 10 h 50"/>
                    <a:gd name="T34" fmla="*/ 83 w 86"/>
                    <a:gd name="T35" fmla="*/ 7 h 50"/>
                    <a:gd name="T36" fmla="*/ 81 w 86"/>
                    <a:gd name="T37" fmla="*/ 5 h 50"/>
                    <a:gd name="T38" fmla="*/ 77 w 86"/>
                    <a:gd name="T39" fmla="*/ 2 h 50"/>
                    <a:gd name="T40" fmla="*/ 73 w 86"/>
                    <a:gd name="T41" fmla="*/ 0 h 50"/>
                    <a:gd name="T42" fmla="*/ 0 w 86"/>
                    <a:gd name="T43" fmla="*/ 3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6" h="50">
                      <a:moveTo>
                        <a:pt x="0" y="37"/>
                      </a:moveTo>
                      <a:lnTo>
                        <a:pt x="5" y="41"/>
                      </a:lnTo>
                      <a:lnTo>
                        <a:pt x="11" y="44"/>
                      </a:lnTo>
                      <a:lnTo>
                        <a:pt x="16" y="47"/>
                      </a:lnTo>
                      <a:lnTo>
                        <a:pt x="23" y="48"/>
                      </a:lnTo>
                      <a:lnTo>
                        <a:pt x="35" y="49"/>
                      </a:lnTo>
                      <a:lnTo>
                        <a:pt x="46" y="50"/>
                      </a:lnTo>
                      <a:lnTo>
                        <a:pt x="58" y="49"/>
                      </a:lnTo>
                      <a:lnTo>
                        <a:pt x="67" y="48"/>
                      </a:lnTo>
                      <a:lnTo>
                        <a:pt x="73" y="47"/>
                      </a:lnTo>
                      <a:lnTo>
                        <a:pt x="79" y="44"/>
                      </a:lnTo>
                      <a:lnTo>
                        <a:pt x="82" y="41"/>
                      </a:lnTo>
                      <a:lnTo>
                        <a:pt x="84" y="37"/>
                      </a:lnTo>
                      <a:lnTo>
                        <a:pt x="85" y="32"/>
                      </a:lnTo>
                      <a:lnTo>
                        <a:pt x="86" y="25"/>
                      </a:lnTo>
                      <a:lnTo>
                        <a:pt x="85" y="17"/>
                      </a:lnTo>
                      <a:lnTo>
                        <a:pt x="84" y="10"/>
                      </a:lnTo>
                      <a:lnTo>
                        <a:pt x="83" y="7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3" y="0"/>
                      </a:lnTo>
                      <a:lnTo>
                        <a:pt x="0" y="3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4" name="Freeform 407"/>
                <p:cNvSpPr>
                  <a:spLocks/>
                </p:cNvSpPr>
                <p:nvPr/>
              </p:nvSpPr>
              <p:spPr bwMode="auto">
                <a:xfrm>
                  <a:off x="1379" y="1163"/>
                  <a:ext cx="55" cy="25"/>
                </a:xfrm>
                <a:custGeom>
                  <a:avLst/>
                  <a:gdLst>
                    <a:gd name="T0" fmla="*/ 119 w 172"/>
                    <a:gd name="T1" fmla="*/ 61 h 74"/>
                    <a:gd name="T2" fmla="*/ 109 w 172"/>
                    <a:gd name="T3" fmla="*/ 61 h 74"/>
                    <a:gd name="T4" fmla="*/ 99 w 172"/>
                    <a:gd name="T5" fmla="*/ 61 h 74"/>
                    <a:gd name="T6" fmla="*/ 90 w 172"/>
                    <a:gd name="T7" fmla="*/ 61 h 74"/>
                    <a:gd name="T8" fmla="*/ 80 w 172"/>
                    <a:gd name="T9" fmla="*/ 61 h 74"/>
                    <a:gd name="T10" fmla="*/ 60 w 172"/>
                    <a:gd name="T11" fmla="*/ 74 h 74"/>
                    <a:gd name="T12" fmla="*/ 33 w 172"/>
                    <a:gd name="T13" fmla="*/ 74 h 74"/>
                    <a:gd name="T14" fmla="*/ 36 w 172"/>
                    <a:gd name="T15" fmla="*/ 61 h 74"/>
                    <a:gd name="T16" fmla="*/ 39 w 172"/>
                    <a:gd name="T17" fmla="*/ 49 h 74"/>
                    <a:gd name="T18" fmla="*/ 30 w 172"/>
                    <a:gd name="T19" fmla="*/ 49 h 74"/>
                    <a:gd name="T20" fmla="*/ 23 w 172"/>
                    <a:gd name="T21" fmla="*/ 48 h 74"/>
                    <a:gd name="T22" fmla="*/ 15 w 172"/>
                    <a:gd name="T23" fmla="*/ 47 h 74"/>
                    <a:gd name="T24" fmla="*/ 9 w 172"/>
                    <a:gd name="T25" fmla="*/ 45 h 74"/>
                    <a:gd name="T26" fmla="*/ 5 w 172"/>
                    <a:gd name="T27" fmla="*/ 42 h 74"/>
                    <a:gd name="T28" fmla="*/ 2 w 172"/>
                    <a:gd name="T29" fmla="*/ 39 h 74"/>
                    <a:gd name="T30" fmla="*/ 1 w 172"/>
                    <a:gd name="T31" fmla="*/ 35 h 74"/>
                    <a:gd name="T32" fmla="*/ 0 w 172"/>
                    <a:gd name="T33" fmla="*/ 31 h 74"/>
                    <a:gd name="T34" fmla="*/ 1 w 172"/>
                    <a:gd name="T35" fmla="*/ 26 h 74"/>
                    <a:gd name="T36" fmla="*/ 2 w 172"/>
                    <a:gd name="T37" fmla="*/ 21 h 74"/>
                    <a:gd name="T38" fmla="*/ 5 w 172"/>
                    <a:gd name="T39" fmla="*/ 17 h 74"/>
                    <a:gd name="T40" fmla="*/ 8 w 172"/>
                    <a:gd name="T41" fmla="*/ 14 h 74"/>
                    <a:gd name="T42" fmla="*/ 13 w 172"/>
                    <a:gd name="T43" fmla="*/ 10 h 74"/>
                    <a:gd name="T44" fmla="*/ 18 w 172"/>
                    <a:gd name="T45" fmla="*/ 7 h 74"/>
                    <a:gd name="T46" fmla="*/ 24 w 172"/>
                    <a:gd name="T47" fmla="*/ 5 h 74"/>
                    <a:gd name="T48" fmla="*/ 29 w 172"/>
                    <a:gd name="T49" fmla="*/ 4 h 74"/>
                    <a:gd name="T50" fmla="*/ 42 w 172"/>
                    <a:gd name="T51" fmla="*/ 1 h 74"/>
                    <a:gd name="T52" fmla="*/ 56 w 172"/>
                    <a:gd name="T53" fmla="*/ 0 h 74"/>
                    <a:gd name="T54" fmla="*/ 69 w 172"/>
                    <a:gd name="T55" fmla="*/ 0 h 74"/>
                    <a:gd name="T56" fmla="*/ 80 w 172"/>
                    <a:gd name="T57" fmla="*/ 0 h 74"/>
                    <a:gd name="T58" fmla="*/ 94 w 172"/>
                    <a:gd name="T59" fmla="*/ 1 h 74"/>
                    <a:gd name="T60" fmla="*/ 106 w 172"/>
                    <a:gd name="T61" fmla="*/ 4 h 74"/>
                    <a:gd name="T62" fmla="*/ 117 w 172"/>
                    <a:gd name="T63" fmla="*/ 7 h 74"/>
                    <a:gd name="T64" fmla="*/ 128 w 172"/>
                    <a:gd name="T65" fmla="*/ 13 h 74"/>
                    <a:gd name="T66" fmla="*/ 139 w 172"/>
                    <a:gd name="T67" fmla="*/ 17 h 74"/>
                    <a:gd name="T68" fmla="*/ 150 w 172"/>
                    <a:gd name="T69" fmla="*/ 21 h 74"/>
                    <a:gd name="T70" fmla="*/ 161 w 172"/>
                    <a:gd name="T71" fmla="*/ 24 h 74"/>
                    <a:gd name="T72" fmla="*/ 172 w 172"/>
                    <a:gd name="T73" fmla="*/ 25 h 74"/>
                    <a:gd name="T74" fmla="*/ 172 w 172"/>
                    <a:gd name="T75" fmla="*/ 43 h 74"/>
                    <a:gd name="T76" fmla="*/ 169 w 172"/>
                    <a:gd name="T77" fmla="*/ 48 h 74"/>
                    <a:gd name="T78" fmla="*/ 165 w 172"/>
                    <a:gd name="T79" fmla="*/ 53 h 74"/>
                    <a:gd name="T80" fmla="*/ 161 w 172"/>
                    <a:gd name="T81" fmla="*/ 57 h 74"/>
                    <a:gd name="T82" fmla="*/ 158 w 172"/>
                    <a:gd name="T83" fmla="*/ 60 h 74"/>
                    <a:gd name="T84" fmla="*/ 153 w 172"/>
                    <a:gd name="T85" fmla="*/ 62 h 74"/>
                    <a:gd name="T86" fmla="*/ 149 w 172"/>
                    <a:gd name="T87" fmla="*/ 63 h 74"/>
                    <a:gd name="T88" fmla="*/ 146 w 172"/>
                    <a:gd name="T89" fmla="*/ 65 h 74"/>
                    <a:gd name="T90" fmla="*/ 141 w 172"/>
                    <a:gd name="T91" fmla="*/ 65 h 74"/>
                    <a:gd name="T92" fmla="*/ 131 w 172"/>
                    <a:gd name="T93" fmla="*/ 65 h 74"/>
                    <a:gd name="T94" fmla="*/ 121 w 172"/>
                    <a:gd name="T95" fmla="*/ 63 h 74"/>
                    <a:gd name="T96" fmla="*/ 112 w 172"/>
                    <a:gd name="T97" fmla="*/ 59 h 74"/>
                    <a:gd name="T98" fmla="*/ 99 w 172"/>
                    <a:gd name="T99" fmla="*/ 55 h 74"/>
                    <a:gd name="T100" fmla="*/ 106 w 172"/>
                    <a:gd name="T101" fmla="*/ 55 h 74"/>
                    <a:gd name="T102" fmla="*/ 119 w 172"/>
                    <a:gd name="T103" fmla="*/ 61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72" h="74">
                      <a:moveTo>
                        <a:pt x="119" y="61"/>
                      </a:moveTo>
                      <a:lnTo>
                        <a:pt x="109" y="61"/>
                      </a:lnTo>
                      <a:lnTo>
                        <a:pt x="99" y="61"/>
                      </a:lnTo>
                      <a:lnTo>
                        <a:pt x="90" y="61"/>
                      </a:lnTo>
                      <a:lnTo>
                        <a:pt x="80" y="61"/>
                      </a:lnTo>
                      <a:lnTo>
                        <a:pt x="60" y="74"/>
                      </a:lnTo>
                      <a:lnTo>
                        <a:pt x="33" y="74"/>
                      </a:lnTo>
                      <a:lnTo>
                        <a:pt x="36" y="61"/>
                      </a:lnTo>
                      <a:lnTo>
                        <a:pt x="39" y="49"/>
                      </a:lnTo>
                      <a:lnTo>
                        <a:pt x="30" y="49"/>
                      </a:lnTo>
                      <a:lnTo>
                        <a:pt x="23" y="48"/>
                      </a:lnTo>
                      <a:lnTo>
                        <a:pt x="15" y="47"/>
                      </a:lnTo>
                      <a:lnTo>
                        <a:pt x="9" y="45"/>
                      </a:lnTo>
                      <a:lnTo>
                        <a:pt x="5" y="42"/>
                      </a:lnTo>
                      <a:lnTo>
                        <a:pt x="2" y="39"/>
                      </a:lnTo>
                      <a:lnTo>
                        <a:pt x="1" y="35"/>
                      </a:lnTo>
                      <a:lnTo>
                        <a:pt x="0" y="31"/>
                      </a:lnTo>
                      <a:lnTo>
                        <a:pt x="1" y="26"/>
                      </a:lnTo>
                      <a:lnTo>
                        <a:pt x="2" y="21"/>
                      </a:lnTo>
                      <a:lnTo>
                        <a:pt x="5" y="17"/>
                      </a:lnTo>
                      <a:lnTo>
                        <a:pt x="8" y="14"/>
                      </a:lnTo>
                      <a:lnTo>
                        <a:pt x="13" y="10"/>
                      </a:lnTo>
                      <a:lnTo>
                        <a:pt x="18" y="7"/>
                      </a:lnTo>
                      <a:lnTo>
                        <a:pt x="24" y="5"/>
                      </a:lnTo>
                      <a:lnTo>
                        <a:pt x="29" y="4"/>
                      </a:lnTo>
                      <a:lnTo>
                        <a:pt x="42" y="1"/>
                      </a:lnTo>
                      <a:lnTo>
                        <a:pt x="56" y="0"/>
                      </a:lnTo>
                      <a:lnTo>
                        <a:pt x="69" y="0"/>
                      </a:lnTo>
                      <a:lnTo>
                        <a:pt x="80" y="0"/>
                      </a:lnTo>
                      <a:lnTo>
                        <a:pt x="94" y="1"/>
                      </a:lnTo>
                      <a:lnTo>
                        <a:pt x="106" y="4"/>
                      </a:lnTo>
                      <a:lnTo>
                        <a:pt x="117" y="7"/>
                      </a:lnTo>
                      <a:lnTo>
                        <a:pt x="128" y="13"/>
                      </a:lnTo>
                      <a:lnTo>
                        <a:pt x="139" y="17"/>
                      </a:lnTo>
                      <a:lnTo>
                        <a:pt x="150" y="21"/>
                      </a:lnTo>
                      <a:lnTo>
                        <a:pt x="161" y="24"/>
                      </a:lnTo>
                      <a:lnTo>
                        <a:pt x="172" y="25"/>
                      </a:lnTo>
                      <a:lnTo>
                        <a:pt x="172" y="43"/>
                      </a:lnTo>
                      <a:lnTo>
                        <a:pt x="169" y="48"/>
                      </a:lnTo>
                      <a:lnTo>
                        <a:pt x="165" y="53"/>
                      </a:lnTo>
                      <a:lnTo>
                        <a:pt x="161" y="57"/>
                      </a:lnTo>
                      <a:lnTo>
                        <a:pt x="158" y="60"/>
                      </a:lnTo>
                      <a:lnTo>
                        <a:pt x="153" y="62"/>
                      </a:lnTo>
                      <a:lnTo>
                        <a:pt x="149" y="63"/>
                      </a:lnTo>
                      <a:lnTo>
                        <a:pt x="146" y="65"/>
                      </a:lnTo>
                      <a:lnTo>
                        <a:pt x="141" y="65"/>
                      </a:lnTo>
                      <a:lnTo>
                        <a:pt x="131" y="65"/>
                      </a:lnTo>
                      <a:lnTo>
                        <a:pt x="121" y="63"/>
                      </a:lnTo>
                      <a:lnTo>
                        <a:pt x="112" y="59"/>
                      </a:lnTo>
                      <a:lnTo>
                        <a:pt x="99" y="55"/>
                      </a:lnTo>
                      <a:lnTo>
                        <a:pt x="106" y="55"/>
                      </a:lnTo>
                      <a:lnTo>
                        <a:pt x="119" y="6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5" name="Freeform 408"/>
                <p:cNvSpPr>
                  <a:spLocks/>
                </p:cNvSpPr>
                <p:nvPr/>
              </p:nvSpPr>
              <p:spPr bwMode="auto">
                <a:xfrm>
                  <a:off x="1450" y="1171"/>
                  <a:ext cx="38" cy="17"/>
                </a:xfrm>
                <a:custGeom>
                  <a:avLst/>
                  <a:gdLst>
                    <a:gd name="T0" fmla="*/ 27 w 120"/>
                    <a:gd name="T1" fmla="*/ 49 h 49"/>
                    <a:gd name="T2" fmla="*/ 47 w 120"/>
                    <a:gd name="T3" fmla="*/ 49 h 49"/>
                    <a:gd name="T4" fmla="*/ 64 w 120"/>
                    <a:gd name="T5" fmla="*/ 48 h 49"/>
                    <a:gd name="T6" fmla="*/ 78 w 120"/>
                    <a:gd name="T7" fmla="*/ 46 h 49"/>
                    <a:gd name="T8" fmla="*/ 90 w 120"/>
                    <a:gd name="T9" fmla="*/ 43 h 49"/>
                    <a:gd name="T10" fmla="*/ 96 w 120"/>
                    <a:gd name="T11" fmla="*/ 39 h 49"/>
                    <a:gd name="T12" fmla="*/ 100 w 120"/>
                    <a:gd name="T13" fmla="*/ 37 h 49"/>
                    <a:gd name="T14" fmla="*/ 104 w 120"/>
                    <a:gd name="T15" fmla="*/ 34 h 49"/>
                    <a:gd name="T16" fmla="*/ 108 w 120"/>
                    <a:gd name="T17" fmla="*/ 31 h 49"/>
                    <a:gd name="T18" fmla="*/ 114 w 120"/>
                    <a:gd name="T19" fmla="*/ 22 h 49"/>
                    <a:gd name="T20" fmla="*/ 120 w 120"/>
                    <a:gd name="T21" fmla="*/ 12 h 49"/>
                    <a:gd name="T22" fmla="*/ 102 w 120"/>
                    <a:gd name="T23" fmla="*/ 6 h 49"/>
                    <a:gd name="T24" fmla="*/ 84 w 120"/>
                    <a:gd name="T25" fmla="*/ 3 h 49"/>
                    <a:gd name="T26" fmla="*/ 66 w 120"/>
                    <a:gd name="T27" fmla="*/ 1 h 49"/>
                    <a:gd name="T28" fmla="*/ 50 w 120"/>
                    <a:gd name="T29" fmla="*/ 0 h 49"/>
                    <a:gd name="T30" fmla="*/ 34 w 120"/>
                    <a:gd name="T31" fmla="*/ 1 h 49"/>
                    <a:gd name="T32" fmla="*/ 20 w 120"/>
                    <a:gd name="T33" fmla="*/ 2 h 49"/>
                    <a:gd name="T34" fmla="*/ 9 w 120"/>
                    <a:gd name="T35" fmla="*/ 4 h 49"/>
                    <a:gd name="T36" fmla="*/ 0 w 120"/>
                    <a:gd name="T37" fmla="*/ 6 h 49"/>
                    <a:gd name="T38" fmla="*/ 0 w 120"/>
                    <a:gd name="T39" fmla="*/ 30 h 49"/>
                    <a:gd name="T40" fmla="*/ 2 w 120"/>
                    <a:gd name="T41" fmla="*/ 35 h 49"/>
                    <a:gd name="T42" fmla="*/ 6 w 120"/>
                    <a:gd name="T43" fmla="*/ 38 h 49"/>
                    <a:gd name="T44" fmla="*/ 9 w 120"/>
                    <a:gd name="T45" fmla="*/ 41 h 49"/>
                    <a:gd name="T46" fmla="*/ 13 w 120"/>
                    <a:gd name="T47" fmla="*/ 45 h 49"/>
                    <a:gd name="T48" fmla="*/ 20 w 120"/>
                    <a:gd name="T49" fmla="*/ 48 h 49"/>
                    <a:gd name="T50" fmla="*/ 27 w 120"/>
                    <a:gd name="T51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0" h="49">
                      <a:moveTo>
                        <a:pt x="27" y="49"/>
                      </a:moveTo>
                      <a:lnTo>
                        <a:pt x="47" y="49"/>
                      </a:lnTo>
                      <a:lnTo>
                        <a:pt x="64" y="48"/>
                      </a:lnTo>
                      <a:lnTo>
                        <a:pt x="78" y="46"/>
                      </a:lnTo>
                      <a:lnTo>
                        <a:pt x="90" y="43"/>
                      </a:lnTo>
                      <a:lnTo>
                        <a:pt x="96" y="39"/>
                      </a:lnTo>
                      <a:lnTo>
                        <a:pt x="100" y="37"/>
                      </a:lnTo>
                      <a:lnTo>
                        <a:pt x="104" y="34"/>
                      </a:lnTo>
                      <a:lnTo>
                        <a:pt x="108" y="31"/>
                      </a:lnTo>
                      <a:lnTo>
                        <a:pt x="114" y="22"/>
                      </a:lnTo>
                      <a:lnTo>
                        <a:pt x="120" y="12"/>
                      </a:lnTo>
                      <a:lnTo>
                        <a:pt x="102" y="6"/>
                      </a:lnTo>
                      <a:lnTo>
                        <a:pt x="84" y="3"/>
                      </a:lnTo>
                      <a:lnTo>
                        <a:pt x="66" y="1"/>
                      </a:lnTo>
                      <a:lnTo>
                        <a:pt x="50" y="0"/>
                      </a:lnTo>
                      <a:lnTo>
                        <a:pt x="34" y="1"/>
                      </a:lnTo>
                      <a:lnTo>
                        <a:pt x="20" y="2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6" y="38"/>
                      </a:lnTo>
                      <a:lnTo>
                        <a:pt x="9" y="41"/>
                      </a:lnTo>
                      <a:lnTo>
                        <a:pt x="13" y="45"/>
                      </a:lnTo>
                      <a:lnTo>
                        <a:pt x="20" y="48"/>
                      </a:lnTo>
                      <a:lnTo>
                        <a:pt x="27" y="4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6" name="Freeform 409"/>
                <p:cNvSpPr>
                  <a:spLocks/>
                </p:cNvSpPr>
                <p:nvPr/>
              </p:nvSpPr>
              <p:spPr bwMode="auto">
                <a:xfrm>
                  <a:off x="1441" y="1194"/>
                  <a:ext cx="26" cy="19"/>
                </a:xfrm>
                <a:custGeom>
                  <a:avLst/>
                  <a:gdLst>
                    <a:gd name="T0" fmla="*/ 33 w 85"/>
                    <a:gd name="T1" fmla="*/ 0 h 61"/>
                    <a:gd name="T2" fmla="*/ 22 w 85"/>
                    <a:gd name="T3" fmla="*/ 5 h 61"/>
                    <a:gd name="T4" fmla="*/ 11 w 85"/>
                    <a:gd name="T5" fmla="*/ 12 h 61"/>
                    <a:gd name="T6" fmla="*/ 6 w 85"/>
                    <a:gd name="T7" fmla="*/ 17 h 61"/>
                    <a:gd name="T8" fmla="*/ 3 w 85"/>
                    <a:gd name="T9" fmla="*/ 21 h 61"/>
                    <a:gd name="T10" fmla="*/ 0 w 85"/>
                    <a:gd name="T11" fmla="*/ 25 h 61"/>
                    <a:gd name="T12" fmla="*/ 0 w 85"/>
                    <a:gd name="T13" fmla="*/ 31 h 61"/>
                    <a:gd name="T14" fmla="*/ 0 w 85"/>
                    <a:gd name="T15" fmla="*/ 34 h 61"/>
                    <a:gd name="T16" fmla="*/ 1 w 85"/>
                    <a:gd name="T17" fmla="*/ 37 h 61"/>
                    <a:gd name="T18" fmla="*/ 2 w 85"/>
                    <a:gd name="T19" fmla="*/ 40 h 61"/>
                    <a:gd name="T20" fmla="*/ 5 w 85"/>
                    <a:gd name="T21" fmla="*/ 43 h 61"/>
                    <a:gd name="T22" fmla="*/ 11 w 85"/>
                    <a:gd name="T23" fmla="*/ 48 h 61"/>
                    <a:gd name="T24" fmla="*/ 18 w 85"/>
                    <a:gd name="T25" fmla="*/ 53 h 61"/>
                    <a:gd name="T26" fmla="*/ 27 w 85"/>
                    <a:gd name="T27" fmla="*/ 56 h 61"/>
                    <a:gd name="T28" fmla="*/ 36 w 85"/>
                    <a:gd name="T29" fmla="*/ 59 h 61"/>
                    <a:gd name="T30" fmla="*/ 45 w 85"/>
                    <a:gd name="T31" fmla="*/ 61 h 61"/>
                    <a:gd name="T32" fmla="*/ 53 w 85"/>
                    <a:gd name="T33" fmla="*/ 61 h 61"/>
                    <a:gd name="T34" fmla="*/ 56 w 85"/>
                    <a:gd name="T35" fmla="*/ 61 h 61"/>
                    <a:gd name="T36" fmla="*/ 59 w 85"/>
                    <a:gd name="T37" fmla="*/ 60 h 61"/>
                    <a:gd name="T38" fmla="*/ 62 w 85"/>
                    <a:gd name="T39" fmla="*/ 59 h 61"/>
                    <a:gd name="T40" fmla="*/ 66 w 85"/>
                    <a:gd name="T41" fmla="*/ 57 h 61"/>
                    <a:gd name="T42" fmla="*/ 72 w 85"/>
                    <a:gd name="T43" fmla="*/ 52 h 61"/>
                    <a:gd name="T44" fmla="*/ 77 w 85"/>
                    <a:gd name="T45" fmla="*/ 47 h 61"/>
                    <a:gd name="T46" fmla="*/ 80 w 85"/>
                    <a:gd name="T47" fmla="*/ 40 h 61"/>
                    <a:gd name="T48" fmla="*/ 83 w 85"/>
                    <a:gd name="T49" fmla="*/ 33 h 61"/>
                    <a:gd name="T50" fmla="*/ 85 w 85"/>
                    <a:gd name="T51" fmla="*/ 25 h 61"/>
                    <a:gd name="T52" fmla="*/ 85 w 85"/>
                    <a:gd name="T53" fmla="*/ 18 h 61"/>
                    <a:gd name="T54" fmla="*/ 33 w 85"/>
                    <a:gd name="T55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5" h="61">
                      <a:moveTo>
                        <a:pt x="33" y="0"/>
                      </a:moveTo>
                      <a:lnTo>
                        <a:pt x="22" y="5"/>
                      </a:lnTo>
                      <a:lnTo>
                        <a:pt x="11" y="12"/>
                      </a:lnTo>
                      <a:lnTo>
                        <a:pt x="6" y="17"/>
                      </a:lnTo>
                      <a:lnTo>
                        <a:pt x="3" y="21"/>
                      </a:lnTo>
                      <a:lnTo>
                        <a:pt x="0" y="25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1" y="37"/>
                      </a:lnTo>
                      <a:lnTo>
                        <a:pt x="2" y="40"/>
                      </a:lnTo>
                      <a:lnTo>
                        <a:pt x="5" y="43"/>
                      </a:lnTo>
                      <a:lnTo>
                        <a:pt x="11" y="48"/>
                      </a:lnTo>
                      <a:lnTo>
                        <a:pt x="18" y="53"/>
                      </a:lnTo>
                      <a:lnTo>
                        <a:pt x="27" y="56"/>
                      </a:lnTo>
                      <a:lnTo>
                        <a:pt x="36" y="59"/>
                      </a:lnTo>
                      <a:lnTo>
                        <a:pt x="45" y="61"/>
                      </a:lnTo>
                      <a:lnTo>
                        <a:pt x="53" y="61"/>
                      </a:lnTo>
                      <a:lnTo>
                        <a:pt x="56" y="61"/>
                      </a:lnTo>
                      <a:lnTo>
                        <a:pt x="59" y="60"/>
                      </a:lnTo>
                      <a:lnTo>
                        <a:pt x="62" y="59"/>
                      </a:lnTo>
                      <a:lnTo>
                        <a:pt x="66" y="57"/>
                      </a:lnTo>
                      <a:lnTo>
                        <a:pt x="72" y="52"/>
                      </a:lnTo>
                      <a:lnTo>
                        <a:pt x="77" y="47"/>
                      </a:lnTo>
                      <a:lnTo>
                        <a:pt x="80" y="40"/>
                      </a:lnTo>
                      <a:lnTo>
                        <a:pt x="83" y="33"/>
                      </a:lnTo>
                      <a:lnTo>
                        <a:pt x="85" y="25"/>
                      </a:lnTo>
                      <a:lnTo>
                        <a:pt x="85" y="18"/>
                      </a:lnTo>
                      <a:lnTo>
                        <a:pt x="3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7" name="Freeform 410"/>
                <p:cNvSpPr>
                  <a:spLocks/>
                </p:cNvSpPr>
                <p:nvPr/>
              </p:nvSpPr>
              <p:spPr bwMode="auto">
                <a:xfrm>
                  <a:off x="1254" y="1188"/>
                  <a:ext cx="31" cy="6"/>
                </a:xfrm>
                <a:custGeom>
                  <a:avLst/>
                  <a:gdLst>
                    <a:gd name="T0" fmla="*/ 0 w 100"/>
                    <a:gd name="T1" fmla="*/ 6 h 19"/>
                    <a:gd name="T2" fmla="*/ 7 w 100"/>
                    <a:gd name="T3" fmla="*/ 11 h 19"/>
                    <a:gd name="T4" fmla="*/ 13 w 100"/>
                    <a:gd name="T5" fmla="*/ 15 h 19"/>
                    <a:gd name="T6" fmla="*/ 21 w 100"/>
                    <a:gd name="T7" fmla="*/ 18 h 19"/>
                    <a:gd name="T8" fmla="*/ 27 w 100"/>
                    <a:gd name="T9" fmla="*/ 19 h 19"/>
                    <a:gd name="T10" fmla="*/ 100 w 100"/>
                    <a:gd name="T11" fmla="*/ 6 h 19"/>
                    <a:gd name="T12" fmla="*/ 73 w 100"/>
                    <a:gd name="T13" fmla="*/ 2 h 19"/>
                    <a:gd name="T14" fmla="*/ 47 w 100"/>
                    <a:gd name="T15" fmla="*/ 0 h 19"/>
                    <a:gd name="T16" fmla="*/ 36 w 100"/>
                    <a:gd name="T17" fmla="*/ 0 h 19"/>
                    <a:gd name="T18" fmla="*/ 24 w 100"/>
                    <a:gd name="T19" fmla="*/ 1 h 19"/>
                    <a:gd name="T20" fmla="*/ 12 w 100"/>
                    <a:gd name="T21" fmla="*/ 3 h 19"/>
                    <a:gd name="T22" fmla="*/ 0 w 100"/>
                    <a:gd name="T23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0" h="19">
                      <a:moveTo>
                        <a:pt x="0" y="6"/>
                      </a:moveTo>
                      <a:lnTo>
                        <a:pt x="7" y="11"/>
                      </a:lnTo>
                      <a:lnTo>
                        <a:pt x="13" y="15"/>
                      </a:lnTo>
                      <a:lnTo>
                        <a:pt x="21" y="18"/>
                      </a:lnTo>
                      <a:lnTo>
                        <a:pt x="27" y="19"/>
                      </a:lnTo>
                      <a:lnTo>
                        <a:pt x="100" y="6"/>
                      </a:lnTo>
                      <a:lnTo>
                        <a:pt x="73" y="2"/>
                      </a:lnTo>
                      <a:lnTo>
                        <a:pt x="47" y="0"/>
                      </a:lnTo>
                      <a:lnTo>
                        <a:pt x="36" y="0"/>
                      </a:lnTo>
                      <a:lnTo>
                        <a:pt x="24" y="1"/>
                      </a:lnTo>
                      <a:lnTo>
                        <a:pt x="12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8" name="Freeform 411"/>
                <p:cNvSpPr>
                  <a:spLocks/>
                </p:cNvSpPr>
                <p:nvPr/>
              </p:nvSpPr>
              <p:spPr bwMode="auto">
                <a:xfrm>
                  <a:off x="1272" y="1168"/>
                  <a:ext cx="53" cy="15"/>
                </a:xfrm>
                <a:custGeom>
                  <a:avLst/>
                  <a:gdLst>
                    <a:gd name="T0" fmla="*/ 0 w 166"/>
                    <a:gd name="T1" fmla="*/ 27 h 45"/>
                    <a:gd name="T2" fmla="*/ 0 w 166"/>
                    <a:gd name="T3" fmla="*/ 29 h 45"/>
                    <a:gd name="T4" fmla="*/ 3 w 166"/>
                    <a:gd name="T5" fmla="*/ 31 h 45"/>
                    <a:gd name="T6" fmla="*/ 8 w 166"/>
                    <a:gd name="T7" fmla="*/ 33 h 45"/>
                    <a:gd name="T8" fmla="*/ 13 w 166"/>
                    <a:gd name="T9" fmla="*/ 35 h 45"/>
                    <a:gd name="T10" fmla="*/ 27 w 166"/>
                    <a:gd name="T11" fmla="*/ 38 h 45"/>
                    <a:gd name="T12" fmla="*/ 44 w 166"/>
                    <a:gd name="T13" fmla="*/ 41 h 45"/>
                    <a:gd name="T14" fmla="*/ 75 w 166"/>
                    <a:gd name="T15" fmla="*/ 44 h 45"/>
                    <a:gd name="T16" fmla="*/ 92 w 166"/>
                    <a:gd name="T17" fmla="*/ 45 h 45"/>
                    <a:gd name="T18" fmla="*/ 166 w 166"/>
                    <a:gd name="T19" fmla="*/ 27 h 45"/>
                    <a:gd name="T20" fmla="*/ 157 w 166"/>
                    <a:gd name="T21" fmla="*/ 25 h 45"/>
                    <a:gd name="T22" fmla="*/ 137 w 166"/>
                    <a:gd name="T23" fmla="*/ 19 h 45"/>
                    <a:gd name="T24" fmla="*/ 110 w 166"/>
                    <a:gd name="T25" fmla="*/ 11 h 45"/>
                    <a:gd name="T26" fmla="*/ 80 w 166"/>
                    <a:gd name="T27" fmla="*/ 4 h 45"/>
                    <a:gd name="T28" fmla="*/ 65 w 166"/>
                    <a:gd name="T29" fmla="*/ 2 h 45"/>
                    <a:gd name="T30" fmla="*/ 50 w 166"/>
                    <a:gd name="T31" fmla="*/ 1 h 45"/>
                    <a:gd name="T32" fmla="*/ 36 w 166"/>
                    <a:gd name="T33" fmla="*/ 0 h 45"/>
                    <a:gd name="T34" fmla="*/ 24 w 166"/>
                    <a:gd name="T35" fmla="*/ 2 h 45"/>
                    <a:gd name="T36" fmla="*/ 19 w 166"/>
                    <a:gd name="T37" fmla="*/ 3 h 45"/>
                    <a:gd name="T38" fmla="*/ 14 w 166"/>
                    <a:gd name="T39" fmla="*/ 5 h 45"/>
                    <a:gd name="T40" fmla="*/ 10 w 166"/>
                    <a:gd name="T41" fmla="*/ 7 h 45"/>
                    <a:gd name="T42" fmla="*/ 7 w 166"/>
                    <a:gd name="T43" fmla="*/ 10 h 45"/>
                    <a:gd name="T44" fmla="*/ 3 w 166"/>
                    <a:gd name="T45" fmla="*/ 13 h 45"/>
                    <a:gd name="T46" fmla="*/ 1 w 166"/>
                    <a:gd name="T47" fmla="*/ 17 h 45"/>
                    <a:gd name="T48" fmla="*/ 0 w 166"/>
                    <a:gd name="T49" fmla="*/ 22 h 45"/>
                    <a:gd name="T50" fmla="*/ 0 w 166"/>
                    <a:gd name="T51" fmla="*/ 2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6" h="45">
                      <a:moveTo>
                        <a:pt x="0" y="27"/>
                      </a:moveTo>
                      <a:lnTo>
                        <a:pt x="0" y="29"/>
                      </a:lnTo>
                      <a:lnTo>
                        <a:pt x="3" y="31"/>
                      </a:lnTo>
                      <a:lnTo>
                        <a:pt x="8" y="33"/>
                      </a:lnTo>
                      <a:lnTo>
                        <a:pt x="13" y="35"/>
                      </a:lnTo>
                      <a:lnTo>
                        <a:pt x="27" y="38"/>
                      </a:lnTo>
                      <a:lnTo>
                        <a:pt x="44" y="41"/>
                      </a:lnTo>
                      <a:lnTo>
                        <a:pt x="75" y="44"/>
                      </a:lnTo>
                      <a:lnTo>
                        <a:pt x="92" y="45"/>
                      </a:lnTo>
                      <a:lnTo>
                        <a:pt x="166" y="27"/>
                      </a:lnTo>
                      <a:lnTo>
                        <a:pt x="157" y="25"/>
                      </a:lnTo>
                      <a:lnTo>
                        <a:pt x="137" y="19"/>
                      </a:lnTo>
                      <a:lnTo>
                        <a:pt x="110" y="11"/>
                      </a:lnTo>
                      <a:lnTo>
                        <a:pt x="80" y="4"/>
                      </a:lnTo>
                      <a:lnTo>
                        <a:pt x="65" y="2"/>
                      </a:lnTo>
                      <a:lnTo>
                        <a:pt x="50" y="1"/>
                      </a:lnTo>
                      <a:lnTo>
                        <a:pt x="36" y="0"/>
                      </a:lnTo>
                      <a:lnTo>
                        <a:pt x="24" y="2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7" y="10"/>
                      </a:lnTo>
                      <a:lnTo>
                        <a:pt x="3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89" name="Freeform 412"/>
                <p:cNvSpPr>
                  <a:spLocks/>
                </p:cNvSpPr>
                <p:nvPr/>
              </p:nvSpPr>
              <p:spPr bwMode="auto">
                <a:xfrm>
                  <a:off x="1488" y="1422"/>
                  <a:ext cx="11" cy="8"/>
                </a:xfrm>
                <a:custGeom>
                  <a:avLst/>
                  <a:gdLst>
                    <a:gd name="T0" fmla="*/ 0 w 33"/>
                    <a:gd name="T1" fmla="*/ 0 h 25"/>
                    <a:gd name="T2" fmla="*/ 0 w 33"/>
                    <a:gd name="T3" fmla="*/ 9 h 25"/>
                    <a:gd name="T4" fmla="*/ 3 w 33"/>
                    <a:gd name="T5" fmla="*/ 15 h 25"/>
                    <a:gd name="T6" fmla="*/ 6 w 33"/>
                    <a:gd name="T7" fmla="*/ 20 h 25"/>
                    <a:gd name="T8" fmla="*/ 11 w 33"/>
                    <a:gd name="T9" fmla="*/ 22 h 25"/>
                    <a:gd name="T10" fmla="*/ 16 w 33"/>
                    <a:gd name="T11" fmla="*/ 24 h 25"/>
                    <a:gd name="T12" fmla="*/ 22 w 33"/>
                    <a:gd name="T13" fmla="*/ 25 h 25"/>
                    <a:gd name="T14" fmla="*/ 27 w 33"/>
                    <a:gd name="T15" fmla="*/ 25 h 25"/>
                    <a:gd name="T16" fmla="*/ 33 w 33"/>
                    <a:gd name="T17" fmla="*/ 25 h 25"/>
                    <a:gd name="T18" fmla="*/ 33 w 33"/>
                    <a:gd name="T19" fmla="*/ 0 h 25"/>
                    <a:gd name="T20" fmla="*/ 24 w 33"/>
                    <a:gd name="T21" fmla="*/ 0 h 25"/>
                    <a:gd name="T22" fmla="*/ 16 w 33"/>
                    <a:gd name="T23" fmla="*/ 0 h 25"/>
                    <a:gd name="T24" fmla="*/ 9 w 33"/>
                    <a:gd name="T25" fmla="*/ 0 h 25"/>
                    <a:gd name="T26" fmla="*/ 0 w 33"/>
                    <a:gd name="T2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3" y="15"/>
                      </a:lnTo>
                      <a:lnTo>
                        <a:pt x="6" y="20"/>
                      </a:lnTo>
                      <a:lnTo>
                        <a:pt x="11" y="22"/>
                      </a:lnTo>
                      <a:lnTo>
                        <a:pt x="16" y="24"/>
                      </a:lnTo>
                      <a:lnTo>
                        <a:pt x="22" y="25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0" name="Freeform 413"/>
                <p:cNvSpPr>
                  <a:spLocks/>
                </p:cNvSpPr>
                <p:nvPr/>
              </p:nvSpPr>
              <p:spPr bwMode="auto">
                <a:xfrm>
                  <a:off x="1605" y="1729"/>
                  <a:ext cx="16" cy="20"/>
                </a:xfrm>
                <a:custGeom>
                  <a:avLst/>
                  <a:gdLst>
                    <a:gd name="T0" fmla="*/ 0 w 48"/>
                    <a:gd name="T1" fmla="*/ 62 h 62"/>
                    <a:gd name="T2" fmla="*/ 12 w 48"/>
                    <a:gd name="T3" fmla="*/ 56 h 62"/>
                    <a:gd name="T4" fmla="*/ 22 w 48"/>
                    <a:gd name="T5" fmla="*/ 50 h 62"/>
                    <a:gd name="T6" fmla="*/ 30 w 48"/>
                    <a:gd name="T7" fmla="*/ 43 h 62"/>
                    <a:gd name="T8" fmla="*/ 37 w 48"/>
                    <a:gd name="T9" fmla="*/ 36 h 62"/>
                    <a:gd name="T10" fmla="*/ 41 w 48"/>
                    <a:gd name="T11" fmla="*/ 28 h 62"/>
                    <a:gd name="T12" fmla="*/ 44 w 48"/>
                    <a:gd name="T13" fmla="*/ 19 h 62"/>
                    <a:gd name="T14" fmla="*/ 47 w 48"/>
                    <a:gd name="T15" fmla="*/ 9 h 62"/>
                    <a:gd name="T16" fmla="*/ 48 w 48"/>
                    <a:gd name="T17" fmla="*/ 0 h 62"/>
                    <a:gd name="T18" fmla="*/ 40 w 48"/>
                    <a:gd name="T19" fmla="*/ 3 h 62"/>
                    <a:gd name="T20" fmla="*/ 32 w 48"/>
                    <a:gd name="T21" fmla="*/ 6 h 62"/>
                    <a:gd name="T22" fmla="*/ 23 w 48"/>
                    <a:gd name="T23" fmla="*/ 10 h 62"/>
                    <a:gd name="T24" fmla="*/ 17 w 48"/>
                    <a:gd name="T25" fmla="*/ 15 h 62"/>
                    <a:gd name="T26" fmla="*/ 10 w 48"/>
                    <a:gd name="T27" fmla="*/ 21 h 62"/>
                    <a:gd name="T28" fmla="*/ 6 w 48"/>
                    <a:gd name="T29" fmla="*/ 27 h 62"/>
                    <a:gd name="T30" fmla="*/ 4 w 48"/>
                    <a:gd name="T31" fmla="*/ 31 h 62"/>
                    <a:gd name="T32" fmla="*/ 3 w 48"/>
                    <a:gd name="T33" fmla="*/ 35 h 62"/>
                    <a:gd name="T34" fmla="*/ 1 w 48"/>
                    <a:gd name="T35" fmla="*/ 39 h 62"/>
                    <a:gd name="T36" fmla="*/ 0 w 48"/>
                    <a:gd name="T37" fmla="*/ 43 h 62"/>
                    <a:gd name="T38" fmla="*/ 0 w 48"/>
                    <a:gd name="T39" fmla="*/ 52 h 62"/>
                    <a:gd name="T40" fmla="*/ 0 w 48"/>
                    <a:gd name="T41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8" h="62">
                      <a:moveTo>
                        <a:pt x="0" y="62"/>
                      </a:moveTo>
                      <a:lnTo>
                        <a:pt x="12" y="56"/>
                      </a:lnTo>
                      <a:lnTo>
                        <a:pt x="22" y="50"/>
                      </a:lnTo>
                      <a:lnTo>
                        <a:pt x="30" y="43"/>
                      </a:lnTo>
                      <a:lnTo>
                        <a:pt x="37" y="36"/>
                      </a:lnTo>
                      <a:lnTo>
                        <a:pt x="41" y="28"/>
                      </a:lnTo>
                      <a:lnTo>
                        <a:pt x="44" y="19"/>
                      </a:lnTo>
                      <a:lnTo>
                        <a:pt x="47" y="9"/>
                      </a:lnTo>
                      <a:lnTo>
                        <a:pt x="48" y="0"/>
                      </a:lnTo>
                      <a:lnTo>
                        <a:pt x="40" y="3"/>
                      </a:lnTo>
                      <a:lnTo>
                        <a:pt x="32" y="6"/>
                      </a:lnTo>
                      <a:lnTo>
                        <a:pt x="23" y="10"/>
                      </a:lnTo>
                      <a:lnTo>
                        <a:pt x="17" y="15"/>
                      </a:lnTo>
                      <a:lnTo>
                        <a:pt x="10" y="21"/>
                      </a:lnTo>
                      <a:lnTo>
                        <a:pt x="6" y="27"/>
                      </a:lnTo>
                      <a:lnTo>
                        <a:pt x="4" y="31"/>
                      </a:lnTo>
                      <a:lnTo>
                        <a:pt x="3" y="35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52"/>
                      </a:lnTo>
                      <a:lnTo>
                        <a:pt x="0" y="6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1" name="Freeform 414"/>
                <p:cNvSpPr>
                  <a:spLocks/>
                </p:cNvSpPr>
                <p:nvPr/>
              </p:nvSpPr>
              <p:spPr bwMode="auto">
                <a:xfrm>
                  <a:off x="1554" y="1729"/>
                  <a:ext cx="36" cy="20"/>
                </a:xfrm>
                <a:custGeom>
                  <a:avLst/>
                  <a:gdLst>
                    <a:gd name="T0" fmla="*/ 47 w 113"/>
                    <a:gd name="T1" fmla="*/ 0 h 62"/>
                    <a:gd name="T2" fmla="*/ 36 w 113"/>
                    <a:gd name="T3" fmla="*/ 7 h 62"/>
                    <a:gd name="T4" fmla="*/ 23 w 113"/>
                    <a:gd name="T5" fmla="*/ 17 h 62"/>
                    <a:gd name="T6" fmla="*/ 11 w 113"/>
                    <a:gd name="T7" fmla="*/ 27 h 62"/>
                    <a:gd name="T8" fmla="*/ 0 w 113"/>
                    <a:gd name="T9" fmla="*/ 37 h 62"/>
                    <a:gd name="T10" fmla="*/ 22 w 113"/>
                    <a:gd name="T11" fmla="*/ 46 h 62"/>
                    <a:gd name="T12" fmla="*/ 41 w 113"/>
                    <a:gd name="T13" fmla="*/ 54 h 62"/>
                    <a:gd name="T14" fmla="*/ 51 w 113"/>
                    <a:gd name="T15" fmla="*/ 57 h 62"/>
                    <a:gd name="T16" fmla="*/ 62 w 113"/>
                    <a:gd name="T17" fmla="*/ 59 h 62"/>
                    <a:gd name="T18" fmla="*/ 73 w 113"/>
                    <a:gd name="T19" fmla="*/ 61 h 62"/>
                    <a:gd name="T20" fmla="*/ 87 w 113"/>
                    <a:gd name="T21" fmla="*/ 62 h 62"/>
                    <a:gd name="T22" fmla="*/ 97 w 113"/>
                    <a:gd name="T23" fmla="*/ 61 h 62"/>
                    <a:gd name="T24" fmla="*/ 106 w 113"/>
                    <a:gd name="T25" fmla="*/ 58 h 62"/>
                    <a:gd name="T26" fmla="*/ 109 w 113"/>
                    <a:gd name="T27" fmla="*/ 56 h 62"/>
                    <a:gd name="T28" fmla="*/ 111 w 113"/>
                    <a:gd name="T29" fmla="*/ 54 h 62"/>
                    <a:gd name="T30" fmla="*/ 113 w 113"/>
                    <a:gd name="T31" fmla="*/ 52 h 62"/>
                    <a:gd name="T32" fmla="*/ 113 w 113"/>
                    <a:gd name="T33" fmla="*/ 49 h 62"/>
                    <a:gd name="T34" fmla="*/ 91 w 113"/>
                    <a:gd name="T35" fmla="*/ 41 h 62"/>
                    <a:gd name="T36" fmla="*/ 70 w 113"/>
                    <a:gd name="T37" fmla="*/ 32 h 62"/>
                    <a:gd name="T38" fmla="*/ 65 w 113"/>
                    <a:gd name="T39" fmla="*/ 29 h 62"/>
                    <a:gd name="T40" fmla="*/ 61 w 113"/>
                    <a:gd name="T41" fmla="*/ 26 h 62"/>
                    <a:gd name="T42" fmla="*/ 57 w 113"/>
                    <a:gd name="T43" fmla="*/ 23 h 62"/>
                    <a:gd name="T44" fmla="*/ 54 w 113"/>
                    <a:gd name="T45" fmla="*/ 20 h 62"/>
                    <a:gd name="T46" fmla="*/ 51 w 113"/>
                    <a:gd name="T47" fmla="*/ 16 h 62"/>
                    <a:gd name="T48" fmla="*/ 48 w 113"/>
                    <a:gd name="T49" fmla="*/ 10 h 62"/>
                    <a:gd name="T50" fmla="*/ 47 w 113"/>
                    <a:gd name="T51" fmla="*/ 5 h 62"/>
                    <a:gd name="T52" fmla="*/ 47 w 113"/>
                    <a:gd name="T53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3" h="62">
                      <a:moveTo>
                        <a:pt x="47" y="0"/>
                      </a:moveTo>
                      <a:lnTo>
                        <a:pt x="36" y="7"/>
                      </a:lnTo>
                      <a:lnTo>
                        <a:pt x="23" y="17"/>
                      </a:lnTo>
                      <a:lnTo>
                        <a:pt x="11" y="27"/>
                      </a:lnTo>
                      <a:lnTo>
                        <a:pt x="0" y="37"/>
                      </a:lnTo>
                      <a:lnTo>
                        <a:pt x="22" y="46"/>
                      </a:lnTo>
                      <a:lnTo>
                        <a:pt x="41" y="54"/>
                      </a:lnTo>
                      <a:lnTo>
                        <a:pt x="51" y="57"/>
                      </a:lnTo>
                      <a:lnTo>
                        <a:pt x="62" y="59"/>
                      </a:lnTo>
                      <a:lnTo>
                        <a:pt x="73" y="61"/>
                      </a:lnTo>
                      <a:lnTo>
                        <a:pt x="87" y="62"/>
                      </a:lnTo>
                      <a:lnTo>
                        <a:pt x="97" y="61"/>
                      </a:lnTo>
                      <a:lnTo>
                        <a:pt x="106" y="58"/>
                      </a:lnTo>
                      <a:lnTo>
                        <a:pt x="109" y="56"/>
                      </a:lnTo>
                      <a:lnTo>
                        <a:pt x="111" y="54"/>
                      </a:lnTo>
                      <a:lnTo>
                        <a:pt x="113" y="52"/>
                      </a:lnTo>
                      <a:lnTo>
                        <a:pt x="113" y="49"/>
                      </a:lnTo>
                      <a:lnTo>
                        <a:pt x="91" y="41"/>
                      </a:lnTo>
                      <a:lnTo>
                        <a:pt x="70" y="32"/>
                      </a:lnTo>
                      <a:lnTo>
                        <a:pt x="65" y="29"/>
                      </a:lnTo>
                      <a:lnTo>
                        <a:pt x="61" y="26"/>
                      </a:lnTo>
                      <a:lnTo>
                        <a:pt x="57" y="23"/>
                      </a:lnTo>
                      <a:lnTo>
                        <a:pt x="54" y="20"/>
                      </a:lnTo>
                      <a:lnTo>
                        <a:pt x="51" y="16"/>
                      </a:lnTo>
                      <a:lnTo>
                        <a:pt x="48" y="10"/>
                      </a:lnTo>
                      <a:lnTo>
                        <a:pt x="47" y="5"/>
                      </a:lnTo>
                      <a:lnTo>
                        <a:pt x="47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2" name="Freeform 415"/>
                <p:cNvSpPr>
                  <a:spLocks/>
                </p:cNvSpPr>
                <p:nvPr/>
              </p:nvSpPr>
              <p:spPr bwMode="auto">
                <a:xfrm>
                  <a:off x="1748" y="1188"/>
                  <a:ext cx="29" cy="15"/>
                </a:xfrm>
                <a:custGeom>
                  <a:avLst/>
                  <a:gdLst>
                    <a:gd name="T0" fmla="*/ 0 w 93"/>
                    <a:gd name="T1" fmla="*/ 0 h 50"/>
                    <a:gd name="T2" fmla="*/ 15 w 93"/>
                    <a:gd name="T3" fmla="*/ 0 h 50"/>
                    <a:gd name="T4" fmla="*/ 30 w 93"/>
                    <a:gd name="T5" fmla="*/ 1 h 50"/>
                    <a:gd name="T6" fmla="*/ 45 w 93"/>
                    <a:gd name="T7" fmla="*/ 2 h 50"/>
                    <a:gd name="T8" fmla="*/ 59 w 93"/>
                    <a:gd name="T9" fmla="*/ 5 h 50"/>
                    <a:gd name="T10" fmla="*/ 64 w 93"/>
                    <a:gd name="T11" fmla="*/ 7 h 50"/>
                    <a:gd name="T12" fmla="*/ 71 w 93"/>
                    <a:gd name="T13" fmla="*/ 9 h 50"/>
                    <a:gd name="T14" fmla="*/ 75 w 93"/>
                    <a:gd name="T15" fmla="*/ 12 h 50"/>
                    <a:gd name="T16" fmla="*/ 81 w 93"/>
                    <a:gd name="T17" fmla="*/ 16 h 50"/>
                    <a:gd name="T18" fmla="*/ 85 w 93"/>
                    <a:gd name="T19" fmla="*/ 20 h 50"/>
                    <a:gd name="T20" fmla="*/ 89 w 93"/>
                    <a:gd name="T21" fmla="*/ 25 h 50"/>
                    <a:gd name="T22" fmla="*/ 91 w 93"/>
                    <a:gd name="T23" fmla="*/ 30 h 50"/>
                    <a:gd name="T24" fmla="*/ 93 w 93"/>
                    <a:gd name="T25" fmla="*/ 37 h 50"/>
                    <a:gd name="T26" fmla="*/ 79 w 93"/>
                    <a:gd name="T27" fmla="*/ 37 h 50"/>
                    <a:gd name="T28" fmla="*/ 68 w 93"/>
                    <a:gd name="T29" fmla="*/ 39 h 50"/>
                    <a:gd name="T30" fmla="*/ 60 w 93"/>
                    <a:gd name="T31" fmla="*/ 41 h 50"/>
                    <a:gd name="T32" fmla="*/ 52 w 93"/>
                    <a:gd name="T33" fmla="*/ 43 h 50"/>
                    <a:gd name="T34" fmla="*/ 42 w 93"/>
                    <a:gd name="T35" fmla="*/ 47 h 50"/>
                    <a:gd name="T36" fmla="*/ 33 w 93"/>
                    <a:gd name="T37" fmla="*/ 50 h 50"/>
                    <a:gd name="T38" fmla="*/ 30 w 93"/>
                    <a:gd name="T39" fmla="*/ 50 h 50"/>
                    <a:gd name="T40" fmla="*/ 28 w 93"/>
                    <a:gd name="T41" fmla="*/ 48 h 50"/>
                    <a:gd name="T42" fmla="*/ 26 w 93"/>
                    <a:gd name="T43" fmla="*/ 47 h 50"/>
                    <a:gd name="T44" fmla="*/ 25 w 93"/>
                    <a:gd name="T45" fmla="*/ 45 h 50"/>
                    <a:gd name="T46" fmla="*/ 23 w 93"/>
                    <a:gd name="T47" fmla="*/ 41 h 50"/>
                    <a:gd name="T48" fmla="*/ 22 w 93"/>
                    <a:gd name="T49" fmla="*/ 36 h 50"/>
                    <a:gd name="T50" fmla="*/ 22 w 93"/>
                    <a:gd name="T51" fmla="*/ 31 h 50"/>
                    <a:gd name="T52" fmla="*/ 23 w 93"/>
                    <a:gd name="T53" fmla="*/ 26 h 50"/>
                    <a:gd name="T54" fmla="*/ 24 w 93"/>
                    <a:gd name="T55" fmla="*/ 22 h 50"/>
                    <a:gd name="T56" fmla="*/ 26 w 93"/>
                    <a:gd name="T57" fmla="*/ 19 h 50"/>
                    <a:gd name="T58" fmla="*/ 0 w 93"/>
                    <a:gd name="T59" fmla="*/ 19 h 50"/>
                    <a:gd name="T60" fmla="*/ 0 w 93"/>
                    <a:gd name="T61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93" h="50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30" y="1"/>
                      </a:lnTo>
                      <a:lnTo>
                        <a:pt x="45" y="2"/>
                      </a:lnTo>
                      <a:lnTo>
                        <a:pt x="59" y="5"/>
                      </a:lnTo>
                      <a:lnTo>
                        <a:pt x="64" y="7"/>
                      </a:lnTo>
                      <a:lnTo>
                        <a:pt x="71" y="9"/>
                      </a:lnTo>
                      <a:lnTo>
                        <a:pt x="75" y="12"/>
                      </a:lnTo>
                      <a:lnTo>
                        <a:pt x="81" y="16"/>
                      </a:lnTo>
                      <a:lnTo>
                        <a:pt x="85" y="20"/>
                      </a:lnTo>
                      <a:lnTo>
                        <a:pt x="89" y="25"/>
                      </a:lnTo>
                      <a:lnTo>
                        <a:pt x="91" y="30"/>
                      </a:lnTo>
                      <a:lnTo>
                        <a:pt x="93" y="37"/>
                      </a:lnTo>
                      <a:lnTo>
                        <a:pt x="79" y="37"/>
                      </a:lnTo>
                      <a:lnTo>
                        <a:pt x="68" y="39"/>
                      </a:lnTo>
                      <a:lnTo>
                        <a:pt x="60" y="41"/>
                      </a:lnTo>
                      <a:lnTo>
                        <a:pt x="52" y="43"/>
                      </a:lnTo>
                      <a:lnTo>
                        <a:pt x="42" y="47"/>
                      </a:lnTo>
                      <a:lnTo>
                        <a:pt x="33" y="50"/>
                      </a:lnTo>
                      <a:lnTo>
                        <a:pt x="30" y="50"/>
                      </a:lnTo>
                      <a:lnTo>
                        <a:pt x="28" y="48"/>
                      </a:lnTo>
                      <a:lnTo>
                        <a:pt x="26" y="47"/>
                      </a:lnTo>
                      <a:lnTo>
                        <a:pt x="25" y="45"/>
                      </a:lnTo>
                      <a:lnTo>
                        <a:pt x="23" y="41"/>
                      </a:lnTo>
                      <a:lnTo>
                        <a:pt x="22" y="36"/>
                      </a:lnTo>
                      <a:lnTo>
                        <a:pt x="22" y="31"/>
                      </a:lnTo>
                      <a:lnTo>
                        <a:pt x="23" y="26"/>
                      </a:lnTo>
                      <a:lnTo>
                        <a:pt x="24" y="22"/>
                      </a:lnTo>
                      <a:lnTo>
                        <a:pt x="26" y="1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3" name="Freeform 416"/>
                <p:cNvSpPr>
                  <a:spLocks/>
                </p:cNvSpPr>
                <p:nvPr/>
              </p:nvSpPr>
              <p:spPr bwMode="auto">
                <a:xfrm>
                  <a:off x="1436" y="1246"/>
                  <a:ext cx="331" cy="198"/>
                </a:xfrm>
                <a:custGeom>
                  <a:avLst/>
                  <a:gdLst>
                    <a:gd name="T0" fmla="*/ 20 w 1029"/>
                    <a:gd name="T1" fmla="*/ 112 h 604"/>
                    <a:gd name="T2" fmla="*/ 67 w 1029"/>
                    <a:gd name="T3" fmla="*/ 60 h 604"/>
                    <a:gd name="T4" fmla="*/ 266 w 1029"/>
                    <a:gd name="T5" fmla="*/ 0 h 604"/>
                    <a:gd name="T6" fmla="*/ 205 w 1029"/>
                    <a:gd name="T7" fmla="*/ 47 h 604"/>
                    <a:gd name="T8" fmla="*/ 180 w 1029"/>
                    <a:gd name="T9" fmla="*/ 105 h 604"/>
                    <a:gd name="T10" fmla="*/ 274 w 1029"/>
                    <a:gd name="T11" fmla="*/ 60 h 604"/>
                    <a:gd name="T12" fmla="*/ 397 w 1029"/>
                    <a:gd name="T13" fmla="*/ 14 h 604"/>
                    <a:gd name="T14" fmla="*/ 438 w 1029"/>
                    <a:gd name="T15" fmla="*/ 23 h 604"/>
                    <a:gd name="T16" fmla="*/ 433 w 1029"/>
                    <a:gd name="T17" fmla="*/ 71 h 604"/>
                    <a:gd name="T18" fmla="*/ 581 w 1029"/>
                    <a:gd name="T19" fmla="*/ 80 h 604"/>
                    <a:gd name="T20" fmla="*/ 675 w 1029"/>
                    <a:gd name="T21" fmla="*/ 89 h 604"/>
                    <a:gd name="T22" fmla="*/ 749 w 1029"/>
                    <a:gd name="T23" fmla="*/ 111 h 604"/>
                    <a:gd name="T24" fmla="*/ 749 w 1029"/>
                    <a:gd name="T25" fmla="*/ 134 h 604"/>
                    <a:gd name="T26" fmla="*/ 711 w 1029"/>
                    <a:gd name="T27" fmla="*/ 184 h 604"/>
                    <a:gd name="T28" fmla="*/ 799 w 1029"/>
                    <a:gd name="T29" fmla="*/ 168 h 604"/>
                    <a:gd name="T30" fmla="*/ 866 w 1029"/>
                    <a:gd name="T31" fmla="*/ 191 h 604"/>
                    <a:gd name="T32" fmla="*/ 856 w 1029"/>
                    <a:gd name="T33" fmla="*/ 239 h 604"/>
                    <a:gd name="T34" fmla="*/ 788 w 1029"/>
                    <a:gd name="T35" fmla="*/ 248 h 604"/>
                    <a:gd name="T36" fmla="*/ 859 w 1029"/>
                    <a:gd name="T37" fmla="*/ 284 h 604"/>
                    <a:gd name="T38" fmla="*/ 903 w 1029"/>
                    <a:gd name="T39" fmla="*/ 327 h 604"/>
                    <a:gd name="T40" fmla="*/ 977 w 1029"/>
                    <a:gd name="T41" fmla="*/ 329 h 604"/>
                    <a:gd name="T42" fmla="*/ 1029 w 1029"/>
                    <a:gd name="T43" fmla="*/ 351 h 604"/>
                    <a:gd name="T44" fmla="*/ 939 w 1029"/>
                    <a:gd name="T45" fmla="*/ 409 h 604"/>
                    <a:gd name="T46" fmla="*/ 899 w 1029"/>
                    <a:gd name="T47" fmla="*/ 417 h 604"/>
                    <a:gd name="T48" fmla="*/ 874 w 1029"/>
                    <a:gd name="T49" fmla="*/ 443 h 604"/>
                    <a:gd name="T50" fmla="*/ 830 w 1029"/>
                    <a:gd name="T51" fmla="*/ 414 h 604"/>
                    <a:gd name="T52" fmla="*/ 851 w 1029"/>
                    <a:gd name="T53" fmla="*/ 393 h 604"/>
                    <a:gd name="T54" fmla="*/ 792 w 1029"/>
                    <a:gd name="T55" fmla="*/ 379 h 604"/>
                    <a:gd name="T56" fmla="*/ 759 w 1029"/>
                    <a:gd name="T57" fmla="*/ 364 h 604"/>
                    <a:gd name="T58" fmla="*/ 744 w 1029"/>
                    <a:gd name="T59" fmla="*/ 394 h 604"/>
                    <a:gd name="T60" fmla="*/ 747 w 1029"/>
                    <a:gd name="T61" fmla="*/ 445 h 604"/>
                    <a:gd name="T62" fmla="*/ 795 w 1029"/>
                    <a:gd name="T63" fmla="*/ 523 h 604"/>
                    <a:gd name="T64" fmla="*/ 771 w 1029"/>
                    <a:gd name="T65" fmla="*/ 547 h 604"/>
                    <a:gd name="T66" fmla="*/ 708 w 1029"/>
                    <a:gd name="T67" fmla="*/ 556 h 604"/>
                    <a:gd name="T68" fmla="*/ 618 w 1029"/>
                    <a:gd name="T69" fmla="*/ 517 h 604"/>
                    <a:gd name="T70" fmla="*/ 668 w 1029"/>
                    <a:gd name="T71" fmla="*/ 567 h 604"/>
                    <a:gd name="T72" fmla="*/ 665 w 1029"/>
                    <a:gd name="T73" fmla="*/ 604 h 604"/>
                    <a:gd name="T74" fmla="*/ 518 w 1029"/>
                    <a:gd name="T75" fmla="*/ 570 h 604"/>
                    <a:gd name="T76" fmla="*/ 471 w 1029"/>
                    <a:gd name="T77" fmla="*/ 523 h 604"/>
                    <a:gd name="T78" fmla="*/ 410 w 1029"/>
                    <a:gd name="T79" fmla="*/ 473 h 604"/>
                    <a:gd name="T80" fmla="*/ 367 w 1029"/>
                    <a:gd name="T81" fmla="*/ 453 h 604"/>
                    <a:gd name="T82" fmla="*/ 392 w 1029"/>
                    <a:gd name="T83" fmla="*/ 433 h 604"/>
                    <a:gd name="T84" fmla="*/ 459 w 1029"/>
                    <a:gd name="T85" fmla="*/ 399 h 604"/>
                    <a:gd name="T86" fmla="*/ 500 w 1029"/>
                    <a:gd name="T87" fmla="*/ 378 h 604"/>
                    <a:gd name="T88" fmla="*/ 577 w 1029"/>
                    <a:gd name="T89" fmla="*/ 380 h 604"/>
                    <a:gd name="T90" fmla="*/ 614 w 1029"/>
                    <a:gd name="T91" fmla="*/ 395 h 604"/>
                    <a:gd name="T92" fmla="*/ 687 w 1029"/>
                    <a:gd name="T93" fmla="*/ 387 h 604"/>
                    <a:gd name="T94" fmla="*/ 581 w 1029"/>
                    <a:gd name="T95" fmla="*/ 355 h 604"/>
                    <a:gd name="T96" fmla="*/ 542 w 1029"/>
                    <a:gd name="T97" fmla="*/ 361 h 604"/>
                    <a:gd name="T98" fmla="*/ 539 w 1029"/>
                    <a:gd name="T99" fmla="*/ 350 h 604"/>
                    <a:gd name="T100" fmla="*/ 576 w 1029"/>
                    <a:gd name="T101" fmla="*/ 306 h 604"/>
                    <a:gd name="T102" fmla="*/ 576 w 1029"/>
                    <a:gd name="T103" fmla="*/ 274 h 604"/>
                    <a:gd name="T104" fmla="*/ 524 w 1029"/>
                    <a:gd name="T105" fmla="*/ 254 h 604"/>
                    <a:gd name="T106" fmla="*/ 473 w 1029"/>
                    <a:gd name="T107" fmla="*/ 198 h 604"/>
                    <a:gd name="T108" fmla="*/ 434 w 1029"/>
                    <a:gd name="T109" fmla="*/ 168 h 604"/>
                    <a:gd name="T110" fmla="*/ 408 w 1029"/>
                    <a:gd name="T111" fmla="*/ 163 h 604"/>
                    <a:gd name="T112" fmla="*/ 378 w 1029"/>
                    <a:gd name="T113" fmla="*/ 203 h 604"/>
                    <a:gd name="T114" fmla="*/ 207 w 1029"/>
                    <a:gd name="T115" fmla="*/ 174 h 604"/>
                    <a:gd name="T116" fmla="*/ 114 w 1029"/>
                    <a:gd name="T117" fmla="*/ 189 h 604"/>
                    <a:gd name="T118" fmla="*/ 79 w 1029"/>
                    <a:gd name="T119" fmla="*/ 187 h 604"/>
                    <a:gd name="T120" fmla="*/ 16 w 1029"/>
                    <a:gd name="T121" fmla="*/ 180 h 604"/>
                    <a:gd name="T122" fmla="*/ 9 w 1029"/>
                    <a:gd name="T123" fmla="*/ 158 h 604"/>
                    <a:gd name="T124" fmla="*/ 75 w 1029"/>
                    <a:gd name="T125" fmla="*/ 149 h 6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29" h="604">
                      <a:moveTo>
                        <a:pt x="73" y="129"/>
                      </a:moveTo>
                      <a:lnTo>
                        <a:pt x="34" y="129"/>
                      </a:lnTo>
                      <a:lnTo>
                        <a:pt x="28" y="128"/>
                      </a:lnTo>
                      <a:lnTo>
                        <a:pt x="24" y="125"/>
                      </a:lnTo>
                      <a:lnTo>
                        <a:pt x="22" y="121"/>
                      </a:lnTo>
                      <a:lnTo>
                        <a:pt x="20" y="117"/>
                      </a:lnTo>
                      <a:lnTo>
                        <a:pt x="20" y="112"/>
                      </a:lnTo>
                      <a:lnTo>
                        <a:pt x="22" y="107"/>
                      </a:lnTo>
                      <a:lnTo>
                        <a:pt x="24" y="102"/>
                      </a:lnTo>
                      <a:lnTo>
                        <a:pt x="26" y="97"/>
                      </a:lnTo>
                      <a:lnTo>
                        <a:pt x="34" y="87"/>
                      </a:lnTo>
                      <a:lnTo>
                        <a:pt x="42" y="77"/>
                      </a:lnTo>
                      <a:lnTo>
                        <a:pt x="54" y="69"/>
                      </a:lnTo>
                      <a:lnTo>
                        <a:pt x="67" y="60"/>
                      </a:lnTo>
                      <a:lnTo>
                        <a:pt x="81" y="52"/>
                      </a:lnTo>
                      <a:lnTo>
                        <a:pt x="96" y="45"/>
                      </a:lnTo>
                      <a:lnTo>
                        <a:pt x="128" y="30"/>
                      </a:lnTo>
                      <a:lnTo>
                        <a:pt x="160" y="18"/>
                      </a:lnTo>
                      <a:lnTo>
                        <a:pt x="190" y="8"/>
                      </a:lnTo>
                      <a:lnTo>
                        <a:pt x="213" y="0"/>
                      </a:lnTo>
                      <a:lnTo>
                        <a:pt x="266" y="0"/>
                      </a:lnTo>
                      <a:lnTo>
                        <a:pt x="264" y="7"/>
                      </a:lnTo>
                      <a:lnTo>
                        <a:pt x="260" y="14"/>
                      </a:lnTo>
                      <a:lnTo>
                        <a:pt x="255" y="19"/>
                      </a:lnTo>
                      <a:lnTo>
                        <a:pt x="250" y="24"/>
                      </a:lnTo>
                      <a:lnTo>
                        <a:pt x="236" y="32"/>
                      </a:lnTo>
                      <a:lnTo>
                        <a:pt x="220" y="40"/>
                      </a:lnTo>
                      <a:lnTo>
                        <a:pt x="205" y="47"/>
                      </a:lnTo>
                      <a:lnTo>
                        <a:pt x="192" y="55"/>
                      </a:lnTo>
                      <a:lnTo>
                        <a:pt x="187" y="60"/>
                      </a:lnTo>
                      <a:lnTo>
                        <a:pt x="183" y="66"/>
                      </a:lnTo>
                      <a:lnTo>
                        <a:pt x="181" y="72"/>
                      </a:lnTo>
                      <a:lnTo>
                        <a:pt x="180" y="80"/>
                      </a:lnTo>
                      <a:lnTo>
                        <a:pt x="180" y="95"/>
                      </a:lnTo>
                      <a:lnTo>
                        <a:pt x="180" y="105"/>
                      </a:lnTo>
                      <a:lnTo>
                        <a:pt x="198" y="104"/>
                      </a:lnTo>
                      <a:lnTo>
                        <a:pt x="216" y="101"/>
                      </a:lnTo>
                      <a:lnTo>
                        <a:pt x="233" y="97"/>
                      </a:lnTo>
                      <a:lnTo>
                        <a:pt x="252" y="93"/>
                      </a:lnTo>
                      <a:lnTo>
                        <a:pt x="252" y="82"/>
                      </a:lnTo>
                      <a:lnTo>
                        <a:pt x="252" y="67"/>
                      </a:lnTo>
                      <a:lnTo>
                        <a:pt x="274" y="60"/>
                      </a:lnTo>
                      <a:lnTo>
                        <a:pt x="295" y="51"/>
                      </a:lnTo>
                      <a:lnTo>
                        <a:pt x="316" y="42"/>
                      </a:lnTo>
                      <a:lnTo>
                        <a:pt x="336" y="32"/>
                      </a:lnTo>
                      <a:lnTo>
                        <a:pt x="355" y="24"/>
                      </a:lnTo>
                      <a:lnTo>
                        <a:pt x="376" y="18"/>
                      </a:lnTo>
                      <a:lnTo>
                        <a:pt x="386" y="15"/>
                      </a:lnTo>
                      <a:lnTo>
                        <a:pt x="397" y="14"/>
                      </a:lnTo>
                      <a:lnTo>
                        <a:pt x="408" y="12"/>
                      </a:lnTo>
                      <a:lnTo>
                        <a:pt x="419" y="12"/>
                      </a:lnTo>
                      <a:lnTo>
                        <a:pt x="422" y="12"/>
                      </a:lnTo>
                      <a:lnTo>
                        <a:pt x="426" y="14"/>
                      </a:lnTo>
                      <a:lnTo>
                        <a:pt x="429" y="15"/>
                      </a:lnTo>
                      <a:lnTo>
                        <a:pt x="432" y="18"/>
                      </a:lnTo>
                      <a:lnTo>
                        <a:pt x="438" y="23"/>
                      </a:lnTo>
                      <a:lnTo>
                        <a:pt x="443" y="30"/>
                      </a:lnTo>
                      <a:lnTo>
                        <a:pt x="450" y="44"/>
                      </a:lnTo>
                      <a:lnTo>
                        <a:pt x="452" y="49"/>
                      </a:lnTo>
                      <a:lnTo>
                        <a:pt x="443" y="57"/>
                      </a:lnTo>
                      <a:lnTo>
                        <a:pt x="437" y="64"/>
                      </a:lnTo>
                      <a:lnTo>
                        <a:pt x="434" y="68"/>
                      </a:lnTo>
                      <a:lnTo>
                        <a:pt x="433" y="71"/>
                      </a:lnTo>
                      <a:lnTo>
                        <a:pt x="432" y="75"/>
                      </a:lnTo>
                      <a:lnTo>
                        <a:pt x="432" y="80"/>
                      </a:lnTo>
                      <a:lnTo>
                        <a:pt x="467" y="80"/>
                      </a:lnTo>
                      <a:lnTo>
                        <a:pt x="504" y="80"/>
                      </a:lnTo>
                      <a:lnTo>
                        <a:pt x="536" y="80"/>
                      </a:lnTo>
                      <a:lnTo>
                        <a:pt x="565" y="80"/>
                      </a:lnTo>
                      <a:lnTo>
                        <a:pt x="581" y="80"/>
                      </a:lnTo>
                      <a:lnTo>
                        <a:pt x="601" y="83"/>
                      </a:lnTo>
                      <a:lnTo>
                        <a:pt x="621" y="85"/>
                      </a:lnTo>
                      <a:lnTo>
                        <a:pt x="637" y="86"/>
                      </a:lnTo>
                      <a:lnTo>
                        <a:pt x="648" y="86"/>
                      </a:lnTo>
                      <a:lnTo>
                        <a:pt x="658" y="87"/>
                      </a:lnTo>
                      <a:lnTo>
                        <a:pt x="667" y="88"/>
                      </a:lnTo>
                      <a:lnTo>
                        <a:pt x="675" y="89"/>
                      </a:lnTo>
                      <a:lnTo>
                        <a:pt x="690" y="94"/>
                      </a:lnTo>
                      <a:lnTo>
                        <a:pt x="702" y="99"/>
                      </a:lnTo>
                      <a:lnTo>
                        <a:pt x="715" y="103"/>
                      </a:lnTo>
                      <a:lnTo>
                        <a:pt x="728" y="107"/>
                      </a:lnTo>
                      <a:lnTo>
                        <a:pt x="734" y="109"/>
                      </a:lnTo>
                      <a:lnTo>
                        <a:pt x="742" y="110"/>
                      </a:lnTo>
                      <a:lnTo>
                        <a:pt x="749" y="111"/>
                      </a:lnTo>
                      <a:lnTo>
                        <a:pt x="757" y="111"/>
                      </a:lnTo>
                      <a:lnTo>
                        <a:pt x="753" y="115"/>
                      </a:lnTo>
                      <a:lnTo>
                        <a:pt x="751" y="119"/>
                      </a:lnTo>
                      <a:lnTo>
                        <a:pt x="748" y="122"/>
                      </a:lnTo>
                      <a:lnTo>
                        <a:pt x="747" y="125"/>
                      </a:lnTo>
                      <a:lnTo>
                        <a:pt x="747" y="130"/>
                      </a:lnTo>
                      <a:lnTo>
                        <a:pt x="749" y="134"/>
                      </a:lnTo>
                      <a:lnTo>
                        <a:pt x="752" y="138"/>
                      </a:lnTo>
                      <a:lnTo>
                        <a:pt x="754" y="142"/>
                      </a:lnTo>
                      <a:lnTo>
                        <a:pt x="754" y="145"/>
                      </a:lnTo>
                      <a:lnTo>
                        <a:pt x="754" y="147"/>
                      </a:lnTo>
                      <a:lnTo>
                        <a:pt x="753" y="151"/>
                      </a:lnTo>
                      <a:lnTo>
                        <a:pt x="751" y="154"/>
                      </a:lnTo>
                      <a:lnTo>
                        <a:pt x="711" y="184"/>
                      </a:lnTo>
                      <a:lnTo>
                        <a:pt x="728" y="179"/>
                      </a:lnTo>
                      <a:lnTo>
                        <a:pt x="746" y="172"/>
                      </a:lnTo>
                      <a:lnTo>
                        <a:pt x="764" y="166"/>
                      </a:lnTo>
                      <a:lnTo>
                        <a:pt x="777" y="160"/>
                      </a:lnTo>
                      <a:lnTo>
                        <a:pt x="798" y="160"/>
                      </a:lnTo>
                      <a:lnTo>
                        <a:pt x="797" y="164"/>
                      </a:lnTo>
                      <a:lnTo>
                        <a:pt x="799" y="168"/>
                      </a:lnTo>
                      <a:lnTo>
                        <a:pt x="802" y="172"/>
                      </a:lnTo>
                      <a:lnTo>
                        <a:pt x="807" y="174"/>
                      </a:lnTo>
                      <a:lnTo>
                        <a:pt x="820" y="179"/>
                      </a:lnTo>
                      <a:lnTo>
                        <a:pt x="834" y="183"/>
                      </a:lnTo>
                      <a:lnTo>
                        <a:pt x="848" y="186"/>
                      </a:lnTo>
                      <a:lnTo>
                        <a:pt x="860" y="189"/>
                      </a:lnTo>
                      <a:lnTo>
                        <a:pt x="866" y="191"/>
                      </a:lnTo>
                      <a:lnTo>
                        <a:pt x="869" y="192"/>
                      </a:lnTo>
                      <a:lnTo>
                        <a:pt x="870" y="194"/>
                      </a:lnTo>
                      <a:lnTo>
                        <a:pt x="870" y="196"/>
                      </a:lnTo>
                      <a:lnTo>
                        <a:pt x="864" y="234"/>
                      </a:lnTo>
                      <a:lnTo>
                        <a:pt x="863" y="236"/>
                      </a:lnTo>
                      <a:lnTo>
                        <a:pt x="860" y="238"/>
                      </a:lnTo>
                      <a:lnTo>
                        <a:pt x="856" y="239"/>
                      </a:lnTo>
                      <a:lnTo>
                        <a:pt x="852" y="240"/>
                      </a:lnTo>
                      <a:lnTo>
                        <a:pt x="838" y="242"/>
                      </a:lnTo>
                      <a:lnTo>
                        <a:pt x="824" y="243"/>
                      </a:lnTo>
                      <a:lnTo>
                        <a:pt x="809" y="244"/>
                      </a:lnTo>
                      <a:lnTo>
                        <a:pt x="797" y="246"/>
                      </a:lnTo>
                      <a:lnTo>
                        <a:pt x="791" y="247"/>
                      </a:lnTo>
                      <a:lnTo>
                        <a:pt x="788" y="248"/>
                      </a:lnTo>
                      <a:lnTo>
                        <a:pt x="785" y="250"/>
                      </a:lnTo>
                      <a:lnTo>
                        <a:pt x="784" y="252"/>
                      </a:lnTo>
                      <a:lnTo>
                        <a:pt x="799" y="262"/>
                      </a:lnTo>
                      <a:lnTo>
                        <a:pt x="813" y="269"/>
                      </a:lnTo>
                      <a:lnTo>
                        <a:pt x="827" y="275"/>
                      </a:lnTo>
                      <a:lnTo>
                        <a:pt x="843" y="280"/>
                      </a:lnTo>
                      <a:lnTo>
                        <a:pt x="859" y="284"/>
                      </a:lnTo>
                      <a:lnTo>
                        <a:pt x="877" y="287"/>
                      </a:lnTo>
                      <a:lnTo>
                        <a:pt x="896" y="289"/>
                      </a:lnTo>
                      <a:lnTo>
                        <a:pt x="916" y="289"/>
                      </a:lnTo>
                      <a:lnTo>
                        <a:pt x="915" y="298"/>
                      </a:lnTo>
                      <a:lnTo>
                        <a:pt x="913" y="307"/>
                      </a:lnTo>
                      <a:lnTo>
                        <a:pt x="909" y="317"/>
                      </a:lnTo>
                      <a:lnTo>
                        <a:pt x="903" y="327"/>
                      </a:lnTo>
                      <a:lnTo>
                        <a:pt x="914" y="330"/>
                      </a:lnTo>
                      <a:lnTo>
                        <a:pt x="925" y="333"/>
                      </a:lnTo>
                      <a:lnTo>
                        <a:pt x="937" y="333"/>
                      </a:lnTo>
                      <a:lnTo>
                        <a:pt x="948" y="333"/>
                      </a:lnTo>
                      <a:lnTo>
                        <a:pt x="959" y="332"/>
                      </a:lnTo>
                      <a:lnTo>
                        <a:pt x="969" y="331"/>
                      </a:lnTo>
                      <a:lnTo>
                        <a:pt x="977" y="329"/>
                      </a:lnTo>
                      <a:lnTo>
                        <a:pt x="983" y="327"/>
                      </a:lnTo>
                      <a:lnTo>
                        <a:pt x="987" y="333"/>
                      </a:lnTo>
                      <a:lnTo>
                        <a:pt x="991" y="337"/>
                      </a:lnTo>
                      <a:lnTo>
                        <a:pt x="995" y="341"/>
                      </a:lnTo>
                      <a:lnTo>
                        <a:pt x="1002" y="343"/>
                      </a:lnTo>
                      <a:lnTo>
                        <a:pt x="1015" y="347"/>
                      </a:lnTo>
                      <a:lnTo>
                        <a:pt x="1029" y="351"/>
                      </a:lnTo>
                      <a:lnTo>
                        <a:pt x="1012" y="360"/>
                      </a:lnTo>
                      <a:lnTo>
                        <a:pt x="997" y="371"/>
                      </a:lnTo>
                      <a:lnTo>
                        <a:pt x="983" y="382"/>
                      </a:lnTo>
                      <a:lnTo>
                        <a:pt x="971" y="391"/>
                      </a:lnTo>
                      <a:lnTo>
                        <a:pt x="959" y="400"/>
                      </a:lnTo>
                      <a:lnTo>
                        <a:pt x="947" y="406"/>
                      </a:lnTo>
                      <a:lnTo>
                        <a:pt x="939" y="409"/>
                      </a:lnTo>
                      <a:lnTo>
                        <a:pt x="933" y="411"/>
                      </a:lnTo>
                      <a:lnTo>
                        <a:pt x="925" y="412"/>
                      </a:lnTo>
                      <a:lnTo>
                        <a:pt x="916" y="412"/>
                      </a:lnTo>
                      <a:lnTo>
                        <a:pt x="911" y="413"/>
                      </a:lnTo>
                      <a:lnTo>
                        <a:pt x="907" y="414"/>
                      </a:lnTo>
                      <a:lnTo>
                        <a:pt x="902" y="415"/>
                      </a:lnTo>
                      <a:lnTo>
                        <a:pt x="899" y="417"/>
                      </a:lnTo>
                      <a:lnTo>
                        <a:pt x="893" y="422"/>
                      </a:lnTo>
                      <a:lnTo>
                        <a:pt x="889" y="428"/>
                      </a:lnTo>
                      <a:lnTo>
                        <a:pt x="885" y="434"/>
                      </a:lnTo>
                      <a:lnTo>
                        <a:pt x="881" y="439"/>
                      </a:lnTo>
                      <a:lnTo>
                        <a:pt x="879" y="441"/>
                      </a:lnTo>
                      <a:lnTo>
                        <a:pt x="877" y="442"/>
                      </a:lnTo>
                      <a:lnTo>
                        <a:pt x="874" y="443"/>
                      </a:lnTo>
                      <a:lnTo>
                        <a:pt x="870" y="444"/>
                      </a:lnTo>
                      <a:lnTo>
                        <a:pt x="865" y="442"/>
                      </a:lnTo>
                      <a:lnTo>
                        <a:pt x="857" y="439"/>
                      </a:lnTo>
                      <a:lnTo>
                        <a:pt x="849" y="435"/>
                      </a:lnTo>
                      <a:lnTo>
                        <a:pt x="842" y="429"/>
                      </a:lnTo>
                      <a:lnTo>
                        <a:pt x="835" y="422"/>
                      </a:lnTo>
                      <a:lnTo>
                        <a:pt x="830" y="414"/>
                      </a:lnTo>
                      <a:lnTo>
                        <a:pt x="827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4" y="400"/>
                      </a:lnTo>
                      <a:lnTo>
                        <a:pt x="840" y="400"/>
                      </a:lnTo>
                      <a:lnTo>
                        <a:pt x="851" y="400"/>
                      </a:lnTo>
                      <a:lnTo>
                        <a:pt x="851" y="393"/>
                      </a:lnTo>
                      <a:lnTo>
                        <a:pt x="851" y="382"/>
                      </a:lnTo>
                      <a:lnTo>
                        <a:pt x="837" y="382"/>
                      </a:lnTo>
                      <a:lnTo>
                        <a:pt x="827" y="382"/>
                      </a:lnTo>
                      <a:lnTo>
                        <a:pt x="816" y="382"/>
                      </a:lnTo>
                      <a:lnTo>
                        <a:pt x="804" y="382"/>
                      </a:lnTo>
                      <a:lnTo>
                        <a:pt x="798" y="381"/>
                      </a:lnTo>
                      <a:lnTo>
                        <a:pt x="792" y="379"/>
                      </a:lnTo>
                      <a:lnTo>
                        <a:pt x="788" y="376"/>
                      </a:lnTo>
                      <a:lnTo>
                        <a:pt x="784" y="373"/>
                      </a:lnTo>
                      <a:lnTo>
                        <a:pt x="780" y="369"/>
                      </a:lnTo>
                      <a:lnTo>
                        <a:pt x="776" y="366"/>
                      </a:lnTo>
                      <a:lnTo>
                        <a:pt x="770" y="364"/>
                      </a:lnTo>
                      <a:lnTo>
                        <a:pt x="764" y="363"/>
                      </a:lnTo>
                      <a:lnTo>
                        <a:pt x="759" y="364"/>
                      </a:lnTo>
                      <a:lnTo>
                        <a:pt x="755" y="366"/>
                      </a:lnTo>
                      <a:lnTo>
                        <a:pt x="752" y="369"/>
                      </a:lnTo>
                      <a:lnTo>
                        <a:pt x="749" y="374"/>
                      </a:lnTo>
                      <a:lnTo>
                        <a:pt x="747" y="379"/>
                      </a:lnTo>
                      <a:lnTo>
                        <a:pt x="745" y="384"/>
                      </a:lnTo>
                      <a:lnTo>
                        <a:pt x="744" y="389"/>
                      </a:lnTo>
                      <a:lnTo>
                        <a:pt x="744" y="394"/>
                      </a:lnTo>
                      <a:lnTo>
                        <a:pt x="711" y="394"/>
                      </a:lnTo>
                      <a:lnTo>
                        <a:pt x="711" y="412"/>
                      </a:lnTo>
                      <a:lnTo>
                        <a:pt x="715" y="414"/>
                      </a:lnTo>
                      <a:lnTo>
                        <a:pt x="720" y="418"/>
                      </a:lnTo>
                      <a:lnTo>
                        <a:pt x="726" y="423"/>
                      </a:lnTo>
                      <a:lnTo>
                        <a:pt x="733" y="430"/>
                      </a:lnTo>
                      <a:lnTo>
                        <a:pt x="747" y="445"/>
                      </a:lnTo>
                      <a:lnTo>
                        <a:pt x="762" y="462"/>
                      </a:lnTo>
                      <a:lnTo>
                        <a:pt x="775" y="478"/>
                      </a:lnTo>
                      <a:lnTo>
                        <a:pt x="787" y="494"/>
                      </a:lnTo>
                      <a:lnTo>
                        <a:pt x="795" y="505"/>
                      </a:lnTo>
                      <a:lnTo>
                        <a:pt x="798" y="511"/>
                      </a:lnTo>
                      <a:lnTo>
                        <a:pt x="797" y="517"/>
                      </a:lnTo>
                      <a:lnTo>
                        <a:pt x="795" y="523"/>
                      </a:lnTo>
                      <a:lnTo>
                        <a:pt x="795" y="527"/>
                      </a:lnTo>
                      <a:lnTo>
                        <a:pt x="795" y="530"/>
                      </a:lnTo>
                      <a:lnTo>
                        <a:pt x="796" y="533"/>
                      </a:lnTo>
                      <a:lnTo>
                        <a:pt x="798" y="535"/>
                      </a:lnTo>
                      <a:lnTo>
                        <a:pt x="788" y="539"/>
                      </a:lnTo>
                      <a:lnTo>
                        <a:pt x="779" y="543"/>
                      </a:lnTo>
                      <a:lnTo>
                        <a:pt x="771" y="547"/>
                      </a:lnTo>
                      <a:lnTo>
                        <a:pt x="765" y="551"/>
                      </a:lnTo>
                      <a:lnTo>
                        <a:pt x="758" y="554"/>
                      </a:lnTo>
                      <a:lnTo>
                        <a:pt x="752" y="558"/>
                      </a:lnTo>
                      <a:lnTo>
                        <a:pt x="745" y="560"/>
                      </a:lnTo>
                      <a:lnTo>
                        <a:pt x="737" y="560"/>
                      </a:lnTo>
                      <a:lnTo>
                        <a:pt x="723" y="559"/>
                      </a:lnTo>
                      <a:lnTo>
                        <a:pt x="708" y="556"/>
                      </a:lnTo>
                      <a:lnTo>
                        <a:pt x="695" y="552"/>
                      </a:lnTo>
                      <a:lnTo>
                        <a:pt x="681" y="546"/>
                      </a:lnTo>
                      <a:lnTo>
                        <a:pt x="669" y="540"/>
                      </a:lnTo>
                      <a:lnTo>
                        <a:pt x="659" y="531"/>
                      </a:lnTo>
                      <a:lnTo>
                        <a:pt x="651" y="524"/>
                      </a:lnTo>
                      <a:lnTo>
                        <a:pt x="644" y="517"/>
                      </a:lnTo>
                      <a:lnTo>
                        <a:pt x="618" y="517"/>
                      </a:lnTo>
                      <a:lnTo>
                        <a:pt x="621" y="525"/>
                      </a:lnTo>
                      <a:lnTo>
                        <a:pt x="624" y="531"/>
                      </a:lnTo>
                      <a:lnTo>
                        <a:pt x="629" y="538"/>
                      </a:lnTo>
                      <a:lnTo>
                        <a:pt x="634" y="543"/>
                      </a:lnTo>
                      <a:lnTo>
                        <a:pt x="645" y="552"/>
                      </a:lnTo>
                      <a:lnTo>
                        <a:pt x="657" y="560"/>
                      </a:lnTo>
                      <a:lnTo>
                        <a:pt x="668" y="567"/>
                      </a:lnTo>
                      <a:lnTo>
                        <a:pt x="678" y="575"/>
                      </a:lnTo>
                      <a:lnTo>
                        <a:pt x="683" y="580"/>
                      </a:lnTo>
                      <a:lnTo>
                        <a:pt x="687" y="585"/>
                      </a:lnTo>
                      <a:lnTo>
                        <a:pt x="689" y="590"/>
                      </a:lnTo>
                      <a:lnTo>
                        <a:pt x="691" y="598"/>
                      </a:lnTo>
                      <a:lnTo>
                        <a:pt x="678" y="601"/>
                      </a:lnTo>
                      <a:lnTo>
                        <a:pt x="665" y="604"/>
                      </a:lnTo>
                      <a:lnTo>
                        <a:pt x="644" y="603"/>
                      </a:lnTo>
                      <a:lnTo>
                        <a:pt x="618" y="599"/>
                      </a:lnTo>
                      <a:lnTo>
                        <a:pt x="589" y="592"/>
                      </a:lnTo>
                      <a:lnTo>
                        <a:pt x="558" y="584"/>
                      </a:lnTo>
                      <a:lnTo>
                        <a:pt x="544" y="580"/>
                      </a:lnTo>
                      <a:lnTo>
                        <a:pt x="531" y="575"/>
                      </a:lnTo>
                      <a:lnTo>
                        <a:pt x="518" y="570"/>
                      </a:lnTo>
                      <a:lnTo>
                        <a:pt x="507" y="565"/>
                      </a:lnTo>
                      <a:lnTo>
                        <a:pt x="497" y="559"/>
                      </a:lnTo>
                      <a:lnTo>
                        <a:pt x="488" y="554"/>
                      </a:lnTo>
                      <a:lnTo>
                        <a:pt x="483" y="548"/>
                      </a:lnTo>
                      <a:lnTo>
                        <a:pt x="478" y="542"/>
                      </a:lnTo>
                      <a:lnTo>
                        <a:pt x="475" y="532"/>
                      </a:lnTo>
                      <a:lnTo>
                        <a:pt x="471" y="523"/>
                      </a:lnTo>
                      <a:lnTo>
                        <a:pt x="464" y="513"/>
                      </a:lnTo>
                      <a:lnTo>
                        <a:pt x="457" y="504"/>
                      </a:lnTo>
                      <a:lnTo>
                        <a:pt x="451" y="496"/>
                      </a:lnTo>
                      <a:lnTo>
                        <a:pt x="444" y="489"/>
                      </a:lnTo>
                      <a:lnTo>
                        <a:pt x="438" y="484"/>
                      </a:lnTo>
                      <a:lnTo>
                        <a:pt x="432" y="480"/>
                      </a:lnTo>
                      <a:lnTo>
                        <a:pt x="410" y="473"/>
                      </a:lnTo>
                      <a:lnTo>
                        <a:pt x="388" y="468"/>
                      </a:lnTo>
                      <a:lnTo>
                        <a:pt x="384" y="467"/>
                      </a:lnTo>
                      <a:lnTo>
                        <a:pt x="379" y="465"/>
                      </a:lnTo>
                      <a:lnTo>
                        <a:pt x="375" y="463"/>
                      </a:lnTo>
                      <a:lnTo>
                        <a:pt x="372" y="460"/>
                      </a:lnTo>
                      <a:lnTo>
                        <a:pt x="370" y="457"/>
                      </a:lnTo>
                      <a:lnTo>
                        <a:pt x="367" y="453"/>
                      </a:lnTo>
                      <a:lnTo>
                        <a:pt x="366" y="449"/>
                      </a:lnTo>
                      <a:lnTo>
                        <a:pt x="365" y="444"/>
                      </a:lnTo>
                      <a:lnTo>
                        <a:pt x="366" y="441"/>
                      </a:lnTo>
                      <a:lnTo>
                        <a:pt x="368" y="439"/>
                      </a:lnTo>
                      <a:lnTo>
                        <a:pt x="373" y="437"/>
                      </a:lnTo>
                      <a:lnTo>
                        <a:pt x="378" y="436"/>
                      </a:lnTo>
                      <a:lnTo>
                        <a:pt x="392" y="433"/>
                      </a:lnTo>
                      <a:lnTo>
                        <a:pt x="406" y="430"/>
                      </a:lnTo>
                      <a:lnTo>
                        <a:pt x="435" y="427"/>
                      </a:lnTo>
                      <a:lnTo>
                        <a:pt x="452" y="424"/>
                      </a:lnTo>
                      <a:lnTo>
                        <a:pt x="452" y="416"/>
                      </a:lnTo>
                      <a:lnTo>
                        <a:pt x="454" y="409"/>
                      </a:lnTo>
                      <a:lnTo>
                        <a:pt x="456" y="404"/>
                      </a:lnTo>
                      <a:lnTo>
                        <a:pt x="459" y="399"/>
                      </a:lnTo>
                      <a:lnTo>
                        <a:pt x="461" y="394"/>
                      </a:lnTo>
                      <a:lnTo>
                        <a:pt x="463" y="390"/>
                      </a:lnTo>
                      <a:lnTo>
                        <a:pt x="465" y="386"/>
                      </a:lnTo>
                      <a:lnTo>
                        <a:pt x="465" y="382"/>
                      </a:lnTo>
                      <a:lnTo>
                        <a:pt x="479" y="382"/>
                      </a:lnTo>
                      <a:lnTo>
                        <a:pt x="490" y="380"/>
                      </a:lnTo>
                      <a:lnTo>
                        <a:pt x="500" y="378"/>
                      </a:lnTo>
                      <a:lnTo>
                        <a:pt x="508" y="375"/>
                      </a:lnTo>
                      <a:lnTo>
                        <a:pt x="521" y="368"/>
                      </a:lnTo>
                      <a:lnTo>
                        <a:pt x="532" y="363"/>
                      </a:lnTo>
                      <a:lnTo>
                        <a:pt x="572" y="363"/>
                      </a:lnTo>
                      <a:lnTo>
                        <a:pt x="573" y="369"/>
                      </a:lnTo>
                      <a:lnTo>
                        <a:pt x="575" y="376"/>
                      </a:lnTo>
                      <a:lnTo>
                        <a:pt x="577" y="380"/>
                      </a:lnTo>
                      <a:lnTo>
                        <a:pt x="580" y="384"/>
                      </a:lnTo>
                      <a:lnTo>
                        <a:pt x="583" y="387"/>
                      </a:lnTo>
                      <a:lnTo>
                        <a:pt x="587" y="389"/>
                      </a:lnTo>
                      <a:lnTo>
                        <a:pt x="590" y="391"/>
                      </a:lnTo>
                      <a:lnTo>
                        <a:pt x="595" y="393"/>
                      </a:lnTo>
                      <a:lnTo>
                        <a:pt x="603" y="394"/>
                      </a:lnTo>
                      <a:lnTo>
                        <a:pt x="614" y="395"/>
                      </a:lnTo>
                      <a:lnTo>
                        <a:pt x="625" y="394"/>
                      </a:lnTo>
                      <a:lnTo>
                        <a:pt x="637" y="394"/>
                      </a:lnTo>
                      <a:lnTo>
                        <a:pt x="650" y="394"/>
                      </a:lnTo>
                      <a:lnTo>
                        <a:pt x="659" y="393"/>
                      </a:lnTo>
                      <a:lnTo>
                        <a:pt x="668" y="392"/>
                      </a:lnTo>
                      <a:lnTo>
                        <a:pt x="675" y="390"/>
                      </a:lnTo>
                      <a:lnTo>
                        <a:pt x="687" y="387"/>
                      </a:lnTo>
                      <a:lnTo>
                        <a:pt x="698" y="382"/>
                      </a:lnTo>
                      <a:lnTo>
                        <a:pt x="698" y="373"/>
                      </a:lnTo>
                      <a:lnTo>
                        <a:pt x="698" y="363"/>
                      </a:lnTo>
                      <a:lnTo>
                        <a:pt x="605" y="351"/>
                      </a:lnTo>
                      <a:lnTo>
                        <a:pt x="596" y="351"/>
                      </a:lnTo>
                      <a:lnTo>
                        <a:pt x="588" y="353"/>
                      </a:lnTo>
                      <a:lnTo>
                        <a:pt x="581" y="355"/>
                      </a:lnTo>
                      <a:lnTo>
                        <a:pt x="576" y="357"/>
                      </a:lnTo>
                      <a:lnTo>
                        <a:pt x="572" y="359"/>
                      </a:lnTo>
                      <a:lnTo>
                        <a:pt x="567" y="361"/>
                      </a:lnTo>
                      <a:lnTo>
                        <a:pt x="563" y="362"/>
                      </a:lnTo>
                      <a:lnTo>
                        <a:pt x="558" y="363"/>
                      </a:lnTo>
                      <a:lnTo>
                        <a:pt x="550" y="362"/>
                      </a:lnTo>
                      <a:lnTo>
                        <a:pt x="542" y="361"/>
                      </a:lnTo>
                      <a:lnTo>
                        <a:pt x="540" y="360"/>
                      </a:lnTo>
                      <a:lnTo>
                        <a:pt x="536" y="360"/>
                      </a:lnTo>
                      <a:lnTo>
                        <a:pt x="534" y="361"/>
                      </a:lnTo>
                      <a:lnTo>
                        <a:pt x="532" y="363"/>
                      </a:lnTo>
                      <a:lnTo>
                        <a:pt x="533" y="358"/>
                      </a:lnTo>
                      <a:lnTo>
                        <a:pt x="535" y="354"/>
                      </a:lnTo>
                      <a:lnTo>
                        <a:pt x="539" y="350"/>
                      </a:lnTo>
                      <a:lnTo>
                        <a:pt x="542" y="347"/>
                      </a:lnTo>
                      <a:lnTo>
                        <a:pt x="550" y="339"/>
                      </a:lnTo>
                      <a:lnTo>
                        <a:pt x="557" y="332"/>
                      </a:lnTo>
                      <a:lnTo>
                        <a:pt x="565" y="324"/>
                      </a:lnTo>
                      <a:lnTo>
                        <a:pt x="572" y="316"/>
                      </a:lnTo>
                      <a:lnTo>
                        <a:pt x="574" y="311"/>
                      </a:lnTo>
                      <a:lnTo>
                        <a:pt x="576" y="306"/>
                      </a:lnTo>
                      <a:lnTo>
                        <a:pt x="577" y="301"/>
                      </a:lnTo>
                      <a:lnTo>
                        <a:pt x="578" y="295"/>
                      </a:lnTo>
                      <a:lnTo>
                        <a:pt x="577" y="290"/>
                      </a:lnTo>
                      <a:lnTo>
                        <a:pt x="576" y="283"/>
                      </a:lnTo>
                      <a:lnTo>
                        <a:pt x="575" y="280"/>
                      </a:lnTo>
                      <a:lnTo>
                        <a:pt x="575" y="277"/>
                      </a:lnTo>
                      <a:lnTo>
                        <a:pt x="576" y="274"/>
                      </a:lnTo>
                      <a:lnTo>
                        <a:pt x="578" y="271"/>
                      </a:lnTo>
                      <a:lnTo>
                        <a:pt x="568" y="271"/>
                      </a:lnTo>
                      <a:lnTo>
                        <a:pt x="558" y="269"/>
                      </a:lnTo>
                      <a:lnTo>
                        <a:pt x="550" y="267"/>
                      </a:lnTo>
                      <a:lnTo>
                        <a:pt x="541" y="263"/>
                      </a:lnTo>
                      <a:lnTo>
                        <a:pt x="533" y="258"/>
                      </a:lnTo>
                      <a:lnTo>
                        <a:pt x="524" y="254"/>
                      </a:lnTo>
                      <a:lnTo>
                        <a:pt x="518" y="248"/>
                      </a:lnTo>
                      <a:lnTo>
                        <a:pt x="511" y="243"/>
                      </a:lnTo>
                      <a:lnTo>
                        <a:pt x="499" y="231"/>
                      </a:lnTo>
                      <a:lnTo>
                        <a:pt x="489" y="219"/>
                      </a:lnTo>
                      <a:lnTo>
                        <a:pt x="483" y="208"/>
                      </a:lnTo>
                      <a:lnTo>
                        <a:pt x="478" y="196"/>
                      </a:lnTo>
                      <a:lnTo>
                        <a:pt x="473" y="198"/>
                      </a:lnTo>
                      <a:lnTo>
                        <a:pt x="467" y="198"/>
                      </a:lnTo>
                      <a:lnTo>
                        <a:pt x="463" y="198"/>
                      </a:lnTo>
                      <a:lnTo>
                        <a:pt x="459" y="196"/>
                      </a:lnTo>
                      <a:lnTo>
                        <a:pt x="452" y="190"/>
                      </a:lnTo>
                      <a:lnTo>
                        <a:pt x="446" y="183"/>
                      </a:lnTo>
                      <a:lnTo>
                        <a:pt x="441" y="175"/>
                      </a:lnTo>
                      <a:lnTo>
                        <a:pt x="434" y="168"/>
                      </a:lnTo>
                      <a:lnTo>
                        <a:pt x="431" y="165"/>
                      </a:lnTo>
                      <a:lnTo>
                        <a:pt x="428" y="162"/>
                      </a:lnTo>
                      <a:lnTo>
                        <a:pt x="423" y="161"/>
                      </a:lnTo>
                      <a:lnTo>
                        <a:pt x="419" y="160"/>
                      </a:lnTo>
                      <a:lnTo>
                        <a:pt x="415" y="161"/>
                      </a:lnTo>
                      <a:lnTo>
                        <a:pt x="411" y="162"/>
                      </a:lnTo>
                      <a:lnTo>
                        <a:pt x="408" y="163"/>
                      </a:lnTo>
                      <a:lnTo>
                        <a:pt x="404" y="165"/>
                      </a:lnTo>
                      <a:lnTo>
                        <a:pt x="397" y="170"/>
                      </a:lnTo>
                      <a:lnTo>
                        <a:pt x="392" y="177"/>
                      </a:lnTo>
                      <a:lnTo>
                        <a:pt x="386" y="184"/>
                      </a:lnTo>
                      <a:lnTo>
                        <a:pt x="382" y="191"/>
                      </a:lnTo>
                      <a:lnTo>
                        <a:pt x="379" y="197"/>
                      </a:lnTo>
                      <a:lnTo>
                        <a:pt x="378" y="203"/>
                      </a:lnTo>
                      <a:lnTo>
                        <a:pt x="339" y="203"/>
                      </a:lnTo>
                      <a:lnTo>
                        <a:pt x="317" y="194"/>
                      </a:lnTo>
                      <a:lnTo>
                        <a:pt x="295" y="188"/>
                      </a:lnTo>
                      <a:lnTo>
                        <a:pt x="273" y="182"/>
                      </a:lnTo>
                      <a:lnTo>
                        <a:pt x="252" y="178"/>
                      </a:lnTo>
                      <a:lnTo>
                        <a:pt x="230" y="176"/>
                      </a:lnTo>
                      <a:lnTo>
                        <a:pt x="207" y="174"/>
                      </a:lnTo>
                      <a:lnTo>
                        <a:pt x="184" y="173"/>
                      </a:lnTo>
                      <a:lnTo>
                        <a:pt x="160" y="172"/>
                      </a:lnTo>
                      <a:lnTo>
                        <a:pt x="148" y="173"/>
                      </a:lnTo>
                      <a:lnTo>
                        <a:pt x="138" y="176"/>
                      </a:lnTo>
                      <a:lnTo>
                        <a:pt x="129" y="180"/>
                      </a:lnTo>
                      <a:lnTo>
                        <a:pt x="121" y="184"/>
                      </a:lnTo>
                      <a:lnTo>
                        <a:pt x="114" y="189"/>
                      </a:lnTo>
                      <a:lnTo>
                        <a:pt x="107" y="193"/>
                      </a:lnTo>
                      <a:lnTo>
                        <a:pt x="101" y="195"/>
                      </a:lnTo>
                      <a:lnTo>
                        <a:pt x="93" y="196"/>
                      </a:lnTo>
                      <a:lnTo>
                        <a:pt x="88" y="196"/>
                      </a:lnTo>
                      <a:lnTo>
                        <a:pt x="84" y="194"/>
                      </a:lnTo>
                      <a:lnTo>
                        <a:pt x="81" y="190"/>
                      </a:lnTo>
                      <a:lnTo>
                        <a:pt x="79" y="187"/>
                      </a:lnTo>
                      <a:lnTo>
                        <a:pt x="74" y="179"/>
                      </a:lnTo>
                      <a:lnTo>
                        <a:pt x="73" y="172"/>
                      </a:lnTo>
                      <a:lnTo>
                        <a:pt x="50" y="177"/>
                      </a:lnTo>
                      <a:lnTo>
                        <a:pt x="29" y="181"/>
                      </a:lnTo>
                      <a:lnTo>
                        <a:pt x="25" y="181"/>
                      </a:lnTo>
                      <a:lnTo>
                        <a:pt x="20" y="180"/>
                      </a:lnTo>
                      <a:lnTo>
                        <a:pt x="16" y="180"/>
                      </a:lnTo>
                      <a:lnTo>
                        <a:pt x="13" y="178"/>
                      </a:lnTo>
                      <a:lnTo>
                        <a:pt x="8" y="176"/>
                      </a:lnTo>
                      <a:lnTo>
                        <a:pt x="6" y="174"/>
                      </a:lnTo>
                      <a:lnTo>
                        <a:pt x="3" y="170"/>
                      </a:lnTo>
                      <a:lnTo>
                        <a:pt x="0" y="166"/>
                      </a:lnTo>
                      <a:lnTo>
                        <a:pt x="4" y="162"/>
                      </a:lnTo>
                      <a:lnTo>
                        <a:pt x="9" y="158"/>
                      </a:lnTo>
                      <a:lnTo>
                        <a:pt x="14" y="155"/>
                      </a:lnTo>
                      <a:lnTo>
                        <a:pt x="20" y="152"/>
                      </a:lnTo>
                      <a:lnTo>
                        <a:pt x="32" y="149"/>
                      </a:lnTo>
                      <a:lnTo>
                        <a:pt x="46" y="146"/>
                      </a:lnTo>
                      <a:lnTo>
                        <a:pt x="59" y="145"/>
                      </a:lnTo>
                      <a:lnTo>
                        <a:pt x="70" y="147"/>
                      </a:lnTo>
                      <a:lnTo>
                        <a:pt x="75" y="149"/>
                      </a:lnTo>
                      <a:lnTo>
                        <a:pt x="80" y="150"/>
                      </a:lnTo>
                      <a:lnTo>
                        <a:pt x="83" y="152"/>
                      </a:lnTo>
                      <a:lnTo>
                        <a:pt x="86" y="154"/>
                      </a:lnTo>
                      <a:lnTo>
                        <a:pt x="86" y="139"/>
                      </a:lnTo>
                      <a:lnTo>
                        <a:pt x="86" y="129"/>
                      </a:lnTo>
                      <a:lnTo>
                        <a:pt x="73" y="12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4" name="Freeform 417"/>
                <p:cNvSpPr>
                  <a:spLocks/>
                </p:cNvSpPr>
                <p:nvPr/>
              </p:nvSpPr>
              <p:spPr bwMode="auto">
                <a:xfrm>
                  <a:off x="1528" y="1110"/>
                  <a:ext cx="409" cy="105"/>
                </a:xfrm>
                <a:custGeom>
                  <a:avLst/>
                  <a:gdLst>
                    <a:gd name="T0" fmla="*/ 797 w 1268"/>
                    <a:gd name="T1" fmla="*/ 38 h 321"/>
                    <a:gd name="T2" fmla="*/ 813 w 1268"/>
                    <a:gd name="T3" fmla="*/ 16 h 321"/>
                    <a:gd name="T4" fmla="*/ 846 w 1268"/>
                    <a:gd name="T5" fmla="*/ 10 h 321"/>
                    <a:gd name="T6" fmla="*/ 865 w 1268"/>
                    <a:gd name="T7" fmla="*/ 25 h 321"/>
                    <a:gd name="T8" fmla="*/ 938 w 1268"/>
                    <a:gd name="T9" fmla="*/ 14 h 321"/>
                    <a:gd name="T10" fmla="*/ 1020 w 1268"/>
                    <a:gd name="T11" fmla="*/ 1 h 321"/>
                    <a:gd name="T12" fmla="*/ 1084 w 1268"/>
                    <a:gd name="T13" fmla="*/ 17 h 321"/>
                    <a:gd name="T14" fmla="*/ 1133 w 1268"/>
                    <a:gd name="T15" fmla="*/ 20 h 321"/>
                    <a:gd name="T16" fmla="*/ 1268 w 1268"/>
                    <a:gd name="T17" fmla="*/ 32 h 321"/>
                    <a:gd name="T18" fmla="*/ 1242 w 1268"/>
                    <a:gd name="T19" fmla="*/ 50 h 321"/>
                    <a:gd name="T20" fmla="*/ 1163 w 1268"/>
                    <a:gd name="T21" fmla="*/ 64 h 321"/>
                    <a:gd name="T22" fmla="*/ 1053 w 1268"/>
                    <a:gd name="T23" fmla="*/ 77 h 321"/>
                    <a:gd name="T24" fmla="*/ 1029 w 1268"/>
                    <a:gd name="T25" fmla="*/ 96 h 321"/>
                    <a:gd name="T26" fmla="*/ 999 w 1268"/>
                    <a:gd name="T27" fmla="*/ 104 h 321"/>
                    <a:gd name="T28" fmla="*/ 942 w 1268"/>
                    <a:gd name="T29" fmla="*/ 102 h 321"/>
                    <a:gd name="T30" fmla="*/ 930 w 1268"/>
                    <a:gd name="T31" fmla="*/ 118 h 321"/>
                    <a:gd name="T32" fmla="*/ 747 w 1268"/>
                    <a:gd name="T33" fmla="*/ 133 h 321"/>
                    <a:gd name="T34" fmla="*/ 666 w 1268"/>
                    <a:gd name="T35" fmla="*/ 156 h 321"/>
                    <a:gd name="T36" fmla="*/ 635 w 1268"/>
                    <a:gd name="T37" fmla="*/ 181 h 321"/>
                    <a:gd name="T38" fmla="*/ 591 w 1268"/>
                    <a:gd name="T39" fmla="*/ 167 h 321"/>
                    <a:gd name="T40" fmla="*/ 570 w 1268"/>
                    <a:gd name="T41" fmla="*/ 181 h 321"/>
                    <a:gd name="T42" fmla="*/ 590 w 1268"/>
                    <a:gd name="T43" fmla="*/ 207 h 321"/>
                    <a:gd name="T44" fmla="*/ 545 w 1268"/>
                    <a:gd name="T45" fmla="*/ 237 h 321"/>
                    <a:gd name="T46" fmla="*/ 483 w 1268"/>
                    <a:gd name="T47" fmla="*/ 236 h 321"/>
                    <a:gd name="T48" fmla="*/ 404 w 1268"/>
                    <a:gd name="T49" fmla="*/ 242 h 321"/>
                    <a:gd name="T50" fmla="*/ 405 w 1268"/>
                    <a:gd name="T51" fmla="*/ 257 h 321"/>
                    <a:gd name="T52" fmla="*/ 392 w 1268"/>
                    <a:gd name="T53" fmla="*/ 293 h 321"/>
                    <a:gd name="T54" fmla="*/ 333 w 1268"/>
                    <a:gd name="T55" fmla="*/ 320 h 321"/>
                    <a:gd name="T56" fmla="*/ 290 w 1268"/>
                    <a:gd name="T57" fmla="*/ 296 h 321"/>
                    <a:gd name="T58" fmla="*/ 253 w 1268"/>
                    <a:gd name="T59" fmla="*/ 285 h 321"/>
                    <a:gd name="T60" fmla="*/ 96 w 1268"/>
                    <a:gd name="T61" fmla="*/ 276 h 321"/>
                    <a:gd name="T62" fmla="*/ 0 w 1268"/>
                    <a:gd name="T63" fmla="*/ 285 h 321"/>
                    <a:gd name="T64" fmla="*/ 10 w 1268"/>
                    <a:gd name="T65" fmla="*/ 266 h 321"/>
                    <a:gd name="T66" fmla="*/ 56 w 1268"/>
                    <a:gd name="T67" fmla="*/ 246 h 321"/>
                    <a:gd name="T68" fmla="*/ 143 w 1268"/>
                    <a:gd name="T69" fmla="*/ 235 h 321"/>
                    <a:gd name="T70" fmla="*/ 170 w 1268"/>
                    <a:gd name="T71" fmla="*/ 225 h 321"/>
                    <a:gd name="T72" fmla="*/ 190 w 1268"/>
                    <a:gd name="T73" fmla="*/ 217 h 321"/>
                    <a:gd name="T74" fmla="*/ 219 w 1268"/>
                    <a:gd name="T75" fmla="*/ 232 h 321"/>
                    <a:gd name="T76" fmla="*/ 247 w 1268"/>
                    <a:gd name="T77" fmla="*/ 247 h 321"/>
                    <a:gd name="T78" fmla="*/ 208 w 1268"/>
                    <a:gd name="T79" fmla="*/ 207 h 321"/>
                    <a:gd name="T80" fmla="*/ 193 w 1268"/>
                    <a:gd name="T81" fmla="*/ 200 h 321"/>
                    <a:gd name="T82" fmla="*/ 197 w 1268"/>
                    <a:gd name="T83" fmla="*/ 181 h 321"/>
                    <a:gd name="T84" fmla="*/ 246 w 1268"/>
                    <a:gd name="T85" fmla="*/ 174 h 321"/>
                    <a:gd name="T86" fmla="*/ 365 w 1268"/>
                    <a:gd name="T87" fmla="*/ 186 h 321"/>
                    <a:gd name="T88" fmla="*/ 418 w 1268"/>
                    <a:gd name="T89" fmla="*/ 174 h 321"/>
                    <a:gd name="T90" fmla="*/ 322 w 1268"/>
                    <a:gd name="T91" fmla="*/ 169 h 321"/>
                    <a:gd name="T92" fmla="*/ 299 w 1268"/>
                    <a:gd name="T93" fmla="*/ 149 h 321"/>
                    <a:gd name="T94" fmla="*/ 378 w 1268"/>
                    <a:gd name="T95" fmla="*/ 137 h 321"/>
                    <a:gd name="T96" fmla="*/ 438 w 1268"/>
                    <a:gd name="T97" fmla="*/ 155 h 321"/>
                    <a:gd name="T98" fmla="*/ 478 w 1268"/>
                    <a:gd name="T99" fmla="*/ 124 h 321"/>
                    <a:gd name="T100" fmla="*/ 664 w 1268"/>
                    <a:gd name="T101" fmla="*/ 87 h 321"/>
                    <a:gd name="T102" fmla="*/ 589 w 1268"/>
                    <a:gd name="T103" fmla="*/ 110 h 321"/>
                    <a:gd name="T104" fmla="*/ 449 w 1268"/>
                    <a:gd name="T105" fmla="*/ 111 h 321"/>
                    <a:gd name="T106" fmla="*/ 312 w 1268"/>
                    <a:gd name="T107" fmla="*/ 116 h 321"/>
                    <a:gd name="T108" fmla="*/ 253 w 1268"/>
                    <a:gd name="T109" fmla="*/ 101 h 321"/>
                    <a:gd name="T110" fmla="*/ 219 w 1268"/>
                    <a:gd name="T111" fmla="*/ 80 h 321"/>
                    <a:gd name="T112" fmla="*/ 253 w 1268"/>
                    <a:gd name="T113" fmla="*/ 71 h 321"/>
                    <a:gd name="T114" fmla="*/ 446 w 1268"/>
                    <a:gd name="T115" fmla="*/ 47 h 321"/>
                    <a:gd name="T116" fmla="*/ 618 w 1268"/>
                    <a:gd name="T117" fmla="*/ 32 h 321"/>
                    <a:gd name="T118" fmla="*/ 674 w 1268"/>
                    <a:gd name="T119" fmla="*/ 20 h 321"/>
                    <a:gd name="T120" fmla="*/ 757 w 1268"/>
                    <a:gd name="T121" fmla="*/ 26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68" h="321">
                      <a:moveTo>
                        <a:pt x="764" y="26"/>
                      </a:moveTo>
                      <a:lnTo>
                        <a:pt x="770" y="30"/>
                      </a:lnTo>
                      <a:lnTo>
                        <a:pt x="778" y="34"/>
                      </a:lnTo>
                      <a:lnTo>
                        <a:pt x="787" y="37"/>
                      </a:lnTo>
                      <a:lnTo>
                        <a:pt x="797" y="38"/>
                      </a:lnTo>
                      <a:lnTo>
                        <a:pt x="797" y="35"/>
                      </a:lnTo>
                      <a:lnTo>
                        <a:pt x="799" y="31"/>
                      </a:lnTo>
                      <a:lnTo>
                        <a:pt x="803" y="26"/>
                      </a:lnTo>
                      <a:lnTo>
                        <a:pt x="807" y="20"/>
                      </a:lnTo>
                      <a:lnTo>
                        <a:pt x="813" y="16"/>
                      </a:lnTo>
                      <a:lnTo>
                        <a:pt x="819" y="11"/>
                      </a:lnTo>
                      <a:lnTo>
                        <a:pt x="828" y="9"/>
                      </a:lnTo>
                      <a:lnTo>
                        <a:pt x="837" y="8"/>
                      </a:lnTo>
                      <a:lnTo>
                        <a:pt x="841" y="8"/>
                      </a:lnTo>
                      <a:lnTo>
                        <a:pt x="846" y="10"/>
                      </a:lnTo>
                      <a:lnTo>
                        <a:pt x="850" y="13"/>
                      </a:lnTo>
                      <a:lnTo>
                        <a:pt x="853" y="17"/>
                      </a:lnTo>
                      <a:lnTo>
                        <a:pt x="858" y="20"/>
                      </a:lnTo>
                      <a:lnTo>
                        <a:pt x="861" y="23"/>
                      </a:lnTo>
                      <a:lnTo>
                        <a:pt x="865" y="25"/>
                      </a:lnTo>
                      <a:lnTo>
                        <a:pt x="870" y="26"/>
                      </a:lnTo>
                      <a:lnTo>
                        <a:pt x="888" y="25"/>
                      </a:lnTo>
                      <a:lnTo>
                        <a:pt x="906" y="22"/>
                      </a:lnTo>
                      <a:lnTo>
                        <a:pt x="921" y="18"/>
                      </a:lnTo>
                      <a:lnTo>
                        <a:pt x="938" y="14"/>
                      </a:lnTo>
                      <a:lnTo>
                        <a:pt x="953" y="9"/>
                      </a:lnTo>
                      <a:lnTo>
                        <a:pt x="970" y="4"/>
                      </a:lnTo>
                      <a:lnTo>
                        <a:pt x="988" y="2"/>
                      </a:lnTo>
                      <a:lnTo>
                        <a:pt x="1009" y="0"/>
                      </a:lnTo>
                      <a:lnTo>
                        <a:pt x="1020" y="1"/>
                      </a:lnTo>
                      <a:lnTo>
                        <a:pt x="1032" y="3"/>
                      </a:lnTo>
                      <a:lnTo>
                        <a:pt x="1045" y="7"/>
                      </a:lnTo>
                      <a:lnTo>
                        <a:pt x="1059" y="11"/>
                      </a:lnTo>
                      <a:lnTo>
                        <a:pt x="1072" y="14"/>
                      </a:lnTo>
                      <a:lnTo>
                        <a:pt x="1084" y="17"/>
                      </a:lnTo>
                      <a:lnTo>
                        <a:pt x="1094" y="19"/>
                      </a:lnTo>
                      <a:lnTo>
                        <a:pt x="1103" y="20"/>
                      </a:lnTo>
                      <a:lnTo>
                        <a:pt x="1115" y="20"/>
                      </a:lnTo>
                      <a:lnTo>
                        <a:pt x="1123" y="20"/>
                      </a:lnTo>
                      <a:lnTo>
                        <a:pt x="1133" y="20"/>
                      </a:lnTo>
                      <a:lnTo>
                        <a:pt x="1149" y="20"/>
                      </a:lnTo>
                      <a:lnTo>
                        <a:pt x="1180" y="21"/>
                      </a:lnTo>
                      <a:lnTo>
                        <a:pt x="1209" y="23"/>
                      </a:lnTo>
                      <a:lnTo>
                        <a:pt x="1236" y="27"/>
                      </a:lnTo>
                      <a:lnTo>
                        <a:pt x="1268" y="32"/>
                      </a:lnTo>
                      <a:lnTo>
                        <a:pt x="1266" y="36"/>
                      </a:lnTo>
                      <a:lnTo>
                        <a:pt x="1263" y="39"/>
                      </a:lnTo>
                      <a:lnTo>
                        <a:pt x="1258" y="42"/>
                      </a:lnTo>
                      <a:lnTo>
                        <a:pt x="1253" y="45"/>
                      </a:lnTo>
                      <a:lnTo>
                        <a:pt x="1242" y="50"/>
                      </a:lnTo>
                      <a:lnTo>
                        <a:pt x="1229" y="54"/>
                      </a:lnTo>
                      <a:lnTo>
                        <a:pt x="1213" y="57"/>
                      </a:lnTo>
                      <a:lnTo>
                        <a:pt x="1198" y="59"/>
                      </a:lnTo>
                      <a:lnTo>
                        <a:pt x="1180" y="62"/>
                      </a:lnTo>
                      <a:lnTo>
                        <a:pt x="1163" y="64"/>
                      </a:lnTo>
                      <a:lnTo>
                        <a:pt x="1128" y="66"/>
                      </a:lnTo>
                      <a:lnTo>
                        <a:pt x="1094" y="69"/>
                      </a:lnTo>
                      <a:lnTo>
                        <a:pt x="1078" y="71"/>
                      </a:lnTo>
                      <a:lnTo>
                        <a:pt x="1065" y="74"/>
                      </a:lnTo>
                      <a:lnTo>
                        <a:pt x="1053" y="77"/>
                      </a:lnTo>
                      <a:lnTo>
                        <a:pt x="1043" y="81"/>
                      </a:lnTo>
                      <a:lnTo>
                        <a:pt x="1039" y="84"/>
                      </a:lnTo>
                      <a:lnTo>
                        <a:pt x="1034" y="87"/>
                      </a:lnTo>
                      <a:lnTo>
                        <a:pt x="1031" y="91"/>
                      </a:lnTo>
                      <a:lnTo>
                        <a:pt x="1029" y="96"/>
                      </a:lnTo>
                      <a:lnTo>
                        <a:pt x="1026" y="99"/>
                      </a:lnTo>
                      <a:lnTo>
                        <a:pt x="1021" y="102"/>
                      </a:lnTo>
                      <a:lnTo>
                        <a:pt x="1016" y="105"/>
                      </a:lnTo>
                      <a:lnTo>
                        <a:pt x="1009" y="105"/>
                      </a:lnTo>
                      <a:lnTo>
                        <a:pt x="999" y="104"/>
                      </a:lnTo>
                      <a:lnTo>
                        <a:pt x="991" y="102"/>
                      </a:lnTo>
                      <a:lnTo>
                        <a:pt x="983" y="98"/>
                      </a:lnTo>
                      <a:lnTo>
                        <a:pt x="976" y="93"/>
                      </a:lnTo>
                      <a:lnTo>
                        <a:pt x="943" y="93"/>
                      </a:lnTo>
                      <a:lnTo>
                        <a:pt x="942" y="102"/>
                      </a:lnTo>
                      <a:lnTo>
                        <a:pt x="939" y="110"/>
                      </a:lnTo>
                      <a:lnTo>
                        <a:pt x="937" y="113"/>
                      </a:lnTo>
                      <a:lnTo>
                        <a:pt x="935" y="115"/>
                      </a:lnTo>
                      <a:lnTo>
                        <a:pt x="932" y="118"/>
                      </a:lnTo>
                      <a:lnTo>
                        <a:pt x="930" y="118"/>
                      </a:lnTo>
                      <a:lnTo>
                        <a:pt x="902" y="119"/>
                      </a:lnTo>
                      <a:lnTo>
                        <a:pt x="862" y="120"/>
                      </a:lnTo>
                      <a:lnTo>
                        <a:pt x="818" y="124"/>
                      </a:lnTo>
                      <a:lnTo>
                        <a:pt x="771" y="129"/>
                      </a:lnTo>
                      <a:lnTo>
                        <a:pt x="747" y="133"/>
                      </a:lnTo>
                      <a:lnTo>
                        <a:pt x="725" y="137"/>
                      </a:lnTo>
                      <a:lnTo>
                        <a:pt x="703" y="143"/>
                      </a:lnTo>
                      <a:lnTo>
                        <a:pt x="683" y="149"/>
                      </a:lnTo>
                      <a:lnTo>
                        <a:pt x="674" y="153"/>
                      </a:lnTo>
                      <a:lnTo>
                        <a:pt x="666" y="156"/>
                      </a:lnTo>
                      <a:lnTo>
                        <a:pt x="658" y="160"/>
                      </a:lnTo>
                      <a:lnTo>
                        <a:pt x="651" y="165"/>
                      </a:lnTo>
                      <a:lnTo>
                        <a:pt x="645" y="169"/>
                      </a:lnTo>
                      <a:lnTo>
                        <a:pt x="639" y="175"/>
                      </a:lnTo>
                      <a:lnTo>
                        <a:pt x="635" y="181"/>
                      </a:lnTo>
                      <a:lnTo>
                        <a:pt x="630" y="186"/>
                      </a:lnTo>
                      <a:lnTo>
                        <a:pt x="604" y="186"/>
                      </a:lnTo>
                      <a:lnTo>
                        <a:pt x="604" y="177"/>
                      </a:lnTo>
                      <a:lnTo>
                        <a:pt x="604" y="167"/>
                      </a:lnTo>
                      <a:lnTo>
                        <a:pt x="591" y="167"/>
                      </a:lnTo>
                      <a:lnTo>
                        <a:pt x="579" y="167"/>
                      </a:lnTo>
                      <a:lnTo>
                        <a:pt x="562" y="167"/>
                      </a:lnTo>
                      <a:lnTo>
                        <a:pt x="538" y="167"/>
                      </a:lnTo>
                      <a:lnTo>
                        <a:pt x="556" y="175"/>
                      </a:lnTo>
                      <a:lnTo>
                        <a:pt x="570" y="181"/>
                      </a:lnTo>
                      <a:lnTo>
                        <a:pt x="577" y="185"/>
                      </a:lnTo>
                      <a:lnTo>
                        <a:pt x="583" y="190"/>
                      </a:lnTo>
                      <a:lnTo>
                        <a:pt x="591" y="196"/>
                      </a:lnTo>
                      <a:lnTo>
                        <a:pt x="597" y="204"/>
                      </a:lnTo>
                      <a:lnTo>
                        <a:pt x="590" y="207"/>
                      </a:lnTo>
                      <a:lnTo>
                        <a:pt x="581" y="212"/>
                      </a:lnTo>
                      <a:lnTo>
                        <a:pt x="571" y="218"/>
                      </a:lnTo>
                      <a:lnTo>
                        <a:pt x="562" y="225"/>
                      </a:lnTo>
                      <a:lnTo>
                        <a:pt x="552" y="232"/>
                      </a:lnTo>
                      <a:lnTo>
                        <a:pt x="545" y="237"/>
                      </a:lnTo>
                      <a:lnTo>
                        <a:pt x="537" y="240"/>
                      </a:lnTo>
                      <a:lnTo>
                        <a:pt x="532" y="241"/>
                      </a:lnTo>
                      <a:lnTo>
                        <a:pt x="517" y="241"/>
                      </a:lnTo>
                      <a:lnTo>
                        <a:pt x="502" y="238"/>
                      </a:lnTo>
                      <a:lnTo>
                        <a:pt x="483" y="236"/>
                      </a:lnTo>
                      <a:lnTo>
                        <a:pt x="458" y="235"/>
                      </a:lnTo>
                      <a:lnTo>
                        <a:pt x="442" y="236"/>
                      </a:lnTo>
                      <a:lnTo>
                        <a:pt x="427" y="237"/>
                      </a:lnTo>
                      <a:lnTo>
                        <a:pt x="415" y="240"/>
                      </a:lnTo>
                      <a:lnTo>
                        <a:pt x="404" y="242"/>
                      </a:lnTo>
                      <a:lnTo>
                        <a:pt x="384" y="248"/>
                      </a:lnTo>
                      <a:lnTo>
                        <a:pt x="365" y="254"/>
                      </a:lnTo>
                      <a:lnTo>
                        <a:pt x="382" y="257"/>
                      </a:lnTo>
                      <a:lnTo>
                        <a:pt x="394" y="258"/>
                      </a:lnTo>
                      <a:lnTo>
                        <a:pt x="405" y="257"/>
                      </a:lnTo>
                      <a:lnTo>
                        <a:pt x="418" y="254"/>
                      </a:lnTo>
                      <a:lnTo>
                        <a:pt x="418" y="272"/>
                      </a:lnTo>
                      <a:lnTo>
                        <a:pt x="413" y="277"/>
                      </a:lnTo>
                      <a:lnTo>
                        <a:pt x="404" y="285"/>
                      </a:lnTo>
                      <a:lnTo>
                        <a:pt x="392" y="293"/>
                      </a:lnTo>
                      <a:lnTo>
                        <a:pt x="379" y="301"/>
                      </a:lnTo>
                      <a:lnTo>
                        <a:pt x="356" y="315"/>
                      </a:lnTo>
                      <a:lnTo>
                        <a:pt x="345" y="321"/>
                      </a:lnTo>
                      <a:lnTo>
                        <a:pt x="339" y="321"/>
                      </a:lnTo>
                      <a:lnTo>
                        <a:pt x="333" y="320"/>
                      </a:lnTo>
                      <a:lnTo>
                        <a:pt x="327" y="318"/>
                      </a:lnTo>
                      <a:lnTo>
                        <a:pt x="322" y="315"/>
                      </a:lnTo>
                      <a:lnTo>
                        <a:pt x="312" y="310"/>
                      </a:lnTo>
                      <a:lnTo>
                        <a:pt x="301" y="303"/>
                      </a:lnTo>
                      <a:lnTo>
                        <a:pt x="290" y="296"/>
                      </a:lnTo>
                      <a:lnTo>
                        <a:pt x="279" y="290"/>
                      </a:lnTo>
                      <a:lnTo>
                        <a:pt x="272" y="288"/>
                      </a:lnTo>
                      <a:lnTo>
                        <a:pt x="266" y="286"/>
                      </a:lnTo>
                      <a:lnTo>
                        <a:pt x="259" y="285"/>
                      </a:lnTo>
                      <a:lnTo>
                        <a:pt x="253" y="285"/>
                      </a:lnTo>
                      <a:lnTo>
                        <a:pt x="215" y="283"/>
                      </a:lnTo>
                      <a:lnTo>
                        <a:pt x="182" y="281"/>
                      </a:lnTo>
                      <a:lnTo>
                        <a:pt x="152" y="279"/>
                      </a:lnTo>
                      <a:lnTo>
                        <a:pt x="123" y="277"/>
                      </a:lnTo>
                      <a:lnTo>
                        <a:pt x="96" y="276"/>
                      </a:lnTo>
                      <a:lnTo>
                        <a:pt x="66" y="276"/>
                      </a:lnTo>
                      <a:lnTo>
                        <a:pt x="51" y="277"/>
                      </a:lnTo>
                      <a:lnTo>
                        <a:pt x="35" y="279"/>
                      </a:lnTo>
                      <a:lnTo>
                        <a:pt x="18" y="281"/>
                      </a:lnTo>
                      <a:lnTo>
                        <a:pt x="0" y="285"/>
                      </a:lnTo>
                      <a:lnTo>
                        <a:pt x="0" y="281"/>
                      </a:lnTo>
                      <a:lnTo>
                        <a:pt x="1" y="277"/>
                      </a:lnTo>
                      <a:lnTo>
                        <a:pt x="2" y="274"/>
                      </a:lnTo>
                      <a:lnTo>
                        <a:pt x="5" y="271"/>
                      </a:lnTo>
                      <a:lnTo>
                        <a:pt x="10" y="266"/>
                      </a:lnTo>
                      <a:lnTo>
                        <a:pt x="17" y="261"/>
                      </a:lnTo>
                      <a:lnTo>
                        <a:pt x="25" y="257"/>
                      </a:lnTo>
                      <a:lnTo>
                        <a:pt x="35" y="253"/>
                      </a:lnTo>
                      <a:lnTo>
                        <a:pt x="45" y="249"/>
                      </a:lnTo>
                      <a:lnTo>
                        <a:pt x="56" y="246"/>
                      </a:lnTo>
                      <a:lnTo>
                        <a:pt x="79" y="241"/>
                      </a:lnTo>
                      <a:lnTo>
                        <a:pt x="101" y="238"/>
                      </a:lnTo>
                      <a:lnTo>
                        <a:pt x="120" y="236"/>
                      </a:lnTo>
                      <a:lnTo>
                        <a:pt x="133" y="235"/>
                      </a:lnTo>
                      <a:lnTo>
                        <a:pt x="143" y="235"/>
                      </a:lnTo>
                      <a:lnTo>
                        <a:pt x="159" y="235"/>
                      </a:lnTo>
                      <a:lnTo>
                        <a:pt x="162" y="235"/>
                      </a:lnTo>
                      <a:lnTo>
                        <a:pt x="164" y="233"/>
                      </a:lnTo>
                      <a:lnTo>
                        <a:pt x="167" y="230"/>
                      </a:lnTo>
                      <a:lnTo>
                        <a:pt x="170" y="225"/>
                      </a:lnTo>
                      <a:lnTo>
                        <a:pt x="174" y="222"/>
                      </a:lnTo>
                      <a:lnTo>
                        <a:pt x="177" y="219"/>
                      </a:lnTo>
                      <a:lnTo>
                        <a:pt x="181" y="217"/>
                      </a:lnTo>
                      <a:lnTo>
                        <a:pt x="186" y="216"/>
                      </a:lnTo>
                      <a:lnTo>
                        <a:pt x="190" y="217"/>
                      </a:lnTo>
                      <a:lnTo>
                        <a:pt x="196" y="218"/>
                      </a:lnTo>
                      <a:lnTo>
                        <a:pt x="200" y="219"/>
                      </a:lnTo>
                      <a:lnTo>
                        <a:pt x="203" y="221"/>
                      </a:lnTo>
                      <a:lnTo>
                        <a:pt x="211" y="226"/>
                      </a:lnTo>
                      <a:lnTo>
                        <a:pt x="219" y="232"/>
                      </a:lnTo>
                      <a:lnTo>
                        <a:pt x="226" y="238"/>
                      </a:lnTo>
                      <a:lnTo>
                        <a:pt x="234" y="243"/>
                      </a:lnTo>
                      <a:lnTo>
                        <a:pt x="238" y="245"/>
                      </a:lnTo>
                      <a:lnTo>
                        <a:pt x="243" y="246"/>
                      </a:lnTo>
                      <a:lnTo>
                        <a:pt x="247" y="247"/>
                      </a:lnTo>
                      <a:lnTo>
                        <a:pt x="253" y="247"/>
                      </a:lnTo>
                      <a:lnTo>
                        <a:pt x="253" y="204"/>
                      </a:lnTo>
                      <a:lnTo>
                        <a:pt x="232" y="206"/>
                      </a:lnTo>
                      <a:lnTo>
                        <a:pt x="212" y="207"/>
                      </a:lnTo>
                      <a:lnTo>
                        <a:pt x="208" y="207"/>
                      </a:lnTo>
                      <a:lnTo>
                        <a:pt x="204" y="207"/>
                      </a:lnTo>
                      <a:lnTo>
                        <a:pt x="201" y="206"/>
                      </a:lnTo>
                      <a:lnTo>
                        <a:pt x="198" y="204"/>
                      </a:lnTo>
                      <a:lnTo>
                        <a:pt x="196" y="202"/>
                      </a:lnTo>
                      <a:lnTo>
                        <a:pt x="193" y="200"/>
                      </a:lnTo>
                      <a:lnTo>
                        <a:pt x="192" y="196"/>
                      </a:lnTo>
                      <a:lnTo>
                        <a:pt x="192" y="192"/>
                      </a:lnTo>
                      <a:lnTo>
                        <a:pt x="193" y="188"/>
                      </a:lnTo>
                      <a:lnTo>
                        <a:pt x="194" y="184"/>
                      </a:lnTo>
                      <a:lnTo>
                        <a:pt x="197" y="181"/>
                      </a:lnTo>
                      <a:lnTo>
                        <a:pt x="199" y="179"/>
                      </a:lnTo>
                      <a:lnTo>
                        <a:pt x="205" y="176"/>
                      </a:lnTo>
                      <a:lnTo>
                        <a:pt x="214" y="174"/>
                      </a:lnTo>
                      <a:lnTo>
                        <a:pt x="232" y="172"/>
                      </a:lnTo>
                      <a:lnTo>
                        <a:pt x="246" y="174"/>
                      </a:lnTo>
                      <a:lnTo>
                        <a:pt x="265" y="176"/>
                      </a:lnTo>
                      <a:lnTo>
                        <a:pt x="290" y="180"/>
                      </a:lnTo>
                      <a:lnTo>
                        <a:pt x="315" y="184"/>
                      </a:lnTo>
                      <a:lnTo>
                        <a:pt x="338" y="186"/>
                      </a:lnTo>
                      <a:lnTo>
                        <a:pt x="365" y="186"/>
                      </a:lnTo>
                      <a:lnTo>
                        <a:pt x="386" y="184"/>
                      </a:lnTo>
                      <a:lnTo>
                        <a:pt x="394" y="183"/>
                      </a:lnTo>
                      <a:lnTo>
                        <a:pt x="403" y="181"/>
                      </a:lnTo>
                      <a:lnTo>
                        <a:pt x="411" y="178"/>
                      </a:lnTo>
                      <a:lnTo>
                        <a:pt x="418" y="174"/>
                      </a:lnTo>
                      <a:lnTo>
                        <a:pt x="379" y="172"/>
                      </a:lnTo>
                      <a:lnTo>
                        <a:pt x="344" y="172"/>
                      </a:lnTo>
                      <a:lnTo>
                        <a:pt x="336" y="172"/>
                      </a:lnTo>
                      <a:lnTo>
                        <a:pt x="328" y="171"/>
                      </a:lnTo>
                      <a:lnTo>
                        <a:pt x="322" y="169"/>
                      </a:lnTo>
                      <a:lnTo>
                        <a:pt x="315" y="167"/>
                      </a:lnTo>
                      <a:lnTo>
                        <a:pt x="310" y="164"/>
                      </a:lnTo>
                      <a:lnTo>
                        <a:pt x="305" y="160"/>
                      </a:lnTo>
                      <a:lnTo>
                        <a:pt x="302" y="155"/>
                      </a:lnTo>
                      <a:lnTo>
                        <a:pt x="299" y="149"/>
                      </a:lnTo>
                      <a:lnTo>
                        <a:pt x="309" y="145"/>
                      </a:lnTo>
                      <a:lnTo>
                        <a:pt x="320" y="142"/>
                      </a:lnTo>
                      <a:lnTo>
                        <a:pt x="331" y="140"/>
                      </a:lnTo>
                      <a:lnTo>
                        <a:pt x="345" y="138"/>
                      </a:lnTo>
                      <a:lnTo>
                        <a:pt x="378" y="137"/>
                      </a:lnTo>
                      <a:lnTo>
                        <a:pt x="425" y="137"/>
                      </a:lnTo>
                      <a:lnTo>
                        <a:pt x="426" y="141"/>
                      </a:lnTo>
                      <a:lnTo>
                        <a:pt x="429" y="146"/>
                      </a:lnTo>
                      <a:lnTo>
                        <a:pt x="434" y="150"/>
                      </a:lnTo>
                      <a:lnTo>
                        <a:pt x="438" y="155"/>
                      </a:lnTo>
                      <a:lnTo>
                        <a:pt x="484" y="155"/>
                      </a:lnTo>
                      <a:lnTo>
                        <a:pt x="483" y="146"/>
                      </a:lnTo>
                      <a:lnTo>
                        <a:pt x="481" y="137"/>
                      </a:lnTo>
                      <a:lnTo>
                        <a:pt x="479" y="130"/>
                      </a:lnTo>
                      <a:lnTo>
                        <a:pt x="478" y="124"/>
                      </a:lnTo>
                      <a:lnTo>
                        <a:pt x="645" y="124"/>
                      </a:lnTo>
                      <a:lnTo>
                        <a:pt x="648" y="109"/>
                      </a:lnTo>
                      <a:lnTo>
                        <a:pt x="651" y="101"/>
                      </a:lnTo>
                      <a:lnTo>
                        <a:pt x="657" y="95"/>
                      </a:lnTo>
                      <a:lnTo>
                        <a:pt x="664" y="87"/>
                      </a:lnTo>
                      <a:lnTo>
                        <a:pt x="653" y="91"/>
                      </a:lnTo>
                      <a:lnTo>
                        <a:pt x="638" y="99"/>
                      </a:lnTo>
                      <a:lnTo>
                        <a:pt x="622" y="108"/>
                      </a:lnTo>
                      <a:lnTo>
                        <a:pt x="611" y="111"/>
                      </a:lnTo>
                      <a:lnTo>
                        <a:pt x="589" y="110"/>
                      </a:lnTo>
                      <a:lnTo>
                        <a:pt x="556" y="108"/>
                      </a:lnTo>
                      <a:lnTo>
                        <a:pt x="522" y="106"/>
                      </a:lnTo>
                      <a:lnTo>
                        <a:pt x="491" y="105"/>
                      </a:lnTo>
                      <a:lnTo>
                        <a:pt x="476" y="107"/>
                      </a:lnTo>
                      <a:lnTo>
                        <a:pt x="449" y="111"/>
                      </a:lnTo>
                      <a:lnTo>
                        <a:pt x="414" y="115"/>
                      </a:lnTo>
                      <a:lnTo>
                        <a:pt x="376" y="119"/>
                      </a:lnTo>
                      <a:lnTo>
                        <a:pt x="355" y="120"/>
                      </a:lnTo>
                      <a:lnTo>
                        <a:pt x="333" y="119"/>
                      </a:lnTo>
                      <a:lnTo>
                        <a:pt x="312" y="116"/>
                      </a:lnTo>
                      <a:lnTo>
                        <a:pt x="291" y="113"/>
                      </a:lnTo>
                      <a:lnTo>
                        <a:pt x="281" y="111"/>
                      </a:lnTo>
                      <a:lnTo>
                        <a:pt x="271" y="108"/>
                      </a:lnTo>
                      <a:lnTo>
                        <a:pt x="261" y="105"/>
                      </a:lnTo>
                      <a:lnTo>
                        <a:pt x="253" y="101"/>
                      </a:lnTo>
                      <a:lnTo>
                        <a:pt x="244" y="97"/>
                      </a:lnTo>
                      <a:lnTo>
                        <a:pt x="235" y="92"/>
                      </a:lnTo>
                      <a:lnTo>
                        <a:pt x="226" y="87"/>
                      </a:lnTo>
                      <a:lnTo>
                        <a:pt x="219" y="81"/>
                      </a:lnTo>
                      <a:lnTo>
                        <a:pt x="219" y="80"/>
                      </a:lnTo>
                      <a:lnTo>
                        <a:pt x="221" y="79"/>
                      </a:lnTo>
                      <a:lnTo>
                        <a:pt x="223" y="78"/>
                      </a:lnTo>
                      <a:lnTo>
                        <a:pt x="227" y="76"/>
                      </a:lnTo>
                      <a:lnTo>
                        <a:pt x="238" y="74"/>
                      </a:lnTo>
                      <a:lnTo>
                        <a:pt x="253" y="71"/>
                      </a:lnTo>
                      <a:lnTo>
                        <a:pt x="290" y="66"/>
                      </a:lnTo>
                      <a:lnTo>
                        <a:pt x="334" y="60"/>
                      </a:lnTo>
                      <a:lnTo>
                        <a:pt x="378" y="55"/>
                      </a:lnTo>
                      <a:lnTo>
                        <a:pt x="417" y="50"/>
                      </a:lnTo>
                      <a:lnTo>
                        <a:pt x="446" y="47"/>
                      </a:lnTo>
                      <a:lnTo>
                        <a:pt x="458" y="44"/>
                      </a:lnTo>
                      <a:lnTo>
                        <a:pt x="545" y="44"/>
                      </a:lnTo>
                      <a:lnTo>
                        <a:pt x="591" y="32"/>
                      </a:lnTo>
                      <a:lnTo>
                        <a:pt x="605" y="33"/>
                      </a:lnTo>
                      <a:lnTo>
                        <a:pt x="618" y="32"/>
                      </a:lnTo>
                      <a:lnTo>
                        <a:pt x="631" y="31"/>
                      </a:lnTo>
                      <a:lnTo>
                        <a:pt x="642" y="28"/>
                      </a:lnTo>
                      <a:lnTo>
                        <a:pt x="653" y="25"/>
                      </a:lnTo>
                      <a:lnTo>
                        <a:pt x="664" y="22"/>
                      </a:lnTo>
                      <a:lnTo>
                        <a:pt x="674" y="20"/>
                      </a:lnTo>
                      <a:lnTo>
                        <a:pt x="684" y="20"/>
                      </a:lnTo>
                      <a:lnTo>
                        <a:pt x="707" y="21"/>
                      </a:lnTo>
                      <a:lnTo>
                        <a:pt x="723" y="23"/>
                      </a:lnTo>
                      <a:lnTo>
                        <a:pt x="737" y="25"/>
                      </a:lnTo>
                      <a:lnTo>
                        <a:pt x="757" y="26"/>
                      </a:lnTo>
                      <a:lnTo>
                        <a:pt x="764" y="2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5" name="Freeform 418"/>
                <p:cNvSpPr>
                  <a:spLocks/>
                </p:cNvSpPr>
                <p:nvPr/>
              </p:nvSpPr>
              <p:spPr bwMode="auto">
                <a:xfrm>
                  <a:off x="553" y="1660"/>
                  <a:ext cx="51" cy="38"/>
                </a:xfrm>
                <a:custGeom>
                  <a:avLst/>
                  <a:gdLst>
                    <a:gd name="T0" fmla="*/ 0 w 160"/>
                    <a:gd name="T1" fmla="*/ 0 h 117"/>
                    <a:gd name="T2" fmla="*/ 1 w 160"/>
                    <a:gd name="T3" fmla="*/ 10 h 117"/>
                    <a:gd name="T4" fmla="*/ 4 w 160"/>
                    <a:gd name="T5" fmla="*/ 19 h 117"/>
                    <a:gd name="T6" fmla="*/ 9 w 160"/>
                    <a:gd name="T7" fmla="*/ 29 h 117"/>
                    <a:gd name="T8" fmla="*/ 15 w 160"/>
                    <a:gd name="T9" fmla="*/ 39 h 117"/>
                    <a:gd name="T10" fmla="*/ 22 w 160"/>
                    <a:gd name="T11" fmla="*/ 48 h 117"/>
                    <a:gd name="T12" fmla="*/ 31 w 160"/>
                    <a:gd name="T13" fmla="*/ 59 h 117"/>
                    <a:gd name="T14" fmla="*/ 41 w 160"/>
                    <a:gd name="T15" fmla="*/ 68 h 117"/>
                    <a:gd name="T16" fmla="*/ 51 w 160"/>
                    <a:gd name="T17" fmla="*/ 77 h 117"/>
                    <a:gd name="T18" fmla="*/ 62 w 160"/>
                    <a:gd name="T19" fmla="*/ 85 h 117"/>
                    <a:gd name="T20" fmla="*/ 73 w 160"/>
                    <a:gd name="T21" fmla="*/ 93 h 117"/>
                    <a:gd name="T22" fmla="*/ 84 w 160"/>
                    <a:gd name="T23" fmla="*/ 99 h 117"/>
                    <a:gd name="T24" fmla="*/ 95 w 160"/>
                    <a:gd name="T25" fmla="*/ 105 h 117"/>
                    <a:gd name="T26" fmla="*/ 106 w 160"/>
                    <a:gd name="T27" fmla="*/ 111 h 117"/>
                    <a:gd name="T28" fmla="*/ 116 w 160"/>
                    <a:gd name="T29" fmla="*/ 114 h 117"/>
                    <a:gd name="T30" fmla="*/ 124 w 160"/>
                    <a:gd name="T31" fmla="*/ 117 h 117"/>
                    <a:gd name="T32" fmla="*/ 133 w 160"/>
                    <a:gd name="T33" fmla="*/ 117 h 117"/>
                    <a:gd name="T34" fmla="*/ 139 w 160"/>
                    <a:gd name="T35" fmla="*/ 116 h 117"/>
                    <a:gd name="T36" fmla="*/ 146 w 160"/>
                    <a:gd name="T37" fmla="*/ 113 h 117"/>
                    <a:gd name="T38" fmla="*/ 153 w 160"/>
                    <a:gd name="T39" fmla="*/ 110 h 117"/>
                    <a:gd name="T40" fmla="*/ 160 w 160"/>
                    <a:gd name="T41" fmla="*/ 104 h 117"/>
                    <a:gd name="T42" fmla="*/ 150 w 160"/>
                    <a:gd name="T43" fmla="*/ 91 h 117"/>
                    <a:gd name="T44" fmla="*/ 141 w 160"/>
                    <a:gd name="T45" fmla="*/ 79 h 117"/>
                    <a:gd name="T46" fmla="*/ 138 w 160"/>
                    <a:gd name="T47" fmla="*/ 73 h 117"/>
                    <a:gd name="T48" fmla="*/ 135 w 160"/>
                    <a:gd name="T49" fmla="*/ 66 h 117"/>
                    <a:gd name="T50" fmla="*/ 133 w 160"/>
                    <a:gd name="T51" fmla="*/ 58 h 117"/>
                    <a:gd name="T52" fmla="*/ 133 w 160"/>
                    <a:gd name="T53" fmla="*/ 49 h 117"/>
                    <a:gd name="T54" fmla="*/ 127 w 160"/>
                    <a:gd name="T55" fmla="*/ 48 h 117"/>
                    <a:gd name="T56" fmla="*/ 118 w 160"/>
                    <a:gd name="T57" fmla="*/ 45 h 117"/>
                    <a:gd name="T58" fmla="*/ 108 w 160"/>
                    <a:gd name="T59" fmla="*/ 40 h 117"/>
                    <a:gd name="T60" fmla="*/ 97 w 160"/>
                    <a:gd name="T61" fmla="*/ 34 h 117"/>
                    <a:gd name="T62" fmla="*/ 87 w 160"/>
                    <a:gd name="T63" fmla="*/ 28 h 117"/>
                    <a:gd name="T64" fmla="*/ 77 w 160"/>
                    <a:gd name="T65" fmla="*/ 21 h 117"/>
                    <a:gd name="T66" fmla="*/ 74 w 160"/>
                    <a:gd name="T67" fmla="*/ 17 h 117"/>
                    <a:gd name="T68" fmla="*/ 71 w 160"/>
                    <a:gd name="T69" fmla="*/ 13 h 117"/>
                    <a:gd name="T70" fmla="*/ 68 w 160"/>
                    <a:gd name="T71" fmla="*/ 10 h 117"/>
                    <a:gd name="T72" fmla="*/ 66 w 160"/>
                    <a:gd name="T73" fmla="*/ 6 h 117"/>
                    <a:gd name="T74" fmla="*/ 60 w 160"/>
                    <a:gd name="T75" fmla="*/ 6 h 117"/>
                    <a:gd name="T76" fmla="*/ 52 w 160"/>
                    <a:gd name="T77" fmla="*/ 6 h 117"/>
                    <a:gd name="T78" fmla="*/ 43 w 160"/>
                    <a:gd name="T79" fmla="*/ 4 h 117"/>
                    <a:gd name="T80" fmla="*/ 33 w 160"/>
                    <a:gd name="T81" fmla="*/ 0 h 117"/>
                    <a:gd name="T82" fmla="*/ 0 w 160"/>
                    <a:gd name="T83" fmla="*/ 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60" h="117">
                      <a:moveTo>
                        <a:pt x="0" y="0"/>
                      </a:moveTo>
                      <a:lnTo>
                        <a:pt x="1" y="10"/>
                      </a:lnTo>
                      <a:lnTo>
                        <a:pt x="4" y="19"/>
                      </a:lnTo>
                      <a:lnTo>
                        <a:pt x="9" y="29"/>
                      </a:lnTo>
                      <a:lnTo>
                        <a:pt x="15" y="39"/>
                      </a:lnTo>
                      <a:lnTo>
                        <a:pt x="22" y="48"/>
                      </a:lnTo>
                      <a:lnTo>
                        <a:pt x="31" y="59"/>
                      </a:lnTo>
                      <a:lnTo>
                        <a:pt x="41" y="68"/>
                      </a:lnTo>
                      <a:lnTo>
                        <a:pt x="51" y="77"/>
                      </a:lnTo>
                      <a:lnTo>
                        <a:pt x="62" y="85"/>
                      </a:lnTo>
                      <a:lnTo>
                        <a:pt x="73" y="93"/>
                      </a:lnTo>
                      <a:lnTo>
                        <a:pt x="84" y="99"/>
                      </a:lnTo>
                      <a:lnTo>
                        <a:pt x="95" y="105"/>
                      </a:lnTo>
                      <a:lnTo>
                        <a:pt x="106" y="111"/>
                      </a:lnTo>
                      <a:lnTo>
                        <a:pt x="116" y="114"/>
                      </a:lnTo>
                      <a:lnTo>
                        <a:pt x="124" y="117"/>
                      </a:lnTo>
                      <a:lnTo>
                        <a:pt x="133" y="117"/>
                      </a:lnTo>
                      <a:lnTo>
                        <a:pt x="139" y="116"/>
                      </a:lnTo>
                      <a:lnTo>
                        <a:pt x="146" y="113"/>
                      </a:lnTo>
                      <a:lnTo>
                        <a:pt x="153" y="110"/>
                      </a:lnTo>
                      <a:lnTo>
                        <a:pt x="160" y="104"/>
                      </a:lnTo>
                      <a:lnTo>
                        <a:pt x="150" y="91"/>
                      </a:lnTo>
                      <a:lnTo>
                        <a:pt x="141" y="79"/>
                      </a:lnTo>
                      <a:lnTo>
                        <a:pt x="138" y="73"/>
                      </a:lnTo>
                      <a:lnTo>
                        <a:pt x="135" y="66"/>
                      </a:lnTo>
                      <a:lnTo>
                        <a:pt x="133" y="58"/>
                      </a:lnTo>
                      <a:lnTo>
                        <a:pt x="133" y="49"/>
                      </a:lnTo>
                      <a:lnTo>
                        <a:pt x="127" y="48"/>
                      </a:lnTo>
                      <a:lnTo>
                        <a:pt x="118" y="45"/>
                      </a:lnTo>
                      <a:lnTo>
                        <a:pt x="108" y="40"/>
                      </a:lnTo>
                      <a:lnTo>
                        <a:pt x="97" y="34"/>
                      </a:lnTo>
                      <a:lnTo>
                        <a:pt x="87" y="28"/>
                      </a:lnTo>
                      <a:lnTo>
                        <a:pt x="77" y="21"/>
                      </a:lnTo>
                      <a:lnTo>
                        <a:pt x="74" y="17"/>
                      </a:lnTo>
                      <a:lnTo>
                        <a:pt x="71" y="13"/>
                      </a:lnTo>
                      <a:lnTo>
                        <a:pt x="68" y="10"/>
                      </a:lnTo>
                      <a:lnTo>
                        <a:pt x="66" y="6"/>
                      </a:lnTo>
                      <a:lnTo>
                        <a:pt x="60" y="6"/>
                      </a:lnTo>
                      <a:lnTo>
                        <a:pt x="52" y="6"/>
                      </a:lnTo>
                      <a:lnTo>
                        <a:pt x="43" y="4"/>
                      </a:lnTo>
                      <a:lnTo>
                        <a:pt x="33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6" name="Freeform 419"/>
                <p:cNvSpPr>
                  <a:spLocks/>
                </p:cNvSpPr>
                <p:nvPr/>
              </p:nvSpPr>
              <p:spPr bwMode="auto">
                <a:xfrm>
                  <a:off x="527" y="1592"/>
                  <a:ext cx="26" cy="46"/>
                </a:xfrm>
                <a:custGeom>
                  <a:avLst/>
                  <a:gdLst>
                    <a:gd name="T0" fmla="*/ 40 w 80"/>
                    <a:gd name="T1" fmla="*/ 123 h 141"/>
                    <a:gd name="T2" fmla="*/ 80 w 80"/>
                    <a:gd name="T3" fmla="*/ 36 h 141"/>
                    <a:gd name="T4" fmla="*/ 80 w 80"/>
                    <a:gd name="T5" fmla="*/ 18 h 141"/>
                    <a:gd name="T6" fmla="*/ 68 w 80"/>
                    <a:gd name="T7" fmla="*/ 17 h 141"/>
                    <a:gd name="T8" fmla="*/ 59 w 80"/>
                    <a:gd name="T9" fmla="*/ 16 h 141"/>
                    <a:gd name="T10" fmla="*/ 53 w 80"/>
                    <a:gd name="T11" fmla="*/ 14 h 141"/>
                    <a:gd name="T12" fmla="*/ 47 w 80"/>
                    <a:gd name="T13" fmla="*/ 11 h 141"/>
                    <a:gd name="T14" fmla="*/ 44 w 80"/>
                    <a:gd name="T15" fmla="*/ 8 h 141"/>
                    <a:gd name="T16" fmla="*/ 42 w 80"/>
                    <a:gd name="T17" fmla="*/ 5 h 141"/>
                    <a:gd name="T18" fmla="*/ 41 w 80"/>
                    <a:gd name="T19" fmla="*/ 2 h 141"/>
                    <a:gd name="T20" fmla="*/ 40 w 80"/>
                    <a:gd name="T21" fmla="*/ 0 h 141"/>
                    <a:gd name="T22" fmla="*/ 0 w 80"/>
                    <a:gd name="T23" fmla="*/ 0 h 141"/>
                    <a:gd name="T24" fmla="*/ 0 w 80"/>
                    <a:gd name="T25" fmla="*/ 23 h 141"/>
                    <a:gd name="T26" fmla="*/ 0 w 80"/>
                    <a:gd name="T27" fmla="*/ 40 h 141"/>
                    <a:gd name="T28" fmla="*/ 0 w 80"/>
                    <a:gd name="T29" fmla="*/ 52 h 141"/>
                    <a:gd name="T30" fmla="*/ 0 w 80"/>
                    <a:gd name="T31" fmla="*/ 61 h 141"/>
                    <a:gd name="T32" fmla="*/ 1 w 80"/>
                    <a:gd name="T33" fmla="*/ 69 h 141"/>
                    <a:gd name="T34" fmla="*/ 3 w 80"/>
                    <a:gd name="T35" fmla="*/ 78 h 141"/>
                    <a:gd name="T36" fmla="*/ 7 w 80"/>
                    <a:gd name="T37" fmla="*/ 88 h 141"/>
                    <a:gd name="T38" fmla="*/ 11 w 80"/>
                    <a:gd name="T39" fmla="*/ 99 h 141"/>
                    <a:gd name="T40" fmla="*/ 20 w 80"/>
                    <a:gd name="T41" fmla="*/ 121 h 141"/>
                    <a:gd name="T42" fmla="*/ 27 w 80"/>
                    <a:gd name="T43" fmla="*/ 141 h 141"/>
                    <a:gd name="T44" fmla="*/ 31 w 80"/>
                    <a:gd name="T45" fmla="*/ 135 h 141"/>
                    <a:gd name="T46" fmla="*/ 33 w 80"/>
                    <a:gd name="T47" fmla="*/ 129 h 141"/>
                    <a:gd name="T48" fmla="*/ 34 w 80"/>
                    <a:gd name="T49" fmla="*/ 127 h 141"/>
                    <a:gd name="T50" fmla="*/ 36 w 80"/>
                    <a:gd name="T51" fmla="*/ 125 h 141"/>
                    <a:gd name="T52" fmla="*/ 38 w 80"/>
                    <a:gd name="T53" fmla="*/ 123 h 141"/>
                    <a:gd name="T54" fmla="*/ 40 w 80"/>
                    <a:gd name="T55" fmla="*/ 123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0" h="141">
                      <a:moveTo>
                        <a:pt x="40" y="123"/>
                      </a:moveTo>
                      <a:lnTo>
                        <a:pt x="80" y="36"/>
                      </a:lnTo>
                      <a:lnTo>
                        <a:pt x="80" y="18"/>
                      </a:lnTo>
                      <a:lnTo>
                        <a:pt x="68" y="17"/>
                      </a:lnTo>
                      <a:lnTo>
                        <a:pt x="59" y="16"/>
                      </a:lnTo>
                      <a:lnTo>
                        <a:pt x="53" y="14"/>
                      </a:lnTo>
                      <a:lnTo>
                        <a:pt x="47" y="11"/>
                      </a:lnTo>
                      <a:lnTo>
                        <a:pt x="44" y="8"/>
                      </a:lnTo>
                      <a:lnTo>
                        <a:pt x="42" y="5"/>
                      </a:lnTo>
                      <a:lnTo>
                        <a:pt x="41" y="2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0" y="40"/>
                      </a:lnTo>
                      <a:lnTo>
                        <a:pt x="0" y="52"/>
                      </a:lnTo>
                      <a:lnTo>
                        <a:pt x="0" y="61"/>
                      </a:lnTo>
                      <a:lnTo>
                        <a:pt x="1" y="69"/>
                      </a:lnTo>
                      <a:lnTo>
                        <a:pt x="3" y="78"/>
                      </a:lnTo>
                      <a:lnTo>
                        <a:pt x="7" y="88"/>
                      </a:lnTo>
                      <a:lnTo>
                        <a:pt x="11" y="99"/>
                      </a:lnTo>
                      <a:lnTo>
                        <a:pt x="20" y="121"/>
                      </a:lnTo>
                      <a:lnTo>
                        <a:pt x="27" y="141"/>
                      </a:lnTo>
                      <a:lnTo>
                        <a:pt x="31" y="135"/>
                      </a:lnTo>
                      <a:lnTo>
                        <a:pt x="33" y="129"/>
                      </a:lnTo>
                      <a:lnTo>
                        <a:pt x="34" y="127"/>
                      </a:lnTo>
                      <a:lnTo>
                        <a:pt x="36" y="125"/>
                      </a:lnTo>
                      <a:lnTo>
                        <a:pt x="38" y="123"/>
                      </a:lnTo>
                      <a:lnTo>
                        <a:pt x="40" y="12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7" name="Freeform 420"/>
                <p:cNvSpPr>
                  <a:spLocks/>
                </p:cNvSpPr>
                <p:nvPr/>
              </p:nvSpPr>
              <p:spPr bwMode="auto">
                <a:xfrm>
                  <a:off x="1379" y="1383"/>
                  <a:ext cx="83" cy="41"/>
                </a:xfrm>
                <a:custGeom>
                  <a:avLst/>
                  <a:gdLst>
                    <a:gd name="T0" fmla="*/ 0 w 259"/>
                    <a:gd name="T1" fmla="*/ 93 h 124"/>
                    <a:gd name="T2" fmla="*/ 0 w 259"/>
                    <a:gd name="T3" fmla="*/ 96 h 124"/>
                    <a:gd name="T4" fmla="*/ 2 w 259"/>
                    <a:gd name="T5" fmla="*/ 100 h 124"/>
                    <a:gd name="T6" fmla="*/ 4 w 259"/>
                    <a:gd name="T7" fmla="*/ 103 h 124"/>
                    <a:gd name="T8" fmla="*/ 6 w 259"/>
                    <a:gd name="T9" fmla="*/ 106 h 124"/>
                    <a:gd name="T10" fmla="*/ 14 w 259"/>
                    <a:gd name="T11" fmla="*/ 111 h 124"/>
                    <a:gd name="T12" fmla="*/ 23 w 259"/>
                    <a:gd name="T13" fmla="*/ 115 h 124"/>
                    <a:gd name="T14" fmla="*/ 31 w 259"/>
                    <a:gd name="T15" fmla="*/ 120 h 124"/>
                    <a:gd name="T16" fmla="*/ 41 w 259"/>
                    <a:gd name="T17" fmla="*/ 122 h 124"/>
                    <a:gd name="T18" fmla="*/ 51 w 259"/>
                    <a:gd name="T19" fmla="*/ 124 h 124"/>
                    <a:gd name="T20" fmla="*/ 60 w 259"/>
                    <a:gd name="T21" fmla="*/ 124 h 124"/>
                    <a:gd name="T22" fmla="*/ 68 w 259"/>
                    <a:gd name="T23" fmla="*/ 124 h 124"/>
                    <a:gd name="T24" fmla="*/ 75 w 259"/>
                    <a:gd name="T25" fmla="*/ 123 h 124"/>
                    <a:gd name="T26" fmla="*/ 81 w 259"/>
                    <a:gd name="T27" fmla="*/ 122 h 124"/>
                    <a:gd name="T28" fmla="*/ 87 w 259"/>
                    <a:gd name="T29" fmla="*/ 120 h 124"/>
                    <a:gd name="T30" fmla="*/ 97 w 259"/>
                    <a:gd name="T31" fmla="*/ 114 h 124"/>
                    <a:gd name="T32" fmla="*/ 106 w 259"/>
                    <a:gd name="T33" fmla="*/ 108 h 124"/>
                    <a:gd name="T34" fmla="*/ 115 w 259"/>
                    <a:gd name="T35" fmla="*/ 103 h 124"/>
                    <a:gd name="T36" fmla="*/ 125 w 259"/>
                    <a:gd name="T37" fmla="*/ 98 h 124"/>
                    <a:gd name="T38" fmla="*/ 130 w 259"/>
                    <a:gd name="T39" fmla="*/ 96 h 124"/>
                    <a:gd name="T40" fmla="*/ 137 w 259"/>
                    <a:gd name="T41" fmla="*/ 94 h 124"/>
                    <a:gd name="T42" fmla="*/ 145 w 259"/>
                    <a:gd name="T43" fmla="*/ 93 h 124"/>
                    <a:gd name="T44" fmla="*/ 152 w 259"/>
                    <a:gd name="T45" fmla="*/ 93 h 124"/>
                    <a:gd name="T46" fmla="*/ 162 w 259"/>
                    <a:gd name="T47" fmla="*/ 94 h 124"/>
                    <a:gd name="T48" fmla="*/ 171 w 259"/>
                    <a:gd name="T49" fmla="*/ 96 h 124"/>
                    <a:gd name="T50" fmla="*/ 180 w 259"/>
                    <a:gd name="T51" fmla="*/ 99 h 124"/>
                    <a:gd name="T52" fmla="*/ 188 w 259"/>
                    <a:gd name="T53" fmla="*/ 103 h 124"/>
                    <a:gd name="T54" fmla="*/ 204 w 259"/>
                    <a:gd name="T55" fmla="*/ 111 h 124"/>
                    <a:gd name="T56" fmla="*/ 219 w 259"/>
                    <a:gd name="T57" fmla="*/ 117 h 124"/>
                    <a:gd name="T58" fmla="*/ 259 w 259"/>
                    <a:gd name="T59" fmla="*/ 117 h 124"/>
                    <a:gd name="T60" fmla="*/ 259 w 259"/>
                    <a:gd name="T61" fmla="*/ 99 h 124"/>
                    <a:gd name="T62" fmla="*/ 252 w 259"/>
                    <a:gd name="T63" fmla="*/ 98 h 124"/>
                    <a:gd name="T64" fmla="*/ 244 w 259"/>
                    <a:gd name="T65" fmla="*/ 96 h 124"/>
                    <a:gd name="T66" fmla="*/ 236 w 259"/>
                    <a:gd name="T67" fmla="*/ 94 h 124"/>
                    <a:gd name="T68" fmla="*/ 226 w 259"/>
                    <a:gd name="T69" fmla="*/ 93 h 124"/>
                    <a:gd name="T70" fmla="*/ 230 w 259"/>
                    <a:gd name="T71" fmla="*/ 85 h 124"/>
                    <a:gd name="T72" fmla="*/ 236 w 259"/>
                    <a:gd name="T73" fmla="*/ 79 h 124"/>
                    <a:gd name="T74" fmla="*/ 240 w 259"/>
                    <a:gd name="T75" fmla="*/ 74 h 124"/>
                    <a:gd name="T76" fmla="*/ 246 w 259"/>
                    <a:gd name="T77" fmla="*/ 69 h 124"/>
                    <a:gd name="T78" fmla="*/ 238 w 259"/>
                    <a:gd name="T79" fmla="*/ 61 h 124"/>
                    <a:gd name="T80" fmla="*/ 230 w 259"/>
                    <a:gd name="T81" fmla="*/ 56 h 124"/>
                    <a:gd name="T82" fmla="*/ 222 w 259"/>
                    <a:gd name="T83" fmla="*/ 50 h 124"/>
                    <a:gd name="T84" fmla="*/ 214 w 259"/>
                    <a:gd name="T85" fmla="*/ 46 h 124"/>
                    <a:gd name="T86" fmla="*/ 197 w 259"/>
                    <a:gd name="T87" fmla="*/ 37 h 124"/>
                    <a:gd name="T88" fmla="*/ 182 w 259"/>
                    <a:gd name="T89" fmla="*/ 30 h 124"/>
                    <a:gd name="T90" fmla="*/ 166 w 259"/>
                    <a:gd name="T91" fmla="*/ 23 h 124"/>
                    <a:gd name="T92" fmla="*/ 153 w 259"/>
                    <a:gd name="T93" fmla="*/ 17 h 124"/>
                    <a:gd name="T94" fmla="*/ 147 w 259"/>
                    <a:gd name="T95" fmla="*/ 13 h 124"/>
                    <a:gd name="T96" fmla="*/ 141 w 259"/>
                    <a:gd name="T97" fmla="*/ 10 h 124"/>
                    <a:gd name="T98" fmla="*/ 137 w 259"/>
                    <a:gd name="T99" fmla="*/ 5 h 124"/>
                    <a:gd name="T100" fmla="*/ 132 w 259"/>
                    <a:gd name="T101" fmla="*/ 0 h 124"/>
                    <a:gd name="T102" fmla="*/ 124 w 259"/>
                    <a:gd name="T103" fmla="*/ 3 h 124"/>
                    <a:gd name="T104" fmla="*/ 114 w 259"/>
                    <a:gd name="T105" fmla="*/ 7 h 124"/>
                    <a:gd name="T106" fmla="*/ 105 w 259"/>
                    <a:gd name="T107" fmla="*/ 12 h 124"/>
                    <a:gd name="T108" fmla="*/ 95 w 259"/>
                    <a:gd name="T109" fmla="*/ 17 h 124"/>
                    <a:gd name="T110" fmla="*/ 75 w 259"/>
                    <a:gd name="T111" fmla="*/ 29 h 124"/>
                    <a:gd name="T112" fmla="*/ 57 w 259"/>
                    <a:gd name="T113" fmla="*/ 42 h 124"/>
                    <a:gd name="T114" fmla="*/ 38 w 259"/>
                    <a:gd name="T115" fmla="*/ 56 h 124"/>
                    <a:gd name="T116" fmla="*/ 23 w 259"/>
                    <a:gd name="T117" fmla="*/ 70 h 124"/>
                    <a:gd name="T118" fmla="*/ 9 w 259"/>
                    <a:gd name="T119" fmla="*/ 83 h 124"/>
                    <a:gd name="T120" fmla="*/ 0 w 259"/>
                    <a:gd name="T121" fmla="*/ 93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59" h="124">
                      <a:moveTo>
                        <a:pt x="0" y="93"/>
                      </a:move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4" y="103"/>
                      </a:lnTo>
                      <a:lnTo>
                        <a:pt x="6" y="106"/>
                      </a:lnTo>
                      <a:lnTo>
                        <a:pt x="14" y="111"/>
                      </a:lnTo>
                      <a:lnTo>
                        <a:pt x="23" y="115"/>
                      </a:lnTo>
                      <a:lnTo>
                        <a:pt x="31" y="120"/>
                      </a:lnTo>
                      <a:lnTo>
                        <a:pt x="41" y="122"/>
                      </a:lnTo>
                      <a:lnTo>
                        <a:pt x="51" y="124"/>
                      </a:lnTo>
                      <a:lnTo>
                        <a:pt x="60" y="124"/>
                      </a:lnTo>
                      <a:lnTo>
                        <a:pt x="68" y="124"/>
                      </a:lnTo>
                      <a:lnTo>
                        <a:pt x="75" y="123"/>
                      </a:lnTo>
                      <a:lnTo>
                        <a:pt x="81" y="122"/>
                      </a:lnTo>
                      <a:lnTo>
                        <a:pt x="87" y="120"/>
                      </a:lnTo>
                      <a:lnTo>
                        <a:pt x="97" y="114"/>
                      </a:lnTo>
                      <a:lnTo>
                        <a:pt x="106" y="108"/>
                      </a:lnTo>
                      <a:lnTo>
                        <a:pt x="115" y="103"/>
                      </a:lnTo>
                      <a:lnTo>
                        <a:pt x="125" y="98"/>
                      </a:lnTo>
                      <a:lnTo>
                        <a:pt x="130" y="96"/>
                      </a:lnTo>
                      <a:lnTo>
                        <a:pt x="137" y="94"/>
                      </a:lnTo>
                      <a:lnTo>
                        <a:pt x="145" y="93"/>
                      </a:lnTo>
                      <a:lnTo>
                        <a:pt x="152" y="93"/>
                      </a:lnTo>
                      <a:lnTo>
                        <a:pt x="162" y="94"/>
                      </a:lnTo>
                      <a:lnTo>
                        <a:pt x="171" y="96"/>
                      </a:lnTo>
                      <a:lnTo>
                        <a:pt x="180" y="99"/>
                      </a:lnTo>
                      <a:lnTo>
                        <a:pt x="188" y="103"/>
                      </a:lnTo>
                      <a:lnTo>
                        <a:pt x="204" y="111"/>
                      </a:lnTo>
                      <a:lnTo>
                        <a:pt x="219" y="117"/>
                      </a:lnTo>
                      <a:lnTo>
                        <a:pt x="259" y="117"/>
                      </a:lnTo>
                      <a:lnTo>
                        <a:pt x="259" y="99"/>
                      </a:lnTo>
                      <a:lnTo>
                        <a:pt x="252" y="98"/>
                      </a:lnTo>
                      <a:lnTo>
                        <a:pt x="244" y="96"/>
                      </a:lnTo>
                      <a:lnTo>
                        <a:pt x="236" y="94"/>
                      </a:lnTo>
                      <a:lnTo>
                        <a:pt x="226" y="93"/>
                      </a:lnTo>
                      <a:lnTo>
                        <a:pt x="230" y="85"/>
                      </a:lnTo>
                      <a:lnTo>
                        <a:pt x="236" y="79"/>
                      </a:lnTo>
                      <a:lnTo>
                        <a:pt x="240" y="74"/>
                      </a:lnTo>
                      <a:lnTo>
                        <a:pt x="246" y="69"/>
                      </a:lnTo>
                      <a:lnTo>
                        <a:pt x="238" y="61"/>
                      </a:lnTo>
                      <a:lnTo>
                        <a:pt x="230" y="56"/>
                      </a:lnTo>
                      <a:lnTo>
                        <a:pt x="222" y="50"/>
                      </a:lnTo>
                      <a:lnTo>
                        <a:pt x="214" y="46"/>
                      </a:lnTo>
                      <a:lnTo>
                        <a:pt x="197" y="37"/>
                      </a:lnTo>
                      <a:lnTo>
                        <a:pt x="182" y="30"/>
                      </a:lnTo>
                      <a:lnTo>
                        <a:pt x="166" y="23"/>
                      </a:lnTo>
                      <a:lnTo>
                        <a:pt x="153" y="17"/>
                      </a:lnTo>
                      <a:lnTo>
                        <a:pt x="147" y="13"/>
                      </a:lnTo>
                      <a:lnTo>
                        <a:pt x="141" y="10"/>
                      </a:lnTo>
                      <a:lnTo>
                        <a:pt x="137" y="5"/>
                      </a:lnTo>
                      <a:lnTo>
                        <a:pt x="132" y="0"/>
                      </a:lnTo>
                      <a:lnTo>
                        <a:pt x="124" y="3"/>
                      </a:lnTo>
                      <a:lnTo>
                        <a:pt x="114" y="7"/>
                      </a:lnTo>
                      <a:lnTo>
                        <a:pt x="105" y="12"/>
                      </a:lnTo>
                      <a:lnTo>
                        <a:pt x="95" y="17"/>
                      </a:lnTo>
                      <a:lnTo>
                        <a:pt x="75" y="29"/>
                      </a:lnTo>
                      <a:lnTo>
                        <a:pt x="57" y="42"/>
                      </a:lnTo>
                      <a:lnTo>
                        <a:pt x="38" y="56"/>
                      </a:lnTo>
                      <a:lnTo>
                        <a:pt x="23" y="70"/>
                      </a:lnTo>
                      <a:lnTo>
                        <a:pt x="9" y="83"/>
                      </a:lnTo>
                      <a:lnTo>
                        <a:pt x="0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8" name="Freeform 421"/>
                <p:cNvSpPr>
                  <a:spLocks/>
                </p:cNvSpPr>
                <p:nvPr/>
              </p:nvSpPr>
              <p:spPr bwMode="auto">
                <a:xfrm>
                  <a:off x="1509" y="1389"/>
                  <a:ext cx="38" cy="19"/>
                </a:xfrm>
                <a:custGeom>
                  <a:avLst/>
                  <a:gdLst>
                    <a:gd name="T0" fmla="*/ 0 w 119"/>
                    <a:gd name="T1" fmla="*/ 32 h 57"/>
                    <a:gd name="T2" fmla="*/ 7 w 119"/>
                    <a:gd name="T3" fmla="*/ 35 h 57"/>
                    <a:gd name="T4" fmla="*/ 14 w 119"/>
                    <a:gd name="T5" fmla="*/ 38 h 57"/>
                    <a:gd name="T6" fmla="*/ 20 w 119"/>
                    <a:gd name="T7" fmla="*/ 42 h 57"/>
                    <a:gd name="T8" fmla="*/ 26 w 119"/>
                    <a:gd name="T9" fmla="*/ 47 h 57"/>
                    <a:gd name="T10" fmla="*/ 32 w 119"/>
                    <a:gd name="T11" fmla="*/ 51 h 57"/>
                    <a:gd name="T12" fmla="*/ 36 w 119"/>
                    <a:gd name="T13" fmla="*/ 54 h 57"/>
                    <a:gd name="T14" fmla="*/ 41 w 119"/>
                    <a:gd name="T15" fmla="*/ 56 h 57"/>
                    <a:gd name="T16" fmla="*/ 47 w 119"/>
                    <a:gd name="T17" fmla="*/ 57 h 57"/>
                    <a:gd name="T18" fmla="*/ 55 w 119"/>
                    <a:gd name="T19" fmla="*/ 57 h 57"/>
                    <a:gd name="T20" fmla="*/ 62 w 119"/>
                    <a:gd name="T21" fmla="*/ 56 h 57"/>
                    <a:gd name="T22" fmla="*/ 70 w 119"/>
                    <a:gd name="T23" fmla="*/ 55 h 57"/>
                    <a:gd name="T24" fmla="*/ 77 w 119"/>
                    <a:gd name="T25" fmla="*/ 53 h 57"/>
                    <a:gd name="T26" fmla="*/ 83 w 119"/>
                    <a:gd name="T27" fmla="*/ 50 h 57"/>
                    <a:gd name="T28" fmla="*/ 89 w 119"/>
                    <a:gd name="T29" fmla="*/ 48 h 57"/>
                    <a:gd name="T30" fmla="*/ 93 w 119"/>
                    <a:gd name="T31" fmla="*/ 44 h 57"/>
                    <a:gd name="T32" fmla="*/ 97 w 119"/>
                    <a:gd name="T33" fmla="*/ 40 h 57"/>
                    <a:gd name="T34" fmla="*/ 106 w 119"/>
                    <a:gd name="T35" fmla="*/ 32 h 57"/>
                    <a:gd name="T36" fmla="*/ 112 w 119"/>
                    <a:gd name="T37" fmla="*/ 23 h 57"/>
                    <a:gd name="T38" fmla="*/ 116 w 119"/>
                    <a:gd name="T39" fmla="*/ 13 h 57"/>
                    <a:gd name="T40" fmla="*/ 119 w 119"/>
                    <a:gd name="T41" fmla="*/ 1 h 57"/>
                    <a:gd name="T42" fmla="*/ 101 w 119"/>
                    <a:gd name="T43" fmla="*/ 0 h 57"/>
                    <a:gd name="T44" fmla="*/ 82 w 119"/>
                    <a:gd name="T45" fmla="*/ 0 h 57"/>
                    <a:gd name="T46" fmla="*/ 63 w 119"/>
                    <a:gd name="T47" fmla="*/ 2 h 57"/>
                    <a:gd name="T48" fmla="*/ 45 w 119"/>
                    <a:gd name="T49" fmla="*/ 5 h 57"/>
                    <a:gd name="T50" fmla="*/ 36 w 119"/>
                    <a:gd name="T51" fmla="*/ 7 h 57"/>
                    <a:gd name="T52" fmla="*/ 28 w 119"/>
                    <a:gd name="T53" fmla="*/ 10 h 57"/>
                    <a:gd name="T54" fmla="*/ 22 w 119"/>
                    <a:gd name="T55" fmla="*/ 13 h 57"/>
                    <a:gd name="T56" fmla="*/ 15 w 119"/>
                    <a:gd name="T57" fmla="*/ 16 h 57"/>
                    <a:gd name="T58" fmla="*/ 10 w 119"/>
                    <a:gd name="T59" fmla="*/ 19 h 57"/>
                    <a:gd name="T60" fmla="*/ 5 w 119"/>
                    <a:gd name="T61" fmla="*/ 23 h 57"/>
                    <a:gd name="T62" fmla="*/ 2 w 119"/>
                    <a:gd name="T63" fmla="*/ 27 h 57"/>
                    <a:gd name="T64" fmla="*/ 0 w 119"/>
                    <a:gd name="T65" fmla="*/ 32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9" h="57">
                      <a:moveTo>
                        <a:pt x="0" y="32"/>
                      </a:moveTo>
                      <a:lnTo>
                        <a:pt x="7" y="35"/>
                      </a:ln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6" y="47"/>
                      </a:lnTo>
                      <a:lnTo>
                        <a:pt x="32" y="51"/>
                      </a:lnTo>
                      <a:lnTo>
                        <a:pt x="36" y="54"/>
                      </a:lnTo>
                      <a:lnTo>
                        <a:pt x="41" y="56"/>
                      </a:lnTo>
                      <a:lnTo>
                        <a:pt x="47" y="57"/>
                      </a:lnTo>
                      <a:lnTo>
                        <a:pt x="55" y="57"/>
                      </a:lnTo>
                      <a:lnTo>
                        <a:pt x="62" y="56"/>
                      </a:lnTo>
                      <a:lnTo>
                        <a:pt x="70" y="55"/>
                      </a:lnTo>
                      <a:lnTo>
                        <a:pt x="77" y="53"/>
                      </a:lnTo>
                      <a:lnTo>
                        <a:pt x="83" y="50"/>
                      </a:lnTo>
                      <a:lnTo>
                        <a:pt x="89" y="48"/>
                      </a:lnTo>
                      <a:lnTo>
                        <a:pt x="93" y="44"/>
                      </a:lnTo>
                      <a:lnTo>
                        <a:pt x="97" y="40"/>
                      </a:lnTo>
                      <a:lnTo>
                        <a:pt x="106" y="32"/>
                      </a:lnTo>
                      <a:lnTo>
                        <a:pt x="112" y="23"/>
                      </a:lnTo>
                      <a:lnTo>
                        <a:pt x="116" y="13"/>
                      </a:lnTo>
                      <a:lnTo>
                        <a:pt x="119" y="1"/>
                      </a:lnTo>
                      <a:lnTo>
                        <a:pt x="101" y="0"/>
                      </a:lnTo>
                      <a:lnTo>
                        <a:pt x="82" y="0"/>
                      </a:lnTo>
                      <a:lnTo>
                        <a:pt x="63" y="2"/>
                      </a:lnTo>
                      <a:lnTo>
                        <a:pt x="45" y="5"/>
                      </a:lnTo>
                      <a:lnTo>
                        <a:pt x="36" y="7"/>
                      </a:lnTo>
                      <a:lnTo>
                        <a:pt x="28" y="10"/>
                      </a:lnTo>
                      <a:lnTo>
                        <a:pt x="22" y="13"/>
                      </a:lnTo>
                      <a:lnTo>
                        <a:pt x="15" y="16"/>
                      </a:lnTo>
                      <a:lnTo>
                        <a:pt x="10" y="19"/>
                      </a:lnTo>
                      <a:lnTo>
                        <a:pt x="5" y="23"/>
                      </a:lnTo>
                      <a:lnTo>
                        <a:pt x="2" y="27"/>
                      </a:lnTo>
                      <a:lnTo>
                        <a:pt x="0" y="3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499" name="Freeform 422"/>
                <p:cNvSpPr>
                  <a:spLocks/>
                </p:cNvSpPr>
                <p:nvPr/>
              </p:nvSpPr>
              <p:spPr bwMode="auto">
                <a:xfrm>
                  <a:off x="1554" y="1335"/>
                  <a:ext cx="34" cy="17"/>
                </a:xfrm>
                <a:custGeom>
                  <a:avLst/>
                  <a:gdLst>
                    <a:gd name="T0" fmla="*/ 0 w 107"/>
                    <a:gd name="T1" fmla="*/ 50 h 52"/>
                    <a:gd name="T2" fmla="*/ 6 w 107"/>
                    <a:gd name="T3" fmla="*/ 51 h 52"/>
                    <a:gd name="T4" fmla="*/ 9 w 107"/>
                    <a:gd name="T5" fmla="*/ 52 h 52"/>
                    <a:gd name="T6" fmla="*/ 13 w 107"/>
                    <a:gd name="T7" fmla="*/ 52 h 52"/>
                    <a:gd name="T8" fmla="*/ 17 w 107"/>
                    <a:gd name="T9" fmla="*/ 52 h 52"/>
                    <a:gd name="T10" fmla="*/ 24 w 107"/>
                    <a:gd name="T11" fmla="*/ 50 h 52"/>
                    <a:gd name="T12" fmla="*/ 34 w 107"/>
                    <a:gd name="T13" fmla="*/ 50 h 52"/>
                    <a:gd name="T14" fmla="*/ 43 w 107"/>
                    <a:gd name="T15" fmla="*/ 49 h 52"/>
                    <a:gd name="T16" fmla="*/ 53 w 107"/>
                    <a:gd name="T17" fmla="*/ 48 h 52"/>
                    <a:gd name="T18" fmla="*/ 62 w 107"/>
                    <a:gd name="T19" fmla="*/ 47 h 52"/>
                    <a:gd name="T20" fmla="*/ 70 w 107"/>
                    <a:gd name="T21" fmla="*/ 43 h 52"/>
                    <a:gd name="T22" fmla="*/ 79 w 107"/>
                    <a:gd name="T23" fmla="*/ 40 h 52"/>
                    <a:gd name="T24" fmla="*/ 88 w 107"/>
                    <a:gd name="T25" fmla="*/ 36 h 52"/>
                    <a:gd name="T26" fmla="*/ 97 w 107"/>
                    <a:gd name="T27" fmla="*/ 31 h 52"/>
                    <a:gd name="T28" fmla="*/ 107 w 107"/>
                    <a:gd name="T29" fmla="*/ 24 h 52"/>
                    <a:gd name="T30" fmla="*/ 107 w 107"/>
                    <a:gd name="T31" fmla="*/ 0 h 52"/>
                    <a:gd name="T32" fmla="*/ 98 w 107"/>
                    <a:gd name="T33" fmla="*/ 1 h 52"/>
                    <a:gd name="T34" fmla="*/ 86 w 107"/>
                    <a:gd name="T35" fmla="*/ 3 h 52"/>
                    <a:gd name="T36" fmla="*/ 72 w 107"/>
                    <a:gd name="T37" fmla="*/ 7 h 52"/>
                    <a:gd name="T38" fmla="*/ 56 w 107"/>
                    <a:gd name="T39" fmla="*/ 13 h 52"/>
                    <a:gd name="T40" fmla="*/ 41 w 107"/>
                    <a:gd name="T41" fmla="*/ 20 h 52"/>
                    <a:gd name="T42" fmla="*/ 25 w 107"/>
                    <a:gd name="T43" fmla="*/ 28 h 52"/>
                    <a:gd name="T44" fmla="*/ 19 w 107"/>
                    <a:gd name="T45" fmla="*/ 33 h 52"/>
                    <a:gd name="T46" fmla="*/ 12 w 107"/>
                    <a:gd name="T47" fmla="*/ 38 h 52"/>
                    <a:gd name="T48" fmla="*/ 6 w 107"/>
                    <a:gd name="T49" fmla="*/ 43 h 52"/>
                    <a:gd name="T50" fmla="*/ 0 w 107"/>
                    <a:gd name="T51" fmla="*/ 5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7" h="52">
                      <a:moveTo>
                        <a:pt x="0" y="50"/>
                      </a:moveTo>
                      <a:lnTo>
                        <a:pt x="6" y="51"/>
                      </a:lnTo>
                      <a:lnTo>
                        <a:pt x="9" y="52"/>
                      </a:lnTo>
                      <a:lnTo>
                        <a:pt x="13" y="52"/>
                      </a:lnTo>
                      <a:lnTo>
                        <a:pt x="17" y="52"/>
                      </a:lnTo>
                      <a:lnTo>
                        <a:pt x="24" y="50"/>
                      </a:lnTo>
                      <a:lnTo>
                        <a:pt x="34" y="50"/>
                      </a:lnTo>
                      <a:lnTo>
                        <a:pt x="43" y="49"/>
                      </a:lnTo>
                      <a:lnTo>
                        <a:pt x="53" y="48"/>
                      </a:lnTo>
                      <a:lnTo>
                        <a:pt x="62" y="47"/>
                      </a:lnTo>
                      <a:lnTo>
                        <a:pt x="70" y="43"/>
                      </a:lnTo>
                      <a:lnTo>
                        <a:pt x="79" y="40"/>
                      </a:lnTo>
                      <a:lnTo>
                        <a:pt x="88" y="36"/>
                      </a:lnTo>
                      <a:lnTo>
                        <a:pt x="97" y="31"/>
                      </a:lnTo>
                      <a:lnTo>
                        <a:pt x="107" y="24"/>
                      </a:lnTo>
                      <a:lnTo>
                        <a:pt x="107" y="0"/>
                      </a:lnTo>
                      <a:lnTo>
                        <a:pt x="98" y="1"/>
                      </a:lnTo>
                      <a:lnTo>
                        <a:pt x="86" y="3"/>
                      </a:lnTo>
                      <a:lnTo>
                        <a:pt x="72" y="7"/>
                      </a:lnTo>
                      <a:lnTo>
                        <a:pt x="56" y="13"/>
                      </a:lnTo>
                      <a:lnTo>
                        <a:pt x="41" y="20"/>
                      </a:lnTo>
                      <a:lnTo>
                        <a:pt x="25" y="28"/>
                      </a:lnTo>
                      <a:lnTo>
                        <a:pt x="19" y="33"/>
                      </a:lnTo>
                      <a:lnTo>
                        <a:pt x="12" y="38"/>
                      </a:lnTo>
                      <a:lnTo>
                        <a:pt x="6" y="43"/>
                      </a:lnTo>
                      <a:lnTo>
                        <a:pt x="0" y="5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0" name="Freeform 423"/>
                <p:cNvSpPr>
                  <a:spLocks/>
                </p:cNvSpPr>
                <p:nvPr/>
              </p:nvSpPr>
              <p:spPr bwMode="auto">
                <a:xfrm>
                  <a:off x="1381" y="1244"/>
                  <a:ext cx="79" cy="32"/>
                </a:xfrm>
                <a:custGeom>
                  <a:avLst/>
                  <a:gdLst>
                    <a:gd name="T0" fmla="*/ 27 w 246"/>
                    <a:gd name="T1" fmla="*/ 99 h 99"/>
                    <a:gd name="T2" fmla="*/ 22 w 246"/>
                    <a:gd name="T3" fmla="*/ 97 h 99"/>
                    <a:gd name="T4" fmla="*/ 17 w 246"/>
                    <a:gd name="T5" fmla="*/ 96 h 99"/>
                    <a:gd name="T6" fmla="*/ 12 w 246"/>
                    <a:gd name="T7" fmla="*/ 93 h 99"/>
                    <a:gd name="T8" fmla="*/ 9 w 246"/>
                    <a:gd name="T9" fmla="*/ 90 h 99"/>
                    <a:gd name="T10" fmla="*/ 6 w 246"/>
                    <a:gd name="T11" fmla="*/ 86 h 99"/>
                    <a:gd name="T12" fmla="*/ 2 w 246"/>
                    <a:gd name="T13" fmla="*/ 82 h 99"/>
                    <a:gd name="T14" fmla="*/ 1 w 246"/>
                    <a:gd name="T15" fmla="*/ 78 h 99"/>
                    <a:gd name="T16" fmla="*/ 0 w 246"/>
                    <a:gd name="T17" fmla="*/ 73 h 99"/>
                    <a:gd name="T18" fmla="*/ 0 w 246"/>
                    <a:gd name="T19" fmla="*/ 69 h 99"/>
                    <a:gd name="T20" fmla="*/ 1 w 246"/>
                    <a:gd name="T21" fmla="*/ 65 h 99"/>
                    <a:gd name="T22" fmla="*/ 3 w 246"/>
                    <a:gd name="T23" fmla="*/ 60 h 99"/>
                    <a:gd name="T24" fmla="*/ 5 w 246"/>
                    <a:gd name="T25" fmla="*/ 56 h 99"/>
                    <a:gd name="T26" fmla="*/ 10 w 246"/>
                    <a:gd name="T27" fmla="*/ 49 h 99"/>
                    <a:gd name="T28" fmla="*/ 18 w 246"/>
                    <a:gd name="T29" fmla="*/ 41 h 99"/>
                    <a:gd name="T30" fmla="*/ 25 w 246"/>
                    <a:gd name="T31" fmla="*/ 34 h 99"/>
                    <a:gd name="T32" fmla="*/ 35 w 246"/>
                    <a:gd name="T33" fmla="*/ 28 h 99"/>
                    <a:gd name="T34" fmla="*/ 46 w 246"/>
                    <a:gd name="T35" fmla="*/ 23 h 99"/>
                    <a:gd name="T36" fmla="*/ 57 w 246"/>
                    <a:gd name="T37" fmla="*/ 18 h 99"/>
                    <a:gd name="T38" fmla="*/ 69 w 246"/>
                    <a:gd name="T39" fmla="*/ 14 h 99"/>
                    <a:gd name="T40" fmla="*/ 81 w 246"/>
                    <a:gd name="T41" fmla="*/ 10 h 99"/>
                    <a:gd name="T42" fmla="*/ 92 w 246"/>
                    <a:gd name="T43" fmla="*/ 7 h 99"/>
                    <a:gd name="T44" fmla="*/ 104 w 246"/>
                    <a:gd name="T45" fmla="*/ 4 h 99"/>
                    <a:gd name="T46" fmla="*/ 124 w 246"/>
                    <a:gd name="T47" fmla="*/ 1 h 99"/>
                    <a:gd name="T48" fmla="*/ 140 w 246"/>
                    <a:gd name="T49" fmla="*/ 0 h 99"/>
                    <a:gd name="T50" fmla="*/ 168 w 246"/>
                    <a:gd name="T51" fmla="*/ 0 h 99"/>
                    <a:gd name="T52" fmla="*/ 193 w 246"/>
                    <a:gd name="T53" fmla="*/ 1 h 99"/>
                    <a:gd name="T54" fmla="*/ 219 w 246"/>
                    <a:gd name="T55" fmla="*/ 2 h 99"/>
                    <a:gd name="T56" fmla="*/ 246 w 246"/>
                    <a:gd name="T57" fmla="*/ 6 h 99"/>
                    <a:gd name="T58" fmla="*/ 244 w 246"/>
                    <a:gd name="T59" fmla="*/ 11 h 99"/>
                    <a:gd name="T60" fmla="*/ 241 w 246"/>
                    <a:gd name="T61" fmla="*/ 15 h 99"/>
                    <a:gd name="T62" fmla="*/ 236 w 246"/>
                    <a:gd name="T63" fmla="*/ 20 h 99"/>
                    <a:gd name="T64" fmla="*/ 231 w 246"/>
                    <a:gd name="T65" fmla="*/ 26 h 99"/>
                    <a:gd name="T66" fmla="*/ 215 w 246"/>
                    <a:gd name="T67" fmla="*/ 36 h 99"/>
                    <a:gd name="T68" fmla="*/ 199 w 246"/>
                    <a:gd name="T69" fmla="*/ 46 h 99"/>
                    <a:gd name="T70" fmla="*/ 180 w 246"/>
                    <a:gd name="T71" fmla="*/ 55 h 99"/>
                    <a:gd name="T72" fmla="*/ 162 w 246"/>
                    <a:gd name="T73" fmla="*/ 61 h 99"/>
                    <a:gd name="T74" fmla="*/ 152 w 246"/>
                    <a:gd name="T75" fmla="*/ 64 h 99"/>
                    <a:gd name="T76" fmla="*/ 143 w 246"/>
                    <a:gd name="T77" fmla="*/ 66 h 99"/>
                    <a:gd name="T78" fmla="*/ 134 w 246"/>
                    <a:gd name="T79" fmla="*/ 67 h 99"/>
                    <a:gd name="T80" fmla="*/ 126 w 246"/>
                    <a:gd name="T81" fmla="*/ 67 h 99"/>
                    <a:gd name="T82" fmla="*/ 120 w 246"/>
                    <a:gd name="T83" fmla="*/ 67 h 99"/>
                    <a:gd name="T84" fmla="*/ 110 w 246"/>
                    <a:gd name="T85" fmla="*/ 67 h 99"/>
                    <a:gd name="T86" fmla="*/ 100 w 246"/>
                    <a:gd name="T87" fmla="*/ 67 h 99"/>
                    <a:gd name="T88" fmla="*/ 93 w 246"/>
                    <a:gd name="T89" fmla="*/ 67 h 99"/>
                    <a:gd name="T90" fmla="*/ 88 w 246"/>
                    <a:gd name="T91" fmla="*/ 69 h 99"/>
                    <a:gd name="T92" fmla="*/ 80 w 246"/>
                    <a:gd name="T93" fmla="*/ 72 h 99"/>
                    <a:gd name="T94" fmla="*/ 72 w 246"/>
                    <a:gd name="T95" fmla="*/ 77 h 99"/>
                    <a:gd name="T96" fmla="*/ 63 w 246"/>
                    <a:gd name="T97" fmla="*/ 83 h 99"/>
                    <a:gd name="T98" fmla="*/ 53 w 246"/>
                    <a:gd name="T99" fmla="*/ 88 h 99"/>
                    <a:gd name="T100" fmla="*/ 44 w 246"/>
                    <a:gd name="T101" fmla="*/ 93 h 99"/>
                    <a:gd name="T102" fmla="*/ 35 w 246"/>
                    <a:gd name="T103" fmla="*/ 96 h 99"/>
                    <a:gd name="T104" fmla="*/ 27 w 246"/>
                    <a:gd name="T105" fmla="*/ 99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6" h="99">
                      <a:moveTo>
                        <a:pt x="27" y="99"/>
                      </a:moveTo>
                      <a:lnTo>
                        <a:pt x="22" y="97"/>
                      </a:lnTo>
                      <a:lnTo>
                        <a:pt x="17" y="96"/>
                      </a:lnTo>
                      <a:lnTo>
                        <a:pt x="12" y="93"/>
                      </a:lnTo>
                      <a:lnTo>
                        <a:pt x="9" y="90"/>
                      </a:lnTo>
                      <a:lnTo>
                        <a:pt x="6" y="86"/>
                      </a:lnTo>
                      <a:lnTo>
                        <a:pt x="2" y="82"/>
                      </a:lnTo>
                      <a:lnTo>
                        <a:pt x="1" y="78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1" y="65"/>
                      </a:lnTo>
                      <a:lnTo>
                        <a:pt x="3" y="60"/>
                      </a:lnTo>
                      <a:lnTo>
                        <a:pt x="5" y="56"/>
                      </a:lnTo>
                      <a:lnTo>
                        <a:pt x="10" y="49"/>
                      </a:lnTo>
                      <a:lnTo>
                        <a:pt x="18" y="41"/>
                      </a:lnTo>
                      <a:lnTo>
                        <a:pt x="25" y="34"/>
                      </a:lnTo>
                      <a:lnTo>
                        <a:pt x="35" y="28"/>
                      </a:lnTo>
                      <a:lnTo>
                        <a:pt x="46" y="23"/>
                      </a:lnTo>
                      <a:lnTo>
                        <a:pt x="57" y="18"/>
                      </a:lnTo>
                      <a:lnTo>
                        <a:pt x="69" y="14"/>
                      </a:lnTo>
                      <a:lnTo>
                        <a:pt x="81" y="10"/>
                      </a:lnTo>
                      <a:lnTo>
                        <a:pt x="92" y="7"/>
                      </a:lnTo>
                      <a:lnTo>
                        <a:pt x="104" y="4"/>
                      </a:lnTo>
                      <a:lnTo>
                        <a:pt x="124" y="1"/>
                      </a:lnTo>
                      <a:lnTo>
                        <a:pt x="140" y="0"/>
                      </a:lnTo>
                      <a:lnTo>
                        <a:pt x="168" y="0"/>
                      </a:lnTo>
                      <a:lnTo>
                        <a:pt x="193" y="1"/>
                      </a:lnTo>
                      <a:lnTo>
                        <a:pt x="219" y="2"/>
                      </a:lnTo>
                      <a:lnTo>
                        <a:pt x="246" y="6"/>
                      </a:lnTo>
                      <a:lnTo>
                        <a:pt x="244" y="11"/>
                      </a:lnTo>
                      <a:lnTo>
                        <a:pt x="241" y="15"/>
                      </a:lnTo>
                      <a:lnTo>
                        <a:pt x="236" y="20"/>
                      </a:lnTo>
                      <a:lnTo>
                        <a:pt x="231" y="26"/>
                      </a:lnTo>
                      <a:lnTo>
                        <a:pt x="215" y="36"/>
                      </a:lnTo>
                      <a:lnTo>
                        <a:pt x="199" y="46"/>
                      </a:lnTo>
                      <a:lnTo>
                        <a:pt x="180" y="55"/>
                      </a:lnTo>
                      <a:lnTo>
                        <a:pt x="162" y="61"/>
                      </a:lnTo>
                      <a:lnTo>
                        <a:pt x="152" y="64"/>
                      </a:lnTo>
                      <a:lnTo>
                        <a:pt x="143" y="66"/>
                      </a:lnTo>
                      <a:lnTo>
                        <a:pt x="134" y="67"/>
                      </a:lnTo>
                      <a:lnTo>
                        <a:pt x="126" y="67"/>
                      </a:lnTo>
                      <a:lnTo>
                        <a:pt x="120" y="67"/>
                      </a:lnTo>
                      <a:lnTo>
                        <a:pt x="110" y="67"/>
                      </a:lnTo>
                      <a:lnTo>
                        <a:pt x="100" y="67"/>
                      </a:lnTo>
                      <a:lnTo>
                        <a:pt x="93" y="67"/>
                      </a:lnTo>
                      <a:lnTo>
                        <a:pt x="88" y="69"/>
                      </a:lnTo>
                      <a:lnTo>
                        <a:pt x="80" y="72"/>
                      </a:lnTo>
                      <a:lnTo>
                        <a:pt x="72" y="77"/>
                      </a:lnTo>
                      <a:lnTo>
                        <a:pt x="63" y="83"/>
                      </a:lnTo>
                      <a:lnTo>
                        <a:pt x="53" y="88"/>
                      </a:lnTo>
                      <a:lnTo>
                        <a:pt x="44" y="93"/>
                      </a:lnTo>
                      <a:lnTo>
                        <a:pt x="35" y="96"/>
                      </a:lnTo>
                      <a:lnTo>
                        <a:pt x="27" y="9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1" name="Freeform 424"/>
                <p:cNvSpPr>
                  <a:spLocks/>
                </p:cNvSpPr>
                <p:nvPr/>
              </p:nvSpPr>
              <p:spPr bwMode="auto">
                <a:xfrm>
                  <a:off x="1294" y="1248"/>
                  <a:ext cx="76" cy="40"/>
                </a:xfrm>
                <a:custGeom>
                  <a:avLst/>
                  <a:gdLst>
                    <a:gd name="T0" fmla="*/ 33 w 233"/>
                    <a:gd name="T1" fmla="*/ 88 h 123"/>
                    <a:gd name="T2" fmla="*/ 10 w 233"/>
                    <a:gd name="T3" fmla="*/ 78 h 123"/>
                    <a:gd name="T4" fmla="*/ 0 w 233"/>
                    <a:gd name="T5" fmla="*/ 55 h 123"/>
                    <a:gd name="T6" fmla="*/ 20 w 233"/>
                    <a:gd name="T7" fmla="*/ 37 h 123"/>
                    <a:gd name="T8" fmla="*/ 40 w 233"/>
                    <a:gd name="T9" fmla="*/ 37 h 123"/>
                    <a:gd name="T10" fmla="*/ 61 w 233"/>
                    <a:gd name="T11" fmla="*/ 37 h 123"/>
                    <a:gd name="T12" fmla="*/ 72 w 233"/>
                    <a:gd name="T13" fmla="*/ 36 h 123"/>
                    <a:gd name="T14" fmla="*/ 83 w 233"/>
                    <a:gd name="T15" fmla="*/ 33 h 123"/>
                    <a:gd name="T16" fmla="*/ 104 w 233"/>
                    <a:gd name="T17" fmla="*/ 23 h 123"/>
                    <a:gd name="T18" fmla="*/ 123 w 233"/>
                    <a:gd name="T19" fmla="*/ 11 h 123"/>
                    <a:gd name="T20" fmla="*/ 146 w 233"/>
                    <a:gd name="T21" fmla="*/ 0 h 123"/>
                    <a:gd name="T22" fmla="*/ 161 w 233"/>
                    <a:gd name="T23" fmla="*/ 8 h 123"/>
                    <a:gd name="T24" fmla="*/ 181 w 233"/>
                    <a:gd name="T25" fmla="*/ 12 h 123"/>
                    <a:gd name="T26" fmla="*/ 190 w 233"/>
                    <a:gd name="T27" fmla="*/ 10 h 123"/>
                    <a:gd name="T28" fmla="*/ 201 w 233"/>
                    <a:gd name="T29" fmla="*/ 6 h 123"/>
                    <a:gd name="T30" fmla="*/ 213 w 233"/>
                    <a:gd name="T31" fmla="*/ 0 h 123"/>
                    <a:gd name="T32" fmla="*/ 232 w 233"/>
                    <a:gd name="T33" fmla="*/ 6 h 123"/>
                    <a:gd name="T34" fmla="*/ 228 w 233"/>
                    <a:gd name="T35" fmla="*/ 18 h 123"/>
                    <a:gd name="T36" fmla="*/ 219 w 233"/>
                    <a:gd name="T37" fmla="*/ 25 h 123"/>
                    <a:gd name="T38" fmla="*/ 207 w 233"/>
                    <a:gd name="T39" fmla="*/ 30 h 123"/>
                    <a:gd name="T40" fmla="*/ 201 w 233"/>
                    <a:gd name="T41" fmla="*/ 43 h 123"/>
                    <a:gd name="T42" fmla="*/ 206 w 233"/>
                    <a:gd name="T43" fmla="*/ 62 h 123"/>
                    <a:gd name="T44" fmla="*/ 185 w 233"/>
                    <a:gd name="T45" fmla="*/ 85 h 123"/>
                    <a:gd name="T46" fmla="*/ 157 w 233"/>
                    <a:gd name="T47" fmla="*/ 96 h 123"/>
                    <a:gd name="T48" fmla="*/ 139 w 233"/>
                    <a:gd name="T49" fmla="*/ 98 h 123"/>
                    <a:gd name="T50" fmla="*/ 116 w 233"/>
                    <a:gd name="T51" fmla="*/ 100 h 123"/>
                    <a:gd name="T52" fmla="*/ 96 w 233"/>
                    <a:gd name="T53" fmla="*/ 106 h 123"/>
                    <a:gd name="T54" fmla="*/ 82 w 233"/>
                    <a:gd name="T55" fmla="*/ 115 h 123"/>
                    <a:gd name="T56" fmla="*/ 67 w 233"/>
                    <a:gd name="T57" fmla="*/ 122 h 123"/>
                    <a:gd name="T58" fmla="*/ 58 w 233"/>
                    <a:gd name="T59" fmla="*/ 122 h 123"/>
                    <a:gd name="T60" fmla="*/ 53 w 233"/>
                    <a:gd name="T61" fmla="*/ 115 h 123"/>
                    <a:gd name="T62" fmla="*/ 48 w 233"/>
                    <a:gd name="T63" fmla="*/ 10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33" h="123">
                      <a:moveTo>
                        <a:pt x="47" y="93"/>
                      </a:moveTo>
                      <a:lnTo>
                        <a:pt x="33" y="88"/>
                      </a:lnTo>
                      <a:lnTo>
                        <a:pt x="21" y="83"/>
                      </a:lnTo>
                      <a:lnTo>
                        <a:pt x="10" y="78"/>
                      </a:lnTo>
                      <a:lnTo>
                        <a:pt x="0" y="74"/>
                      </a:lnTo>
                      <a:lnTo>
                        <a:pt x="0" y="55"/>
                      </a:lnTo>
                      <a:lnTo>
                        <a:pt x="10" y="46"/>
                      </a:lnTo>
                      <a:lnTo>
                        <a:pt x="20" y="37"/>
                      </a:lnTo>
                      <a:lnTo>
                        <a:pt x="30" y="37"/>
                      </a:lnTo>
                      <a:lnTo>
                        <a:pt x="40" y="37"/>
                      </a:lnTo>
                      <a:lnTo>
                        <a:pt x="51" y="37"/>
                      </a:lnTo>
                      <a:lnTo>
                        <a:pt x="61" y="37"/>
                      </a:lnTo>
                      <a:lnTo>
                        <a:pt x="66" y="37"/>
                      </a:lnTo>
                      <a:lnTo>
                        <a:pt x="72" y="36"/>
                      </a:lnTo>
                      <a:lnTo>
                        <a:pt x="77" y="35"/>
                      </a:lnTo>
                      <a:lnTo>
                        <a:pt x="83" y="33"/>
                      </a:lnTo>
                      <a:lnTo>
                        <a:pt x="94" y="28"/>
                      </a:lnTo>
                      <a:lnTo>
                        <a:pt x="104" y="23"/>
                      </a:lnTo>
                      <a:lnTo>
                        <a:pt x="114" y="17"/>
                      </a:lnTo>
                      <a:lnTo>
                        <a:pt x="123" y="11"/>
                      </a:lnTo>
                      <a:lnTo>
                        <a:pt x="134" y="5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61" y="8"/>
                      </a:lnTo>
                      <a:lnTo>
                        <a:pt x="171" y="11"/>
                      </a:lnTo>
                      <a:lnTo>
                        <a:pt x="181" y="12"/>
                      </a:lnTo>
                      <a:lnTo>
                        <a:pt x="185" y="12"/>
                      </a:lnTo>
                      <a:lnTo>
                        <a:pt x="190" y="10"/>
                      </a:lnTo>
                      <a:lnTo>
                        <a:pt x="196" y="8"/>
                      </a:lnTo>
                      <a:lnTo>
                        <a:pt x="201" y="6"/>
                      </a:lnTo>
                      <a:lnTo>
                        <a:pt x="210" y="2"/>
                      </a:lnTo>
                      <a:lnTo>
                        <a:pt x="213" y="0"/>
                      </a:lnTo>
                      <a:lnTo>
                        <a:pt x="233" y="0"/>
                      </a:lnTo>
                      <a:lnTo>
                        <a:pt x="232" y="6"/>
                      </a:lnTo>
                      <a:lnTo>
                        <a:pt x="231" y="12"/>
                      </a:lnTo>
                      <a:lnTo>
                        <a:pt x="228" y="18"/>
                      </a:lnTo>
                      <a:lnTo>
                        <a:pt x="224" y="22"/>
                      </a:lnTo>
                      <a:lnTo>
                        <a:pt x="219" y="25"/>
                      </a:lnTo>
                      <a:lnTo>
                        <a:pt x="213" y="28"/>
                      </a:lnTo>
                      <a:lnTo>
                        <a:pt x="207" y="30"/>
                      </a:lnTo>
                      <a:lnTo>
                        <a:pt x="200" y="30"/>
                      </a:lnTo>
                      <a:lnTo>
                        <a:pt x="201" y="43"/>
                      </a:lnTo>
                      <a:lnTo>
                        <a:pt x="204" y="52"/>
                      </a:lnTo>
                      <a:lnTo>
                        <a:pt x="206" y="62"/>
                      </a:lnTo>
                      <a:lnTo>
                        <a:pt x="207" y="74"/>
                      </a:lnTo>
                      <a:lnTo>
                        <a:pt x="185" y="85"/>
                      </a:lnTo>
                      <a:lnTo>
                        <a:pt x="166" y="93"/>
                      </a:lnTo>
                      <a:lnTo>
                        <a:pt x="157" y="96"/>
                      </a:lnTo>
                      <a:lnTo>
                        <a:pt x="149" y="98"/>
                      </a:lnTo>
                      <a:lnTo>
                        <a:pt x="139" y="98"/>
                      </a:lnTo>
                      <a:lnTo>
                        <a:pt x="127" y="99"/>
                      </a:lnTo>
                      <a:lnTo>
                        <a:pt x="116" y="100"/>
                      </a:lnTo>
                      <a:lnTo>
                        <a:pt x="105" y="103"/>
                      </a:lnTo>
                      <a:lnTo>
                        <a:pt x="96" y="106"/>
                      </a:lnTo>
                      <a:lnTo>
                        <a:pt x="88" y="111"/>
                      </a:lnTo>
                      <a:lnTo>
                        <a:pt x="82" y="115"/>
                      </a:lnTo>
                      <a:lnTo>
                        <a:pt x="74" y="119"/>
                      </a:lnTo>
                      <a:lnTo>
                        <a:pt x="67" y="122"/>
                      </a:lnTo>
                      <a:lnTo>
                        <a:pt x="61" y="123"/>
                      </a:lnTo>
                      <a:lnTo>
                        <a:pt x="58" y="122"/>
                      </a:lnTo>
                      <a:lnTo>
                        <a:pt x="55" y="119"/>
                      </a:lnTo>
                      <a:lnTo>
                        <a:pt x="53" y="115"/>
                      </a:lnTo>
                      <a:lnTo>
                        <a:pt x="51" y="110"/>
                      </a:lnTo>
                      <a:lnTo>
                        <a:pt x="48" y="100"/>
                      </a:lnTo>
                      <a:lnTo>
                        <a:pt x="47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2" name="Freeform 425"/>
                <p:cNvSpPr>
                  <a:spLocks/>
                </p:cNvSpPr>
                <p:nvPr/>
              </p:nvSpPr>
              <p:spPr bwMode="auto">
                <a:xfrm>
                  <a:off x="983" y="1236"/>
                  <a:ext cx="157" cy="56"/>
                </a:xfrm>
                <a:custGeom>
                  <a:avLst/>
                  <a:gdLst>
                    <a:gd name="T0" fmla="*/ 0 w 484"/>
                    <a:gd name="T1" fmla="*/ 147 h 172"/>
                    <a:gd name="T2" fmla="*/ 3 w 484"/>
                    <a:gd name="T3" fmla="*/ 156 h 172"/>
                    <a:gd name="T4" fmla="*/ 9 w 484"/>
                    <a:gd name="T5" fmla="*/ 162 h 172"/>
                    <a:gd name="T6" fmla="*/ 17 w 484"/>
                    <a:gd name="T7" fmla="*/ 167 h 172"/>
                    <a:gd name="T8" fmla="*/ 31 w 484"/>
                    <a:gd name="T9" fmla="*/ 170 h 172"/>
                    <a:gd name="T10" fmla="*/ 51 w 484"/>
                    <a:gd name="T11" fmla="*/ 172 h 172"/>
                    <a:gd name="T12" fmla="*/ 73 w 484"/>
                    <a:gd name="T13" fmla="*/ 172 h 172"/>
                    <a:gd name="T14" fmla="*/ 99 w 484"/>
                    <a:gd name="T15" fmla="*/ 167 h 172"/>
                    <a:gd name="T16" fmla="*/ 139 w 484"/>
                    <a:gd name="T17" fmla="*/ 156 h 172"/>
                    <a:gd name="T18" fmla="*/ 189 w 484"/>
                    <a:gd name="T19" fmla="*/ 135 h 172"/>
                    <a:gd name="T20" fmla="*/ 240 w 484"/>
                    <a:gd name="T21" fmla="*/ 113 h 172"/>
                    <a:gd name="T22" fmla="*/ 287 w 484"/>
                    <a:gd name="T23" fmla="*/ 100 h 172"/>
                    <a:gd name="T24" fmla="*/ 350 w 484"/>
                    <a:gd name="T25" fmla="*/ 87 h 172"/>
                    <a:gd name="T26" fmla="*/ 401 w 484"/>
                    <a:gd name="T27" fmla="*/ 75 h 172"/>
                    <a:gd name="T28" fmla="*/ 434 w 484"/>
                    <a:gd name="T29" fmla="*/ 64 h 172"/>
                    <a:gd name="T30" fmla="*/ 461 w 484"/>
                    <a:gd name="T31" fmla="*/ 52 h 172"/>
                    <a:gd name="T32" fmla="*/ 475 w 484"/>
                    <a:gd name="T33" fmla="*/ 42 h 172"/>
                    <a:gd name="T34" fmla="*/ 482 w 484"/>
                    <a:gd name="T35" fmla="*/ 35 h 172"/>
                    <a:gd name="T36" fmla="*/ 449 w 484"/>
                    <a:gd name="T37" fmla="*/ 26 h 172"/>
                    <a:gd name="T38" fmla="*/ 387 w 484"/>
                    <a:gd name="T39" fmla="*/ 16 h 172"/>
                    <a:gd name="T40" fmla="*/ 331 w 484"/>
                    <a:gd name="T41" fmla="*/ 6 h 172"/>
                    <a:gd name="T42" fmla="*/ 272 w 484"/>
                    <a:gd name="T43" fmla="*/ 0 h 172"/>
                    <a:gd name="T44" fmla="*/ 225 w 484"/>
                    <a:gd name="T45" fmla="*/ 0 h 172"/>
                    <a:gd name="T46" fmla="*/ 203 w 484"/>
                    <a:gd name="T47" fmla="*/ 4 h 172"/>
                    <a:gd name="T48" fmla="*/ 186 w 484"/>
                    <a:gd name="T49" fmla="*/ 8 h 172"/>
                    <a:gd name="T50" fmla="*/ 176 w 484"/>
                    <a:gd name="T51" fmla="*/ 6 h 172"/>
                    <a:gd name="T52" fmla="*/ 169 w 484"/>
                    <a:gd name="T53" fmla="*/ 3 h 172"/>
                    <a:gd name="T54" fmla="*/ 165 w 484"/>
                    <a:gd name="T55" fmla="*/ 8 h 172"/>
                    <a:gd name="T56" fmla="*/ 161 w 484"/>
                    <a:gd name="T57" fmla="*/ 24 h 172"/>
                    <a:gd name="T58" fmla="*/ 154 w 484"/>
                    <a:gd name="T59" fmla="*/ 36 h 172"/>
                    <a:gd name="T60" fmla="*/ 144 w 484"/>
                    <a:gd name="T61" fmla="*/ 46 h 172"/>
                    <a:gd name="T62" fmla="*/ 127 w 484"/>
                    <a:gd name="T63" fmla="*/ 58 h 172"/>
                    <a:gd name="T64" fmla="*/ 97 w 484"/>
                    <a:gd name="T65" fmla="*/ 69 h 172"/>
                    <a:gd name="T66" fmla="*/ 66 w 484"/>
                    <a:gd name="T67" fmla="*/ 78 h 172"/>
                    <a:gd name="T68" fmla="*/ 38 w 484"/>
                    <a:gd name="T69" fmla="*/ 88 h 172"/>
                    <a:gd name="T70" fmla="*/ 19 w 484"/>
                    <a:gd name="T71" fmla="*/ 98 h 172"/>
                    <a:gd name="T72" fmla="*/ 10 w 484"/>
                    <a:gd name="T73" fmla="*/ 107 h 172"/>
                    <a:gd name="T74" fmla="*/ 3 w 484"/>
                    <a:gd name="T75" fmla="*/ 119 h 172"/>
                    <a:gd name="T76" fmla="*/ 0 w 484"/>
                    <a:gd name="T77" fmla="*/ 134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84" h="172">
                      <a:moveTo>
                        <a:pt x="0" y="142"/>
                      </a:moveTo>
                      <a:lnTo>
                        <a:pt x="0" y="147"/>
                      </a:lnTo>
                      <a:lnTo>
                        <a:pt x="1" y="152"/>
                      </a:lnTo>
                      <a:lnTo>
                        <a:pt x="3" y="156"/>
                      </a:lnTo>
                      <a:lnTo>
                        <a:pt x="6" y="159"/>
                      </a:lnTo>
                      <a:lnTo>
                        <a:pt x="9" y="162"/>
                      </a:lnTo>
                      <a:lnTo>
                        <a:pt x="13" y="165"/>
                      </a:lnTo>
                      <a:lnTo>
                        <a:pt x="17" y="167"/>
                      </a:lnTo>
                      <a:lnTo>
                        <a:pt x="21" y="168"/>
                      </a:lnTo>
                      <a:lnTo>
                        <a:pt x="31" y="170"/>
                      </a:lnTo>
                      <a:lnTo>
                        <a:pt x="41" y="172"/>
                      </a:lnTo>
                      <a:lnTo>
                        <a:pt x="51" y="172"/>
                      </a:lnTo>
                      <a:lnTo>
                        <a:pt x="59" y="172"/>
                      </a:lnTo>
                      <a:lnTo>
                        <a:pt x="73" y="172"/>
                      </a:lnTo>
                      <a:lnTo>
                        <a:pt x="86" y="170"/>
                      </a:lnTo>
                      <a:lnTo>
                        <a:pt x="99" y="167"/>
                      </a:lnTo>
                      <a:lnTo>
                        <a:pt x="113" y="164"/>
                      </a:lnTo>
                      <a:lnTo>
                        <a:pt x="139" y="156"/>
                      </a:lnTo>
                      <a:lnTo>
                        <a:pt x="164" y="146"/>
                      </a:lnTo>
                      <a:lnTo>
                        <a:pt x="189" y="135"/>
                      </a:lnTo>
                      <a:lnTo>
                        <a:pt x="215" y="124"/>
                      </a:lnTo>
                      <a:lnTo>
                        <a:pt x="240" y="113"/>
                      </a:lnTo>
                      <a:lnTo>
                        <a:pt x="265" y="104"/>
                      </a:lnTo>
                      <a:lnTo>
                        <a:pt x="287" y="100"/>
                      </a:lnTo>
                      <a:lnTo>
                        <a:pt x="316" y="94"/>
                      </a:lnTo>
                      <a:lnTo>
                        <a:pt x="350" y="87"/>
                      </a:lnTo>
                      <a:lnTo>
                        <a:pt x="385" y="80"/>
                      </a:lnTo>
                      <a:lnTo>
                        <a:pt x="401" y="75"/>
                      </a:lnTo>
                      <a:lnTo>
                        <a:pt x="418" y="70"/>
                      </a:lnTo>
                      <a:lnTo>
                        <a:pt x="434" y="64"/>
                      </a:lnTo>
                      <a:lnTo>
                        <a:pt x="449" y="58"/>
                      </a:lnTo>
                      <a:lnTo>
                        <a:pt x="461" y="52"/>
                      </a:lnTo>
                      <a:lnTo>
                        <a:pt x="471" y="46"/>
                      </a:lnTo>
                      <a:lnTo>
                        <a:pt x="475" y="42"/>
                      </a:lnTo>
                      <a:lnTo>
                        <a:pt x="479" y="39"/>
                      </a:lnTo>
                      <a:lnTo>
                        <a:pt x="482" y="35"/>
                      </a:lnTo>
                      <a:lnTo>
                        <a:pt x="484" y="31"/>
                      </a:lnTo>
                      <a:lnTo>
                        <a:pt x="449" y="26"/>
                      </a:lnTo>
                      <a:lnTo>
                        <a:pt x="417" y="21"/>
                      </a:lnTo>
                      <a:lnTo>
                        <a:pt x="387" y="16"/>
                      </a:lnTo>
                      <a:lnTo>
                        <a:pt x="359" y="10"/>
                      </a:lnTo>
                      <a:lnTo>
                        <a:pt x="331" y="6"/>
                      </a:lnTo>
                      <a:lnTo>
                        <a:pt x="303" y="3"/>
                      </a:lnTo>
                      <a:lnTo>
                        <a:pt x="272" y="0"/>
                      </a:lnTo>
                      <a:lnTo>
                        <a:pt x="239" y="0"/>
                      </a:lnTo>
                      <a:lnTo>
                        <a:pt x="225" y="0"/>
                      </a:lnTo>
                      <a:lnTo>
                        <a:pt x="213" y="2"/>
                      </a:lnTo>
                      <a:lnTo>
                        <a:pt x="203" y="4"/>
                      </a:lnTo>
                      <a:lnTo>
                        <a:pt x="195" y="6"/>
                      </a:lnTo>
                      <a:lnTo>
                        <a:pt x="186" y="8"/>
                      </a:lnTo>
                      <a:lnTo>
                        <a:pt x="180" y="7"/>
                      </a:lnTo>
                      <a:lnTo>
                        <a:pt x="176" y="6"/>
                      </a:lnTo>
                      <a:lnTo>
                        <a:pt x="173" y="5"/>
                      </a:lnTo>
                      <a:lnTo>
                        <a:pt x="169" y="3"/>
                      </a:lnTo>
                      <a:lnTo>
                        <a:pt x="165" y="0"/>
                      </a:lnTo>
                      <a:lnTo>
                        <a:pt x="165" y="8"/>
                      </a:lnTo>
                      <a:lnTo>
                        <a:pt x="163" y="17"/>
                      </a:lnTo>
                      <a:lnTo>
                        <a:pt x="161" y="24"/>
                      </a:lnTo>
                      <a:lnTo>
                        <a:pt x="159" y="31"/>
                      </a:lnTo>
                      <a:lnTo>
                        <a:pt x="154" y="36"/>
                      </a:lnTo>
                      <a:lnTo>
                        <a:pt x="150" y="42"/>
                      </a:lnTo>
                      <a:lnTo>
                        <a:pt x="144" y="46"/>
                      </a:lnTo>
                      <a:lnTo>
                        <a:pt x="139" y="50"/>
                      </a:lnTo>
                      <a:lnTo>
                        <a:pt x="127" y="58"/>
                      </a:lnTo>
                      <a:lnTo>
                        <a:pt x="113" y="63"/>
                      </a:lnTo>
                      <a:lnTo>
                        <a:pt x="97" y="69"/>
                      </a:lnTo>
                      <a:lnTo>
                        <a:pt x="82" y="73"/>
                      </a:lnTo>
                      <a:lnTo>
                        <a:pt x="66" y="78"/>
                      </a:lnTo>
                      <a:lnTo>
                        <a:pt x="52" y="82"/>
                      </a:lnTo>
                      <a:lnTo>
                        <a:pt x="38" y="88"/>
                      </a:lnTo>
                      <a:lnTo>
                        <a:pt x="25" y="94"/>
                      </a:lnTo>
                      <a:lnTo>
                        <a:pt x="19" y="98"/>
                      </a:lnTo>
                      <a:lnTo>
                        <a:pt x="15" y="103"/>
                      </a:lnTo>
                      <a:lnTo>
                        <a:pt x="10" y="107"/>
                      </a:lnTo>
                      <a:lnTo>
                        <a:pt x="6" y="113"/>
                      </a:lnTo>
                      <a:lnTo>
                        <a:pt x="3" y="119"/>
                      </a:lnTo>
                      <a:lnTo>
                        <a:pt x="1" y="126"/>
                      </a:lnTo>
                      <a:lnTo>
                        <a:pt x="0" y="134"/>
                      </a:lnTo>
                      <a:lnTo>
                        <a:pt x="0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3" name="Freeform 426"/>
                <p:cNvSpPr>
                  <a:spLocks/>
                </p:cNvSpPr>
                <p:nvPr/>
              </p:nvSpPr>
              <p:spPr bwMode="auto">
                <a:xfrm>
                  <a:off x="1043" y="1255"/>
                  <a:ext cx="221" cy="79"/>
                </a:xfrm>
                <a:custGeom>
                  <a:avLst/>
                  <a:gdLst>
                    <a:gd name="T0" fmla="*/ 317 w 684"/>
                    <a:gd name="T1" fmla="*/ 5 h 240"/>
                    <a:gd name="T2" fmla="*/ 304 w 684"/>
                    <a:gd name="T3" fmla="*/ 27 h 240"/>
                    <a:gd name="T4" fmla="*/ 297 w 684"/>
                    <a:gd name="T5" fmla="*/ 41 h 240"/>
                    <a:gd name="T6" fmla="*/ 299 w 684"/>
                    <a:gd name="T7" fmla="*/ 43 h 240"/>
                    <a:gd name="T8" fmla="*/ 337 w 684"/>
                    <a:gd name="T9" fmla="*/ 39 h 240"/>
                    <a:gd name="T10" fmla="*/ 372 w 684"/>
                    <a:gd name="T11" fmla="*/ 19 h 240"/>
                    <a:gd name="T12" fmla="*/ 379 w 684"/>
                    <a:gd name="T13" fmla="*/ 38 h 240"/>
                    <a:gd name="T14" fmla="*/ 377 w 684"/>
                    <a:gd name="T15" fmla="*/ 55 h 240"/>
                    <a:gd name="T16" fmla="*/ 405 w 684"/>
                    <a:gd name="T17" fmla="*/ 69 h 240"/>
                    <a:gd name="T18" fmla="*/ 511 w 684"/>
                    <a:gd name="T19" fmla="*/ 51 h 240"/>
                    <a:gd name="T20" fmla="*/ 514 w 684"/>
                    <a:gd name="T21" fmla="*/ 70 h 240"/>
                    <a:gd name="T22" fmla="*/ 541 w 684"/>
                    <a:gd name="T23" fmla="*/ 63 h 240"/>
                    <a:gd name="T24" fmla="*/ 557 w 684"/>
                    <a:gd name="T25" fmla="*/ 45 h 240"/>
                    <a:gd name="T26" fmla="*/ 558 w 684"/>
                    <a:gd name="T27" fmla="*/ 19 h 240"/>
                    <a:gd name="T28" fmla="*/ 563 w 684"/>
                    <a:gd name="T29" fmla="*/ 8 h 240"/>
                    <a:gd name="T30" fmla="*/ 579 w 684"/>
                    <a:gd name="T31" fmla="*/ 0 h 240"/>
                    <a:gd name="T32" fmla="*/ 624 w 684"/>
                    <a:gd name="T33" fmla="*/ 3 h 240"/>
                    <a:gd name="T34" fmla="*/ 645 w 684"/>
                    <a:gd name="T35" fmla="*/ 0 h 240"/>
                    <a:gd name="T36" fmla="*/ 657 w 684"/>
                    <a:gd name="T37" fmla="*/ 39 h 240"/>
                    <a:gd name="T38" fmla="*/ 653 w 684"/>
                    <a:gd name="T39" fmla="*/ 70 h 240"/>
                    <a:gd name="T40" fmla="*/ 637 w 684"/>
                    <a:gd name="T41" fmla="*/ 101 h 240"/>
                    <a:gd name="T42" fmla="*/ 618 w 684"/>
                    <a:gd name="T43" fmla="*/ 124 h 240"/>
                    <a:gd name="T44" fmla="*/ 648 w 684"/>
                    <a:gd name="T45" fmla="*/ 137 h 240"/>
                    <a:gd name="T46" fmla="*/ 672 w 684"/>
                    <a:gd name="T47" fmla="*/ 145 h 240"/>
                    <a:gd name="T48" fmla="*/ 684 w 684"/>
                    <a:gd name="T49" fmla="*/ 180 h 240"/>
                    <a:gd name="T50" fmla="*/ 639 w 684"/>
                    <a:gd name="T51" fmla="*/ 185 h 240"/>
                    <a:gd name="T52" fmla="*/ 608 w 684"/>
                    <a:gd name="T53" fmla="*/ 181 h 240"/>
                    <a:gd name="T54" fmla="*/ 574 w 684"/>
                    <a:gd name="T55" fmla="*/ 180 h 240"/>
                    <a:gd name="T56" fmla="*/ 564 w 684"/>
                    <a:gd name="T57" fmla="*/ 184 h 240"/>
                    <a:gd name="T58" fmla="*/ 542 w 684"/>
                    <a:gd name="T59" fmla="*/ 200 h 240"/>
                    <a:gd name="T60" fmla="*/ 524 w 684"/>
                    <a:gd name="T61" fmla="*/ 209 h 240"/>
                    <a:gd name="T62" fmla="*/ 493 w 684"/>
                    <a:gd name="T63" fmla="*/ 209 h 240"/>
                    <a:gd name="T64" fmla="*/ 452 w 684"/>
                    <a:gd name="T65" fmla="*/ 204 h 240"/>
                    <a:gd name="T66" fmla="*/ 422 w 684"/>
                    <a:gd name="T67" fmla="*/ 198 h 240"/>
                    <a:gd name="T68" fmla="*/ 337 w 684"/>
                    <a:gd name="T69" fmla="*/ 211 h 240"/>
                    <a:gd name="T70" fmla="*/ 231 w 684"/>
                    <a:gd name="T71" fmla="*/ 230 h 240"/>
                    <a:gd name="T72" fmla="*/ 169 w 684"/>
                    <a:gd name="T73" fmla="*/ 238 h 240"/>
                    <a:gd name="T74" fmla="*/ 124 w 684"/>
                    <a:gd name="T75" fmla="*/ 238 h 240"/>
                    <a:gd name="T76" fmla="*/ 100 w 684"/>
                    <a:gd name="T77" fmla="*/ 228 h 240"/>
                    <a:gd name="T78" fmla="*/ 67 w 684"/>
                    <a:gd name="T79" fmla="*/ 208 h 240"/>
                    <a:gd name="T80" fmla="*/ 29 w 684"/>
                    <a:gd name="T81" fmla="*/ 196 h 240"/>
                    <a:gd name="T82" fmla="*/ 0 w 684"/>
                    <a:gd name="T83" fmla="*/ 173 h 240"/>
                    <a:gd name="T84" fmla="*/ 64 w 684"/>
                    <a:gd name="T85" fmla="*/ 159 h 240"/>
                    <a:gd name="T86" fmla="*/ 100 w 684"/>
                    <a:gd name="T87" fmla="*/ 154 h 240"/>
                    <a:gd name="T88" fmla="*/ 156 w 684"/>
                    <a:gd name="T89" fmla="*/ 160 h 240"/>
                    <a:gd name="T90" fmla="*/ 201 w 684"/>
                    <a:gd name="T91" fmla="*/ 165 h 240"/>
                    <a:gd name="T92" fmla="*/ 224 w 684"/>
                    <a:gd name="T93" fmla="*/ 162 h 240"/>
                    <a:gd name="T94" fmla="*/ 26 w 684"/>
                    <a:gd name="T95" fmla="*/ 136 h 240"/>
                    <a:gd name="T96" fmla="*/ 52 w 684"/>
                    <a:gd name="T97" fmla="*/ 128 h 240"/>
                    <a:gd name="T98" fmla="*/ 109 w 684"/>
                    <a:gd name="T99" fmla="*/ 117 h 240"/>
                    <a:gd name="T100" fmla="*/ 165 w 684"/>
                    <a:gd name="T101" fmla="*/ 108 h 240"/>
                    <a:gd name="T102" fmla="*/ 187 w 684"/>
                    <a:gd name="T103" fmla="*/ 99 h 240"/>
                    <a:gd name="T104" fmla="*/ 166 w 684"/>
                    <a:gd name="T105" fmla="*/ 93 h 240"/>
                    <a:gd name="T106" fmla="*/ 125 w 684"/>
                    <a:gd name="T107" fmla="*/ 98 h 240"/>
                    <a:gd name="T108" fmla="*/ 71 w 684"/>
                    <a:gd name="T109" fmla="*/ 110 h 240"/>
                    <a:gd name="T110" fmla="*/ 52 w 684"/>
                    <a:gd name="T111" fmla="*/ 106 h 240"/>
                    <a:gd name="T112" fmla="*/ 55 w 684"/>
                    <a:gd name="T113" fmla="*/ 90 h 240"/>
                    <a:gd name="T114" fmla="*/ 54 w 684"/>
                    <a:gd name="T115" fmla="*/ 81 h 240"/>
                    <a:gd name="T116" fmla="*/ 59 w 684"/>
                    <a:gd name="T117" fmla="*/ 78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84" h="240">
                      <a:moveTo>
                        <a:pt x="60" y="75"/>
                      </a:moveTo>
                      <a:lnTo>
                        <a:pt x="320" y="0"/>
                      </a:lnTo>
                      <a:lnTo>
                        <a:pt x="317" y="5"/>
                      </a:lnTo>
                      <a:lnTo>
                        <a:pt x="314" y="13"/>
                      </a:lnTo>
                      <a:lnTo>
                        <a:pt x="310" y="20"/>
                      </a:lnTo>
                      <a:lnTo>
                        <a:pt x="304" y="27"/>
                      </a:lnTo>
                      <a:lnTo>
                        <a:pt x="300" y="33"/>
                      </a:lnTo>
                      <a:lnTo>
                        <a:pt x="297" y="39"/>
                      </a:lnTo>
                      <a:lnTo>
                        <a:pt x="297" y="41"/>
                      </a:lnTo>
                      <a:lnTo>
                        <a:pt x="297" y="42"/>
                      </a:lnTo>
                      <a:lnTo>
                        <a:pt x="298" y="43"/>
                      </a:lnTo>
                      <a:lnTo>
                        <a:pt x="299" y="43"/>
                      </a:lnTo>
                      <a:lnTo>
                        <a:pt x="315" y="43"/>
                      </a:lnTo>
                      <a:lnTo>
                        <a:pt x="327" y="41"/>
                      </a:lnTo>
                      <a:lnTo>
                        <a:pt x="337" y="39"/>
                      </a:lnTo>
                      <a:lnTo>
                        <a:pt x="346" y="36"/>
                      </a:lnTo>
                      <a:lnTo>
                        <a:pt x="359" y="28"/>
                      </a:lnTo>
                      <a:lnTo>
                        <a:pt x="372" y="19"/>
                      </a:lnTo>
                      <a:lnTo>
                        <a:pt x="376" y="26"/>
                      </a:lnTo>
                      <a:lnTo>
                        <a:pt x="378" y="32"/>
                      </a:lnTo>
                      <a:lnTo>
                        <a:pt x="379" y="38"/>
                      </a:lnTo>
                      <a:lnTo>
                        <a:pt x="378" y="44"/>
                      </a:lnTo>
                      <a:lnTo>
                        <a:pt x="378" y="49"/>
                      </a:lnTo>
                      <a:lnTo>
                        <a:pt x="377" y="55"/>
                      </a:lnTo>
                      <a:lnTo>
                        <a:pt x="378" y="61"/>
                      </a:lnTo>
                      <a:lnTo>
                        <a:pt x="379" y="69"/>
                      </a:lnTo>
                      <a:lnTo>
                        <a:pt x="405" y="69"/>
                      </a:lnTo>
                      <a:lnTo>
                        <a:pt x="512" y="19"/>
                      </a:lnTo>
                      <a:lnTo>
                        <a:pt x="511" y="36"/>
                      </a:lnTo>
                      <a:lnTo>
                        <a:pt x="511" y="51"/>
                      </a:lnTo>
                      <a:lnTo>
                        <a:pt x="511" y="58"/>
                      </a:lnTo>
                      <a:lnTo>
                        <a:pt x="512" y="65"/>
                      </a:lnTo>
                      <a:lnTo>
                        <a:pt x="514" y="70"/>
                      </a:lnTo>
                      <a:lnTo>
                        <a:pt x="518" y="75"/>
                      </a:lnTo>
                      <a:lnTo>
                        <a:pt x="531" y="68"/>
                      </a:lnTo>
                      <a:lnTo>
                        <a:pt x="541" y="63"/>
                      </a:lnTo>
                      <a:lnTo>
                        <a:pt x="549" y="57"/>
                      </a:lnTo>
                      <a:lnTo>
                        <a:pt x="553" y="51"/>
                      </a:lnTo>
                      <a:lnTo>
                        <a:pt x="557" y="45"/>
                      </a:lnTo>
                      <a:lnTo>
                        <a:pt x="558" y="38"/>
                      </a:lnTo>
                      <a:lnTo>
                        <a:pt x="558" y="30"/>
                      </a:lnTo>
                      <a:lnTo>
                        <a:pt x="558" y="19"/>
                      </a:lnTo>
                      <a:lnTo>
                        <a:pt x="559" y="15"/>
                      </a:lnTo>
                      <a:lnTo>
                        <a:pt x="560" y="11"/>
                      </a:lnTo>
                      <a:lnTo>
                        <a:pt x="563" y="8"/>
                      </a:lnTo>
                      <a:lnTo>
                        <a:pt x="566" y="5"/>
                      </a:lnTo>
                      <a:lnTo>
                        <a:pt x="572" y="1"/>
                      </a:lnTo>
                      <a:lnTo>
                        <a:pt x="579" y="0"/>
                      </a:lnTo>
                      <a:lnTo>
                        <a:pt x="600" y="1"/>
                      </a:lnTo>
                      <a:lnTo>
                        <a:pt x="616" y="2"/>
                      </a:lnTo>
                      <a:lnTo>
                        <a:pt x="624" y="3"/>
                      </a:lnTo>
                      <a:lnTo>
                        <a:pt x="630" y="3"/>
                      </a:lnTo>
                      <a:lnTo>
                        <a:pt x="637" y="2"/>
                      </a:lnTo>
                      <a:lnTo>
                        <a:pt x="645" y="0"/>
                      </a:lnTo>
                      <a:lnTo>
                        <a:pt x="650" y="15"/>
                      </a:lnTo>
                      <a:lnTo>
                        <a:pt x="653" y="28"/>
                      </a:lnTo>
                      <a:lnTo>
                        <a:pt x="657" y="39"/>
                      </a:lnTo>
                      <a:lnTo>
                        <a:pt x="658" y="50"/>
                      </a:lnTo>
                      <a:lnTo>
                        <a:pt x="657" y="59"/>
                      </a:lnTo>
                      <a:lnTo>
                        <a:pt x="653" y="70"/>
                      </a:lnTo>
                      <a:lnTo>
                        <a:pt x="649" y="81"/>
                      </a:lnTo>
                      <a:lnTo>
                        <a:pt x="643" y="91"/>
                      </a:lnTo>
                      <a:lnTo>
                        <a:pt x="637" y="101"/>
                      </a:lnTo>
                      <a:lnTo>
                        <a:pt x="630" y="110"/>
                      </a:lnTo>
                      <a:lnTo>
                        <a:pt x="624" y="119"/>
                      </a:lnTo>
                      <a:lnTo>
                        <a:pt x="618" y="124"/>
                      </a:lnTo>
                      <a:lnTo>
                        <a:pt x="628" y="130"/>
                      </a:lnTo>
                      <a:lnTo>
                        <a:pt x="638" y="134"/>
                      </a:lnTo>
                      <a:lnTo>
                        <a:pt x="648" y="137"/>
                      </a:lnTo>
                      <a:lnTo>
                        <a:pt x="657" y="139"/>
                      </a:lnTo>
                      <a:lnTo>
                        <a:pt x="664" y="142"/>
                      </a:lnTo>
                      <a:lnTo>
                        <a:pt x="672" y="145"/>
                      </a:lnTo>
                      <a:lnTo>
                        <a:pt x="679" y="149"/>
                      </a:lnTo>
                      <a:lnTo>
                        <a:pt x="684" y="154"/>
                      </a:lnTo>
                      <a:lnTo>
                        <a:pt x="684" y="180"/>
                      </a:lnTo>
                      <a:lnTo>
                        <a:pt x="665" y="183"/>
                      </a:lnTo>
                      <a:lnTo>
                        <a:pt x="650" y="185"/>
                      </a:lnTo>
                      <a:lnTo>
                        <a:pt x="639" y="185"/>
                      </a:lnTo>
                      <a:lnTo>
                        <a:pt x="629" y="184"/>
                      </a:lnTo>
                      <a:lnTo>
                        <a:pt x="619" y="183"/>
                      </a:lnTo>
                      <a:lnTo>
                        <a:pt x="608" y="181"/>
                      </a:lnTo>
                      <a:lnTo>
                        <a:pt x="595" y="180"/>
                      </a:lnTo>
                      <a:lnTo>
                        <a:pt x="579" y="180"/>
                      </a:lnTo>
                      <a:lnTo>
                        <a:pt x="574" y="180"/>
                      </a:lnTo>
                      <a:lnTo>
                        <a:pt x="571" y="181"/>
                      </a:lnTo>
                      <a:lnTo>
                        <a:pt x="568" y="182"/>
                      </a:lnTo>
                      <a:lnTo>
                        <a:pt x="564" y="184"/>
                      </a:lnTo>
                      <a:lnTo>
                        <a:pt x="557" y="189"/>
                      </a:lnTo>
                      <a:lnTo>
                        <a:pt x="550" y="195"/>
                      </a:lnTo>
                      <a:lnTo>
                        <a:pt x="542" y="200"/>
                      </a:lnTo>
                      <a:lnTo>
                        <a:pt x="534" y="205"/>
                      </a:lnTo>
                      <a:lnTo>
                        <a:pt x="528" y="207"/>
                      </a:lnTo>
                      <a:lnTo>
                        <a:pt x="524" y="209"/>
                      </a:lnTo>
                      <a:lnTo>
                        <a:pt x="518" y="210"/>
                      </a:lnTo>
                      <a:lnTo>
                        <a:pt x="512" y="210"/>
                      </a:lnTo>
                      <a:lnTo>
                        <a:pt x="493" y="209"/>
                      </a:lnTo>
                      <a:lnTo>
                        <a:pt x="478" y="208"/>
                      </a:lnTo>
                      <a:lnTo>
                        <a:pt x="463" y="206"/>
                      </a:lnTo>
                      <a:lnTo>
                        <a:pt x="452" y="204"/>
                      </a:lnTo>
                      <a:lnTo>
                        <a:pt x="441" y="202"/>
                      </a:lnTo>
                      <a:lnTo>
                        <a:pt x="432" y="200"/>
                      </a:lnTo>
                      <a:lnTo>
                        <a:pt x="422" y="198"/>
                      </a:lnTo>
                      <a:lnTo>
                        <a:pt x="412" y="198"/>
                      </a:lnTo>
                      <a:lnTo>
                        <a:pt x="389" y="202"/>
                      </a:lnTo>
                      <a:lnTo>
                        <a:pt x="337" y="211"/>
                      </a:lnTo>
                      <a:lnTo>
                        <a:pt x="283" y="221"/>
                      </a:lnTo>
                      <a:lnTo>
                        <a:pt x="253" y="228"/>
                      </a:lnTo>
                      <a:lnTo>
                        <a:pt x="231" y="230"/>
                      </a:lnTo>
                      <a:lnTo>
                        <a:pt x="209" y="232"/>
                      </a:lnTo>
                      <a:lnTo>
                        <a:pt x="189" y="235"/>
                      </a:lnTo>
                      <a:lnTo>
                        <a:pt x="169" y="238"/>
                      </a:lnTo>
                      <a:lnTo>
                        <a:pt x="150" y="240"/>
                      </a:lnTo>
                      <a:lnTo>
                        <a:pt x="132" y="239"/>
                      </a:lnTo>
                      <a:lnTo>
                        <a:pt x="124" y="238"/>
                      </a:lnTo>
                      <a:lnTo>
                        <a:pt x="115" y="236"/>
                      </a:lnTo>
                      <a:lnTo>
                        <a:pt x="108" y="233"/>
                      </a:lnTo>
                      <a:lnTo>
                        <a:pt x="100" y="228"/>
                      </a:lnTo>
                      <a:lnTo>
                        <a:pt x="100" y="210"/>
                      </a:lnTo>
                      <a:lnTo>
                        <a:pt x="84" y="209"/>
                      </a:lnTo>
                      <a:lnTo>
                        <a:pt x="67" y="208"/>
                      </a:lnTo>
                      <a:lnTo>
                        <a:pt x="53" y="205"/>
                      </a:lnTo>
                      <a:lnTo>
                        <a:pt x="41" y="201"/>
                      </a:lnTo>
                      <a:lnTo>
                        <a:pt x="29" y="196"/>
                      </a:lnTo>
                      <a:lnTo>
                        <a:pt x="18" y="189"/>
                      </a:lnTo>
                      <a:lnTo>
                        <a:pt x="9" y="182"/>
                      </a:lnTo>
                      <a:lnTo>
                        <a:pt x="0" y="173"/>
                      </a:lnTo>
                      <a:lnTo>
                        <a:pt x="28" y="167"/>
                      </a:lnTo>
                      <a:lnTo>
                        <a:pt x="53" y="161"/>
                      </a:lnTo>
                      <a:lnTo>
                        <a:pt x="64" y="159"/>
                      </a:lnTo>
                      <a:lnTo>
                        <a:pt x="76" y="156"/>
                      </a:lnTo>
                      <a:lnTo>
                        <a:pt x="88" y="155"/>
                      </a:lnTo>
                      <a:lnTo>
                        <a:pt x="100" y="154"/>
                      </a:lnTo>
                      <a:lnTo>
                        <a:pt x="121" y="155"/>
                      </a:lnTo>
                      <a:lnTo>
                        <a:pt x="140" y="157"/>
                      </a:lnTo>
                      <a:lnTo>
                        <a:pt x="156" y="160"/>
                      </a:lnTo>
                      <a:lnTo>
                        <a:pt x="171" y="162"/>
                      </a:lnTo>
                      <a:lnTo>
                        <a:pt x="186" y="164"/>
                      </a:lnTo>
                      <a:lnTo>
                        <a:pt x="201" y="165"/>
                      </a:lnTo>
                      <a:lnTo>
                        <a:pt x="209" y="164"/>
                      </a:lnTo>
                      <a:lnTo>
                        <a:pt x="216" y="164"/>
                      </a:lnTo>
                      <a:lnTo>
                        <a:pt x="224" y="162"/>
                      </a:lnTo>
                      <a:lnTo>
                        <a:pt x="233" y="160"/>
                      </a:lnTo>
                      <a:lnTo>
                        <a:pt x="126" y="142"/>
                      </a:lnTo>
                      <a:lnTo>
                        <a:pt x="26" y="136"/>
                      </a:lnTo>
                      <a:lnTo>
                        <a:pt x="34" y="133"/>
                      </a:lnTo>
                      <a:lnTo>
                        <a:pt x="42" y="130"/>
                      </a:lnTo>
                      <a:lnTo>
                        <a:pt x="52" y="128"/>
                      </a:lnTo>
                      <a:lnTo>
                        <a:pt x="62" y="125"/>
                      </a:lnTo>
                      <a:lnTo>
                        <a:pt x="85" y="122"/>
                      </a:lnTo>
                      <a:lnTo>
                        <a:pt x="109" y="117"/>
                      </a:lnTo>
                      <a:lnTo>
                        <a:pt x="133" y="114"/>
                      </a:lnTo>
                      <a:lnTo>
                        <a:pt x="155" y="110"/>
                      </a:lnTo>
                      <a:lnTo>
                        <a:pt x="165" y="108"/>
                      </a:lnTo>
                      <a:lnTo>
                        <a:pt x="174" y="105"/>
                      </a:lnTo>
                      <a:lnTo>
                        <a:pt x="180" y="102"/>
                      </a:lnTo>
                      <a:lnTo>
                        <a:pt x="187" y="99"/>
                      </a:lnTo>
                      <a:lnTo>
                        <a:pt x="180" y="96"/>
                      </a:lnTo>
                      <a:lnTo>
                        <a:pt x="172" y="94"/>
                      </a:lnTo>
                      <a:lnTo>
                        <a:pt x="166" y="93"/>
                      </a:lnTo>
                      <a:lnTo>
                        <a:pt x="158" y="93"/>
                      </a:lnTo>
                      <a:lnTo>
                        <a:pt x="142" y="95"/>
                      </a:lnTo>
                      <a:lnTo>
                        <a:pt x="125" y="98"/>
                      </a:lnTo>
                      <a:lnTo>
                        <a:pt x="107" y="102"/>
                      </a:lnTo>
                      <a:lnTo>
                        <a:pt x="89" y="107"/>
                      </a:lnTo>
                      <a:lnTo>
                        <a:pt x="71" y="110"/>
                      </a:lnTo>
                      <a:lnTo>
                        <a:pt x="54" y="111"/>
                      </a:lnTo>
                      <a:lnTo>
                        <a:pt x="52" y="110"/>
                      </a:lnTo>
                      <a:lnTo>
                        <a:pt x="52" y="106"/>
                      </a:lnTo>
                      <a:lnTo>
                        <a:pt x="53" y="102"/>
                      </a:lnTo>
                      <a:lnTo>
                        <a:pt x="54" y="96"/>
                      </a:lnTo>
                      <a:lnTo>
                        <a:pt x="55" y="90"/>
                      </a:lnTo>
                      <a:lnTo>
                        <a:pt x="55" y="86"/>
                      </a:lnTo>
                      <a:lnTo>
                        <a:pt x="55" y="82"/>
                      </a:lnTo>
                      <a:lnTo>
                        <a:pt x="54" y="81"/>
                      </a:lnTo>
                      <a:lnTo>
                        <a:pt x="55" y="81"/>
                      </a:lnTo>
                      <a:lnTo>
                        <a:pt x="57" y="80"/>
                      </a:lnTo>
                      <a:lnTo>
                        <a:pt x="59" y="78"/>
                      </a:lnTo>
                      <a:lnTo>
                        <a:pt x="60" y="7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4" name="Freeform 427"/>
                <p:cNvSpPr>
                  <a:spLocks/>
                </p:cNvSpPr>
                <p:nvPr/>
              </p:nvSpPr>
              <p:spPr bwMode="auto">
                <a:xfrm>
                  <a:off x="1645" y="1643"/>
                  <a:ext cx="108" cy="93"/>
                </a:xfrm>
                <a:custGeom>
                  <a:avLst/>
                  <a:gdLst>
                    <a:gd name="T0" fmla="*/ 180 w 332"/>
                    <a:gd name="T1" fmla="*/ 38 h 287"/>
                    <a:gd name="T2" fmla="*/ 202 w 332"/>
                    <a:gd name="T3" fmla="*/ 24 h 287"/>
                    <a:gd name="T4" fmla="*/ 226 w 332"/>
                    <a:gd name="T5" fmla="*/ 7 h 287"/>
                    <a:gd name="T6" fmla="*/ 240 w 332"/>
                    <a:gd name="T7" fmla="*/ 1 h 287"/>
                    <a:gd name="T8" fmla="*/ 246 w 332"/>
                    <a:gd name="T9" fmla="*/ 1 h 287"/>
                    <a:gd name="T10" fmla="*/ 245 w 332"/>
                    <a:gd name="T11" fmla="*/ 12 h 287"/>
                    <a:gd name="T12" fmla="*/ 234 w 332"/>
                    <a:gd name="T13" fmla="*/ 33 h 287"/>
                    <a:gd name="T14" fmla="*/ 217 w 332"/>
                    <a:gd name="T15" fmla="*/ 55 h 287"/>
                    <a:gd name="T16" fmla="*/ 202 w 332"/>
                    <a:gd name="T17" fmla="*/ 67 h 287"/>
                    <a:gd name="T18" fmla="*/ 191 w 332"/>
                    <a:gd name="T19" fmla="*/ 71 h 287"/>
                    <a:gd name="T20" fmla="*/ 191 w 332"/>
                    <a:gd name="T21" fmla="*/ 73 h 287"/>
                    <a:gd name="T22" fmla="*/ 201 w 332"/>
                    <a:gd name="T23" fmla="*/ 74 h 287"/>
                    <a:gd name="T24" fmla="*/ 216 w 332"/>
                    <a:gd name="T25" fmla="*/ 72 h 287"/>
                    <a:gd name="T26" fmla="*/ 224 w 332"/>
                    <a:gd name="T27" fmla="*/ 77 h 287"/>
                    <a:gd name="T28" fmla="*/ 217 w 332"/>
                    <a:gd name="T29" fmla="*/ 88 h 287"/>
                    <a:gd name="T30" fmla="*/ 214 w 332"/>
                    <a:gd name="T31" fmla="*/ 97 h 287"/>
                    <a:gd name="T32" fmla="*/ 217 w 332"/>
                    <a:gd name="T33" fmla="*/ 105 h 287"/>
                    <a:gd name="T34" fmla="*/ 249 w 332"/>
                    <a:gd name="T35" fmla="*/ 113 h 287"/>
                    <a:gd name="T36" fmla="*/ 308 w 332"/>
                    <a:gd name="T37" fmla="*/ 124 h 287"/>
                    <a:gd name="T38" fmla="*/ 322 w 332"/>
                    <a:gd name="T39" fmla="*/ 131 h 287"/>
                    <a:gd name="T40" fmla="*/ 315 w 332"/>
                    <a:gd name="T41" fmla="*/ 140 h 287"/>
                    <a:gd name="T42" fmla="*/ 303 w 332"/>
                    <a:gd name="T43" fmla="*/ 149 h 287"/>
                    <a:gd name="T44" fmla="*/ 299 w 332"/>
                    <a:gd name="T45" fmla="*/ 154 h 287"/>
                    <a:gd name="T46" fmla="*/ 302 w 332"/>
                    <a:gd name="T47" fmla="*/ 160 h 287"/>
                    <a:gd name="T48" fmla="*/ 308 w 332"/>
                    <a:gd name="T49" fmla="*/ 168 h 287"/>
                    <a:gd name="T50" fmla="*/ 319 w 332"/>
                    <a:gd name="T51" fmla="*/ 176 h 287"/>
                    <a:gd name="T52" fmla="*/ 329 w 332"/>
                    <a:gd name="T53" fmla="*/ 184 h 287"/>
                    <a:gd name="T54" fmla="*/ 290 w 332"/>
                    <a:gd name="T55" fmla="*/ 211 h 287"/>
                    <a:gd name="T56" fmla="*/ 241 w 332"/>
                    <a:gd name="T57" fmla="*/ 241 h 287"/>
                    <a:gd name="T58" fmla="*/ 207 w 332"/>
                    <a:gd name="T59" fmla="*/ 268 h 287"/>
                    <a:gd name="T60" fmla="*/ 173 w 332"/>
                    <a:gd name="T61" fmla="*/ 244 h 287"/>
                    <a:gd name="T62" fmla="*/ 182 w 332"/>
                    <a:gd name="T63" fmla="*/ 243 h 287"/>
                    <a:gd name="T64" fmla="*/ 189 w 332"/>
                    <a:gd name="T65" fmla="*/ 240 h 287"/>
                    <a:gd name="T66" fmla="*/ 200 w 332"/>
                    <a:gd name="T67" fmla="*/ 232 h 287"/>
                    <a:gd name="T68" fmla="*/ 149 w 332"/>
                    <a:gd name="T69" fmla="*/ 232 h 287"/>
                    <a:gd name="T70" fmla="*/ 101 w 332"/>
                    <a:gd name="T71" fmla="*/ 232 h 287"/>
                    <a:gd name="T72" fmla="*/ 58 w 332"/>
                    <a:gd name="T73" fmla="*/ 232 h 287"/>
                    <a:gd name="T74" fmla="*/ 27 w 332"/>
                    <a:gd name="T75" fmla="*/ 232 h 287"/>
                    <a:gd name="T76" fmla="*/ 11 w 332"/>
                    <a:gd name="T77" fmla="*/ 227 h 287"/>
                    <a:gd name="T78" fmla="*/ 3 w 332"/>
                    <a:gd name="T79" fmla="*/ 222 h 287"/>
                    <a:gd name="T80" fmla="*/ 0 w 332"/>
                    <a:gd name="T81" fmla="*/ 213 h 287"/>
                    <a:gd name="T82" fmla="*/ 4 w 332"/>
                    <a:gd name="T83" fmla="*/ 205 h 287"/>
                    <a:gd name="T84" fmla="*/ 13 w 332"/>
                    <a:gd name="T85" fmla="*/ 197 h 287"/>
                    <a:gd name="T86" fmla="*/ 41 w 332"/>
                    <a:gd name="T87" fmla="*/ 179 h 287"/>
                    <a:gd name="T88" fmla="*/ 73 w 332"/>
                    <a:gd name="T89" fmla="*/ 162 h 287"/>
                    <a:gd name="T90" fmla="*/ 85 w 332"/>
                    <a:gd name="T91" fmla="*/ 152 h 287"/>
                    <a:gd name="T92" fmla="*/ 93 w 332"/>
                    <a:gd name="T93" fmla="*/ 145 h 287"/>
                    <a:gd name="T94" fmla="*/ 106 w 332"/>
                    <a:gd name="T95" fmla="*/ 130 h 287"/>
                    <a:gd name="T96" fmla="*/ 116 w 332"/>
                    <a:gd name="T97" fmla="*/ 114 h 287"/>
                    <a:gd name="T98" fmla="*/ 130 w 332"/>
                    <a:gd name="T99" fmla="*/ 79 h 287"/>
                    <a:gd name="T100" fmla="*/ 138 w 332"/>
                    <a:gd name="T101" fmla="*/ 64 h 287"/>
                    <a:gd name="T102" fmla="*/ 147 w 332"/>
                    <a:gd name="T103" fmla="*/ 52 h 287"/>
                    <a:gd name="T104" fmla="*/ 158 w 332"/>
                    <a:gd name="T105" fmla="*/ 43 h 287"/>
                    <a:gd name="T106" fmla="*/ 173 w 332"/>
                    <a:gd name="T107" fmla="*/ 4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32" h="287">
                      <a:moveTo>
                        <a:pt x="173" y="40"/>
                      </a:moveTo>
                      <a:lnTo>
                        <a:pt x="180" y="38"/>
                      </a:lnTo>
                      <a:lnTo>
                        <a:pt x="190" y="32"/>
                      </a:lnTo>
                      <a:lnTo>
                        <a:pt x="202" y="24"/>
                      </a:lnTo>
                      <a:lnTo>
                        <a:pt x="215" y="15"/>
                      </a:lnTo>
                      <a:lnTo>
                        <a:pt x="226" y="7"/>
                      </a:lnTo>
                      <a:lnTo>
                        <a:pt x="237" y="2"/>
                      </a:lnTo>
                      <a:lnTo>
                        <a:pt x="240" y="1"/>
                      </a:lnTo>
                      <a:lnTo>
                        <a:pt x="243" y="0"/>
                      </a:lnTo>
                      <a:lnTo>
                        <a:pt x="246" y="1"/>
                      </a:lnTo>
                      <a:lnTo>
                        <a:pt x="246" y="4"/>
                      </a:lnTo>
                      <a:lnTo>
                        <a:pt x="245" y="12"/>
                      </a:lnTo>
                      <a:lnTo>
                        <a:pt x="240" y="22"/>
                      </a:lnTo>
                      <a:lnTo>
                        <a:pt x="234" y="33"/>
                      </a:lnTo>
                      <a:lnTo>
                        <a:pt x="226" y="44"/>
                      </a:lnTo>
                      <a:lnTo>
                        <a:pt x="217" y="55"/>
                      </a:lnTo>
                      <a:lnTo>
                        <a:pt x="207" y="64"/>
                      </a:lnTo>
                      <a:lnTo>
                        <a:pt x="202" y="67"/>
                      </a:lnTo>
                      <a:lnTo>
                        <a:pt x="196" y="69"/>
                      </a:lnTo>
                      <a:lnTo>
                        <a:pt x="191" y="71"/>
                      </a:lnTo>
                      <a:lnTo>
                        <a:pt x="186" y="71"/>
                      </a:lnTo>
                      <a:lnTo>
                        <a:pt x="191" y="73"/>
                      </a:lnTo>
                      <a:lnTo>
                        <a:pt x="196" y="74"/>
                      </a:lnTo>
                      <a:lnTo>
                        <a:pt x="201" y="74"/>
                      </a:lnTo>
                      <a:lnTo>
                        <a:pt x="206" y="74"/>
                      </a:lnTo>
                      <a:lnTo>
                        <a:pt x="216" y="72"/>
                      </a:lnTo>
                      <a:lnTo>
                        <a:pt x="226" y="71"/>
                      </a:lnTo>
                      <a:lnTo>
                        <a:pt x="224" y="77"/>
                      </a:lnTo>
                      <a:lnTo>
                        <a:pt x="219" y="84"/>
                      </a:lnTo>
                      <a:lnTo>
                        <a:pt x="217" y="88"/>
                      </a:lnTo>
                      <a:lnTo>
                        <a:pt x="215" y="93"/>
                      </a:lnTo>
                      <a:lnTo>
                        <a:pt x="214" y="97"/>
                      </a:lnTo>
                      <a:lnTo>
                        <a:pt x="213" y="102"/>
                      </a:lnTo>
                      <a:lnTo>
                        <a:pt x="217" y="105"/>
                      </a:lnTo>
                      <a:lnTo>
                        <a:pt x="230" y="109"/>
                      </a:lnTo>
                      <a:lnTo>
                        <a:pt x="249" y="113"/>
                      </a:lnTo>
                      <a:lnTo>
                        <a:pt x="269" y="117"/>
                      </a:lnTo>
                      <a:lnTo>
                        <a:pt x="308" y="124"/>
                      </a:lnTo>
                      <a:lnTo>
                        <a:pt x="326" y="127"/>
                      </a:lnTo>
                      <a:lnTo>
                        <a:pt x="322" y="131"/>
                      </a:lnTo>
                      <a:lnTo>
                        <a:pt x="319" y="136"/>
                      </a:lnTo>
                      <a:lnTo>
                        <a:pt x="315" y="140"/>
                      </a:lnTo>
                      <a:lnTo>
                        <a:pt x="310" y="144"/>
                      </a:lnTo>
                      <a:lnTo>
                        <a:pt x="303" y="149"/>
                      </a:lnTo>
                      <a:lnTo>
                        <a:pt x="299" y="151"/>
                      </a:lnTo>
                      <a:lnTo>
                        <a:pt x="299" y="154"/>
                      </a:lnTo>
                      <a:lnTo>
                        <a:pt x="301" y="157"/>
                      </a:lnTo>
                      <a:lnTo>
                        <a:pt x="302" y="160"/>
                      </a:lnTo>
                      <a:lnTo>
                        <a:pt x="304" y="164"/>
                      </a:lnTo>
                      <a:lnTo>
                        <a:pt x="308" y="168"/>
                      </a:lnTo>
                      <a:lnTo>
                        <a:pt x="314" y="173"/>
                      </a:lnTo>
                      <a:lnTo>
                        <a:pt x="319" y="176"/>
                      </a:lnTo>
                      <a:lnTo>
                        <a:pt x="325" y="180"/>
                      </a:lnTo>
                      <a:lnTo>
                        <a:pt x="329" y="184"/>
                      </a:lnTo>
                      <a:lnTo>
                        <a:pt x="332" y="188"/>
                      </a:lnTo>
                      <a:lnTo>
                        <a:pt x="290" y="211"/>
                      </a:lnTo>
                      <a:lnTo>
                        <a:pt x="257" y="231"/>
                      </a:lnTo>
                      <a:lnTo>
                        <a:pt x="241" y="241"/>
                      </a:lnTo>
                      <a:lnTo>
                        <a:pt x="225" y="253"/>
                      </a:lnTo>
                      <a:lnTo>
                        <a:pt x="207" y="268"/>
                      </a:lnTo>
                      <a:lnTo>
                        <a:pt x="186" y="287"/>
                      </a:lnTo>
                      <a:lnTo>
                        <a:pt x="173" y="244"/>
                      </a:lnTo>
                      <a:lnTo>
                        <a:pt x="178" y="244"/>
                      </a:lnTo>
                      <a:lnTo>
                        <a:pt x="182" y="243"/>
                      </a:lnTo>
                      <a:lnTo>
                        <a:pt x="185" y="242"/>
                      </a:lnTo>
                      <a:lnTo>
                        <a:pt x="189" y="240"/>
                      </a:lnTo>
                      <a:lnTo>
                        <a:pt x="194" y="236"/>
                      </a:lnTo>
                      <a:lnTo>
                        <a:pt x="200" y="232"/>
                      </a:lnTo>
                      <a:lnTo>
                        <a:pt x="174" y="232"/>
                      </a:lnTo>
                      <a:lnTo>
                        <a:pt x="149" y="232"/>
                      </a:lnTo>
                      <a:lnTo>
                        <a:pt x="125" y="232"/>
                      </a:lnTo>
                      <a:lnTo>
                        <a:pt x="101" y="232"/>
                      </a:lnTo>
                      <a:lnTo>
                        <a:pt x="79" y="232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27" y="232"/>
                      </a:lnTo>
                      <a:lnTo>
                        <a:pt x="19" y="231"/>
                      </a:lnTo>
                      <a:lnTo>
                        <a:pt x="11" y="227"/>
                      </a:lnTo>
                      <a:lnTo>
                        <a:pt x="6" y="225"/>
                      </a:lnTo>
                      <a:lnTo>
                        <a:pt x="3" y="222"/>
                      </a:lnTo>
                      <a:lnTo>
                        <a:pt x="1" y="218"/>
                      </a:lnTo>
                      <a:lnTo>
                        <a:pt x="0" y="213"/>
                      </a:lnTo>
                      <a:lnTo>
                        <a:pt x="1" y="209"/>
                      </a:lnTo>
                      <a:lnTo>
                        <a:pt x="4" y="205"/>
                      </a:lnTo>
                      <a:lnTo>
                        <a:pt x="7" y="201"/>
                      </a:lnTo>
                      <a:lnTo>
                        <a:pt x="13" y="197"/>
                      </a:lnTo>
                      <a:lnTo>
                        <a:pt x="26" y="188"/>
                      </a:lnTo>
                      <a:lnTo>
                        <a:pt x="41" y="179"/>
                      </a:lnTo>
                      <a:lnTo>
                        <a:pt x="58" y="170"/>
                      </a:lnTo>
                      <a:lnTo>
                        <a:pt x="73" y="162"/>
                      </a:lnTo>
                      <a:lnTo>
                        <a:pt x="80" y="156"/>
                      </a:lnTo>
                      <a:lnTo>
                        <a:pt x="85" y="152"/>
                      </a:lnTo>
                      <a:lnTo>
                        <a:pt x="90" y="149"/>
                      </a:lnTo>
                      <a:lnTo>
                        <a:pt x="93" y="145"/>
                      </a:lnTo>
                      <a:lnTo>
                        <a:pt x="100" y="138"/>
                      </a:lnTo>
                      <a:lnTo>
                        <a:pt x="106" y="130"/>
                      </a:lnTo>
                      <a:lnTo>
                        <a:pt x="112" y="122"/>
                      </a:lnTo>
                      <a:lnTo>
                        <a:pt x="116" y="114"/>
                      </a:lnTo>
                      <a:lnTo>
                        <a:pt x="124" y="96"/>
                      </a:lnTo>
                      <a:lnTo>
                        <a:pt x="130" y="79"/>
                      </a:lnTo>
                      <a:lnTo>
                        <a:pt x="134" y="71"/>
                      </a:lnTo>
                      <a:lnTo>
                        <a:pt x="138" y="64"/>
                      </a:lnTo>
                      <a:lnTo>
                        <a:pt x="141" y="58"/>
                      </a:lnTo>
                      <a:lnTo>
                        <a:pt x="147" y="52"/>
                      </a:lnTo>
                      <a:lnTo>
                        <a:pt x="151" y="47"/>
                      </a:lnTo>
                      <a:lnTo>
                        <a:pt x="158" y="43"/>
                      </a:lnTo>
                      <a:lnTo>
                        <a:pt x="164" y="41"/>
                      </a:lnTo>
                      <a:lnTo>
                        <a:pt x="173" y="4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5" name="Freeform 428"/>
                <p:cNvSpPr>
                  <a:spLocks/>
                </p:cNvSpPr>
                <p:nvPr/>
              </p:nvSpPr>
              <p:spPr bwMode="auto">
                <a:xfrm>
                  <a:off x="1102" y="1190"/>
                  <a:ext cx="111" cy="27"/>
                </a:xfrm>
                <a:custGeom>
                  <a:avLst/>
                  <a:gdLst>
                    <a:gd name="T0" fmla="*/ 106 w 345"/>
                    <a:gd name="T1" fmla="*/ 86 h 86"/>
                    <a:gd name="T2" fmla="*/ 119 w 345"/>
                    <a:gd name="T3" fmla="*/ 81 h 86"/>
                    <a:gd name="T4" fmla="*/ 133 w 345"/>
                    <a:gd name="T5" fmla="*/ 76 h 86"/>
                    <a:gd name="T6" fmla="*/ 148 w 345"/>
                    <a:gd name="T7" fmla="*/ 72 h 86"/>
                    <a:gd name="T8" fmla="*/ 164 w 345"/>
                    <a:gd name="T9" fmla="*/ 69 h 86"/>
                    <a:gd name="T10" fmla="*/ 197 w 345"/>
                    <a:gd name="T11" fmla="*/ 63 h 86"/>
                    <a:gd name="T12" fmla="*/ 231 w 345"/>
                    <a:gd name="T13" fmla="*/ 57 h 86"/>
                    <a:gd name="T14" fmla="*/ 247 w 345"/>
                    <a:gd name="T15" fmla="*/ 53 h 86"/>
                    <a:gd name="T16" fmla="*/ 264 w 345"/>
                    <a:gd name="T17" fmla="*/ 50 h 86"/>
                    <a:gd name="T18" fmla="*/ 279 w 345"/>
                    <a:gd name="T19" fmla="*/ 46 h 86"/>
                    <a:gd name="T20" fmla="*/ 294 w 345"/>
                    <a:gd name="T21" fmla="*/ 40 h 86"/>
                    <a:gd name="T22" fmla="*/ 309 w 345"/>
                    <a:gd name="T23" fmla="*/ 35 h 86"/>
                    <a:gd name="T24" fmla="*/ 322 w 345"/>
                    <a:gd name="T25" fmla="*/ 28 h 86"/>
                    <a:gd name="T26" fmla="*/ 334 w 345"/>
                    <a:gd name="T27" fmla="*/ 21 h 86"/>
                    <a:gd name="T28" fmla="*/ 345 w 345"/>
                    <a:gd name="T29" fmla="*/ 13 h 86"/>
                    <a:gd name="T30" fmla="*/ 335 w 345"/>
                    <a:gd name="T31" fmla="*/ 12 h 86"/>
                    <a:gd name="T32" fmla="*/ 326 w 345"/>
                    <a:gd name="T33" fmla="*/ 11 h 86"/>
                    <a:gd name="T34" fmla="*/ 317 w 345"/>
                    <a:gd name="T35" fmla="*/ 9 h 86"/>
                    <a:gd name="T36" fmla="*/ 309 w 345"/>
                    <a:gd name="T37" fmla="*/ 6 h 86"/>
                    <a:gd name="T38" fmla="*/ 300 w 345"/>
                    <a:gd name="T39" fmla="*/ 4 h 86"/>
                    <a:gd name="T40" fmla="*/ 291 w 345"/>
                    <a:gd name="T41" fmla="*/ 2 h 86"/>
                    <a:gd name="T42" fmla="*/ 281 w 345"/>
                    <a:gd name="T43" fmla="*/ 1 h 86"/>
                    <a:gd name="T44" fmla="*/ 272 w 345"/>
                    <a:gd name="T45" fmla="*/ 0 h 86"/>
                    <a:gd name="T46" fmla="*/ 259 w 345"/>
                    <a:gd name="T47" fmla="*/ 1 h 86"/>
                    <a:gd name="T48" fmla="*/ 245 w 345"/>
                    <a:gd name="T49" fmla="*/ 3 h 86"/>
                    <a:gd name="T50" fmla="*/ 227 w 345"/>
                    <a:gd name="T51" fmla="*/ 5 h 86"/>
                    <a:gd name="T52" fmla="*/ 209 w 345"/>
                    <a:gd name="T53" fmla="*/ 9 h 86"/>
                    <a:gd name="T54" fmla="*/ 168 w 345"/>
                    <a:gd name="T55" fmla="*/ 18 h 86"/>
                    <a:gd name="T56" fmla="*/ 126 w 345"/>
                    <a:gd name="T57" fmla="*/ 29 h 86"/>
                    <a:gd name="T58" fmla="*/ 104 w 345"/>
                    <a:gd name="T59" fmla="*/ 36 h 86"/>
                    <a:gd name="T60" fmla="*/ 85 w 345"/>
                    <a:gd name="T61" fmla="*/ 42 h 86"/>
                    <a:gd name="T62" fmla="*/ 66 w 345"/>
                    <a:gd name="T63" fmla="*/ 50 h 86"/>
                    <a:gd name="T64" fmla="*/ 47 w 345"/>
                    <a:gd name="T65" fmla="*/ 58 h 86"/>
                    <a:gd name="T66" fmla="*/ 32 w 345"/>
                    <a:gd name="T67" fmla="*/ 65 h 86"/>
                    <a:gd name="T68" fmla="*/ 19 w 345"/>
                    <a:gd name="T69" fmla="*/ 72 h 86"/>
                    <a:gd name="T70" fmla="*/ 8 w 345"/>
                    <a:gd name="T71" fmla="*/ 79 h 86"/>
                    <a:gd name="T72" fmla="*/ 0 w 345"/>
                    <a:gd name="T73" fmla="*/ 86 h 86"/>
                    <a:gd name="T74" fmla="*/ 106 w 345"/>
                    <a:gd name="T7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45" h="86">
                      <a:moveTo>
                        <a:pt x="106" y="86"/>
                      </a:moveTo>
                      <a:lnTo>
                        <a:pt x="119" y="81"/>
                      </a:lnTo>
                      <a:lnTo>
                        <a:pt x="133" y="76"/>
                      </a:lnTo>
                      <a:lnTo>
                        <a:pt x="148" y="72"/>
                      </a:lnTo>
                      <a:lnTo>
                        <a:pt x="164" y="69"/>
                      </a:lnTo>
                      <a:lnTo>
                        <a:pt x="197" y="63"/>
                      </a:lnTo>
                      <a:lnTo>
                        <a:pt x="231" y="57"/>
                      </a:lnTo>
                      <a:lnTo>
                        <a:pt x="247" y="53"/>
                      </a:lnTo>
                      <a:lnTo>
                        <a:pt x="264" y="50"/>
                      </a:lnTo>
                      <a:lnTo>
                        <a:pt x="279" y="46"/>
                      </a:lnTo>
                      <a:lnTo>
                        <a:pt x="294" y="40"/>
                      </a:lnTo>
                      <a:lnTo>
                        <a:pt x="309" y="35"/>
                      </a:lnTo>
                      <a:lnTo>
                        <a:pt x="322" y="28"/>
                      </a:lnTo>
                      <a:lnTo>
                        <a:pt x="334" y="21"/>
                      </a:lnTo>
                      <a:lnTo>
                        <a:pt x="345" y="13"/>
                      </a:lnTo>
                      <a:lnTo>
                        <a:pt x="335" y="12"/>
                      </a:lnTo>
                      <a:lnTo>
                        <a:pt x="326" y="11"/>
                      </a:lnTo>
                      <a:lnTo>
                        <a:pt x="317" y="9"/>
                      </a:lnTo>
                      <a:lnTo>
                        <a:pt x="309" y="6"/>
                      </a:lnTo>
                      <a:lnTo>
                        <a:pt x="300" y="4"/>
                      </a:lnTo>
                      <a:lnTo>
                        <a:pt x="291" y="2"/>
                      </a:lnTo>
                      <a:lnTo>
                        <a:pt x="281" y="1"/>
                      </a:lnTo>
                      <a:lnTo>
                        <a:pt x="272" y="0"/>
                      </a:lnTo>
                      <a:lnTo>
                        <a:pt x="259" y="1"/>
                      </a:lnTo>
                      <a:lnTo>
                        <a:pt x="245" y="3"/>
                      </a:lnTo>
                      <a:lnTo>
                        <a:pt x="227" y="5"/>
                      </a:lnTo>
                      <a:lnTo>
                        <a:pt x="209" y="9"/>
                      </a:lnTo>
                      <a:lnTo>
                        <a:pt x="168" y="18"/>
                      </a:lnTo>
                      <a:lnTo>
                        <a:pt x="126" y="29"/>
                      </a:lnTo>
                      <a:lnTo>
                        <a:pt x="104" y="36"/>
                      </a:lnTo>
                      <a:lnTo>
                        <a:pt x="85" y="42"/>
                      </a:lnTo>
                      <a:lnTo>
                        <a:pt x="66" y="50"/>
                      </a:lnTo>
                      <a:lnTo>
                        <a:pt x="47" y="58"/>
                      </a:lnTo>
                      <a:lnTo>
                        <a:pt x="32" y="65"/>
                      </a:lnTo>
                      <a:lnTo>
                        <a:pt x="19" y="72"/>
                      </a:lnTo>
                      <a:lnTo>
                        <a:pt x="8" y="79"/>
                      </a:lnTo>
                      <a:lnTo>
                        <a:pt x="0" y="86"/>
                      </a:lnTo>
                      <a:lnTo>
                        <a:pt x="106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6" name="Freeform 429"/>
                <p:cNvSpPr>
                  <a:spLocks/>
                </p:cNvSpPr>
                <p:nvPr/>
              </p:nvSpPr>
              <p:spPr bwMode="auto">
                <a:xfrm>
                  <a:off x="1158" y="1199"/>
                  <a:ext cx="149" cy="43"/>
                </a:xfrm>
                <a:custGeom>
                  <a:avLst/>
                  <a:gdLst>
                    <a:gd name="T0" fmla="*/ 19 w 464"/>
                    <a:gd name="T1" fmla="*/ 86 h 130"/>
                    <a:gd name="T2" fmla="*/ 77 w 464"/>
                    <a:gd name="T3" fmla="*/ 81 h 130"/>
                    <a:gd name="T4" fmla="*/ 103 w 464"/>
                    <a:gd name="T5" fmla="*/ 81 h 130"/>
                    <a:gd name="T6" fmla="*/ 92 w 464"/>
                    <a:gd name="T7" fmla="*/ 89 h 130"/>
                    <a:gd name="T8" fmla="*/ 81 w 464"/>
                    <a:gd name="T9" fmla="*/ 100 h 130"/>
                    <a:gd name="T10" fmla="*/ 73 w 464"/>
                    <a:gd name="T11" fmla="*/ 112 h 130"/>
                    <a:gd name="T12" fmla="*/ 73 w 464"/>
                    <a:gd name="T13" fmla="*/ 119 h 130"/>
                    <a:gd name="T14" fmla="*/ 79 w 464"/>
                    <a:gd name="T15" fmla="*/ 124 h 130"/>
                    <a:gd name="T16" fmla="*/ 92 w 464"/>
                    <a:gd name="T17" fmla="*/ 129 h 130"/>
                    <a:gd name="T18" fmla="*/ 109 w 464"/>
                    <a:gd name="T19" fmla="*/ 129 h 130"/>
                    <a:gd name="T20" fmla="*/ 128 w 464"/>
                    <a:gd name="T21" fmla="*/ 127 h 130"/>
                    <a:gd name="T22" fmla="*/ 157 w 464"/>
                    <a:gd name="T23" fmla="*/ 119 h 130"/>
                    <a:gd name="T24" fmla="*/ 196 w 464"/>
                    <a:gd name="T25" fmla="*/ 108 h 130"/>
                    <a:gd name="T26" fmla="*/ 226 w 464"/>
                    <a:gd name="T27" fmla="*/ 101 h 130"/>
                    <a:gd name="T28" fmla="*/ 248 w 464"/>
                    <a:gd name="T29" fmla="*/ 99 h 130"/>
                    <a:gd name="T30" fmla="*/ 266 w 464"/>
                    <a:gd name="T31" fmla="*/ 99 h 130"/>
                    <a:gd name="T32" fmla="*/ 304 w 464"/>
                    <a:gd name="T33" fmla="*/ 99 h 130"/>
                    <a:gd name="T34" fmla="*/ 333 w 464"/>
                    <a:gd name="T35" fmla="*/ 98 h 130"/>
                    <a:gd name="T36" fmla="*/ 376 w 464"/>
                    <a:gd name="T37" fmla="*/ 93 h 130"/>
                    <a:gd name="T38" fmla="*/ 415 w 464"/>
                    <a:gd name="T39" fmla="*/ 83 h 130"/>
                    <a:gd name="T40" fmla="*/ 449 w 464"/>
                    <a:gd name="T41" fmla="*/ 66 h 130"/>
                    <a:gd name="T42" fmla="*/ 455 w 464"/>
                    <a:gd name="T43" fmla="*/ 51 h 130"/>
                    <a:gd name="T44" fmla="*/ 439 w 464"/>
                    <a:gd name="T45" fmla="*/ 48 h 130"/>
                    <a:gd name="T46" fmla="*/ 413 w 464"/>
                    <a:gd name="T47" fmla="*/ 48 h 130"/>
                    <a:gd name="T48" fmla="*/ 396 w 464"/>
                    <a:gd name="T49" fmla="*/ 46 h 130"/>
                    <a:gd name="T50" fmla="*/ 406 w 464"/>
                    <a:gd name="T51" fmla="*/ 36 h 130"/>
                    <a:gd name="T52" fmla="*/ 413 w 464"/>
                    <a:gd name="T53" fmla="*/ 22 h 130"/>
                    <a:gd name="T54" fmla="*/ 418 w 464"/>
                    <a:gd name="T55" fmla="*/ 7 h 130"/>
                    <a:gd name="T56" fmla="*/ 378 w 464"/>
                    <a:gd name="T57" fmla="*/ 0 h 130"/>
                    <a:gd name="T58" fmla="*/ 360 w 464"/>
                    <a:gd name="T59" fmla="*/ 19 h 130"/>
                    <a:gd name="T60" fmla="*/ 343 w 464"/>
                    <a:gd name="T61" fmla="*/ 41 h 130"/>
                    <a:gd name="T62" fmla="*/ 323 w 464"/>
                    <a:gd name="T63" fmla="*/ 59 h 130"/>
                    <a:gd name="T64" fmla="*/ 312 w 464"/>
                    <a:gd name="T65" fmla="*/ 65 h 130"/>
                    <a:gd name="T66" fmla="*/ 298 w 464"/>
                    <a:gd name="T67" fmla="*/ 68 h 130"/>
                    <a:gd name="T68" fmla="*/ 278 w 464"/>
                    <a:gd name="T69" fmla="*/ 66 h 130"/>
                    <a:gd name="T70" fmla="*/ 262 w 464"/>
                    <a:gd name="T71" fmla="*/ 63 h 130"/>
                    <a:gd name="T72" fmla="*/ 239 w 464"/>
                    <a:gd name="T73" fmla="*/ 54 h 130"/>
                    <a:gd name="T74" fmla="*/ 205 w 464"/>
                    <a:gd name="T75" fmla="*/ 31 h 130"/>
                    <a:gd name="T76" fmla="*/ 180 w 464"/>
                    <a:gd name="T77" fmla="*/ 29 h 130"/>
                    <a:gd name="T78" fmla="*/ 150 w 464"/>
                    <a:gd name="T79" fmla="*/ 31 h 130"/>
                    <a:gd name="T80" fmla="*/ 117 w 464"/>
                    <a:gd name="T81" fmla="*/ 37 h 130"/>
                    <a:gd name="T82" fmla="*/ 85 w 464"/>
                    <a:gd name="T83" fmla="*/ 45 h 130"/>
                    <a:gd name="T84" fmla="*/ 54 w 464"/>
                    <a:gd name="T85" fmla="*/ 54 h 130"/>
                    <a:gd name="T86" fmla="*/ 29 w 464"/>
                    <a:gd name="T87" fmla="*/ 65 h 130"/>
                    <a:gd name="T88" fmla="*/ 9 w 464"/>
                    <a:gd name="T89" fmla="*/ 77 h 130"/>
                    <a:gd name="T90" fmla="*/ 0 w 464"/>
                    <a:gd name="T91" fmla="*/ 86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64" h="130">
                      <a:moveTo>
                        <a:pt x="0" y="86"/>
                      </a:moveTo>
                      <a:lnTo>
                        <a:pt x="19" y="86"/>
                      </a:lnTo>
                      <a:lnTo>
                        <a:pt x="48" y="83"/>
                      </a:lnTo>
                      <a:lnTo>
                        <a:pt x="77" y="81"/>
                      </a:lnTo>
                      <a:lnTo>
                        <a:pt x="106" y="80"/>
                      </a:lnTo>
                      <a:lnTo>
                        <a:pt x="103" y="81"/>
                      </a:lnTo>
                      <a:lnTo>
                        <a:pt x="97" y="84"/>
                      </a:lnTo>
                      <a:lnTo>
                        <a:pt x="92" y="89"/>
                      </a:lnTo>
                      <a:lnTo>
                        <a:pt x="86" y="94"/>
                      </a:lnTo>
                      <a:lnTo>
                        <a:pt x="81" y="100"/>
                      </a:lnTo>
                      <a:lnTo>
                        <a:pt x="76" y="106"/>
                      </a:lnTo>
                      <a:lnTo>
                        <a:pt x="73" y="112"/>
                      </a:lnTo>
                      <a:lnTo>
                        <a:pt x="72" y="117"/>
                      </a:lnTo>
                      <a:lnTo>
                        <a:pt x="73" y="119"/>
                      </a:lnTo>
                      <a:lnTo>
                        <a:pt x="75" y="121"/>
                      </a:lnTo>
                      <a:lnTo>
                        <a:pt x="79" y="124"/>
                      </a:lnTo>
                      <a:lnTo>
                        <a:pt x="83" y="126"/>
                      </a:lnTo>
                      <a:lnTo>
                        <a:pt x="92" y="129"/>
                      </a:lnTo>
                      <a:lnTo>
                        <a:pt x="99" y="130"/>
                      </a:lnTo>
                      <a:lnTo>
                        <a:pt x="109" y="129"/>
                      </a:lnTo>
                      <a:lnTo>
                        <a:pt x="119" y="129"/>
                      </a:lnTo>
                      <a:lnTo>
                        <a:pt x="128" y="127"/>
                      </a:lnTo>
                      <a:lnTo>
                        <a:pt x="138" y="125"/>
                      </a:lnTo>
                      <a:lnTo>
                        <a:pt x="157" y="119"/>
                      </a:lnTo>
                      <a:lnTo>
                        <a:pt x="176" y="114"/>
                      </a:lnTo>
                      <a:lnTo>
                        <a:pt x="196" y="108"/>
                      </a:lnTo>
                      <a:lnTo>
                        <a:pt x="216" y="103"/>
                      </a:lnTo>
                      <a:lnTo>
                        <a:pt x="226" y="101"/>
                      </a:lnTo>
                      <a:lnTo>
                        <a:pt x="237" y="100"/>
                      </a:lnTo>
                      <a:lnTo>
                        <a:pt x="248" y="99"/>
                      </a:lnTo>
                      <a:lnTo>
                        <a:pt x="259" y="99"/>
                      </a:lnTo>
                      <a:lnTo>
                        <a:pt x="266" y="99"/>
                      </a:lnTo>
                      <a:lnTo>
                        <a:pt x="285" y="99"/>
                      </a:lnTo>
                      <a:lnTo>
                        <a:pt x="304" y="99"/>
                      </a:lnTo>
                      <a:lnTo>
                        <a:pt x="311" y="99"/>
                      </a:lnTo>
                      <a:lnTo>
                        <a:pt x="333" y="98"/>
                      </a:lnTo>
                      <a:lnTo>
                        <a:pt x="355" y="96"/>
                      </a:lnTo>
                      <a:lnTo>
                        <a:pt x="376" y="93"/>
                      </a:lnTo>
                      <a:lnTo>
                        <a:pt x="396" y="89"/>
                      </a:lnTo>
                      <a:lnTo>
                        <a:pt x="415" y="83"/>
                      </a:lnTo>
                      <a:lnTo>
                        <a:pt x="432" y="76"/>
                      </a:lnTo>
                      <a:lnTo>
                        <a:pt x="449" y="66"/>
                      </a:lnTo>
                      <a:lnTo>
                        <a:pt x="464" y="55"/>
                      </a:lnTo>
                      <a:lnTo>
                        <a:pt x="455" y="51"/>
                      </a:lnTo>
                      <a:lnTo>
                        <a:pt x="446" y="49"/>
                      </a:lnTo>
                      <a:lnTo>
                        <a:pt x="439" y="48"/>
                      </a:lnTo>
                      <a:lnTo>
                        <a:pt x="430" y="48"/>
                      </a:lnTo>
                      <a:lnTo>
                        <a:pt x="413" y="48"/>
                      </a:lnTo>
                      <a:lnTo>
                        <a:pt x="392" y="49"/>
                      </a:lnTo>
                      <a:lnTo>
                        <a:pt x="396" y="46"/>
                      </a:lnTo>
                      <a:lnTo>
                        <a:pt x="401" y="42"/>
                      </a:lnTo>
                      <a:lnTo>
                        <a:pt x="406" y="36"/>
                      </a:lnTo>
                      <a:lnTo>
                        <a:pt x="410" y="29"/>
                      </a:lnTo>
                      <a:lnTo>
                        <a:pt x="413" y="22"/>
                      </a:lnTo>
                      <a:lnTo>
                        <a:pt x="416" y="15"/>
                      </a:lnTo>
                      <a:lnTo>
                        <a:pt x="418" y="7"/>
                      </a:lnTo>
                      <a:lnTo>
                        <a:pt x="418" y="0"/>
                      </a:lnTo>
                      <a:lnTo>
                        <a:pt x="378" y="0"/>
                      </a:lnTo>
                      <a:lnTo>
                        <a:pt x="368" y="8"/>
                      </a:lnTo>
                      <a:lnTo>
                        <a:pt x="360" y="19"/>
                      </a:lnTo>
                      <a:lnTo>
                        <a:pt x="352" y="30"/>
                      </a:lnTo>
                      <a:lnTo>
                        <a:pt x="343" y="41"/>
                      </a:lnTo>
                      <a:lnTo>
                        <a:pt x="334" y="51"/>
                      </a:lnTo>
                      <a:lnTo>
                        <a:pt x="323" y="59"/>
                      </a:lnTo>
                      <a:lnTo>
                        <a:pt x="318" y="63"/>
                      </a:lnTo>
                      <a:lnTo>
                        <a:pt x="312" y="65"/>
                      </a:lnTo>
                      <a:lnTo>
                        <a:pt x="306" y="68"/>
                      </a:lnTo>
                      <a:lnTo>
                        <a:pt x="298" y="68"/>
                      </a:lnTo>
                      <a:lnTo>
                        <a:pt x="287" y="68"/>
                      </a:lnTo>
                      <a:lnTo>
                        <a:pt x="278" y="66"/>
                      </a:lnTo>
                      <a:lnTo>
                        <a:pt x="270" y="65"/>
                      </a:lnTo>
                      <a:lnTo>
                        <a:pt x="262" y="63"/>
                      </a:lnTo>
                      <a:lnTo>
                        <a:pt x="250" y="59"/>
                      </a:lnTo>
                      <a:lnTo>
                        <a:pt x="239" y="54"/>
                      </a:lnTo>
                      <a:lnTo>
                        <a:pt x="222" y="42"/>
                      </a:lnTo>
                      <a:lnTo>
                        <a:pt x="205" y="31"/>
                      </a:lnTo>
                      <a:lnTo>
                        <a:pt x="193" y="29"/>
                      </a:lnTo>
                      <a:lnTo>
                        <a:pt x="180" y="29"/>
                      </a:lnTo>
                      <a:lnTo>
                        <a:pt x="165" y="29"/>
                      </a:lnTo>
                      <a:lnTo>
                        <a:pt x="150" y="31"/>
                      </a:lnTo>
                      <a:lnTo>
                        <a:pt x="133" y="33"/>
                      </a:lnTo>
                      <a:lnTo>
                        <a:pt x="117" y="37"/>
                      </a:lnTo>
                      <a:lnTo>
                        <a:pt x="101" y="40"/>
                      </a:lnTo>
                      <a:lnTo>
                        <a:pt x="85" y="45"/>
                      </a:lnTo>
                      <a:lnTo>
                        <a:pt x="70" y="49"/>
                      </a:lnTo>
                      <a:lnTo>
                        <a:pt x="54" y="54"/>
                      </a:lnTo>
                      <a:lnTo>
                        <a:pt x="41" y="60"/>
                      </a:lnTo>
                      <a:lnTo>
                        <a:pt x="29" y="65"/>
                      </a:lnTo>
                      <a:lnTo>
                        <a:pt x="18" y="71"/>
                      </a:lnTo>
                      <a:lnTo>
                        <a:pt x="9" y="77"/>
                      </a:lnTo>
                      <a:lnTo>
                        <a:pt x="3" y="82"/>
                      </a:lnTo>
                      <a:lnTo>
                        <a:pt x="0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7" name="Freeform 430"/>
                <p:cNvSpPr>
                  <a:spLocks/>
                </p:cNvSpPr>
                <p:nvPr/>
              </p:nvSpPr>
              <p:spPr bwMode="auto">
                <a:xfrm>
                  <a:off x="1472" y="1205"/>
                  <a:ext cx="153" cy="31"/>
                </a:xfrm>
                <a:custGeom>
                  <a:avLst/>
                  <a:gdLst>
                    <a:gd name="T0" fmla="*/ 63 w 472"/>
                    <a:gd name="T1" fmla="*/ 0 h 92"/>
                    <a:gd name="T2" fmla="*/ 44 w 472"/>
                    <a:gd name="T3" fmla="*/ 0 h 92"/>
                    <a:gd name="T4" fmla="*/ 24 w 472"/>
                    <a:gd name="T5" fmla="*/ 0 h 92"/>
                    <a:gd name="T6" fmla="*/ 12 w 472"/>
                    <a:gd name="T7" fmla="*/ 3 h 92"/>
                    <a:gd name="T8" fmla="*/ 7 w 472"/>
                    <a:gd name="T9" fmla="*/ 8 h 92"/>
                    <a:gd name="T10" fmla="*/ 7 w 472"/>
                    <a:gd name="T11" fmla="*/ 16 h 92"/>
                    <a:gd name="T12" fmla="*/ 10 w 472"/>
                    <a:gd name="T13" fmla="*/ 23 h 92"/>
                    <a:gd name="T14" fmla="*/ 15 w 472"/>
                    <a:gd name="T15" fmla="*/ 32 h 92"/>
                    <a:gd name="T16" fmla="*/ 14 w 472"/>
                    <a:gd name="T17" fmla="*/ 41 h 92"/>
                    <a:gd name="T18" fmla="*/ 4 w 472"/>
                    <a:gd name="T19" fmla="*/ 50 h 92"/>
                    <a:gd name="T20" fmla="*/ 1 w 472"/>
                    <a:gd name="T21" fmla="*/ 57 h 92"/>
                    <a:gd name="T22" fmla="*/ 2 w 472"/>
                    <a:gd name="T23" fmla="*/ 64 h 92"/>
                    <a:gd name="T24" fmla="*/ 14 w 472"/>
                    <a:gd name="T25" fmla="*/ 69 h 92"/>
                    <a:gd name="T26" fmla="*/ 48 w 472"/>
                    <a:gd name="T27" fmla="*/ 76 h 92"/>
                    <a:gd name="T28" fmla="*/ 109 w 472"/>
                    <a:gd name="T29" fmla="*/ 85 h 92"/>
                    <a:gd name="T30" fmla="*/ 167 w 472"/>
                    <a:gd name="T31" fmla="*/ 91 h 92"/>
                    <a:gd name="T32" fmla="*/ 365 w 472"/>
                    <a:gd name="T33" fmla="*/ 92 h 92"/>
                    <a:gd name="T34" fmla="*/ 374 w 472"/>
                    <a:gd name="T35" fmla="*/ 81 h 92"/>
                    <a:gd name="T36" fmla="*/ 385 w 472"/>
                    <a:gd name="T37" fmla="*/ 75 h 92"/>
                    <a:gd name="T38" fmla="*/ 397 w 472"/>
                    <a:gd name="T39" fmla="*/ 73 h 92"/>
                    <a:gd name="T40" fmla="*/ 411 w 472"/>
                    <a:gd name="T41" fmla="*/ 73 h 92"/>
                    <a:gd name="T42" fmla="*/ 441 w 472"/>
                    <a:gd name="T43" fmla="*/ 76 h 92"/>
                    <a:gd name="T44" fmla="*/ 456 w 472"/>
                    <a:gd name="T45" fmla="*/ 76 h 92"/>
                    <a:gd name="T46" fmla="*/ 472 w 472"/>
                    <a:gd name="T47" fmla="*/ 73 h 92"/>
                    <a:gd name="T48" fmla="*/ 465 w 472"/>
                    <a:gd name="T49" fmla="*/ 33 h 92"/>
                    <a:gd name="T50" fmla="*/ 453 w 472"/>
                    <a:gd name="T51" fmla="*/ 26 h 92"/>
                    <a:gd name="T52" fmla="*/ 443 w 472"/>
                    <a:gd name="T53" fmla="*/ 18 h 92"/>
                    <a:gd name="T54" fmla="*/ 432 w 472"/>
                    <a:gd name="T55" fmla="*/ 13 h 92"/>
                    <a:gd name="T56" fmla="*/ 416 w 472"/>
                    <a:gd name="T57" fmla="*/ 12 h 92"/>
                    <a:gd name="T58" fmla="*/ 396 w 472"/>
                    <a:gd name="T59" fmla="*/ 15 h 92"/>
                    <a:gd name="T60" fmla="*/ 367 w 472"/>
                    <a:gd name="T61" fmla="*/ 22 h 92"/>
                    <a:gd name="T62" fmla="*/ 328 w 472"/>
                    <a:gd name="T63" fmla="*/ 33 h 92"/>
                    <a:gd name="T64" fmla="*/ 298 w 472"/>
                    <a:gd name="T65" fmla="*/ 39 h 92"/>
                    <a:gd name="T66" fmla="*/ 276 w 472"/>
                    <a:gd name="T67" fmla="*/ 42 h 92"/>
                    <a:gd name="T68" fmla="*/ 236 w 472"/>
                    <a:gd name="T69" fmla="*/ 42 h 92"/>
                    <a:gd name="T70" fmla="*/ 191 w 472"/>
                    <a:gd name="T71" fmla="*/ 42 h 92"/>
                    <a:gd name="T72" fmla="*/ 156 w 472"/>
                    <a:gd name="T73" fmla="*/ 42 h 92"/>
                    <a:gd name="T74" fmla="*/ 120 w 472"/>
                    <a:gd name="T75" fmla="*/ 42 h 92"/>
                    <a:gd name="T76" fmla="*/ 91 w 472"/>
                    <a:gd name="T77" fmla="*/ 41 h 92"/>
                    <a:gd name="T78" fmla="*/ 78 w 472"/>
                    <a:gd name="T79" fmla="*/ 36 h 92"/>
                    <a:gd name="T80" fmla="*/ 70 w 472"/>
                    <a:gd name="T81" fmla="*/ 27 h 92"/>
                    <a:gd name="T82" fmla="*/ 67 w 472"/>
                    <a:gd name="T83" fmla="*/ 17 h 92"/>
                    <a:gd name="T84" fmla="*/ 69 w 472"/>
                    <a:gd name="T85" fmla="*/ 8 h 92"/>
                    <a:gd name="T86" fmla="*/ 74 w 472"/>
                    <a:gd name="T87" fmla="*/ 2 h 92"/>
                    <a:gd name="T88" fmla="*/ 74 w 472"/>
                    <a:gd name="T89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72" h="92">
                      <a:moveTo>
                        <a:pt x="73" y="0"/>
                      </a:moveTo>
                      <a:lnTo>
                        <a:pt x="63" y="0"/>
                      </a:lnTo>
                      <a:lnTo>
                        <a:pt x="53" y="0"/>
                      </a:lnTo>
                      <a:lnTo>
                        <a:pt x="44" y="0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5" y="1"/>
                      </a:lnTo>
                      <a:lnTo>
                        <a:pt x="12" y="3"/>
                      </a:lnTo>
                      <a:lnTo>
                        <a:pt x="8" y="5"/>
                      </a:lnTo>
                      <a:lnTo>
                        <a:pt x="7" y="8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10" y="23"/>
                      </a:lnTo>
                      <a:lnTo>
                        <a:pt x="11" y="26"/>
                      </a:lnTo>
                      <a:lnTo>
                        <a:pt x="15" y="32"/>
                      </a:lnTo>
                      <a:lnTo>
                        <a:pt x="19" y="36"/>
                      </a:lnTo>
                      <a:lnTo>
                        <a:pt x="14" y="41"/>
                      </a:lnTo>
                      <a:lnTo>
                        <a:pt x="7" y="46"/>
                      </a:lnTo>
                      <a:lnTo>
                        <a:pt x="4" y="50"/>
                      </a:lnTo>
                      <a:lnTo>
                        <a:pt x="2" y="53"/>
                      </a:lnTo>
                      <a:lnTo>
                        <a:pt x="1" y="57"/>
                      </a:lnTo>
                      <a:lnTo>
                        <a:pt x="0" y="61"/>
                      </a:lnTo>
                      <a:lnTo>
                        <a:pt x="2" y="64"/>
                      </a:lnTo>
                      <a:lnTo>
                        <a:pt x="6" y="66"/>
                      </a:lnTo>
                      <a:lnTo>
                        <a:pt x="14" y="69"/>
                      </a:lnTo>
                      <a:lnTo>
                        <a:pt x="24" y="71"/>
                      </a:lnTo>
                      <a:lnTo>
                        <a:pt x="48" y="76"/>
                      </a:lnTo>
                      <a:lnTo>
                        <a:pt x="78" y="81"/>
                      </a:lnTo>
                      <a:lnTo>
                        <a:pt x="109" y="85"/>
                      </a:lnTo>
                      <a:lnTo>
                        <a:pt x="140" y="89"/>
                      </a:lnTo>
                      <a:lnTo>
                        <a:pt x="167" y="91"/>
                      </a:lnTo>
                      <a:lnTo>
                        <a:pt x="186" y="92"/>
                      </a:lnTo>
                      <a:lnTo>
                        <a:pt x="365" y="92"/>
                      </a:lnTo>
                      <a:lnTo>
                        <a:pt x="370" y="86"/>
                      </a:lnTo>
                      <a:lnTo>
                        <a:pt x="374" y="81"/>
                      </a:lnTo>
                      <a:lnTo>
                        <a:pt x="380" y="78"/>
                      </a:lnTo>
                      <a:lnTo>
                        <a:pt x="385" y="75"/>
                      </a:lnTo>
                      <a:lnTo>
                        <a:pt x="391" y="74"/>
                      </a:lnTo>
                      <a:lnTo>
                        <a:pt x="397" y="73"/>
                      </a:lnTo>
                      <a:lnTo>
                        <a:pt x="404" y="73"/>
                      </a:lnTo>
                      <a:lnTo>
                        <a:pt x="411" y="73"/>
                      </a:lnTo>
                      <a:lnTo>
                        <a:pt x="426" y="75"/>
                      </a:lnTo>
                      <a:lnTo>
                        <a:pt x="441" y="76"/>
                      </a:lnTo>
                      <a:lnTo>
                        <a:pt x="449" y="77"/>
                      </a:lnTo>
                      <a:lnTo>
                        <a:pt x="456" y="76"/>
                      </a:lnTo>
                      <a:lnTo>
                        <a:pt x="464" y="75"/>
                      </a:lnTo>
                      <a:lnTo>
                        <a:pt x="472" y="73"/>
                      </a:lnTo>
                      <a:lnTo>
                        <a:pt x="472" y="36"/>
                      </a:lnTo>
                      <a:lnTo>
                        <a:pt x="465" y="33"/>
                      </a:lnTo>
                      <a:lnTo>
                        <a:pt x="459" y="30"/>
                      </a:lnTo>
                      <a:lnTo>
                        <a:pt x="453" y="26"/>
                      </a:lnTo>
                      <a:lnTo>
                        <a:pt x="449" y="22"/>
                      </a:lnTo>
                      <a:lnTo>
                        <a:pt x="443" y="18"/>
                      </a:lnTo>
                      <a:lnTo>
                        <a:pt x="438" y="15"/>
                      </a:lnTo>
                      <a:lnTo>
                        <a:pt x="432" y="13"/>
                      </a:lnTo>
                      <a:lnTo>
                        <a:pt x="426" y="12"/>
                      </a:lnTo>
                      <a:lnTo>
                        <a:pt x="416" y="12"/>
                      </a:lnTo>
                      <a:lnTo>
                        <a:pt x="406" y="13"/>
                      </a:lnTo>
                      <a:lnTo>
                        <a:pt x="396" y="15"/>
                      </a:lnTo>
                      <a:lnTo>
                        <a:pt x="386" y="17"/>
                      </a:lnTo>
                      <a:lnTo>
                        <a:pt x="367" y="22"/>
                      </a:lnTo>
                      <a:lnTo>
                        <a:pt x="348" y="27"/>
                      </a:lnTo>
                      <a:lnTo>
                        <a:pt x="328" y="33"/>
                      </a:lnTo>
                      <a:lnTo>
                        <a:pt x="308" y="38"/>
                      </a:lnTo>
                      <a:lnTo>
                        <a:pt x="298" y="39"/>
                      </a:lnTo>
                      <a:lnTo>
                        <a:pt x="287" y="41"/>
                      </a:lnTo>
                      <a:lnTo>
                        <a:pt x="276" y="42"/>
                      </a:lnTo>
                      <a:lnTo>
                        <a:pt x="265" y="42"/>
                      </a:lnTo>
                      <a:lnTo>
                        <a:pt x="236" y="42"/>
                      </a:lnTo>
                      <a:lnTo>
                        <a:pt x="212" y="42"/>
                      </a:lnTo>
                      <a:lnTo>
                        <a:pt x="191" y="42"/>
                      </a:lnTo>
                      <a:lnTo>
                        <a:pt x="173" y="42"/>
                      </a:lnTo>
                      <a:lnTo>
                        <a:pt x="156" y="42"/>
                      </a:lnTo>
                      <a:lnTo>
                        <a:pt x="139" y="42"/>
                      </a:lnTo>
                      <a:lnTo>
                        <a:pt x="120" y="42"/>
                      </a:lnTo>
                      <a:lnTo>
                        <a:pt x="100" y="42"/>
                      </a:lnTo>
                      <a:lnTo>
                        <a:pt x="91" y="41"/>
                      </a:lnTo>
                      <a:lnTo>
                        <a:pt x="83" y="39"/>
                      </a:lnTo>
                      <a:lnTo>
                        <a:pt x="78" y="36"/>
                      </a:lnTo>
                      <a:lnTo>
                        <a:pt x="73" y="32"/>
                      </a:lnTo>
                      <a:lnTo>
                        <a:pt x="70" y="27"/>
                      </a:lnTo>
                      <a:lnTo>
                        <a:pt x="68" y="22"/>
                      </a:lnTo>
                      <a:lnTo>
                        <a:pt x="67" y="17"/>
                      </a:lnTo>
                      <a:lnTo>
                        <a:pt x="67" y="12"/>
                      </a:lnTo>
                      <a:lnTo>
                        <a:pt x="69" y="8"/>
                      </a:lnTo>
                      <a:lnTo>
                        <a:pt x="72" y="4"/>
                      </a:lnTo>
                      <a:lnTo>
                        <a:pt x="74" y="2"/>
                      </a:lnTo>
                      <a:lnTo>
                        <a:pt x="75" y="1"/>
                      </a:lnTo>
                      <a:lnTo>
                        <a:pt x="74" y="0"/>
                      </a:lnTo>
                      <a:lnTo>
                        <a:pt x="7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8" name="Freeform 431"/>
                <p:cNvSpPr>
                  <a:spLocks/>
                </p:cNvSpPr>
                <p:nvPr/>
              </p:nvSpPr>
              <p:spPr bwMode="auto">
                <a:xfrm>
                  <a:off x="1513" y="1136"/>
                  <a:ext cx="106" cy="45"/>
                </a:xfrm>
                <a:custGeom>
                  <a:avLst/>
                  <a:gdLst>
                    <a:gd name="T0" fmla="*/ 145 w 326"/>
                    <a:gd name="T1" fmla="*/ 107 h 135"/>
                    <a:gd name="T2" fmla="*/ 203 w 326"/>
                    <a:gd name="T3" fmla="*/ 97 h 135"/>
                    <a:gd name="T4" fmla="*/ 262 w 326"/>
                    <a:gd name="T5" fmla="*/ 84 h 135"/>
                    <a:gd name="T6" fmla="*/ 300 w 326"/>
                    <a:gd name="T7" fmla="*/ 74 h 135"/>
                    <a:gd name="T8" fmla="*/ 318 w 326"/>
                    <a:gd name="T9" fmla="*/ 66 h 135"/>
                    <a:gd name="T10" fmla="*/ 322 w 326"/>
                    <a:gd name="T11" fmla="*/ 56 h 135"/>
                    <a:gd name="T12" fmla="*/ 312 w 326"/>
                    <a:gd name="T13" fmla="*/ 48 h 135"/>
                    <a:gd name="T14" fmla="*/ 300 w 326"/>
                    <a:gd name="T15" fmla="*/ 41 h 135"/>
                    <a:gd name="T16" fmla="*/ 286 w 326"/>
                    <a:gd name="T17" fmla="*/ 37 h 135"/>
                    <a:gd name="T18" fmla="*/ 263 w 326"/>
                    <a:gd name="T19" fmla="*/ 32 h 135"/>
                    <a:gd name="T20" fmla="*/ 230 w 326"/>
                    <a:gd name="T21" fmla="*/ 30 h 135"/>
                    <a:gd name="T22" fmla="*/ 209 w 326"/>
                    <a:gd name="T23" fmla="*/ 30 h 135"/>
                    <a:gd name="T24" fmla="*/ 202 w 326"/>
                    <a:gd name="T25" fmla="*/ 24 h 135"/>
                    <a:gd name="T26" fmla="*/ 196 w 326"/>
                    <a:gd name="T27" fmla="*/ 17 h 135"/>
                    <a:gd name="T28" fmla="*/ 191 w 326"/>
                    <a:gd name="T29" fmla="*/ 9 h 135"/>
                    <a:gd name="T30" fmla="*/ 180 w 326"/>
                    <a:gd name="T31" fmla="*/ 5 h 135"/>
                    <a:gd name="T32" fmla="*/ 162 w 326"/>
                    <a:gd name="T33" fmla="*/ 1 h 135"/>
                    <a:gd name="T34" fmla="*/ 135 w 326"/>
                    <a:gd name="T35" fmla="*/ 1 h 135"/>
                    <a:gd name="T36" fmla="*/ 87 w 326"/>
                    <a:gd name="T37" fmla="*/ 8 h 135"/>
                    <a:gd name="T38" fmla="*/ 49 w 326"/>
                    <a:gd name="T39" fmla="*/ 17 h 135"/>
                    <a:gd name="T40" fmla="*/ 27 w 326"/>
                    <a:gd name="T41" fmla="*/ 26 h 135"/>
                    <a:gd name="T42" fmla="*/ 11 w 326"/>
                    <a:gd name="T43" fmla="*/ 37 h 135"/>
                    <a:gd name="T44" fmla="*/ 3 w 326"/>
                    <a:gd name="T45" fmla="*/ 46 h 135"/>
                    <a:gd name="T46" fmla="*/ 1 w 326"/>
                    <a:gd name="T47" fmla="*/ 52 h 135"/>
                    <a:gd name="T48" fmla="*/ 34 w 326"/>
                    <a:gd name="T49" fmla="*/ 74 h 135"/>
                    <a:gd name="T50" fmla="*/ 56 w 326"/>
                    <a:gd name="T51" fmla="*/ 81 h 135"/>
                    <a:gd name="T52" fmla="*/ 41 w 326"/>
                    <a:gd name="T53" fmla="*/ 90 h 135"/>
                    <a:gd name="T54" fmla="*/ 38 w 326"/>
                    <a:gd name="T55" fmla="*/ 99 h 135"/>
                    <a:gd name="T56" fmla="*/ 44 w 326"/>
                    <a:gd name="T57" fmla="*/ 114 h 135"/>
                    <a:gd name="T58" fmla="*/ 48 w 326"/>
                    <a:gd name="T59" fmla="*/ 128 h 135"/>
                    <a:gd name="T60" fmla="*/ 55 w 326"/>
                    <a:gd name="T61" fmla="*/ 134 h 135"/>
                    <a:gd name="T62" fmla="*/ 69 w 326"/>
                    <a:gd name="T63" fmla="*/ 135 h 135"/>
                    <a:gd name="T64" fmla="*/ 86 w 326"/>
                    <a:gd name="T65" fmla="*/ 131 h 135"/>
                    <a:gd name="T66" fmla="*/ 101 w 326"/>
                    <a:gd name="T67" fmla="*/ 127 h 135"/>
                    <a:gd name="T68" fmla="*/ 117 w 326"/>
                    <a:gd name="T69" fmla="*/ 124 h 135"/>
                    <a:gd name="T70" fmla="*/ 120 w 326"/>
                    <a:gd name="T71" fmla="*/ 111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26" h="135">
                      <a:moveTo>
                        <a:pt x="120" y="111"/>
                      </a:moveTo>
                      <a:lnTo>
                        <a:pt x="145" y="107"/>
                      </a:lnTo>
                      <a:lnTo>
                        <a:pt x="172" y="102"/>
                      </a:lnTo>
                      <a:lnTo>
                        <a:pt x="203" y="97"/>
                      </a:lnTo>
                      <a:lnTo>
                        <a:pt x="233" y="90"/>
                      </a:lnTo>
                      <a:lnTo>
                        <a:pt x="262" y="84"/>
                      </a:lnTo>
                      <a:lnTo>
                        <a:pt x="288" y="78"/>
                      </a:lnTo>
                      <a:lnTo>
                        <a:pt x="300" y="74"/>
                      </a:lnTo>
                      <a:lnTo>
                        <a:pt x="310" y="70"/>
                      </a:lnTo>
                      <a:lnTo>
                        <a:pt x="318" y="66"/>
                      </a:lnTo>
                      <a:lnTo>
                        <a:pt x="326" y="62"/>
                      </a:lnTo>
                      <a:lnTo>
                        <a:pt x="322" y="56"/>
                      </a:lnTo>
                      <a:lnTo>
                        <a:pt x="317" y="52"/>
                      </a:lnTo>
                      <a:lnTo>
                        <a:pt x="312" y="48"/>
                      </a:lnTo>
                      <a:lnTo>
                        <a:pt x="306" y="44"/>
                      </a:lnTo>
                      <a:lnTo>
                        <a:pt x="300" y="41"/>
                      </a:lnTo>
                      <a:lnTo>
                        <a:pt x="293" y="39"/>
                      </a:lnTo>
                      <a:lnTo>
                        <a:pt x="286" y="37"/>
                      </a:lnTo>
                      <a:lnTo>
                        <a:pt x="279" y="34"/>
                      </a:lnTo>
                      <a:lnTo>
                        <a:pt x="263" y="32"/>
                      </a:lnTo>
                      <a:lnTo>
                        <a:pt x="247" y="31"/>
                      </a:lnTo>
                      <a:lnTo>
                        <a:pt x="230" y="30"/>
                      </a:lnTo>
                      <a:lnTo>
                        <a:pt x="213" y="30"/>
                      </a:lnTo>
                      <a:lnTo>
                        <a:pt x="209" y="30"/>
                      </a:lnTo>
                      <a:lnTo>
                        <a:pt x="205" y="27"/>
                      </a:lnTo>
                      <a:lnTo>
                        <a:pt x="202" y="24"/>
                      </a:lnTo>
                      <a:lnTo>
                        <a:pt x="200" y="21"/>
                      </a:lnTo>
                      <a:lnTo>
                        <a:pt x="196" y="17"/>
                      </a:lnTo>
                      <a:lnTo>
                        <a:pt x="194" y="13"/>
                      </a:lnTo>
                      <a:lnTo>
                        <a:pt x="191" y="9"/>
                      </a:lnTo>
                      <a:lnTo>
                        <a:pt x="187" y="6"/>
                      </a:lnTo>
                      <a:lnTo>
                        <a:pt x="180" y="5"/>
                      </a:lnTo>
                      <a:lnTo>
                        <a:pt x="172" y="3"/>
                      </a:lnTo>
                      <a:lnTo>
                        <a:pt x="162" y="1"/>
                      </a:lnTo>
                      <a:lnTo>
                        <a:pt x="153" y="0"/>
                      </a:lnTo>
                      <a:lnTo>
                        <a:pt x="135" y="1"/>
                      </a:lnTo>
                      <a:lnTo>
                        <a:pt x="112" y="4"/>
                      </a:lnTo>
                      <a:lnTo>
                        <a:pt x="87" y="8"/>
                      </a:lnTo>
                      <a:lnTo>
                        <a:pt x="61" y="14"/>
                      </a:lnTo>
                      <a:lnTo>
                        <a:pt x="49" y="17"/>
                      </a:lnTo>
                      <a:lnTo>
                        <a:pt x="38" y="21"/>
                      </a:lnTo>
                      <a:lnTo>
                        <a:pt x="27" y="26"/>
                      </a:lnTo>
                      <a:lnTo>
                        <a:pt x="19" y="31"/>
                      </a:lnTo>
                      <a:lnTo>
                        <a:pt x="11" y="37"/>
                      </a:lnTo>
                      <a:lnTo>
                        <a:pt x="5" y="43"/>
                      </a:lnTo>
                      <a:lnTo>
                        <a:pt x="3" y="46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0" y="56"/>
                      </a:lnTo>
                      <a:lnTo>
                        <a:pt x="34" y="74"/>
                      </a:lnTo>
                      <a:lnTo>
                        <a:pt x="73" y="74"/>
                      </a:lnTo>
                      <a:lnTo>
                        <a:pt x="56" y="81"/>
                      </a:lnTo>
                      <a:lnTo>
                        <a:pt x="44" y="87"/>
                      </a:lnTo>
                      <a:lnTo>
                        <a:pt x="41" y="90"/>
                      </a:lnTo>
                      <a:lnTo>
                        <a:pt x="38" y="94"/>
                      </a:lnTo>
                      <a:lnTo>
                        <a:pt x="38" y="99"/>
                      </a:lnTo>
                      <a:lnTo>
                        <a:pt x="41" y="105"/>
                      </a:lnTo>
                      <a:lnTo>
                        <a:pt x="44" y="114"/>
                      </a:lnTo>
                      <a:lnTo>
                        <a:pt x="47" y="123"/>
                      </a:lnTo>
                      <a:lnTo>
                        <a:pt x="48" y="128"/>
                      </a:lnTo>
                      <a:lnTo>
                        <a:pt x="50" y="131"/>
                      </a:lnTo>
                      <a:lnTo>
                        <a:pt x="55" y="134"/>
                      </a:lnTo>
                      <a:lnTo>
                        <a:pt x="60" y="135"/>
                      </a:lnTo>
                      <a:lnTo>
                        <a:pt x="69" y="135"/>
                      </a:lnTo>
                      <a:lnTo>
                        <a:pt x="78" y="133"/>
                      </a:lnTo>
                      <a:lnTo>
                        <a:pt x="86" y="131"/>
                      </a:lnTo>
                      <a:lnTo>
                        <a:pt x="93" y="129"/>
                      </a:lnTo>
                      <a:lnTo>
                        <a:pt x="101" y="127"/>
                      </a:lnTo>
                      <a:lnTo>
                        <a:pt x="109" y="125"/>
                      </a:lnTo>
                      <a:lnTo>
                        <a:pt x="117" y="124"/>
                      </a:lnTo>
                      <a:lnTo>
                        <a:pt x="126" y="123"/>
                      </a:lnTo>
                      <a:lnTo>
                        <a:pt x="120" y="11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09" name="Freeform 432"/>
                <p:cNvSpPr>
                  <a:spLocks/>
                </p:cNvSpPr>
                <p:nvPr/>
              </p:nvSpPr>
              <p:spPr bwMode="auto">
                <a:xfrm>
                  <a:off x="1584" y="1245"/>
                  <a:ext cx="51" cy="18"/>
                </a:xfrm>
                <a:custGeom>
                  <a:avLst/>
                  <a:gdLst>
                    <a:gd name="T0" fmla="*/ 46 w 159"/>
                    <a:gd name="T1" fmla="*/ 53 h 56"/>
                    <a:gd name="T2" fmla="*/ 40 w 159"/>
                    <a:gd name="T3" fmla="*/ 52 h 56"/>
                    <a:gd name="T4" fmla="*/ 34 w 159"/>
                    <a:gd name="T5" fmla="*/ 49 h 56"/>
                    <a:gd name="T6" fmla="*/ 26 w 159"/>
                    <a:gd name="T7" fmla="*/ 45 h 56"/>
                    <a:gd name="T8" fmla="*/ 18 w 159"/>
                    <a:gd name="T9" fmla="*/ 38 h 56"/>
                    <a:gd name="T10" fmla="*/ 10 w 159"/>
                    <a:gd name="T11" fmla="*/ 31 h 56"/>
                    <a:gd name="T12" fmla="*/ 5 w 159"/>
                    <a:gd name="T13" fmla="*/ 24 h 56"/>
                    <a:gd name="T14" fmla="*/ 3 w 159"/>
                    <a:gd name="T15" fmla="*/ 21 h 56"/>
                    <a:gd name="T16" fmla="*/ 1 w 159"/>
                    <a:gd name="T17" fmla="*/ 17 h 56"/>
                    <a:gd name="T18" fmla="*/ 0 w 159"/>
                    <a:gd name="T19" fmla="*/ 13 h 56"/>
                    <a:gd name="T20" fmla="*/ 0 w 159"/>
                    <a:gd name="T21" fmla="*/ 10 h 56"/>
                    <a:gd name="T22" fmla="*/ 21 w 159"/>
                    <a:gd name="T23" fmla="*/ 10 h 56"/>
                    <a:gd name="T24" fmla="*/ 39 w 159"/>
                    <a:gd name="T25" fmla="*/ 10 h 56"/>
                    <a:gd name="T26" fmla="*/ 52 w 159"/>
                    <a:gd name="T27" fmla="*/ 10 h 56"/>
                    <a:gd name="T28" fmla="*/ 59 w 159"/>
                    <a:gd name="T29" fmla="*/ 10 h 56"/>
                    <a:gd name="T30" fmla="*/ 83 w 159"/>
                    <a:gd name="T31" fmla="*/ 6 h 56"/>
                    <a:gd name="T32" fmla="*/ 117 w 159"/>
                    <a:gd name="T33" fmla="*/ 0 h 56"/>
                    <a:gd name="T34" fmla="*/ 125 w 159"/>
                    <a:gd name="T35" fmla="*/ 0 h 56"/>
                    <a:gd name="T36" fmla="*/ 132 w 159"/>
                    <a:gd name="T37" fmla="*/ 0 h 56"/>
                    <a:gd name="T38" fmla="*/ 140 w 159"/>
                    <a:gd name="T39" fmla="*/ 0 h 56"/>
                    <a:gd name="T40" fmla="*/ 147 w 159"/>
                    <a:gd name="T41" fmla="*/ 2 h 56"/>
                    <a:gd name="T42" fmla="*/ 151 w 159"/>
                    <a:gd name="T43" fmla="*/ 5 h 56"/>
                    <a:gd name="T44" fmla="*/ 155 w 159"/>
                    <a:gd name="T45" fmla="*/ 9 h 56"/>
                    <a:gd name="T46" fmla="*/ 158 w 159"/>
                    <a:gd name="T47" fmla="*/ 15 h 56"/>
                    <a:gd name="T48" fmla="*/ 159 w 159"/>
                    <a:gd name="T49" fmla="*/ 22 h 56"/>
                    <a:gd name="T50" fmla="*/ 158 w 159"/>
                    <a:gd name="T51" fmla="*/ 30 h 56"/>
                    <a:gd name="T52" fmla="*/ 155 w 159"/>
                    <a:gd name="T53" fmla="*/ 37 h 56"/>
                    <a:gd name="T54" fmla="*/ 151 w 159"/>
                    <a:gd name="T55" fmla="*/ 44 h 56"/>
                    <a:gd name="T56" fmla="*/ 146 w 159"/>
                    <a:gd name="T57" fmla="*/ 48 h 56"/>
                    <a:gd name="T58" fmla="*/ 139 w 159"/>
                    <a:gd name="T59" fmla="*/ 52 h 56"/>
                    <a:gd name="T60" fmla="*/ 132 w 159"/>
                    <a:gd name="T61" fmla="*/ 54 h 56"/>
                    <a:gd name="T62" fmla="*/ 124 w 159"/>
                    <a:gd name="T63" fmla="*/ 55 h 56"/>
                    <a:gd name="T64" fmla="*/ 115 w 159"/>
                    <a:gd name="T65" fmla="*/ 56 h 56"/>
                    <a:gd name="T66" fmla="*/ 77 w 159"/>
                    <a:gd name="T67" fmla="*/ 55 h 56"/>
                    <a:gd name="T68" fmla="*/ 46 w 159"/>
                    <a:gd name="T69" fmla="*/ 53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9" h="56">
                      <a:moveTo>
                        <a:pt x="46" y="53"/>
                      </a:moveTo>
                      <a:lnTo>
                        <a:pt x="40" y="52"/>
                      </a:lnTo>
                      <a:lnTo>
                        <a:pt x="34" y="49"/>
                      </a:lnTo>
                      <a:lnTo>
                        <a:pt x="26" y="45"/>
                      </a:lnTo>
                      <a:lnTo>
                        <a:pt x="18" y="38"/>
                      </a:lnTo>
                      <a:lnTo>
                        <a:pt x="10" y="31"/>
                      </a:lnTo>
                      <a:lnTo>
                        <a:pt x="5" y="24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1" y="10"/>
                      </a:lnTo>
                      <a:lnTo>
                        <a:pt x="39" y="10"/>
                      </a:lnTo>
                      <a:lnTo>
                        <a:pt x="52" y="10"/>
                      </a:lnTo>
                      <a:lnTo>
                        <a:pt x="59" y="10"/>
                      </a:lnTo>
                      <a:lnTo>
                        <a:pt x="83" y="6"/>
                      </a:lnTo>
                      <a:lnTo>
                        <a:pt x="117" y="0"/>
                      </a:lnTo>
                      <a:lnTo>
                        <a:pt x="125" y="0"/>
                      </a:lnTo>
                      <a:lnTo>
                        <a:pt x="132" y="0"/>
                      </a:lnTo>
                      <a:lnTo>
                        <a:pt x="140" y="0"/>
                      </a:lnTo>
                      <a:lnTo>
                        <a:pt x="147" y="2"/>
                      </a:lnTo>
                      <a:lnTo>
                        <a:pt x="151" y="5"/>
                      </a:lnTo>
                      <a:lnTo>
                        <a:pt x="155" y="9"/>
                      </a:lnTo>
                      <a:lnTo>
                        <a:pt x="158" y="15"/>
                      </a:lnTo>
                      <a:lnTo>
                        <a:pt x="159" y="22"/>
                      </a:lnTo>
                      <a:lnTo>
                        <a:pt x="158" y="30"/>
                      </a:lnTo>
                      <a:lnTo>
                        <a:pt x="155" y="37"/>
                      </a:lnTo>
                      <a:lnTo>
                        <a:pt x="151" y="44"/>
                      </a:lnTo>
                      <a:lnTo>
                        <a:pt x="146" y="48"/>
                      </a:lnTo>
                      <a:lnTo>
                        <a:pt x="139" y="52"/>
                      </a:lnTo>
                      <a:lnTo>
                        <a:pt x="132" y="54"/>
                      </a:lnTo>
                      <a:lnTo>
                        <a:pt x="124" y="55"/>
                      </a:lnTo>
                      <a:lnTo>
                        <a:pt x="115" y="56"/>
                      </a:lnTo>
                      <a:lnTo>
                        <a:pt x="77" y="55"/>
                      </a:lnTo>
                      <a:lnTo>
                        <a:pt x="46" y="5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  <p:sp>
              <p:nvSpPr>
                <p:cNvPr id="510" name="Freeform 433"/>
                <p:cNvSpPr>
                  <a:spLocks/>
                </p:cNvSpPr>
                <p:nvPr/>
              </p:nvSpPr>
              <p:spPr bwMode="auto">
                <a:xfrm>
                  <a:off x="534" y="1280"/>
                  <a:ext cx="1205" cy="539"/>
                </a:xfrm>
                <a:custGeom>
                  <a:avLst/>
                  <a:gdLst>
                    <a:gd name="T0" fmla="*/ 2931 w 3734"/>
                    <a:gd name="T1" fmla="*/ 1362 h 1644"/>
                    <a:gd name="T2" fmla="*/ 2556 w 3734"/>
                    <a:gd name="T3" fmla="*/ 1522 h 1644"/>
                    <a:gd name="T4" fmla="*/ 2312 w 3734"/>
                    <a:gd name="T5" fmla="*/ 1592 h 1644"/>
                    <a:gd name="T6" fmla="*/ 2294 w 3734"/>
                    <a:gd name="T7" fmla="*/ 1634 h 1644"/>
                    <a:gd name="T8" fmla="*/ 2177 w 3734"/>
                    <a:gd name="T9" fmla="*/ 1607 h 1644"/>
                    <a:gd name="T10" fmla="*/ 2279 w 3734"/>
                    <a:gd name="T11" fmla="*/ 1512 h 1644"/>
                    <a:gd name="T12" fmla="*/ 2166 w 3734"/>
                    <a:gd name="T13" fmla="*/ 1416 h 1644"/>
                    <a:gd name="T14" fmla="*/ 2094 w 3734"/>
                    <a:gd name="T15" fmla="*/ 1295 h 1644"/>
                    <a:gd name="T16" fmla="*/ 1947 w 3734"/>
                    <a:gd name="T17" fmla="*/ 1317 h 1644"/>
                    <a:gd name="T18" fmla="*/ 1771 w 3734"/>
                    <a:gd name="T19" fmla="*/ 1281 h 1644"/>
                    <a:gd name="T20" fmla="*/ 261 w 3734"/>
                    <a:gd name="T21" fmla="*/ 1235 h 1644"/>
                    <a:gd name="T22" fmla="*/ 127 w 3734"/>
                    <a:gd name="T23" fmla="*/ 1125 h 1644"/>
                    <a:gd name="T24" fmla="*/ 151 w 3734"/>
                    <a:gd name="T25" fmla="*/ 1040 h 1644"/>
                    <a:gd name="T26" fmla="*/ 147 w 3734"/>
                    <a:gd name="T27" fmla="*/ 927 h 1644"/>
                    <a:gd name="T28" fmla="*/ 259 w 3734"/>
                    <a:gd name="T29" fmla="*/ 859 h 1644"/>
                    <a:gd name="T30" fmla="*/ 250 w 3734"/>
                    <a:gd name="T31" fmla="*/ 747 h 1644"/>
                    <a:gd name="T32" fmla="*/ 128 w 3734"/>
                    <a:gd name="T33" fmla="*/ 665 h 1644"/>
                    <a:gd name="T34" fmla="*/ 602 w 3734"/>
                    <a:gd name="T35" fmla="*/ 114 h 1644"/>
                    <a:gd name="T36" fmla="*/ 1146 w 3734"/>
                    <a:gd name="T37" fmla="*/ 105 h 1644"/>
                    <a:gd name="T38" fmla="*/ 1296 w 3734"/>
                    <a:gd name="T39" fmla="*/ 117 h 1644"/>
                    <a:gd name="T40" fmla="*/ 1641 w 3734"/>
                    <a:gd name="T41" fmla="*/ 166 h 1644"/>
                    <a:gd name="T42" fmla="*/ 1771 w 3734"/>
                    <a:gd name="T43" fmla="*/ 206 h 1644"/>
                    <a:gd name="T44" fmla="*/ 2076 w 3734"/>
                    <a:gd name="T45" fmla="*/ 193 h 1644"/>
                    <a:gd name="T46" fmla="*/ 2286 w 3734"/>
                    <a:gd name="T47" fmla="*/ 216 h 1644"/>
                    <a:gd name="T48" fmla="*/ 2365 w 3734"/>
                    <a:gd name="T49" fmla="*/ 216 h 1644"/>
                    <a:gd name="T50" fmla="*/ 2518 w 3734"/>
                    <a:gd name="T51" fmla="*/ 123 h 1644"/>
                    <a:gd name="T52" fmla="*/ 2587 w 3734"/>
                    <a:gd name="T53" fmla="*/ 2 h 1644"/>
                    <a:gd name="T54" fmla="*/ 2644 w 3734"/>
                    <a:gd name="T55" fmla="*/ 105 h 1644"/>
                    <a:gd name="T56" fmla="*/ 2664 w 3734"/>
                    <a:gd name="T57" fmla="*/ 166 h 1644"/>
                    <a:gd name="T58" fmla="*/ 2716 w 3734"/>
                    <a:gd name="T59" fmla="*/ 196 h 1644"/>
                    <a:gd name="T60" fmla="*/ 2891 w 3734"/>
                    <a:gd name="T61" fmla="*/ 121 h 1644"/>
                    <a:gd name="T62" fmla="*/ 3036 w 3734"/>
                    <a:gd name="T63" fmla="*/ 135 h 1644"/>
                    <a:gd name="T64" fmla="*/ 2883 w 3734"/>
                    <a:gd name="T65" fmla="*/ 271 h 1644"/>
                    <a:gd name="T66" fmla="*/ 2790 w 3734"/>
                    <a:gd name="T67" fmla="*/ 289 h 1644"/>
                    <a:gd name="T68" fmla="*/ 2569 w 3734"/>
                    <a:gd name="T69" fmla="*/ 304 h 1644"/>
                    <a:gd name="T70" fmla="*/ 2501 w 3734"/>
                    <a:gd name="T71" fmla="*/ 402 h 1644"/>
                    <a:gd name="T72" fmla="*/ 2333 w 3734"/>
                    <a:gd name="T73" fmla="*/ 471 h 1644"/>
                    <a:gd name="T74" fmla="*/ 2087 w 3734"/>
                    <a:gd name="T75" fmla="*/ 625 h 1644"/>
                    <a:gd name="T76" fmla="*/ 2106 w 3734"/>
                    <a:gd name="T77" fmla="*/ 793 h 1644"/>
                    <a:gd name="T78" fmla="*/ 2360 w 3734"/>
                    <a:gd name="T79" fmla="*/ 907 h 1644"/>
                    <a:gd name="T80" fmla="*/ 2443 w 3734"/>
                    <a:gd name="T81" fmla="*/ 1059 h 1644"/>
                    <a:gd name="T82" fmla="*/ 2614 w 3734"/>
                    <a:gd name="T83" fmla="*/ 987 h 1644"/>
                    <a:gd name="T84" fmla="*/ 2848 w 3734"/>
                    <a:gd name="T85" fmla="*/ 785 h 1644"/>
                    <a:gd name="T86" fmla="*/ 2896 w 3734"/>
                    <a:gd name="T87" fmla="*/ 597 h 1644"/>
                    <a:gd name="T88" fmla="*/ 3156 w 3734"/>
                    <a:gd name="T89" fmla="*/ 500 h 1644"/>
                    <a:gd name="T90" fmla="*/ 3276 w 3734"/>
                    <a:gd name="T91" fmla="*/ 592 h 1644"/>
                    <a:gd name="T92" fmla="*/ 3226 w 3734"/>
                    <a:gd name="T93" fmla="*/ 736 h 1644"/>
                    <a:gd name="T94" fmla="*/ 3492 w 3734"/>
                    <a:gd name="T95" fmla="*/ 613 h 1644"/>
                    <a:gd name="T96" fmla="*/ 3545 w 3734"/>
                    <a:gd name="T97" fmla="*/ 774 h 1644"/>
                    <a:gd name="T98" fmla="*/ 3662 w 3734"/>
                    <a:gd name="T99" fmla="*/ 924 h 1644"/>
                    <a:gd name="T100" fmla="*/ 3616 w 3734"/>
                    <a:gd name="T101" fmla="*/ 961 h 1644"/>
                    <a:gd name="T102" fmla="*/ 3694 w 3734"/>
                    <a:gd name="T103" fmla="*/ 1028 h 1644"/>
                    <a:gd name="T104" fmla="*/ 3556 w 3734"/>
                    <a:gd name="T105" fmla="*/ 1108 h 1644"/>
                    <a:gd name="T106" fmla="*/ 3151 w 3734"/>
                    <a:gd name="T107" fmla="*/ 1168 h 1644"/>
                    <a:gd name="T108" fmla="*/ 2853 w 3734"/>
                    <a:gd name="T109" fmla="*/ 1335 h 1644"/>
                    <a:gd name="T110" fmla="*/ 2905 w 3734"/>
                    <a:gd name="T111" fmla="*/ 1337 h 1644"/>
                    <a:gd name="T112" fmla="*/ 3216 w 3734"/>
                    <a:gd name="T113" fmla="*/ 1256 h 1644"/>
                    <a:gd name="T114" fmla="*/ 3066 w 3734"/>
                    <a:gd name="T115" fmla="*/ 1298 h 1644"/>
                    <a:gd name="T116" fmla="*/ 3138 w 3734"/>
                    <a:gd name="T117" fmla="*/ 1391 h 1644"/>
                    <a:gd name="T118" fmla="*/ 3248 w 3734"/>
                    <a:gd name="T119" fmla="*/ 1473 h 1644"/>
                    <a:gd name="T120" fmla="*/ 3018 w 3734"/>
                    <a:gd name="T121" fmla="*/ 1564 h 1644"/>
                    <a:gd name="T122" fmla="*/ 3189 w 3734"/>
                    <a:gd name="T123" fmla="*/ 1466 h 1644"/>
                    <a:gd name="T124" fmla="*/ 3016 w 3734"/>
                    <a:gd name="T125" fmla="*/ 1484 h 1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34" h="1644">
                      <a:moveTo>
                        <a:pt x="3010" y="1478"/>
                      </a:moveTo>
                      <a:lnTo>
                        <a:pt x="3010" y="1410"/>
                      </a:lnTo>
                      <a:lnTo>
                        <a:pt x="3013" y="1407"/>
                      </a:lnTo>
                      <a:lnTo>
                        <a:pt x="3016" y="1400"/>
                      </a:lnTo>
                      <a:lnTo>
                        <a:pt x="3021" y="1391"/>
                      </a:lnTo>
                      <a:lnTo>
                        <a:pt x="3025" y="1382"/>
                      </a:lnTo>
                      <a:lnTo>
                        <a:pt x="3029" y="1370"/>
                      </a:lnTo>
                      <a:lnTo>
                        <a:pt x="3033" y="1360"/>
                      </a:lnTo>
                      <a:lnTo>
                        <a:pt x="3036" y="1351"/>
                      </a:lnTo>
                      <a:lnTo>
                        <a:pt x="3036" y="1343"/>
                      </a:lnTo>
                      <a:lnTo>
                        <a:pt x="3032" y="1345"/>
                      </a:lnTo>
                      <a:lnTo>
                        <a:pt x="3026" y="1345"/>
                      </a:lnTo>
                      <a:lnTo>
                        <a:pt x="3021" y="1346"/>
                      </a:lnTo>
                      <a:lnTo>
                        <a:pt x="3014" y="1345"/>
                      </a:lnTo>
                      <a:lnTo>
                        <a:pt x="2997" y="1344"/>
                      </a:lnTo>
                      <a:lnTo>
                        <a:pt x="2977" y="1343"/>
                      </a:lnTo>
                      <a:lnTo>
                        <a:pt x="2967" y="1343"/>
                      </a:lnTo>
                      <a:lnTo>
                        <a:pt x="2958" y="1345"/>
                      </a:lnTo>
                      <a:lnTo>
                        <a:pt x="2950" y="1348"/>
                      </a:lnTo>
                      <a:lnTo>
                        <a:pt x="2943" y="1352"/>
                      </a:lnTo>
                      <a:lnTo>
                        <a:pt x="2936" y="1356"/>
                      </a:lnTo>
                      <a:lnTo>
                        <a:pt x="2931" y="1362"/>
                      </a:lnTo>
                      <a:lnTo>
                        <a:pt x="2925" y="1368"/>
                      </a:lnTo>
                      <a:lnTo>
                        <a:pt x="2920" y="1374"/>
                      </a:lnTo>
                      <a:lnTo>
                        <a:pt x="2909" y="1388"/>
                      </a:lnTo>
                      <a:lnTo>
                        <a:pt x="2899" y="1403"/>
                      </a:lnTo>
                      <a:lnTo>
                        <a:pt x="2889" y="1416"/>
                      </a:lnTo>
                      <a:lnTo>
                        <a:pt x="2877" y="1429"/>
                      </a:lnTo>
                      <a:lnTo>
                        <a:pt x="2867" y="1438"/>
                      </a:lnTo>
                      <a:lnTo>
                        <a:pt x="2857" y="1445"/>
                      </a:lnTo>
                      <a:lnTo>
                        <a:pt x="2847" y="1451"/>
                      </a:lnTo>
                      <a:lnTo>
                        <a:pt x="2836" y="1456"/>
                      </a:lnTo>
                      <a:lnTo>
                        <a:pt x="2826" y="1460"/>
                      </a:lnTo>
                      <a:lnTo>
                        <a:pt x="2815" y="1463"/>
                      </a:lnTo>
                      <a:lnTo>
                        <a:pt x="2803" y="1465"/>
                      </a:lnTo>
                      <a:lnTo>
                        <a:pt x="2792" y="1467"/>
                      </a:lnTo>
                      <a:lnTo>
                        <a:pt x="2767" y="1470"/>
                      </a:lnTo>
                      <a:lnTo>
                        <a:pt x="2741" y="1472"/>
                      </a:lnTo>
                      <a:lnTo>
                        <a:pt x="2711" y="1474"/>
                      </a:lnTo>
                      <a:lnTo>
                        <a:pt x="2678" y="1478"/>
                      </a:lnTo>
                      <a:lnTo>
                        <a:pt x="2591" y="1478"/>
                      </a:lnTo>
                      <a:lnTo>
                        <a:pt x="2580" y="1494"/>
                      </a:lnTo>
                      <a:lnTo>
                        <a:pt x="2569" y="1508"/>
                      </a:lnTo>
                      <a:lnTo>
                        <a:pt x="2556" y="1522"/>
                      </a:lnTo>
                      <a:lnTo>
                        <a:pt x="2543" y="1534"/>
                      </a:lnTo>
                      <a:lnTo>
                        <a:pt x="2530" y="1547"/>
                      </a:lnTo>
                      <a:lnTo>
                        <a:pt x="2514" y="1558"/>
                      </a:lnTo>
                      <a:lnTo>
                        <a:pt x="2500" y="1568"/>
                      </a:lnTo>
                      <a:lnTo>
                        <a:pt x="2485" y="1577"/>
                      </a:lnTo>
                      <a:lnTo>
                        <a:pt x="2492" y="1571"/>
                      </a:lnTo>
                      <a:lnTo>
                        <a:pt x="2498" y="1565"/>
                      </a:lnTo>
                      <a:lnTo>
                        <a:pt x="2502" y="1559"/>
                      </a:lnTo>
                      <a:lnTo>
                        <a:pt x="2504" y="1553"/>
                      </a:lnTo>
                      <a:lnTo>
                        <a:pt x="2478" y="1546"/>
                      </a:lnTo>
                      <a:lnTo>
                        <a:pt x="2445" y="1559"/>
                      </a:lnTo>
                      <a:lnTo>
                        <a:pt x="2408" y="1562"/>
                      </a:lnTo>
                      <a:lnTo>
                        <a:pt x="2364" y="1565"/>
                      </a:lnTo>
                      <a:lnTo>
                        <a:pt x="2353" y="1567"/>
                      </a:lnTo>
                      <a:lnTo>
                        <a:pt x="2343" y="1569"/>
                      </a:lnTo>
                      <a:lnTo>
                        <a:pt x="2334" y="1572"/>
                      </a:lnTo>
                      <a:lnTo>
                        <a:pt x="2328" y="1575"/>
                      </a:lnTo>
                      <a:lnTo>
                        <a:pt x="2321" y="1579"/>
                      </a:lnTo>
                      <a:lnTo>
                        <a:pt x="2316" y="1583"/>
                      </a:lnTo>
                      <a:lnTo>
                        <a:pt x="2315" y="1586"/>
                      </a:lnTo>
                      <a:lnTo>
                        <a:pt x="2313" y="1589"/>
                      </a:lnTo>
                      <a:lnTo>
                        <a:pt x="2312" y="1592"/>
                      </a:lnTo>
                      <a:lnTo>
                        <a:pt x="2312" y="1595"/>
                      </a:lnTo>
                      <a:lnTo>
                        <a:pt x="2312" y="1598"/>
                      </a:lnTo>
                      <a:lnTo>
                        <a:pt x="2313" y="1602"/>
                      </a:lnTo>
                      <a:lnTo>
                        <a:pt x="2316" y="1604"/>
                      </a:lnTo>
                      <a:lnTo>
                        <a:pt x="2318" y="1605"/>
                      </a:lnTo>
                      <a:lnTo>
                        <a:pt x="2324" y="1608"/>
                      </a:lnTo>
                      <a:lnTo>
                        <a:pt x="2332" y="1609"/>
                      </a:lnTo>
                      <a:lnTo>
                        <a:pt x="2351" y="1609"/>
                      </a:lnTo>
                      <a:lnTo>
                        <a:pt x="2372" y="1608"/>
                      </a:lnTo>
                      <a:lnTo>
                        <a:pt x="2388" y="1607"/>
                      </a:lnTo>
                      <a:lnTo>
                        <a:pt x="2405" y="1605"/>
                      </a:lnTo>
                      <a:lnTo>
                        <a:pt x="2421" y="1602"/>
                      </a:lnTo>
                      <a:lnTo>
                        <a:pt x="2438" y="1597"/>
                      </a:lnTo>
                      <a:lnTo>
                        <a:pt x="2425" y="1602"/>
                      </a:lnTo>
                      <a:lnTo>
                        <a:pt x="2414" y="1605"/>
                      </a:lnTo>
                      <a:lnTo>
                        <a:pt x="2402" y="1607"/>
                      </a:lnTo>
                      <a:lnTo>
                        <a:pt x="2391" y="1608"/>
                      </a:lnTo>
                      <a:lnTo>
                        <a:pt x="2319" y="1626"/>
                      </a:lnTo>
                      <a:lnTo>
                        <a:pt x="2313" y="1629"/>
                      </a:lnTo>
                      <a:lnTo>
                        <a:pt x="2307" y="1631"/>
                      </a:lnTo>
                      <a:lnTo>
                        <a:pt x="2300" y="1633"/>
                      </a:lnTo>
                      <a:lnTo>
                        <a:pt x="2294" y="1634"/>
                      </a:lnTo>
                      <a:lnTo>
                        <a:pt x="2296" y="1633"/>
                      </a:lnTo>
                      <a:lnTo>
                        <a:pt x="2299" y="1632"/>
                      </a:lnTo>
                      <a:lnTo>
                        <a:pt x="2290" y="1625"/>
                      </a:lnTo>
                      <a:lnTo>
                        <a:pt x="2283" y="1620"/>
                      </a:lnTo>
                      <a:lnTo>
                        <a:pt x="2273" y="1617"/>
                      </a:lnTo>
                      <a:lnTo>
                        <a:pt x="2263" y="1614"/>
                      </a:lnTo>
                      <a:lnTo>
                        <a:pt x="2253" y="1613"/>
                      </a:lnTo>
                      <a:lnTo>
                        <a:pt x="2243" y="1614"/>
                      </a:lnTo>
                      <a:lnTo>
                        <a:pt x="2233" y="1615"/>
                      </a:lnTo>
                      <a:lnTo>
                        <a:pt x="2224" y="1616"/>
                      </a:lnTo>
                      <a:lnTo>
                        <a:pt x="2207" y="1621"/>
                      </a:lnTo>
                      <a:lnTo>
                        <a:pt x="2193" y="1626"/>
                      </a:lnTo>
                      <a:lnTo>
                        <a:pt x="2183" y="1630"/>
                      </a:lnTo>
                      <a:lnTo>
                        <a:pt x="2179" y="1632"/>
                      </a:lnTo>
                      <a:lnTo>
                        <a:pt x="2172" y="1634"/>
                      </a:lnTo>
                      <a:lnTo>
                        <a:pt x="2162" y="1637"/>
                      </a:lnTo>
                      <a:lnTo>
                        <a:pt x="2150" y="1641"/>
                      </a:lnTo>
                      <a:lnTo>
                        <a:pt x="2137" y="1644"/>
                      </a:lnTo>
                      <a:lnTo>
                        <a:pt x="2147" y="1632"/>
                      </a:lnTo>
                      <a:lnTo>
                        <a:pt x="2156" y="1623"/>
                      </a:lnTo>
                      <a:lnTo>
                        <a:pt x="2167" y="1614"/>
                      </a:lnTo>
                      <a:lnTo>
                        <a:pt x="2177" y="1607"/>
                      </a:lnTo>
                      <a:lnTo>
                        <a:pt x="2187" y="1599"/>
                      </a:lnTo>
                      <a:lnTo>
                        <a:pt x="2196" y="1592"/>
                      </a:lnTo>
                      <a:lnTo>
                        <a:pt x="2200" y="1587"/>
                      </a:lnTo>
                      <a:lnTo>
                        <a:pt x="2205" y="1582"/>
                      </a:lnTo>
                      <a:lnTo>
                        <a:pt x="2209" y="1577"/>
                      </a:lnTo>
                      <a:lnTo>
                        <a:pt x="2212" y="1571"/>
                      </a:lnTo>
                      <a:lnTo>
                        <a:pt x="2219" y="1558"/>
                      </a:lnTo>
                      <a:lnTo>
                        <a:pt x="2222" y="1544"/>
                      </a:lnTo>
                      <a:lnTo>
                        <a:pt x="2224" y="1533"/>
                      </a:lnTo>
                      <a:lnTo>
                        <a:pt x="2228" y="1522"/>
                      </a:lnTo>
                      <a:lnTo>
                        <a:pt x="2230" y="1511"/>
                      </a:lnTo>
                      <a:lnTo>
                        <a:pt x="2234" y="1501"/>
                      </a:lnTo>
                      <a:lnTo>
                        <a:pt x="2238" y="1495"/>
                      </a:lnTo>
                      <a:lnTo>
                        <a:pt x="2242" y="1490"/>
                      </a:lnTo>
                      <a:lnTo>
                        <a:pt x="2246" y="1484"/>
                      </a:lnTo>
                      <a:lnTo>
                        <a:pt x="2252" y="1478"/>
                      </a:lnTo>
                      <a:lnTo>
                        <a:pt x="2265" y="1478"/>
                      </a:lnTo>
                      <a:lnTo>
                        <a:pt x="2266" y="1485"/>
                      </a:lnTo>
                      <a:lnTo>
                        <a:pt x="2267" y="1492"/>
                      </a:lnTo>
                      <a:lnTo>
                        <a:pt x="2271" y="1497"/>
                      </a:lnTo>
                      <a:lnTo>
                        <a:pt x="2273" y="1502"/>
                      </a:lnTo>
                      <a:lnTo>
                        <a:pt x="2279" y="1512"/>
                      </a:lnTo>
                      <a:lnTo>
                        <a:pt x="2286" y="1521"/>
                      </a:lnTo>
                      <a:lnTo>
                        <a:pt x="2298" y="1517"/>
                      </a:lnTo>
                      <a:lnTo>
                        <a:pt x="2310" y="1512"/>
                      </a:lnTo>
                      <a:lnTo>
                        <a:pt x="2324" y="1508"/>
                      </a:lnTo>
                      <a:lnTo>
                        <a:pt x="2345" y="1503"/>
                      </a:lnTo>
                      <a:lnTo>
                        <a:pt x="2345" y="1478"/>
                      </a:lnTo>
                      <a:lnTo>
                        <a:pt x="2331" y="1462"/>
                      </a:lnTo>
                      <a:lnTo>
                        <a:pt x="2317" y="1444"/>
                      </a:lnTo>
                      <a:lnTo>
                        <a:pt x="2309" y="1436"/>
                      </a:lnTo>
                      <a:lnTo>
                        <a:pt x="2300" y="1428"/>
                      </a:lnTo>
                      <a:lnTo>
                        <a:pt x="2296" y="1426"/>
                      </a:lnTo>
                      <a:lnTo>
                        <a:pt x="2290" y="1424"/>
                      </a:lnTo>
                      <a:lnTo>
                        <a:pt x="2285" y="1423"/>
                      </a:lnTo>
                      <a:lnTo>
                        <a:pt x="2279" y="1422"/>
                      </a:lnTo>
                      <a:lnTo>
                        <a:pt x="2249" y="1423"/>
                      </a:lnTo>
                      <a:lnTo>
                        <a:pt x="2215" y="1424"/>
                      </a:lnTo>
                      <a:lnTo>
                        <a:pt x="2199" y="1424"/>
                      </a:lnTo>
                      <a:lnTo>
                        <a:pt x="2185" y="1423"/>
                      </a:lnTo>
                      <a:lnTo>
                        <a:pt x="2178" y="1422"/>
                      </a:lnTo>
                      <a:lnTo>
                        <a:pt x="2173" y="1420"/>
                      </a:lnTo>
                      <a:lnTo>
                        <a:pt x="2168" y="1419"/>
                      </a:lnTo>
                      <a:lnTo>
                        <a:pt x="2166" y="1416"/>
                      </a:lnTo>
                      <a:lnTo>
                        <a:pt x="2163" y="1413"/>
                      </a:lnTo>
                      <a:lnTo>
                        <a:pt x="2161" y="1409"/>
                      </a:lnTo>
                      <a:lnTo>
                        <a:pt x="2159" y="1405"/>
                      </a:lnTo>
                      <a:lnTo>
                        <a:pt x="2159" y="1401"/>
                      </a:lnTo>
                      <a:lnTo>
                        <a:pt x="2159" y="1392"/>
                      </a:lnTo>
                      <a:lnTo>
                        <a:pt x="2160" y="1382"/>
                      </a:lnTo>
                      <a:lnTo>
                        <a:pt x="2161" y="1372"/>
                      </a:lnTo>
                      <a:lnTo>
                        <a:pt x="2161" y="1362"/>
                      </a:lnTo>
                      <a:lnTo>
                        <a:pt x="2160" y="1357"/>
                      </a:lnTo>
                      <a:lnTo>
                        <a:pt x="2159" y="1352"/>
                      </a:lnTo>
                      <a:lnTo>
                        <a:pt x="2155" y="1347"/>
                      </a:lnTo>
                      <a:lnTo>
                        <a:pt x="2153" y="1343"/>
                      </a:lnTo>
                      <a:lnTo>
                        <a:pt x="2149" y="1339"/>
                      </a:lnTo>
                      <a:lnTo>
                        <a:pt x="2144" y="1335"/>
                      </a:lnTo>
                      <a:lnTo>
                        <a:pt x="2139" y="1332"/>
                      </a:lnTo>
                      <a:lnTo>
                        <a:pt x="2133" y="1329"/>
                      </a:lnTo>
                      <a:lnTo>
                        <a:pt x="2122" y="1323"/>
                      </a:lnTo>
                      <a:lnTo>
                        <a:pt x="2111" y="1315"/>
                      </a:lnTo>
                      <a:lnTo>
                        <a:pt x="2107" y="1311"/>
                      </a:lnTo>
                      <a:lnTo>
                        <a:pt x="2102" y="1307"/>
                      </a:lnTo>
                      <a:lnTo>
                        <a:pt x="2097" y="1301"/>
                      </a:lnTo>
                      <a:lnTo>
                        <a:pt x="2094" y="1295"/>
                      </a:lnTo>
                      <a:lnTo>
                        <a:pt x="2091" y="1288"/>
                      </a:lnTo>
                      <a:lnTo>
                        <a:pt x="2088" y="1279"/>
                      </a:lnTo>
                      <a:lnTo>
                        <a:pt x="2087" y="1269"/>
                      </a:lnTo>
                      <a:lnTo>
                        <a:pt x="2086" y="1256"/>
                      </a:lnTo>
                      <a:lnTo>
                        <a:pt x="2060" y="1256"/>
                      </a:lnTo>
                      <a:lnTo>
                        <a:pt x="2046" y="1259"/>
                      </a:lnTo>
                      <a:lnTo>
                        <a:pt x="2027" y="1261"/>
                      </a:lnTo>
                      <a:lnTo>
                        <a:pt x="2017" y="1262"/>
                      </a:lnTo>
                      <a:lnTo>
                        <a:pt x="2007" y="1265"/>
                      </a:lnTo>
                      <a:lnTo>
                        <a:pt x="2003" y="1267"/>
                      </a:lnTo>
                      <a:lnTo>
                        <a:pt x="1999" y="1270"/>
                      </a:lnTo>
                      <a:lnTo>
                        <a:pt x="1996" y="1272"/>
                      </a:lnTo>
                      <a:lnTo>
                        <a:pt x="1993" y="1275"/>
                      </a:lnTo>
                      <a:lnTo>
                        <a:pt x="1985" y="1287"/>
                      </a:lnTo>
                      <a:lnTo>
                        <a:pt x="1976" y="1301"/>
                      </a:lnTo>
                      <a:lnTo>
                        <a:pt x="1974" y="1304"/>
                      </a:lnTo>
                      <a:lnTo>
                        <a:pt x="1971" y="1307"/>
                      </a:lnTo>
                      <a:lnTo>
                        <a:pt x="1968" y="1310"/>
                      </a:lnTo>
                      <a:lnTo>
                        <a:pt x="1963" y="1313"/>
                      </a:lnTo>
                      <a:lnTo>
                        <a:pt x="1959" y="1315"/>
                      </a:lnTo>
                      <a:lnTo>
                        <a:pt x="1953" y="1316"/>
                      </a:lnTo>
                      <a:lnTo>
                        <a:pt x="1947" y="1317"/>
                      </a:lnTo>
                      <a:lnTo>
                        <a:pt x="1940" y="1318"/>
                      </a:lnTo>
                      <a:lnTo>
                        <a:pt x="1930" y="1317"/>
                      </a:lnTo>
                      <a:lnTo>
                        <a:pt x="1920" y="1315"/>
                      </a:lnTo>
                      <a:lnTo>
                        <a:pt x="1910" y="1313"/>
                      </a:lnTo>
                      <a:lnTo>
                        <a:pt x="1901" y="1309"/>
                      </a:lnTo>
                      <a:lnTo>
                        <a:pt x="1892" y="1305"/>
                      </a:lnTo>
                      <a:lnTo>
                        <a:pt x="1883" y="1300"/>
                      </a:lnTo>
                      <a:lnTo>
                        <a:pt x="1874" y="1294"/>
                      </a:lnTo>
                      <a:lnTo>
                        <a:pt x="1867" y="1287"/>
                      </a:lnTo>
                      <a:lnTo>
                        <a:pt x="1864" y="1289"/>
                      </a:lnTo>
                      <a:lnTo>
                        <a:pt x="1860" y="1293"/>
                      </a:lnTo>
                      <a:lnTo>
                        <a:pt x="1853" y="1298"/>
                      </a:lnTo>
                      <a:lnTo>
                        <a:pt x="1847" y="1299"/>
                      </a:lnTo>
                      <a:lnTo>
                        <a:pt x="1840" y="1299"/>
                      </a:lnTo>
                      <a:lnTo>
                        <a:pt x="1833" y="1297"/>
                      </a:lnTo>
                      <a:lnTo>
                        <a:pt x="1826" y="1294"/>
                      </a:lnTo>
                      <a:lnTo>
                        <a:pt x="1819" y="1290"/>
                      </a:lnTo>
                      <a:lnTo>
                        <a:pt x="1813" y="1287"/>
                      </a:lnTo>
                      <a:lnTo>
                        <a:pt x="1805" y="1284"/>
                      </a:lnTo>
                      <a:lnTo>
                        <a:pt x="1796" y="1282"/>
                      </a:lnTo>
                      <a:lnTo>
                        <a:pt x="1787" y="1281"/>
                      </a:lnTo>
                      <a:lnTo>
                        <a:pt x="1771" y="1281"/>
                      </a:lnTo>
                      <a:lnTo>
                        <a:pt x="1761" y="1281"/>
                      </a:lnTo>
                      <a:lnTo>
                        <a:pt x="1756" y="1281"/>
                      </a:lnTo>
                      <a:lnTo>
                        <a:pt x="1751" y="1280"/>
                      </a:lnTo>
                      <a:lnTo>
                        <a:pt x="1747" y="1279"/>
                      </a:lnTo>
                      <a:lnTo>
                        <a:pt x="1742" y="1277"/>
                      </a:lnTo>
                      <a:lnTo>
                        <a:pt x="1734" y="1272"/>
                      </a:lnTo>
                      <a:lnTo>
                        <a:pt x="1727" y="1264"/>
                      </a:lnTo>
                      <a:lnTo>
                        <a:pt x="1722" y="1256"/>
                      </a:lnTo>
                      <a:lnTo>
                        <a:pt x="1717" y="1247"/>
                      </a:lnTo>
                      <a:lnTo>
                        <a:pt x="1715" y="1237"/>
                      </a:lnTo>
                      <a:lnTo>
                        <a:pt x="1714" y="1226"/>
                      </a:lnTo>
                      <a:lnTo>
                        <a:pt x="1681" y="1226"/>
                      </a:lnTo>
                      <a:lnTo>
                        <a:pt x="1682" y="1231"/>
                      </a:lnTo>
                      <a:lnTo>
                        <a:pt x="1684" y="1239"/>
                      </a:lnTo>
                      <a:lnTo>
                        <a:pt x="1686" y="1247"/>
                      </a:lnTo>
                      <a:lnTo>
                        <a:pt x="1688" y="1256"/>
                      </a:lnTo>
                      <a:lnTo>
                        <a:pt x="259" y="1256"/>
                      </a:lnTo>
                      <a:lnTo>
                        <a:pt x="263" y="1245"/>
                      </a:lnTo>
                      <a:lnTo>
                        <a:pt x="265" y="1239"/>
                      </a:lnTo>
                      <a:lnTo>
                        <a:pt x="265" y="1237"/>
                      </a:lnTo>
                      <a:lnTo>
                        <a:pt x="263" y="1236"/>
                      </a:lnTo>
                      <a:lnTo>
                        <a:pt x="261" y="1235"/>
                      </a:lnTo>
                      <a:lnTo>
                        <a:pt x="258" y="1233"/>
                      </a:lnTo>
                      <a:lnTo>
                        <a:pt x="256" y="1229"/>
                      </a:lnTo>
                      <a:lnTo>
                        <a:pt x="252" y="1220"/>
                      </a:lnTo>
                      <a:lnTo>
                        <a:pt x="247" y="1214"/>
                      </a:lnTo>
                      <a:lnTo>
                        <a:pt x="240" y="1207"/>
                      </a:lnTo>
                      <a:lnTo>
                        <a:pt x="235" y="1200"/>
                      </a:lnTo>
                      <a:lnTo>
                        <a:pt x="233" y="1195"/>
                      </a:lnTo>
                      <a:lnTo>
                        <a:pt x="226" y="1194"/>
                      </a:lnTo>
                      <a:lnTo>
                        <a:pt x="217" y="1190"/>
                      </a:lnTo>
                      <a:lnTo>
                        <a:pt x="213" y="1188"/>
                      </a:lnTo>
                      <a:lnTo>
                        <a:pt x="210" y="1184"/>
                      </a:lnTo>
                      <a:lnTo>
                        <a:pt x="206" y="1181"/>
                      </a:lnTo>
                      <a:lnTo>
                        <a:pt x="206" y="1176"/>
                      </a:lnTo>
                      <a:lnTo>
                        <a:pt x="195" y="1173"/>
                      </a:lnTo>
                      <a:lnTo>
                        <a:pt x="182" y="1168"/>
                      </a:lnTo>
                      <a:lnTo>
                        <a:pt x="169" y="1161"/>
                      </a:lnTo>
                      <a:lnTo>
                        <a:pt x="156" y="1153"/>
                      </a:lnTo>
                      <a:lnTo>
                        <a:pt x="145" y="1145"/>
                      </a:lnTo>
                      <a:lnTo>
                        <a:pt x="135" y="1136"/>
                      </a:lnTo>
                      <a:lnTo>
                        <a:pt x="132" y="1132"/>
                      </a:lnTo>
                      <a:lnTo>
                        <a:pt x="128" y="1128"/>
                      </a:lnTo>
                      <a:lnTo>
                        <a:pt x="127" y="1125"/>
                      </a:lnTo>
                      <a:lnTo>
                        <a:pt x="126" y="1121"/>
                      </a:lnTo>
                      <a:lnTo>
                        <a:pt x="127" y="1116"/>
                      </a:lnTo>
                      <a:lnTo>
                        <a:pt x="128" y="1111"/>
                      </a:lnTo>
                      <a:lnTo>
                        <a:pt x="132" y="1106"/>
                      </a:lnTo>
                      <a:lnTo>
                        <a:pt x="136" y="1102"/>
                      </a:lnTo>
                      <a:lnTo>
                        <a:pt x="146" y="1094"/>
                      </a:lnTo>
                      <a:lnTo>
                        <a:pt x="157" y="1088"/>
                      </a:lnTo>
                      <a:lnTo>
                        <a:pt x="169" y="1083"/>
                      </a:lnTo>
                      <a:lnTo>
                        <a:pt x="180" y="1077"/>
                      </a:lnTo>
                      <a:lnTo>
                        <a:pt x="184" y="1075"/>
                      </a:lnTo>
                      <a:lnTo>
                        <a:pt x="188" y="1072"/>
                      </a:lnTo>
                      <a:lnTo>
                        <a:pt x="191" y="1069"/>
                      </a:lnTo>
                      <a:lnTo>
                        <a:pt x="193" y="1066"/>
                      </a:lnTo>
                      <a:lnTo>
                        <a:pt x="183" y="1065"/>
                      </a:lnTo>
                      <a:lnTo>
                        <a:pt x="170" y="1064"/>
                      </a:lnTo>
                      <a:lnTo>
                        <a:pt x="164" y="1063"/>
                      </a:lnTo>
                      <a:lnTo>
                        <a:pt x="158" y="1060"/>
                      </a:lnTo>
                      <a:lnTo>
                        <a:pt x="156" y="1059"/>
                      </a:lnTo>
                      <a:lnTo>
                        <a:pt x="155" y="1057"/>
                      </a:lnTo>
                      <a:lnTo>
                        <a:pt x="154" y="1056"/>
                      </a:lnTo>
                      <a:lnTo>
                        <a:pt x="153" y="1053"/>
                      </a:lnTo>
                      <a:lnTo>
                        <a:pt x="151" y="1040"/>
                      </a:lnTo>
                      <a:lnTo>
                        <a:pt x="148" y="1029"/>
                      </a:lnTo>
                      <a:lnTo>
                        <a:pt x="147" y="1024"/>
                      </a:lnTo>
                      <a:lnTo>
                        <a:pt x="147" y="1019"/>
                      </a:lnTo>
                      <a:lnTo>
                        <a:pt x="149" y="1015"/>
                      </a:lnTo>
                      <a:lnTo>
                        <a:pt x="153" y="1010"/>
                      </a:lnTo>
                      <a:lnTo>
                        <a:pt x="126" y="1010"/>
                      </a:lnTo>
                      <a:lnTo>
                        <a:pt x="133" y="992"/>
                      </a:lnTo>
                      <a:lnTo>
                        <a:pt x="120" y="989"/>
                      </a:lnTo>
                      <a:lnTo>
                        <a:pt x="106" y="985"/>
                      </a:lnTo>
                      <a:lnTo>
                        <a:pt x="108" y="979"/>
                      </a:lnTo>
                      <a:lnTo>
                        <a:pt x="110" y="973"/>
                      </a:lnTo>
                      <a:lnTo>
                        <a:pt x="112" y="969"/>
                      </a:lnTo>
                      <a:lnTo>
                        <a:pt x="114" y="965"/>
                      </a:lnTo>
                      <a:lnTo>
                        <a:pt x="121" y="958"/>
                      </a:lnTo>
                      <a:lnTo>
                        <a:pt x="127" y="954"/>
                      </a:lnTo>
                      <a:lnTo>
                        <a:pt x="134" y="950"/>
                      </a:lnTo>
                      <a:lnTo>
                        <a:pt x="140" y="947"/>
                      </a:lnTo>
                      <a:lnTo>
                        <a:pt x="147" y="942"/>
                      </a:lnTo>
                      <a:lnTo>
                        <a:pt x="153" y="936"/>
                      </a:lnTo>
                      <a:lnTo>
                        <a:pt x="149" y="932"/>
                      </a:lnTo>
                      <a:lnTo>
                        <a:pt x="148" y="929"/>
                      </a:lnTo>
                      <a:lnTo>
                        <a:pt x="147" y="927"/>
                      </a:lnTo>
                      <a:lnTo>
                        <a:pt x="147" y="925"/>
                      </a:lnTo>
                      <a:lnTo>
                        <a:pt x="148" y="923"/>
                      </a:lnTo>
                      <a:lnTo>
                        <a:pt x="149" y="921"/>
                      </a:lnTo>
                      <a:lnTo>
                        <a:pt x="151" y="919"/>
                      </a:lnTo>
                      <a:lnTo>
                        <a:pt x="155" y="917"/>
                      </a:lnTo>
                      <a:lnTo>
                        <a:pt x="161" y="914"/>
                      </a:lnTo>
                      <a:lnTo>
                        <a:pt x="170" y="910"/>
                      </a:lnTo>
                      <a:lnTo>
                        <a:pt x="178" y="905"/>
                      </a:lnTo>
                      <a:lnTo>
                        <a:pt x="187" y="899"/>
                      </a:lnTo>
                      <a:lnTo>
                        <a:pt x="191" y="901"/>
                      </a:lnTo>
                      <a:lnTo>
                        <a:pt x="196" y="902"/>
                      </a:lnTo>
                      <a:lnTo>
                        <a:pt x="203" y="901"/>
                      </a:lnTo>
                      <a:lnTo>
                        <a:pt x="209" y="900"/>
                      </a:lnTo>
                      <a:lnTo>
                        <a:pt x="215" y="898"/>
                      </a:lnTo>
                      <a:lnTo>
                        <a:pt x="221" y="896"/>
                      </a:lnTo>
                      <a:lnTo>
                        <a:pt x="227" y="893"/>
                      </a:lnTo>
                      <a:lnTo>
                        <a:pt x="233" y="889"/>
                      </a:lnTo>
                      <a:lnTo>
                        <a:pt x="243" y="881"/>
                      </a:lnTo>
                      <a:lnTo>
                        <a:pt x="251" y="872"/>
                      </a:lnTo>
                      <a:lnTo>
                        <a:pt x="255" y="868"/>
                      </a:lnTo>
                      <a:lnTo>
                        <a:pt x="257" y="863"/>
                      </a:lnTo>
                      <a:lnTo>
                        <a:pt x="259" y="859"/>
                      </a:lnTo>
                      <a:lnTo>
                        <a:pt x="259" y="856"/>
                      </a:lnTo>
                      <a:lnTo>
                        <a:pt x="259" y="851"/>
                      </a:lnTo>
                      <a:lnTo>
                        <a:pt x="258" y="847"/>
                      </a:lnTo>
                      <a:lnTo>
                        <a:pt x="256" y="843"/>
                      </a:lnTo>
                      <a:lnTo>
                        <a:pt x="254" y="840"/>
                      </a:lnTo>
                      <a:lnTo>
                        <a:pt x="248" y="832"/>
                      </a:lnTo>
                      <a:lnTo>
                        <a:pt x="243" y="826"/>
                      </a:lnTo>
                      <a:lnTo>
                        <a:pt x="236" y="818"/>
                      </a:lnTo>
                      <a:lnTo>
                        <a:pt x="232" y="811"/>
                      </a:lnTo>
                      <a:lnTo>
                        <a:pt x="229" y="807"/>
                      </a:lnTo>
                      <a:lnTo>
                        <a:pt x="227" y="803"/>
                      </a:lnTo>
                      <a:lnTo>
                        <a:pt x="226" y="799"/>
                      </a:lnTo>
                      <a:lnTo>
                        <a:pt x="226" y="794"/>
                      </a:lnTo>
                      <a:lnTo>
                        <a:pt x="226" y="789"/>
                      </a:lnTo>
                      <a:lnTo>
                        <a:pt x="227" y="784"/>
                      </a:lnTo>
                      <a:lnTo>
                        <a:pt x="228" y="780"/>
                      </a:lnTo>
                      <a:lnTo>
                        <a:pt x="231" y="776"/>
                      </a:lnTo>
                      <a:lnTo>
                        <a:pt x="234" y="770"/>
                      </a:lnTo>
                      <a:lnTo>
                        <a:pt x="239" y="763"/>
                      </a:lnTo>
                      <a:lnTo>
                        <a:pt x="244" y="757"/>
                      </a:lnTo>
                      <a:lnTo>
                        <a:pt x="248" y="751"/>
                      </a:lnTo>
                      <a:lnTo>
                        <a:pt x="250" y="747"/>
                      </a:lnTo>
                      <a:lnTo>
                        <a:pt x="251" y="743"/>
                      </a:lnTo>
                      <a:lnTo>
                        <a:pt x="252" y="738"/>
                      </a:lnTo>
                      <a:lnTo>
                        <a:pt x="252" y="733"/>
                      </a:lnTo>
                      <a:lnTo>
                        <a:pt x="252" y="724"/>
                      </a:lnTo>
                      <a:lnTo>
                        <a:pt x="251" y="716"/>
                      </a:lnTo>
                      <a:lnTo>
                        <a:pt x="249" y="707"/>
                      </a:lnTo>
                      <a:lnTo>
                        <a:pt x="247" y="700"/>
                      </a:lnTo>
                      <a:lnTo>
                        <a:pt x="242" y="686"/>
                      </a:lnTo>
                      <a:lnTo>
                        <a:pt x="234" y="674"/>
                      </a:lnTo>
                      <a:lnTo>
                        <a:pt x="218" y="653"/>
                      </a:lnTo>
                      <a:lnTo>
                        <a:pt x="206" y="634"/>
                      </a:lnTo>
                      <a:lnTo>
                        <a:pt x="200" y="634"/>
                      </a:lnTo>
                      <a:lnTo>
                        <a:pt x="194" y="635"/>
                      </a:lnTo>
                      <a:lnTo>
                        <a:pt x="190" y="637"/>
                      </a:lnTo>
                      <a:lnTo>
                        <a:pt x="186" y="639"/>
                      </a:lnTo>
                      <a:lnTo>
                        <a:pt x="177" y="644"/>
                      </a:lnTo>
                      <a:lnTo>
                        <a:pt x="168" y="649"/>
                      </a:lnTo>
                      <a:lnTo>
                        <a:pt x="159" y="656"/>
                      </a:lnTo>
                      <a:lnTo>
                        <a:pt x="148" y="661"/>
                      </a:lnTo>
                      <a:lnTo>
                        <a:pt x="142" y="662"/>
                      </a:lnTo>
                      <a:lnTo>
                        <a:pt x="135" y="664"/>
                      </a:lnTo>
                      <a:lnTo>
                        <a:pt x="128" y="665"/>
                      </a:lnTo>
                      <a:lnTo>
                        <a:pt x="120" y="665"/>
                      </a:lnTo>
                      <a:lnTo>
                        <a:pt x="113" y="663"/>
                      </a:lnTo>
                      <a:lnTo>
                        <a:pt x="104" y="658"/>
                      </a:lnTo>
                      <a:lnTo>
                        <a:pt x="100" y="656"/>
                      </a:lnTo>
                      <a:lnTo>
                        <a:pt x="97" y="652"/>
                      </a:lnTo>
                      <a:lnTo>
                        <a:pt x="94" y="649"/>
                      </a:lnTo>
                      <a:lnTo>
                        <a:pt x="93" y="646"/>
                      </a:lnTo>
                      <a:lnTo>
                        <a:pt x="93" y="640"/>
                      </a:lnTo>
                      <a:lnTo>
                        <a:pt x="95" y="633"/>
                      </a:lnTo>
                      <a:lnTo>
                        <a:pt x="98" y="628"/>
                      </a:lnTo>
                      <a:lnTo>
                        <a:pt x="100" y="622"/>
                      </a:lnTo>
                      <a:lnTo>
                        <a:pt x="102" y="616"/>
                      </a:lnTo>
                      <a:lnTo>
                        <a:pt x="104" y="610"/>
                      </a:lnTo>
                      <a:lnTo>
                        <a:pt x="105" y="604"/>
                      </a:lnTo>
                      <a:lnTo>
                        <a:pt x="106" y="597"/>
                      </a:lnTo>
                      <a:lnTo>
                        <a:pt x="86" y="597"/>
                      </a:lnTo>
                      <a:lnTo>
                        <a:pt x="64" y="597"/>
                      </a:lnTo>
                      <a:lnTo>
                        <a:pt x="35" y="597"/>
                      </a:lnTo>
                      <a:lnTo>
                        <a:pt x="0" y="597"/>
                      </a:lnTo>
                      <a:lnTo>
                        <a:pt x="585" y="117"/>
                      </a:lnTo>
                      <a:lnTo>
                        <a:pt x="594" y="116"/>
                      </a:lnTo>
                      <a:lnTo>
                        <a:pt x="602" y="114"/>
                      </a:lnTo>
                      <a:lnTo>
                        <a:pt x="612" y="112"/>
                      </a:lnTo>
                      <a:lnTo>
                        <a:pt x="625" y="111"/>
                      </a:lnTo>
                      <a:lnTo>
                        <a:pt x="635" y="111"/>
                      </a:lnTo>
                      <a:lnTo>
                        <a:pt x="643" y="113"/>
                      </a:lnTo>
                      <a:lnTo>
                        <a:pt x="651" y="116"/>
                      </a:lnTo>
                      <a:lnTo>
                        <a:pt x="659" y="119"/>
                      </a:lnTo>
                      <a:lnTo>
                        <a:pt x="674" y="128"/>
                      </a:lnTo>
                      <a:lnTo>
                        <a:pt x="687" y="138"/>
                      </a:lnTo>
                      <a:lnTo>
                        <a:pt x="702" y="148"/>
                      </a:lnTo>
                      <a:lnTo>
                        <a:pt x="716" y="158"/>
                      </a:lnTo>
                      <a:lnTo>
                        <a:pt x="724" y="161"/>
                      </a:lnTo>
                      <a:lnTo>
                        <a:pt x="732" y="164"/>
                      </a:lnTo>
                      <a:lnTo>
                        <a:pt x="741" y="166"/>
                      </a:lnTo>
                      <a:lnTo>
                        <a:pt x="751" y="166"/>
                      </a:lnTo>
                      <a:lnTo>
                        <a:pt x="943" y="111"/>
                      </a:lnTo>
                      <a:lnTo>
                        <a:pt x="1096" y="111"/>
                      </a:lnTo>
                      <a:lnTo>
                        <a:pt x="1103" y="112"/>
                      </a:lnTo>
                      <a:lnTo>
                        <a:pt x="1110" y="113"/>
                      </a:lnTo>
                      <a:lnTo>
                        <a:pt x="1117" y="113"/>
                      </a:lnTo>
                      <a:lnTo>
                        <a:pt x="1123" y="113"/>
                      </a:lnTo>
                      <a:lnTo>
                        <a:pt x="1135" y="110"/>
                      </a:lnTo>
                      <a:lnTo>
                        <a:pt x="1146" y="105"/>
                      </a:lnTo>
                      <a:lnTo>
                        <a:pt x="1157" y="100"/>
                      </a:lnTo>
                      <a:lnTo>
                        <a:pt x="1169" y="93"/>
                      </a:lnTo>
                      <a:lnTo>
                        <a:pt x="1181" y="89"/>
                      </a:lnTo>
                      <a:lnTo>
                        <a:pt x="1196" y="85"/>
                      </a:lnTo>
                      <a:lnTo>
                        <a:pt x="1195" y="90"/>
                      </a:lnTo>
                      <a:lnTo>
                        <a:pt x="1195" y="94"/>
                      </a:lnTo>
                      <a:lnTo>
                        <a:pt x="1195" y="100"/>
                      </a:lnTo>
                      <a:lnTo>
                        <a:pt x="1196" y="104"/>
                      </a:lnTo>
                      <a:lnTo>
                        <a:pt x="1198" y="112"/>
                      </a:lnTo>
                      <a:lnTo>
                        <a:pt x="1202" y="120"/>
                      </a:lnTo>
                      <a:lnTo>
                        <a:pt x="1208" y="126"/>
                      </a:lnTo>
                      <a:lnTo>
                        <a:pt x="1214" y="131"/>
                      </a:lnTo>
                      <a:lnTo>
                        <a:pt x="1218" y="132"/>
                      </a:lnTo>
                      <a:lnTo>
                        <a:pt x="1222" y="134"/>
                      </a:lnTo>
                      <a:lnTo>
                        <a:pt x="1225" y="135"/>
                      </a:lnTo>
                      <a:lnTo>
                        <a:pt x="1230" y="135"/>
                      </a:lnTo>
                      <a:lnTo>
                        <a:pt x="1238" y="134"/>
                      </a:lnTo>
                      <a:lnTo>
                        <a:pt x="1247" y="133"/>
                      </a:lnTo>
                      <a:lnTo>
                        <a:pt x="1255" y="131"/>
                      </a:lnTo>
                      <a:lnTo>
                        <a:pt x="1263" y="128"/>
                      </a:lnTo>
                      <a:lnTo>
                        <a:pt x="1278" y="122"/>
                      </a:lnTo>
                      <a:lnTo>
                        <a:pt x="1296" y="117"/>
                      </a:lnTo>
                      <a:lnTo>
                        <a:pt x="1298" y="119"/>
                      </a:lnTo>
                      <a:lnTo>
                        <a:pt x="1300" y="120"/>
                      </a:lnTo>
                      <a:lnTo>
                        <a:pt x="1303" y="122"/>
                      </a:lnTo>
                      <a:lnTo>
                        <a:pt x="1308" y="123"/>
                      </a:lnTo>
                      <a:lnTo>
                        <a:pt x="1319" y="124"/>
                      </a:lnTo>
                      <a:lnTo>
                        <a:pt x="1331" y="124"/>
                      </a:lnTo>
                      <a:lnTo>
                        <a:pt x="1343" y="123"/>
                      </a:lnTo>
                      <a:lnTo>
                        <a:pt x="1355" y="121"/>
                      </a:lnTo>
                      <a:lnTo>
                        <a:pt x="1367" y="119"/>
                      </a:lnTo>
                      <a:lnTo>
                        <a:pt x="1376" y="117"/>
                      </a:lnTo>
                      <a:lnTo>
                        <a:pt x="1386" y="116"/>
                      </a:lnTo>
                      <a:lnTo>
                        <a:pt x="1397" y="114"/>
                      </a:lnTo>
                      <a:lnTo>
                        <a:pt x="1405" y="112"/>
                      </a:lnTo>
                      <a:lnTo>
                        <a:pt x="1409" y="111"/>
                      </a:lnTo>
                      <a:lnTo>
                        <a:pt x="1424" y="112"/>
                      </a:lnTo>
                      <a:lnTo>
                        <a:pt x="1450" y="117"/>
                      </a:lnTo>
                      <a:lnTo>
                        <a:pt x="1483" y="123"/>
                      </a:lnTo>
                      <a:lnTo>
                        <a:pt x="1520" y="131"/>
                      </a:lnTo>
                      <a:lnTo>
                        <a:pt x="1557" y="140"/>
                      </a:lnTo>
                      <a:lnTo>
                        <a:pt x="1592" y="149"/>
                      </a:lnTo>
                      <a:lnTo>
                        <a:pt x="1621" y="159"/>
                      </a:lnTo>
                      <a:lnTo>
                        <a:pt x="1641" y="166"/>
                      </a:lnTo>
                      <a:lnTo>
                        <a:pt x="1632" y="174"/>
                      </a:lnTo>
                      <a:lnTo>
                        <a:pt x="1623" y="179"/>
                      </a:lnTo>
                      <a:lnTo>
                        <a:pt x="1615" y="183"/>
                      </a:lnTo>
                      <a:lnTo>
                        <a:pt x="1607" y="187"/>
                      </a:lnTo>
                      <a:lnTo>
                        <a:pt x="1601" y="189"/>
                      </a:lnTo>
                      <a:lnTo>
                        <a:pt x="1592" y="193"/>
                      </a:lnTo>
                      <a:lnTo>
                        <a:pt x="1584" y="197"/>
                      </a:lnTo>
                      <a:lnTo>
                        <a:pt x="1574" y="202"/>
                      </a:lnTo>
                      <a:lnTo>
                        <a:pt x="1591" y="209"/>
                      </a:lnTo>
                      <a:lnTo>
                        <a:pt x="1606" y="215"/>
                      </a:lnTo>
                      <a:lnTo>
                        <a:pt x="1621" y="219"/>
                      </a:lnTo>
                      <a:lnTo>
                        <a:pt x="1635" y="222"/>
                      </a:lnTo>
                      <a:lnTo>
                        <a:pt x="1648" y="225"/>
                      </a:lnTo>
                      <a:lnTo>
                        <a:pt x="1662" y="226"/>
                      </a:lnTo>
                      <a:lnTo>
                        <a:pt x="1678" y="227"/>
                      </a:lnTo>
                      <a:lnTo>
                        <a:pt x="1694" y="228"/>
                      </a:lnTo>
                      <a:lnTo>
                        <a:pt x="1711" y="227"/>
                      </a:lnTo>
                      <a:lnTo>
                        <a:pt x="1725" y="224"/>
                      </a:lnTo>
                      <a:lnTo>
                        <a:pt x="1737" y="220"/>
                      </a:lnTo>
                      <a:lnTo>
                        <a:pt x="1749" y="216"/>
                      </a:lnTo>
                      <a:lnTo>
                        <a:pt x="1760" y="211"/>
                      </a:lnTo>
                      <a:lnTo>
                        <a:pt x="1771" y="206"/>
                      </a:lnTo>
                      <a:lnTo>
                        <a:pt x="1782" y="203"/>
                      </a:lnTo>
                      <a:lnTo>
                        <a:pt x="1794" y="202"/>
                      </a:lnTo>
                      <a:lnTo>
                        <a:pt x="1800" y="203"/>
                      </a:lnTo>
                      <a:lnTo>
                        <a:pt x="1805" y="204"/>
                      </a:lnTo>
                      <a:lnTo>
                        <a:pt x="1811" y="206"/>
                      </a:lnTo>
                      <a:lnTo>
                        <a:pt x="1816" y="209"/>
                      </a:lnTo>
                      <a:lnTo>
                        <a:pt x="1825" y="217"/>
                      </a:lnTo>
                      <a:lnTo>
                        <a:pt x="1833" y="225"/>
                      </a:lnTo>
                      <a:lnTo>
                        <a:pt x="1841" y="232"/>
                      </a:lnTo>
                      <a:lnTo>
                        <a:pt x="1849" y="239"/>
                      </a:lnTo>
                      <a:lnTo>
                        <a:pt x="1853" y="242"/>
                      </a:lnTo>
                      <a:lnTo>
                        <a:pt x="1858" y="244"/>
                      </a:lnTo>
                      <a:lnTo>
                        <a:pt x="1862" y="245"/>
                      </a:lnTo>
                      <a:lnTo>
                        <a:pt x="1867" y="246"/>
                      </a:lnTo>
                      <a:lnTo>
                        <a:pt x="1880" y="202"/>
                      </a:lnTo>
                      <a:lnTo>
                        <a:pt x="2006" y="178"/>
                      </a:lnTo>
                      <a:lnTo>
                        <a:pt x="2016" y="179"/>
                      </a:lnTo>
                      <a:lnTo>
                        <a:pt x="2026" y="180"/>
                      </a:lnTo>
                      <a:lnTo>
                        <a:pt x="2035" y="181"/>
                      </a:lnTo>
                      <a:lnTo>
                        <a:pt x="2043" y="183"/>
                      </a:lnTo>
                      <a:lnTo>
                        <a:pt x="2060" y="188"/>
                      </a:lnTo>
                      <a:lnTo>
                        <a:pt x="2076" y="193"/>
                      </a:lnTo>
                      <a:lnTo>
                        <a:pt x="2093" y="199"/>
                      </a:lnTo>
                      <a:lnTo>
                        <a:pt x="2109" y="204"/>
                      </a:lnTo>
                      <a:lnTo>
                        <a:pt x="2118" y="206"/>
                      </a:lnTo>
                      <a:lnTo>
                        <a:pt x="2127" y="207"/>
                      </a:lnTo>
                      <a:lnTo>
                        <a:pt x="2137" y="208"/>
                      </a:lnTo>
                      <a:lnTo>
                        <a:pt x="2147" y="208"/>
                      </a:lnTo>
                      <a:lnTo>
                        <a:pt x="2162" y="208"/>
                      </a:lnTo>
                      <a:lnTo>
                        <a:pt x="2173" y="207"/>
                      </a:lnTo>
                      <a:lnTo>
                        <a:pt x="2183" y="205"/>
                      </a:lnTo>
                      <a:lnTo>
                        <a:pt x="2190" y="202"/>
                      </a:lnTo>
                      <a:lnTo>
                        <a:pt x="2198" y="200"/>
                      </a:lnTo>
                      <a:lnTo>
                        <a:pt x="2206" y="198"/>
                      </a:lnTo>
                      <a:lnTo>
                        <a:pt x="2215" y="197"/>
                      </a:lnTo>
                      <a:lnTo>
                        <a:pt x="2226" y="196"/>
                      </a:lnTo>
                      <a:lnTo>
                        <a:pt x="2235" y="197"/>
                      </a:lnTo>
                      <a:lnTo>
                        <a:pt x="2244" y="199"/>
                      </a:lnTo>
                      <a:lnTo>
                        <a:pt x="2253" y="202"/>
                      </a:lnTo>
                      <a:lnTo>
                        <a:pt x="2261" y="205"/>
                      </a:lnTo>
                      <a:lnTo>
                        <a:pt x="2267" y="209"/>
                      </a:lnTo>
                      <a:lnTo>
                        <a:pt x="2274" y="213"/>
                      </a:lnTo>
                      <a:lnTo>
                        <a:pt x="2280" y="215"/>
                      </a:lnTo>
                      <a:lnTo>
                        <a:pt x="2286" y="216"/>
                      </a:lnTo>
                      <a:lnTo>
                        <a:pt x="2290" y="215"/>
                      </a:lnTo>
                      <a:lnTo>
                        <a:pt x="2296" y="213"/>
                      </a:lnTo>
                      <a:lnTo>
                        <a:pt x="2300" y="211"/>
                      </a:lnTo>
                      <a:lnTo>
                        <a:pt x="2305" y="206"/>
                      </a:lnTo>
                      <a:lnTo>
                        <a:pt x="2309" y="202"/>
                      </a:lnTo>
                      <a:lnTo>
                        <a:pt x="2312" y="197"/>
                      </a:lnTo>
                      <a:lnTo>
                        <a:pt x="2316" y="191"/>
                      </a:lnTo>
                      <a:lnTo>
                        <a:pt x="2319" y="184"/>
                      </a:lnTo>
                      <a:lnTo>
                        <a:pt x="2326" y="183"/>
                      </a:lnTo>
                      <a:lnTo>
                        <a:pt x="2334" y="180"/>
                      </a:lnTo>
                      <a:lnTo>
                        <a:pt x="2339" y="179"/>
                      </a:lnTo>
                      <a:lnTo>
                        <a:pt x="2342" y="177"/>
                      </a:lnTo>
                      <a:lnTo>
                        <a:pt x="2344" y="174"/>
                      </a:lnTo>
                      <a:lnTo>
                        <a:pt x="2345" y="172"/>
                      </a:lnTo>
                      <a:lnTo>
                        <a:pt x="2378" y="172"/>
                      </a:lnTo>
                      <a:lnTo>
                        <a:pt x="2376" y="178"/>
                      </a:lnTo>
                      <a:lnTo>
                        <a:pt x="2372" y="185"/>
                      </a:lnTo>
                      <a:lnTo>
                        <a:pt x="2369" y="189"/>
                      </a:lnTo>
                      <a:lnTo>
                        <a:pt x="2367" y="193"/>
                      </a:lnTo>
                      <a:lnTo>
                        <a:pt x="2366" y="198"/>
                      </a:lnTo>
                      <a:lnTo>
                        <a:pt x="2365" y="202"/>
                      </a:lnTo>
                      <a:lnTo>
                        <a:pt x="2365" y="216"/>
                      </a:lnTo>
                      <a:lnTo>
                        <a:pt x="2365" y="228"/>
                      </a:lnTo>
                      <a:lnTo>
                        <a:pt x="2405" y="228"/>
                      </a:lnTo>
                      <a:lnTo>
                        <a:pt x="2401" y="213"/>
                      </a:lnTo>
                      <a:lnTo>
                        <a:pt x="2400" y="203"/>
                      </a:lnTo>
                      <a:lnTo>
                        <a:pt x="2401" y="195"/>
                      </a:lnTo>
                      <a:lnTo>
                        <a:pt x="2405" y="184"/>
                      </a:lnTo>
                      <a:lnTo>
                        <a:pt x="2430" y="184"/>
                      </a:lnTo>
                      <a:lnTo>
                        <a:pt x="2454" y="182"/>
                      </a:lnTo>
                      <a:lnTo>
                        <a:pt x="2465" y="180"/>
                      </a:lnTo>
                      <a:lnTo>
                        <a:pt x="2476" y="178"/>
                      </a:lnTo>
                      <a:lnTo>
                        <a:pt x="2487" y="175"/>
                      </a:lnTo>
                      <a:lnTo>
                        <a:pt x="2497" y="172"/>
                      </a:lnTo>
                      <a:lnTo>
                        <a:pt x="2506" y="168"/>
                      </a:lnTo>
                      <a:lnTo>
                        <a:pt x="2513" y="164"/>
                      </a:lnTo>
                      <a:lnTo>
                        <a:pt x="2521" y="159"/>
                      </a:lnTo>
                      <a:lnTo>
                        <a:pt x="2526" y="153"/>
                      </a:lnTo>
                      <a:lnTo>
                        <a:pt x="2532" y="146"/>
                      </a:lnTo>
                      <a:lnTo>
                        <a:pt x="2535" y="139"/>
                      </a:lnTo>
                      <a:lnTo>
                        <a:pt x="2537" y="131"/>
                      </a:lnTo>
                      <a:lnTo>
                        <a:pt x="2539" y="123"/>
                      </a:lnTo>
                      <a:lnTo>
                        <a:pt x="2532" y="123"/>
                      </a:lnTo>
                      <a:lnTo>
                        <a:pt x="2518" y="123"/>
                      </a:lnTo>
                      <a:lnTo>
                        <a:pt x="2501" y="123"/>
                      </a:lnTo>
                      <a:lnTo>
                        <a:pt x="2491" y="123"/>
                      </a:lnTo>
                      <a:lnTo>
                        <a:pt x="2487" y="120"/>
                      </a:lnTo>
                      <a:lnTo>
                        <a:pt x="2483" y="115"/>
                      </a:lnTo>
                      <a:lnTo>
                        <a:pt x="2479" y="110"/>
                      </a:lnTo>
                      <a:lnTo>
                        <a:pt x="2477" y="105"/>
                      </a:lnTo>
                      <a:lnTo>
                        <a:pt x="2473" y="93"/>
                      </a:lnTo>
                      <a:lnTo>
                        <a:pt x="2472" y="85"/>
                      </a:lnTo>
                      <a:lnTo>
                        <a:pt x="2473" y="81"/>
                      </a:lnTo>
                      <a:lnTo>
                        <a:pt x="2476" y="75"/>
                      </a:lnTo>
                      <a:lnTo>
                        <a:pt x="2480" y="69"/>
                      </a:lnTo>
                      <a:lnTo>
                        <a:pt x="2487" y="62"/>
                      </a:lnTo>
                      <a:lnTo>
                        <a:pt x="2495" y="55"/>
                      </a:lnTo>
                      <a:lnTo>
                        <a:pt x="2503" y="48"/>
                      </a:lnTo>
                      <a:lnTo>
                        <a:pt x="2512" y="40"/>
                      </a:lnTo>
                      <a:lnTo>
                        <a:pt x="2523" y="33"/>
                      </a:lnTo>
                      <a:lnTo>
                        <a:pt x="2534" y="26"/>
                      </a:lnTo>
                      <a:lnTo>
                        <a:pt x="2545" y="20"/>
                      </a:lnTo>
                      <a:lnTo>
                        <a:pt x="2556" y="15"/>
                      </a:lnTo>
                      <a:lnTo>
                        <a:pt x="2567" y="10"/>
                      </a:lnTo>
                      <a:lnTo>
                        <a:pt x="2577" y="6"/>
                      </a:lnTo>
                      <a:lnTo>
                        <a:pt x="2587" y="2"/>
                      </a:lnTo>
                      <a:lnTo>
                        <a:pt x="2597" y="0"/>
                      </a:lnTo>
                      <a:lnTo>
                        <a:pt x="2604" y="0"/>
                      </a:lnTo>
                      <a:lnTo>
                        <a:pt x="2611" y="0"/>
                      </a:lnTo>
                      <a:lnTo>
                        <a:pt x="2621" y="0"/>
                      </a:lnTo>
                      <a:lnTo>
                        <a:pt x="2631" y="0"/>
                      </a:lnTo>
                      <a:lnTo>
                        <a:pt x="2637" y="0"/>
                      </a:lnTo>
                      <a:lnTo>
                        <a:pt x="2638" y="8"/>
                      </a:lnTo>
                      <a:lnTo>
                        <a:pt x="2638" y="16"/>
                      </a:lnTo>
                      <a:lnTo>
                        <a:pt x="2640" y="24"/>
                      </a:lnTo>
                      <a:lnTo>
                        <a:pt x="2642" y="30"/>
                      </a:lnTo>
                      <a:lnTo>
                        <a:pt x="2646" y="42"/>
                      </a:lnTo>
                      <a:lnTo>
                        <a:pt x="2651" y="53"/>
                      </a:lnTo>
                      <a:lnTo>
                        <a:pt x="2656" y="62"/>
                      </a:lnTo>
                      <a:lnTo>
                        <a:pt x="2660" y="71"/>
                      </a:lnTo>
                      <a:lnTo>
                        <a:pt x="2663" y="81"/>
                      </a:lnTo>
                      <a:lnTo>
                        <a:pt x="2664" y="91"/>
                      </a:lnTo>
                      <a:lnTo>
                        <a:pt x="2664" y="95"/>
                      </a:lnTo>
                      <a:lnTo>
                        <a:pt x="2663" y="97"/>
                      </a:lnTo>
                      <a:lnTo>
                        <a:pt x="2660" y="100"/>
                      </a:lnTo>
                      <a:lnTo>
                        <a:pt x="2658" y="101"/>
                      </a:lnTo>
                      <a:lnTo>
                        <a:pt x="2652" y="103"/>
                      </a:lnTo>
                      <a:lnTo>
                        <a:pt x="2644" y="105"/>
                      </a:lnTo>
                      <a:lnTo>
                        <a:pt x="2635" y="106"/>
                      </a:lnTo>
                      <a:lnTo>
                        <a:pt x="2627" y="108"/>
                      </a:lnTo>
                      <a:lnTo>
                        <a:pt x="2624" y="109"/>
                      </a:lnTo>
                      <a:lnTo>
                        <a:pt x="2622" y="111"/>
                      </a:lnTo>
                      <a:lnTo>
                        <a:pt x="2620" y="114"/>
                      </a:lnTo>
                      <a:lnTo>
                        <a:pt x="2618" y="117"/>
                      </a:lnTo>
                      <a:lnTo>
                        <a:pt x="2627" y="118"/>
                      </a:lnTo>
                      <a:lnTo>
                        <a:pt x="2637" y="120"/>
                      </a:lnTo>
                      <a:lnTo>
                        <a:pt x="2647" y="122"/>
                      </a:lnTo>
                      <a:lnTo>
                        <a:pt x="2657" y="123"/>
                      </a:lnTo>
                      <a:lnTo>
                        <a:pt x="2653" y="127"/>
                      </a:lnTo>
                      <a:lnTo>
                        <a:pt x="2649" y="132"/>
                      </a:lnTo>
                      <a:lnTo>
                        <a:pt x="2647" y="137"/>
                      </a:lnTo>
                      <a:lnTo>
                        <a:pt x="2646" y="142"/>
                      </a:lnTo>
                      <a:lnTo>
                        <a:pt x="2644" y="153"/>
                      </a:lnTo>
                      <a:lnTo>
                        <a:pt x="2644" y="166"/>
                      </a:lnTo>
                      <a:lnTo>
                        <a:pt x="2645" y="168"/>
                      </a:lnTo>
                      <a:lnTo>
                        <a:pt x="2646" y="169"/>
                      </a:lnTo>
                      <a:lnTo>
                        <a:pt x="2648" y="169"/>
                      </a:lnTo>
                      <a:lnTo>
                        <a:pt x="2652" y="168"/>
                      </a:lnTo>
                      <a:lnTo>
                        <a:pt x="2658" y="167"/>
                      </a:lnTo>
                      <a:lnTo>
                        <a:pt x="2664" y="166"/>
                      </a:lnTo>
                      <a:lnTo>
                        <a:pt x="2664" y="160"/>
                      </a:lnTo>
                      <a:lnTo>
                        <a:pt x="2664" y="153"/>
                      </a:lnTo>
                      <a:lnTo>
                        <a:pt x="2672" y="151"/>
                      </a:lnTo>
                      <a:lnTo>
                        <a:pt x="2680" y="148"/>
                      </a:lnTo>
                      <a:lnTo>
                        <a:pt x="2685" y="145"/>
                      </a:lnTo>
                      <a:lnTo>
                        <a:pt x="2689" y="142"/>
                      </a:lnTo>
                      <a:lnTo>
                        <a:pt x="2692" y="139"/>
                      </a:lnTo>
                      <a:lnTo>
                        <a:pt x="2696" y="137"/>
                      </a:lnTo>
                      <a:lnTo>
                        <a:pt x="2700" y="135"/>
                      </a:lnTo>
                      <a:lnTo>
                        <a:pt x="2704" y="135"/>
                      </a:lnTo>
                      <a:lnTo>
                        <a:pt x="2709" y="137"/>
                      </a:lnTo>
                      <a:lnTo>
                        <a:pt x="2715" y="138"/>
                      </a:lnTo>
                      <a:lnTo>
                        <a:pt x="2724" y="139"/>
                      </a:lnTo>
                      <a:lnTo>
                        <a:pt x="2733" y="140"/>
                      </a:lnTo>
                      <a:lnTo>
                        <a:pt x="2749" y="141"/>
                      </a:lnTo>
                      <a:lnTo>
                        <a:pt x="2757" y="141"/>
                      </a:lnTo>
                      <a:lnTo>
                        <a:pt x="2752" y="153"/>
                      </a:lnTo>
                      <a:lnTo>
                        <a:pt x="2745" y="164"/>
                      </a:lnTo>
                      <a:lnTo>
                        <a:pt x="2738" y="173"/>
                      </a:lnTo>
                      <a:lnTo>
                        <a:pt x="2731" y="180"/>
                      </a:lnTo>
                      <a:lnTo>
                        <a:pt x="2723" y="188"/>
                      </a:lnTo>
                      <a:lnTo>
                        <a:pt x="2716" y="196"/>
                      </a:lnTo>
                      <a:lnTo>
                        <a:pt x="2710" y="204"/>
                      </a:lnTo>
                      <a:lnTo>
                        <a:pt x="2704" y="216"/>
                      </a:lnTo>
                      <a:lnTo>
                        <a:pt x="2712" y="217"/>
                      </a:lnTo>
                      <a:lnTo>
                        <a:pt x="2719" y="218"/>
                      </a:lnTo>
                      <a:lnTo>
                        <a:pt x="2725" y="218"/>
                      </a:lnTo>
                      <a:lnTo>
                        <a:pt x="2732" y="218"/>
                      </a:lnTo>
                      <a:lnTo>
                        <a:pt x="2744" y="216"/>
                      </a:lnTo>
                      <a:lnTo>
                        <a:pt x="2750" y="216"/>
                      </a:lnTo>
                      <a:lnTo>
                        <a:pt x="2780" y="194"/>
                      </a:lnTo>
                      <a:lnTo>
                        <a:pt x="2810" y="172"/>
                      </a:lnTo>
                      <a:lnTo>
                        <a:pt x="2817" y="167"/>
                      </a:lnTo>
                      <a:lnTo>
                        <a:pt x="2825" y="163"/>
                      </a:lnTo>
                      <a:lnTo>
                        <a:pt x="2834" y="159"/>
                      </a:lnTo>
                      <a:lnTo>
                        <a:pt x="2843" y="155"/>
                      </a:lnTo>
                      <a:lnTo>
                        <a:pt x="2853" y="151"/>
                      </a:lnTo>
                      <a:lnTo>
                        <a:pt x="2862" y="149"/>
                      </a:lnTo>
                      <a:lnTo>
                        <a:pt x="2872" y="147"/>
                      </a:lnTo>
                      <a:lnTo>
                        <a:pt x="2883" y="147"/>
                      </a:lnTo>
                      <a:lnTo>
                        <a:pt x="2884" y="139"/>
                      </a:lnTo>
                      <a:lnTo>
                        <a:pt x="2885" y="132"/>
                      </a:lnTo>
                      <a:lnTo>
                        <a:pt x="2888" y="126"/>
                      </a:lnTo>
                      <a:lnTo>
                        <a:pt x="2891" y="121"/>
                      </a:lnTo>
                      <a:lnTo>
                        <a:pt x="2895" y="116"/>
                      </a:lnTo>
                      <a:lnTo>
                        <a:pt x="2900" y="111"/>
                      </a:lnTo>
                      <a:lnTo>
                        <a:pt x="2905" y="107"/>
                      </a:lnTo>
                      <a:lnTo>
                        <a:pt x="2912" y="104"/>
                      </a:lnTo>
                      <a:lnTo>
                        <a:pt x="2918" y="101"/>
                      </a:lnTo>
                      <a:lnTo>
                        <a:pt x="2925" y="98"/>
                      </a:lnTo>
                      <a:lnTo>
                        <a:pt x="2932" y="96"/>
                      </a:lnTo>
                      <a:lnTo>
                        <a:pt x="2939" y="94"/>
                      </a:lnTo>
                      <a:lnTo>
                        <a:pt x="2955" y="92"/>
                      </a:lnTo>
                      <a:lnTo>
                        <a:pt x="2970" y="91"/>
                      </a:lnTo>
                      <a:lnTo>
                        <a:pt x="2978" y="92"/>
                      </a:lnTo>
                      <a:lnTo>
                        <a:pt x="2984" y="93"/>
                      </a:lnTo>
                      <a:lnTo>
                        <a:pt x="2993" y="95"/>
                      </a:lnTo>
                      <a:lnTo>
                        <a:pt x="3001" y="98"/>
                      </a:lnTo>
                      <a:lnTo>
                        <a:pt x="3008" y="101"/>
                      </a:lnTo>
                      <a:lnTo>
                        <a:pt x="3017" y="103"/>
                      </a:lnTo>
                      <a:lnTo>
                        <a:pt x="3026" y="104"/>
                      </a:lnTo>
                      <a:lnTo>
                        <a:pt x="3036" y="105"/>
                      </a:lnTo>
                      <a:lnTo>
                        <a:pt x="3036" y="110"/>
                      </a:lnTo>
                      <a:lnTo>
                        <a:pt x="3036" y="117"/>
                      </a:lnTo>
                      <a:lnTo>
                        <a:pt x="3036" y="126"/>
                      </a:lnTo>
                      <a:lnTo>
                        <a:pt x="3036" y="135"/>
                      </a:lnTo>
                      <a:lnTo>
                        <a:pt x="3036" y="139"/>
                      </a:lnTo>
                      <a:lnTo>
                        <a:pt x="3035" y="143"/>
                      </a:lnTo>
                      <a:lnTo>
                        <a:pt x="3033" y="147"/>
                      </a:lnTo>
                      <a:lnTo>
                        <a:pt x="3030" y="150"/>
                      </a:lnTo>
                      <a:lnTo>
                        <a:pt x="3025" y="157"/>
                      </a:lnTo>
                      <a:lnTo>
                        <a:pt x="3018" y="162"/>
                      </a:lnTo>
                      <a:lnTo>
                        <a:pt x="3003" y="170"/>
                      </a:lnTo>
                      <a:lnTo>
                        <a:pt x="2990" y="178"/>
                      </a:lnTo>
                      <a:lnTo>
                        <a:pt x="2982" y="196"/>
                      </a:lnTo>
                      <a:lnTo>
                        <a:pt x="2973" y="214"/>
                      </a:lnTo>
                      <a:lnTo>
                        <a:pt x="2968" y="222"/>
                      </a:lnTo>
                      <a:lnTo>
                        <a:pt x="2963" y="229"/>
                      </a:lnTo>
                      <a:lnTo>
                        <a:pt x="2958" y="236"/>
                      </a:lnTo>
                      <a:lnTo>
                        <a:pt x="2951" y="243"/>
                      </a:lnTo>
                      <a:lnTo>
                        <a:pt x="2945" y="249"/>
                      </a:lnTo>
                      <a:lnTo>
                        <a:pt x="2938" y="254"/>
                      </a:lnTo>
                      <a:lnTo>
                        <a:pt x="2931" y="259"/>
                      </a:lnTo>
                      <a:lnTo>
                        <a:pt x="2923" y="263"/>
                      </a:lnTo>
                      <a:lnTo>
                        <a:pt x="2914" y="267"/>
                      </a:lnTo>
                      <a:lnTo>
                        <a:pt x="2904" y="269"/>
                      </a:lnTo>
                      <a:lnTo>
                        <a:pt x="2894" y="271"/>
                      </a:lnTo>
                      <a:lnTo>
                        <a:pt x="2883" y="271"/>
                      </a:lnTo>
                      <a:lnTo>
                        <a:pt x="2878" y="271"/>
                      </a:lnTo>
                      <a:lnTo>
                        <a:pt x="2872" y="270"/>
                      </a:lnTo>
                      <a:lnTo>
                        <a:pt x="2867" y="268"/>
                      </a:lnTo>
                      <a:lnTo>
                        <a:pt x="2861" y="266"/>
                      </a:lnTo>
                      <a:lnTo>
                        <a:pt x="2856" y="263"/>
                      </a:lnTo>
                      <a:lnTo>
                        <a:pt x="2850" y="260"/>
                      </a:lnTo>
                      <a:lnTo>
                        <a:pt x="2847" y="256"/>
                      </a:lnTo>
                      <a:lnTo>
                        <a:pt x="2844" y="252"/>
                      </a:lnTo>
                      <a:lnTo>
                        <a:pt x="2838" y="257"/>
                      </a:lnTo>
                      <a:lnTo>
                        <a:pt x="2835" y="264"/>
                      </a:lnTo>
                      <a:lnTo>
                        <a:pt x="2834" y="268"/>
                      </a:lnTo>
                      <a:lnTo>
                        <a:pt x="2834" y="272"/>
                      </a:lnTo>
                      <a:lnTo>
                        <a:pt x="2835" y="275"/>
                      </a:lnTo>
                      <a:lnTo>
                        <a:pt x="2837" y="277"/>
                      </a:lnTo>
                      <a:lnTo>
                        <a:pt x="2829" y="278"/>
                      </a:lnTo>
                      <a:lnTo>
                        <a:pt x="2823" y="279"/>
                      </a:lnTo>
                      <a:lnTo>
                        <a:pt x="2817" y="281"/>
                      </a:lnTo>
                      <a:lnTo>
                        <a:pt x="2811" y="283"/>
                      </a:lnTo>
                      <a:lnTo>
                        <a:pt x="2805" y="285"/>
                      </a:lnTo>
                      <a:lnTo>
                        <a:pt x="2801" y="287"/>
                      </a:lnTo>
                      <a:lnTo>
                        <a:pt x="2795" y="289"/>
                      </a:lnTo>
                      <a:lnTo>
                        <a:pt x="2790" y="289"/>
                      </a:lnTo>
                      <a:lnTo>
                        <a:pt x="2783" y="288"/>
                      </a:lnTo>
                      <a:lnTo>
                        <a:pt x="2777" y="286"/>
                      </a:lnTo>
                      <a:lnTo>
                        <a:pt x="2770" y="283"/>
                      </a:lnTo>
                      <a:lnTo>
                        <a:pt x="2765" y="279"/>
                      </a:lnTo>
                      <a:lnTo>
                        <a:pt x="2754" y="271"/>
                      </a:lnTo>
                      <a:lnTo>
                        <a:pt x="2744" y="264"/>
                      </a:lnTo>
                      <a:lnTo>
                        <a:pt x="2730" y="272"/>
                      </a:lnTo>
                      <a:lnTo>
                        <a:pt x="2717" y="281"/>
                      </a:lnTo>
                      <a:lnTo>
                        <a:pt x="2707" y="290"/>
                      </a:lnTo>
                      <a:lnTo>
                        <a:pt x="2696" y="299"/>
                      </a:lnTo>
                      <a:lnTo>
                        <a:pt x="2685" y="307"/>
                      </a:lnTo>
                      <a:lnTo>
                        <a:pt x="2671" y="313"/>
                      </a:lnTo>
                      <a:lnTo>
                        <a:pt x="2664" y="316"/>
                      </a:lnTo>
                      <a:lnTo>
                        <a:pt x="2656" y="318"/>
                      </a:lnTo>
                      <a:lnTo>
                        <a:pt x="2647" y="319"/>
                      </a:lnTo>
                      <a:lnTo>
                        <a:pt x="2637" y="319"/>
                      </a:lnTo>
                      <a:lnTo>
                        <a:pt x="2626" y="319"/>
                      </a:lnTo>
                      <a:lnTo>
                        <a:pt x="2615" y="317"/>
                      </a:lnTo>
                      <a:lnTo>
                        <a:pt x="2602" y="315"/>
                      </a:lnTo>
                      <a:lnTo>
                        <a:pt x="2590" y="312"/>
                      </a:lnTo>
                      <a:lnTo>
                        <a:pt x="2579" y="308"/>
                      </a:lnTo>
                      <a:lnTo>
                        <a:pt x="2569" y="304"/>
                      </a:lnTo>
                      <a:lnTo>
                        <a:pt x="2562" y="300"/>
                      </a:lnTo>
                      <a:lnTo>
                        <a:pt x="2558" y="295"/>
                      </a:lnTo>
                      <a:lnTo>
                        <a:pt x="2518" y="295"/>
                      </a:lnTo>
                      <a:lnTo>
                        <a:pt x="2521" y="303"/>
                      </a:lnTo>
                      <a:lnTo>
                        <a:pt x="2525" y="309"/>
                      </a:lnTo>
                      <a:lnTo>
                        <a:pt x="2530" y="314"/>
                      </a:lnTo>
                      <a:lnTo>
                        <a:pt x="2536" y="318"/>
                      </a:lnTo>
                      <a:lnTo>
                        <a:pt x="2542" y="322"/>
                      </a:lnTo>
                      <a:lnTo>
                        <a:pt x="2550" y="324"/>
                      </a:lnTo>
                      <a:lnTo>
                        <a:pt x="2557" y="326"/>
                      </a:lnTo>
                      <a:lnTo>
                        <a:pt x="2565" y="327"/>
                      </a:lnTo>
                      <a:lnTo>
                        <a:pt x="2601" y="328"/>
                      </a:lnTo>
                      <a:lnTo>
                        <a:pt x="2637" y="326"/>
                      </a:lnTo>
                      <a:lnTo>
                        <a:pt x="2637" y="335"/>
                      </a:lnTo>
                      <a:lnTo>
                        <a:pt x="2638" y="342"/>
                      </a:lnTo>
                      <a:lnTo>
                        <a:pt x="2641" y="349"/>
                      </a:lnTo>
                      <a:lnTo>
                        <a:pt x="2644" y="357"/>
                      </a:lnTo>
                      <a:lnTo>
                        <a:pt x="2619" y="363"/>
                      </a:lnTo>
                      <a:lnTo>
                        <a:pt x="2590" y="371"/>
                      </a:lnTo>
                      <a:lnTo>
                        <a:pt x="2562" y="382"/>
                      </a:lnTo>
                      <a:lnTo>
                        <a:pt x="2531" y="392"/>
                      </a:lnTo>
                      <a:lnTo>
                        <a:pt x="2501" y="402"/>
                      </a:lnTo>
                      <a:lnTo>
                        <a:pt x="2473" y="410"/>
                      </a:lnTo>
                      <a:lnTo>
                        <a:pt x="2458" y="414"/>
                      </a:lnTo>
                      <a:lnTo>
                        <a:pt x="2444" y="416"/>
                      </a:lnTo>
                      <a:lnTo>
                        <a:pt x="2431" y="418"/>
                      </a:lnTo>
                      <a:lnTo>
                        <a:pt x="2419" y="418"/>
                      </a:lnTo>
                      <a:lnTo>
                        <a:pt x="2339" y="400"/>
                      </a:lnTo>
                      <a:lnTo>
                        <a:pt x="2319" y="400"/>
                      </a:lnTo>
                      <a:lnTo>
                        <a:pt x="2340" y="408"/>
                      </a:lnTo>
                      <a:lnTo>
                        <a:pt x="2361" y="416"/>
                      </a:lnTo>
                      <a:lnTo>
                        <a:pt x="2372" y="420"/>
                      </a:lnTo>
                      <a:lnTo>
                        <a:pt x="2382" y="425"/>
                      </a:lnTo>
                      <a:lnTo>
                        <a:pt x="2390" y="430"/>
                      </a:lnTo>
                      <a:lnTo>
                        <a:pt x="2398" y="437"/>
                      </a:lnTo>
                      <a:lnTo>
                        <a:pt x="2394" y="444"/>
                      </a:lnTo>
                      <a:lnTo>
                        <a:pt x="2388" y="449"/>
                      </a:lnTo>
                      <a:lnTo>
                        <a:pt x="2384" y="454"/>
                      </a:lnTo>
                      <a:lnTo>
                        <a:pt x="2378" y="457"/>
                      </a:lnTo>
                      <a:lnTo>
                        <a:pt x="2373" y="461"/>
                      </a:lnTo>
                      <a:lnTo>
                        <a:pt x="2368" y="463"/>
                      </a:lnTo>
                      <a:lnTo>
                        <a:pt x="2363" y="465"/>
                      </a:lnTo>
                      <a:lnTo>
                        <a:pt x="2357" y="467"/>
                      </a:lnTo>
                      <a:lnTo>
                        <a:pt x="2333" y="471"/>
                      </a:lnTo>
                      <a:lnTo>
                        <a:pt x="2306" y="474"/>
                      </a:lnTo>
                      <a:lnTo>
                        <a:pt x="2296" y="477"/>
                      </a:lnTo>
                      <a:lnTo>
                        <a:pt x="2286" y="481"/>
                      </a:lnTo>
                      <a:lnTo>
                        <a:pt x="2277" y="486"/>
                      </a:lnTo>
                      <a:lnTo>
                        <a:pt x="2268" y="492"/>
                      </a:lnTo>
                      <a:lnTo>
                        <a:pt x="2260" y="497"/>
                      </a:lnTo>
                      <a:lnTo>
                        <a:pt x="2251" y="501"/>
                      </a:lnTo>
                      <a:lnTo>
                        <a:pt x="2242" y="504"/>
                      </a:lnTo>
                      <a:lnTo>
                        <a:pt x="2232" y="505"/>
                      </a:lnTo>
                      <a:lnTo>
                        <a:pt x="2232" y="517"/>
                      </a:lnTo>
                      <a:lnTo>
                        <a:pt x="2232" y="529"/>
                      </a:lnTo>
                      <a:lnTo>
                        <a:pt x="2220" y="532"/>
                      </a:lnTo>
                      <a:lnTo>
                        <a:pt x="2208" y="537"/>
                      </a:lnTo>
                      <a:lnTo>
                        <a:pt x="2194" y="542"/>
                      </a:lnTo>
                      <a:lnTo>
                        <a:pt x="2181" y="550"/>
                      </a:lnTo>
                      <a:lnTo>
                        <a:pt x="2166" y="559"/>
                      </a:lnTo>
                      <a:lnTo>
                        <a:pt x="2151" y="568"/>
                      </a:lnTo>
                      <a:lnTo>
                        <a:pt x="2138" y="578"/>
                      </a:lnTo>
                      <a:lnTo>
                        <a:pt x="2123" y="588"/>
                      </a:lnTo>
                      <a:lnTo>
                        <a:pt x="2110" y="601"/>
                      </a:lnTo>
                      <a:lnTo>
                        <a:pt x="2098" y="613"/>
                      </a:lnTo>
                      <a:lnTo>
                        <a:pt x="2087" y="625"/>
                      </a:lnTo>
                      <a:lnTo>
                        <a:pt x="2078" y="637"/>
                      </a:lnTo>
                      <a:lnTo>
                        <a:pt x="2071" y="650"/>
                      </a:lnTo>
                      <a:lnTo>
                        <a:pt x="2064" y="664"/>
                      </a:lnTo>
                      <a:lnTo>
                        <a:pt x="2062" y="670"/>
                      </a:lnTo>
                      <a:lnTo>
                        <a:pt x="2061" y="677"/>
                      </a:lnTo>
                      <a:lnTo>
                        <a:pt x="2060" y="683"/>
                      </a:lnTo>
                      <a:lnTo>
                        <a:pt x="2060" y="689"/>
                      </a:lnTo>
                      <a:lnTo>
                        <a:pt x="2106" y="689"/>
                      </a:lnTo>
                      <a:lnTo>
                        <a:pt x="2104" y="714"/>
                      </a:lnTo>
                      <a:lnTo>
                        <a:pt x="2102" y="736"/>
                      </a:lnTo>
                      <a:lnTo>
                        <a:pt x="2100" y="745"/>
                      </a:lnTo>
                      <a:lnTo>
                        <a:pt x="2100" y="753"/>
                      </a:lnTo>
                      <a:lnTo>
                        <a:pt x="2102" y="757"/>
                      </a:lnTo>
                      <a:lnTo>
                        <a:pt x="2103" y="759"/>
                      </a:lnTo>
                      <a:lnTo>
                        <a:pt x="2104" y="762"/>
                      </a:lnTo>
                      <a:lnTo>
                        <a:pt x="2106" y="763"/>
                      </a:lnTo>
                      <a:lnTo>
                        <a:pt x="2086" y="776"/>
                      </a:lnTo>
                      <a:lnTo>
                        <a:pt x="2087" y="780"/>
                      </a:lnTo>
                      <a:lnTo>
                        <a:pt x="2089" y="784"/>
                      </a:lnTo>
                      <a:lnTo>
                        <a:pt x="2093" y="787"/>
                      </a:lnTo>
                      <a:lnTo>
                        <a:pt x="2097" y="790"/>
                      </a:lnTo>
                      <a:lnTo>
                        <a:pt x="2106" y="793"/>
                      </a:lnTo>
                      <a:lnTo>
                        <a:pt x="2112" y="794"/>
                      </a:lnTo>
                      <a:lnTo>
                        <a:pt x="2193" y="776"/>
                      </a:lnTo>
                      <a:lnTo>
                        <a:pt x="2204" y="782"/>
                      </a:lnTo>
                      <a:lnTo>
                        <a:pt x="2214" y="789"/>
                      </a:lnTo>
                      <a:lnTo>
                        <a:pt x="2223" y="796"/>
                      </a:lnTo>
                      <a:lnTo>
                        <a:pt x="2232" y="803"/>
                      </a:lnTo>
                      <a:lnTo>
                        <a:pt x="2250" y="819"/>
                      </a:lnTo>
                      <a:lnTo>
                        <a:pt x="2266" y="836"/>
                      </a:lnTo>
                      <a:lnTo>
                        <a:pt x="2284" y="852"/>
                      </a:lnTo>
                      <a:lnTo>
                        <a:pt x="2301" y="866"/>
                      </a:lnTo>
                      <a:lnTo>
                        <a:pt x="2311" y="872"/>
                      </a:lnTo>
                      <a:lnTo>
                        <a:pt x="2322" y="878"/>
                      </a:lnTo>
                      <a:lnTo>
                        <a:pt x="2333" y="883"/>
                      </a:lnTo>
                      <a:lnTo>
                        <a:pt x="2345" y="887"/>
                      </a:lnTo>
                      <a:lnTo>
                        <a:pt x="2345" y="891"/>
                      </a:lnTo>
                      <a:lnTo>
                        <a:pt x="2346" y="895"/>
                      </a:lnTo>
                      <a:lnTo>
                        <a:pt x="2347" y="898"/>
                      </a:lnTo>
                      <a:lnTo>
                        <a:pt x="2350" y="901"/>
                      </a:lnTo>
                      <a:lnTo>
                        <a:pt x="2352" y="903"/>
                      </a:lnTo>
                      <a:lnTo>
                        <a:pt x="2354" y="905"/>
                      </a:lnTo>
                      <a:lnTo>
                        <a:pt x="2356" y="906"/>
                      </a:lnTo>
                      <a:lnTo>
                        <a:pt x="2360" y="907"/>
                      </a:lnTo>
                      <a:lnTo>
                        <a:pt x="2367" y="909"/>
                      </a:lnTo>
                      <a:lnTo>
                        <a:pt x="2375" y="908"/>
                      </a:lnTo>
                      <a:lnTo>
                        <a:pt x="2383" y="907"/>
                      </a:lnTo>
                      <a:lnTo>
                        <a:pt x="2391" y="905"/>
                      </a:lnTo>
                      <a:lnTo>
                        <a:pt x="2409" y="900"/>
                      </a:lnTo>
                      <a:lnTo>
                        <a:pt x="2423" y="894"/>
                      </a:lnTo>
                      <a:lnTo>
                        <a:pt x="2434" y="889"/>
                      </a:lnTo>
                      <a:lnTo>
                        <a:pt x="2439" y="887"/>
                      </a:lnTo>
                      <a:lnTo>
                        <a:pt x="2485" y="905"/>
                      </a:lnTo>
                      <a:lnTo>
                        <a:pt x="2479" y="917"/>
                      </a:lnTo>
                      <a:lnTo>
                        <a:pt x="2474" y="925"/>
                      </a:lnTo>
                      <a:lnTo>
                        <a:pt x="2467" y="931"/>
                      </a:lnTo>
                      <a:lnTo>
                        <a:pt x="2458" y="936"/>
                      </a:lnTo>
                      <a:lnTo>
                        <a:pt x="2472" y="949"/>
                      </a:lnTo>
                      <a:lnTo>
                        <a:pt x="2461" y="971"/>
                      </a:lnTo>
                      <a:lnTo>
                        <a:pt x="2450" y="995"/>
                      </a:lnTo>
                      <a:lnTo>
                        <a:pt x="2445" y="1006"/>
                      </a:lnTo>
                      <a:lnTo>
                        <a:pt x="2442" y="1018"/>
                      </a:lnTo>
                      <a:lnTo>
                        <a:pt x="2440" y="1029"/>
                      </a:lnTo>
                      <a:lnTo>
                        <a:pt x="2439" y="1040"/>
                      </a:lnTo>
                      <a:lnTo>
                        <a:pt x="2440" y="1049"/>
                      </a:lnTo>
                      <a:lnTo>
                        <a:pt x="2443" y="1059"/>
                      </a:lnTo>
                      <a:lnTo>
                        <a:pt x="2447" y="1070"/>
                      </a:lnTo>
                      <a:lnTo>
                        <a:pt x="2454" y="1081"/>
                      </a:lnTo>
                      <a:lnTo>
                        <a:pt x="2462" y="1092"/>
                      </a:lnTo>
                      <a:lnTo>
                        <a:pt x="2469" y="1101"/>
                      </a:lnTo>
                      <a:lnTo>
                        <a:pt x="2473" y="1104"/>
                      </a:lnTo>
                      <a:lnTo>
                        <a:pt x="2477" y="1107"/>
                      </a:lnTo>
                      <a:lnTo>
                        <a:pt x="2481" y="1108"/>
                      </a:lnTo>
                      <a:lnTo>
                        <a:pt x="2485" y="1109"/>
                      </a:lnTo>
                      <a:lnTo>
                        <a:pt x="2487" y="1114"/>
                      </a:lnTo>
                      <a:lnTo>
                        <a:pt x="2492" y="1121"/>
                      </a:lnTo>
                      <a:lnTo>
                        <a:pt x="2499" y="1128"/>
                      </a:lnTo>
                      <a:lnTo>
                        <a:pt x="2504" y="1133"/>
                      </a:lnTo>
                      <a:lnTo>
                        <a:pt x="2528" y="1113"/>
                      </a:lnTo>
                      <a:lnTo>
                        <a:pt x="2548" y="1091"/>
                      </a:lnTo>
                      <a:lnTo>
                        <a:pt x="2559" y="1080"/>
                      </a:lnTo>
                      <a:lnTo>
                        <a:pt x="2569" y="1068"/>
                      </a:lnTo>
                      <a:lnTo>
                        <a:pt x="2578" y="1057"/>
                      </a:lnTo>
                      <a:lnTo>
                        <a:pt x="2587" y="1043"/>
                      </a:lnTo>
                      <a:lnTo>
                        <a:pt x="2595" y="1031"/>
                      </a:lnTo>
                      <a:lnTo>
                        <a:pt x="2602" y="1017"/>
                      </a:lnTo>
                      <a:lnTo>
                        <a:pt x="2609" y="1003"/>
                      </a:lnTo>
                      <a:lnTo>
                        <a:pt x="2614" y="987"/>
                      </a:lnTo>
                      <a:lnTo>
                        <a:pt x="2619" y="971"/>
                      </a:lnTo>
                      <a:lnTo>
                        <a:pt x="2622" y="955"/>
                      </a:lnTo>
                      <a:lnTo>
                        <a:pt x="2624" y="937"/>
                      </a:lnTo>
                      <a:lnTo>
                        <a:pt x="2624" y="917"/>
                      </a:lnTo>
                      <a:lnTo>
                        <a:pt x="2638" y="917"/>
                      </a:lnTo>
                      <a:lnTo>
                        <a:pt x="2655" y="914"/>
                      </a:lnTo>
                      <a:lnTo>
                        <a:pt x="2672" y="911"/>
                      </a:lnTo>
                      <a:lnTo>
                        <a:pt x="2690" y="906"/>
                      </a:lnTo>
                      <a:lnTo>
                        <a:pt x="2709" y="900"/>
                      </a:lnTo>
                      <a:lnTo>
                        <a:pt x="2727" y="892"/>
                      </a:lnTo>
                      <a:lnTo>
                        <a:pt x="2746" y="884"/>
                      </a:lnTo>
                      <a:lnTo>
                        <a:pt x="2765" y="873"/>
                      </a:lnTo>
                      <a:lnTo>
                        <a:pt x="2782" y="863"/>
                      </a:lnTo>
                      <a:lnTo>
                        <a:pt x="2798" y="852"/>
                      </a:lnTo>
                      <a:lnTo>
                        <a:pt x="2813" y="840"/>
                      </a:lnTo>
                      <a:lnTo>
                        <a:pt x="2825" y="827"/>
                      </a:lnTo>
                      <a:lnTo>
                        <a:pt x="2831" y="819"/>
                      </a:lnTo>
                      <a:lnTo>
                        <a:pt x="2836" y="813"/>
                      </a:lnTo>
                      <a:lnTo>
                        <a:pt x="2839" y="806"/>
                      </a:lnTo>
                      <a:lnTo>
                        <a:pt x="2844" y="799"/>
                      </a:lnTo>
                      <a:lnTo>
                        <a:pt x="2846" y="792"/>
                      </a:lnTo>
                      <a:lnTo>
                        <a:pt x="2848" y="785"/>
                      </a:lnTo>
                      <a:lnTo>
                        <a:pt x="2849" y="777"/>
                      </a:lnTo>
                      <a:lnTo>
                        <a:pt x="2850" y="770"/>
                      </a:lnTo>
                      <a:lnTo>
                        <a:pt x="2849" y="763"/>
                      </a:lnTo>
                      <a:lnTo>
                        <a:pt x="2848" y="757"/>
                      </a:lnTo>
                      <a:lnTo>
                        <a:pt x="2846" y="752"/>
                      </a:lnTo>
                      <a:lnTo>
                        <a:pt x="2843" y="747"/>
                      </a:lnTo>
                      <a:lnTo>
                        <a:pt x="2835" y="738"/>
                      </a:lnTo>
                      <a:lnTo>
                        <a:pt x="2827" y="731"/>
                      </a:lnTo>
                      <a:lnTo>
                        <a:pt x="2819" y="725"/>
                      </a:lnTo>
                      <a:lnTo>
                        <a:pt x="2811" y="718"/>
                      </a:lnTo>
                      <a:lnTo>
                        <a:pt x="2808" y="715"/>
                      </a:lnTo>
                      <a:lnTo>
                        <a:pt x="2805" y="711"/>
                      </a:lnTo>
                      <a:lnTo>
                        <a:pt x="2804" y="706"/>
                      </a:lnTo>
                      <a:lnTo>
                        <a:pt x="2804" y="702"/>
                      </a:lnTo>
                      <a:lnTo>
                        <a:pt x="2804" y="698"/>
                      </a:lnTo>
                      <a:lnTo>
                        <a:pt x="2808" y="694"/>
                      </a:lnTo>
                      <a:lnTo>
                        <a:pt x="2812" y="688"/>
                      </a:lnTo>
                      <a:lnTo>
                        <a:pt x="2819" y="680"/>
                      </a:lnTo>
                      <a:lnTo>
                        <a:pt x="2833" y="664"/>
                      </a:lnTo>
                      <a:lnTo>
                        <a:pt x="2850" y="645"/>
                      </a:lnTo>
                      <a:lnTo>
                        <a:pt x="2882" y="612"/>
                      </a:lnTo>
                      <a:lnTo>
                        <a:pt x="2896" y="597"/>
                      </a:lnTo>
                      <a:lnTo>
                        <a:pt x="2894" y="593"/>
                      </a:lnTo>
                      <a:lnTo>
                        <a:pt x="2892" y="589"/>
                      </a:lnTo>
                      <a:lnTo>
                        <a:pt x="2891" y="585"/>
                      </a:lnTo>
                      <a:lnTo>
                        <a:pt x="2890" y="581"/>
                      </a:lnTo>
                      <a:lnTo>
                        <a:pt x="2890" y="573"/>
                      </a:lnTo>
                      <a:lnTo>
                        <a:pt x="2892" y="566"/>
                      </a:lnTo>
                      <a:lnTo>
                        <a:pt x="2896" y="558"/>
                      </a:lnTo>
                      <a:lnTo>
                        <a:pt x="2902" y="551"/>
                      </a:lnTo>
                      <a:lnTo>
                        <a:pt x="2909" y="544"/>
                      </a:lnTo>
                      <a:lnTo>
                        <a:pt x="2916" y="535"/>
                      </a:lnTo>
                      <a:lnTo>
                        <a:pt x="2934" y="520"/>
                      </a:lnTo>
                      <a:lnTo>
                        <a:pt x="2951" y="505"/>
                      </a:lnTo>
                      <a:lnTo>
                        <a:pt x="2959" y="498"/>
                      </a:lnTo>
                      <a:lnTo>
                        <a:pt x="2966" y="490"/>
                      </a:lnTo>
                      <a:lnTo>
                        <a:pt x="2972" y="482"/>
                      </a:lnTo>
                      <a:lnTo>
                        <a:pt x="2977" y="474"/>
                      </a:lnTo>
                      <a:lnTo>
                        <a:pt x="3149" y="480"/>
                      </a:lnTo>
                      <a:lnTo>
                        <a:pt x="3149" y="485"/>
                      </a:lnTo>
                      <a:lnTo>
                        <a:pt x="3150" y="490"/>
                      </a:lnTo>
                      <a:lnTo>
                        <a:pt x="3151" y="494"/>
                      </a:lnTo>
                      <a:lnTo>
                        <a:pt x="3153" y="497"/>
                      </a:lnTo>
                      <a:lnTo>
                        <a:pt x="3156" y="500"/>
                      </a:lnTo>
                      <a:lnTo>
                        <a:pt x="3159" y="502"/>
                      </a:lnTo>
                      <a:lnTo>
                        <a:pt x="3161" y="503"/>
                      </a:lnTo>
                      <a:lnTo>
                        <a:pt x="3165" y="504"/>
                      </a:lnTo>
                      <a:lnTo>
                        <a:pt x="3180" y="505"/>
                      </a:lnTo>
                      <a:lnTo>
                        <a:pt x="3196" y="505"/>
                      </a:lnTo>
                      <a:lnTo>
                        <a:pt x="3201" y="509"/>
                      </a:lnTo>
                      <a:lnTo>
                        <a:pt x="3204" y="514"/>
                      </a:lnTo>
                      <a:lnTo>
                        <a:pt x="3208" y="521"/>
                      </a:lnTo>
                      <a:lnTo>
                        <a:pt x="3210" y="529"/>
                      </a:lnTo>
                      <a:lnTo>
                        <a:pt x="3215" y="545"/>
                      </a:lnTo>
                      <a:lnTo>
                        <a:pt x="3216" y="554"/>
                      </a:lnTo>
                      <a:lnTo>
                        <a:pt x="3221" y="556"/>
                      </a:lnTo>
                      <a:lnTo>
                        <a:pt x="3229" y="557"/>
                      </a:lnTo>
                      <a:lnTo>
                        <a:pt x="3238" y="557"/>
                      </a:lnTo>
                      <a:lnTo>
                        <a:pt x="3247" y="557"/>
                      </a:lnTo>
                      <a:lnTo>
                        <a:pt x="3268" y="555"/>
                      </a:lnTo>
                      <a:lnTo>
                        <a:pt x="3288" y="554"/>
                      </a:lnTo>
                      <a:lnTo>
                        <a:pt x="3292" y="566"/>
                      </a:lnTo>
                      <a:lnTo>
                        <a:pt x="3295" y="572"/>
                      </a:lnTo>
                      <a:lnTo>
                        <a:pt x="3288" y="579"/>
                      </a:lnTo>
                      <a:lnTo>
                        <a:pt x="3282" y="585"/>
                      </a:lnTo>
                      <a:lnTo>
                        <a:pt x="3276" y="592"/>
                      </a:lnTo>
                      <a:lnTo>
                        <a:pt x="3272" y="601"/>
                      </a:lnTo>
                      <a:lnTo>
                        <a:pt x="3264" y="616"/>
                      </a:lnTo>
                      <a:lnTo>
                        <a:pt x="3257" y="632"/>
                      </a:lnTo>
                      <a:lnTo>
                        <a:pt x="3251" y="646"/>
                      </a:lnTo>
                      <a:lnTo>
                        <a:pt x="3245" y="660"/>
                      </a:lnTo>
                      <a:lnTo>
                        <a:pt x="3241" y="666"/>
                      </a:lnTo>
                      <a:lnTo>
                        <a:pt x="3238" y="671"/>
                      </a:lnTo>
                      <a:lnTo>
                        <a:pt x="3234" y="675"/>
                      </a:lnTo>
                      <a:lnTo>
                        <a:pt x="3229" y="677"/>
                      </a:lnTo>
                      <a:lnTo>
                        <a:pt x="3238" y="677"/>
                      </a:lnTo>
                      <a:lnTo>
                        <a:pt x="3246" y="677"/>
                      </a:lnTo>
                      <a:lnTo>
                        <a:pt x="3253" y="677"/>
                      </a:lnTo>
                      <a:lnTo>
                        <a:pt x="3262" y="677"/>
                      </a:lnTo>
                      <a:lnTo>
                        <a:pt x="3262" y="683"/>
                      </a:lnTo>
                      <a:lnTo>
                        <a:pt x="3261" y="688"/>
                      </a:lnTo>
                      <a:lnTo>
                        <a:pt x="3259" y="693"/>
                      </a:lnTo>
                      <a:lnTo>
                        <a:pt x="3257" y="697"/>
                      </a:lnTo>
                      <a:lnTo>
                        <a:pt x="3251" y="705"/>
                      </a:lnTo>
                      <a:lnTo>
                        <a:pt x="3245" y="714"/>
                      </a:lnTo>
                      <a:lnTo>
                        <a:pt x="3238" y="721"/>
                      </a:lnTo>
                      <a:lnTo>
                        <a:pt x="3231" y="729"/>
                      </a:lnTo>
                      <a:lnTo>
                        <a:pt x="3226" y="736"/>
                      </a:lnTo>
                      <a:lnTo>
                        <a:pt x="3223" y="745"/>
                      </a:lnTo>
                      <a:lnTo>
                        <a:pt x="3229" y="742"/>
                      </a:lnTo>
                      <a:lnTo>
                        <a:pt x="3237" y="738"/>
                      </a:lnTo>
                      <a:lnTo>
                        <a:pt x="3245" y="734"/>
                      </a:lnTo>
                      <a:lnTo>
                        <a:pt x="3251" y="730"/>
                      </a:lnTo>
                      <a:lnTo>
                        <a:pt x="3264" y="721"/>
                      </a:lnTo>
                      <a:lnTo>
                        <a:pt x="3275" y="715"/>
                      </a:lnTo>
                      <a:lnTo>
                        <a:pt x="3280" y="717"/>
                      </a:lnTo>
                      <a:lnTo>
                        <a:pt x="3284" y="718"/>
                      </a:lnTo>
                      <a:lnTo>
                        <a:pt x="3290" y="718"/>
                      </a:lnTo>
                      <a:lnTo>
                        <a:pt x="3295" y="718"/>
                      </a:lnTo>
                      <a:lnTo>
                        <a:pt x="3307" y="715"/>
                      </a:lnTo>
                      <a:lnTo>
                        <a:pt x="3320" y="709"/>
                      </a:lnTo>
                      <a:lnTo>
                        <a:pt x="3336" y="703"/>
                      </a:lnTo>
                      <a:lnTo>
                        <a:pt x="3351" y="695"/>
                      </a:lnTo>
                      <a:lnTo>
                        <a:pt x="3368" y="685"/>
                      </a:lnTo>
                      <a:lnTo>
                        <a:pt x="3384" y="675"/>
                      </a:lnTo>
                      <a:lnTo>
                        <a:pt x="3417" y="653"/>
                      </a:lnTo>
                      <a:lnTo>
                        <a:pt x="3447" y="632"/>
                      </a:lnTo>
                      <a:lnTo>
                        <a:pt x="3471" y="615"/>
                      </a:lnTo>
                      <a:lnTo>
                        <a:pt x="3488" y="604"/>
                      </a:lnTo>
                      <a:lnTo>
                        <a:pt x="3492" y="613"/>
                      </a:lnTo>
                      <a:lnTo>
                        <a:pt x="3495" y="621"/>
                      </a:lnTo>
                      <a:lnTo>
                        <a:pt x="3496" y="629"/>
                      </a:lnTo>
                      <a:lnTo>
                        <a:pt x="3496" y="637"/>
                      </a:lnTo>
                      <a:lnTo>
                        <a:pt x="3496" y="653"/>
                      </a:lnTo>
                      <a:lnTo>
                        <a:pt x="3495" y="671"/>
                      </a:lnTo>
                      <a:lnTo>
                        <a:pt x="3521" y="671"/>
                      </a:lnTo>
                      <a:lnTo>
                        <a:pt x="3522" y="680"/>
                      </a:lnTo>
                      <a:lnTo>
                        <a:pt x="3523" y="687"/>
                      </a:lnTo>
                      <a:lnTo>
                        <a:pt x="3521" y="692"/>
                      </a:lnTo>
                      <a:lnTo>
                        <a:pt x="3519" y="698"/>
                      </a:lnTo>
                      <a:lnTo>
                        <a:pt x="3514" y="708"/>
                      </a:lnTo>
                      <a:lnTo>
                        <a:pt x="3508" y="721"/>
                      </a:lnTo>
                      <a:lnTo>
                        <a:pt x="3521" y="721"/>
                      </a:lnTo>
                      <a:lnTo>
                        <a:pt x="3534" y="721"/>
                      </a:lnTo>
                      <a:lnTo>
                        <a:pt x="3534" y="732"/>
                      </a:lnTo>
                      <a:lnTo>
                        <a:pt x="3534" y="741"/>
                      </a:lnTo>
                      <a:lnTo>
                        <a:pt x="3534" y="749"/>
                      </a:lnTo>
                      <a:lnTo>
                        <a:pt x="3534" y="757"/>
                      </a:lnTo>
                      <a:lnTo>
                        <a:pt x="3536" y="762"/>
                      </a:lnTo>
                      <a:lnTo>
                        <a:pt x="3540" y="769"/>
                      </a:lnTo>
                      <a:lnTo>
                        <a:pt x="3542" y="772"/>
                      </a:lnTo>
                      <a:lnTo>
                        <a:pt x="3545" y="774"/>
                      </a:lnTo>
                      <a:lnTo>
                        <a:pt x="3550" y="776"/>
                      </a:lnTo>
                      <a:lnTo>
                        <a:pt x="3554" y="776"/>
                      </a:lnTo>
                      <a:lnTo>
                        <a:pt x="3551" y="786"/>
                      </a:lnTo>
                      <a:lnTo>
                        <a:pt x="3548" y="794"/>
                      </a:lnTo>
                      <a:lnTo>
                        <a:pt x="3542" y="800"/>
                      </a:lnTo>
                      <a:lnTo>
                        <a:pt x="3537" y="804"/>
                      </a:lnTo>
                      <a:lnTo>
                        <a:pt x="3526" y="811"/>
                      </a:lnTo>
                      <a:lnTo>
                        <a:pt x="3515" y="818"/>
                      </a:lnTo>
                      <a:lnTo>
                        <a:pt x="3522" y="828"/>
                      </a:lnTo>
                      <a:lnTo>
                        <a:pt x="3530" y="836"/>
                      </a:lnTo>
                      <a:lnTo>
                        <a:pt x="3539" y="844"/>
                      </a:lnTo>
                      <a:lnTo>
                        <a:pt x="3546" y="851"/>
                      </a:lnTo>
                      <a:lnTo>
                        <a:pt x="3556" y="857"/>
                      </a:lnTo>
                      <a:lnTo>
                        <a:pt x="3565" y="863"/>
                      </a:lnTo>
                      <a:lnTo>
                        <a:pt x="3575" y="869"/>
                      </a:lnTo>
                      <a:lnTo>
                        <a:pt x="3584" y="874"/>
                      </a:lnTo>
                      <a:lnTo>
                        <a:pt x="3605" y="885"/>
                      </a:lnTo>
                      <a:lnTo>
                        <a:pt x="3627" y="894"/>
                      </a:lnTo>
                      <a:lnTo>
                        <a:pt x="3650" y="902"/>
                      </a:lnTo>
                      <a:lnTo>
                        <a:pt x="3674" y="911"/>
                      </a:lnTo>
                      <a:lnTo>
                        <a:pt x="3668" y="918"/>
                      </a:lnTo>
                      <a:lnTo>
                        <a:pt x="3662" y="924"/>
                      </a:lnTo>
                      <a:lnTo>
                        <a:pt x="3652" y="930"/>
                      </a:lnTo>
                      <a:lnTo>
                        <a:pt x="3640" y="936"/>
                      </a:lnTo>
                      <a:lnTo>
                        <a:pt x="3615" y="946"/>
                      </a:lnTo>
                      <a:lnTo>
                        <a:pt x="3588" y="954"/>
                      </a:lnTo>
                      <a:lnTo>
                        <a:pt x="3563" y="961"/>
                      </a:lnTo>
                      <a:lnTo>
                        <a:pt x="3545" y="966"/>
                      </a:lnTo>
                      <a:lnTo>
                        <a:pt x="3540" y="968"/>
                      </a:lnTo>
                      <a:lnTo>
                        <a:pt x="3537" y="970"/>
                      </a:lnTo>
                      <a:lnTo>
                        <a:pt x="3537" y="971"/>
                      </a:lnTo>
                      <a:lnTo>
                        <a:pt x="3537" y="972"/>
                      </a:lnTo>
                      <a:lnTo>
                        <a:pt x="3539" y="972"/>
                      </a:lnTo>
                      <a:lnTo>
                        <a:pt x="3541" y="973"/>
                      </a:lnTo>
                      <a:lnTo>
                        <a:pt x="3548" y="974"/>
                      </a:lnTo>
                      <a:lnTo>
                        <a:pt x="3554" y="974"/>
                      </a:lnTo>
                      <a:lnTo>
                        <a:pt x="3560" y="974"/>
                      </a:lnTo>
                      <a:lnTo>
                        <a:pt x="3564" y="972"/>
                      </a:lnTo>
                      <a:lnTo>
                        <a:pt x="3570" y="970"/>
                      </a:lnTo>
                      <a:lnTo>
                        <a:pt x="3575" y="969"/>
                      </a:lnTo>
                      <a:lnTo>
                        <a:pt x="3581" y="967"/>
                      </a:lnTo>
                      <a:lnTo>
                        <a:pt x="3588" y="967"/>
                      </a:lnTo>
                      <a:lnTo>
                        <a:pt x="3598" y="965"/>
                      </a:lnTo>
                      <a:lnTo>
                        <a:pt x="3616" y="961"/>
                      </a:lnTo>
                      <a:lnTo>
                        <a:pt x="3637" y="957"/>
                      </a:lnTo>
                      <a:lnTo>
                        <a:pt x="3654" y="955"/>
                      </a:lnTo>
                      <a:lnTo>
                        <a:pt x="3673" y="955"/>
                      </a:lnTo>
                      <a:lnTo>
                        <a:pt x="3686" y="956"/>
                      </a:lnTo>
                      <a:lnTo>
                        <a:pt x="3695" y="958"/>
                      </a:lnTo>
                      <a:lnTo>
                        <a:pt x="3701" y="959"/>
                      </a:lnTo>
                      <a:lnTo>
                        <a:pt x="3707" y="960"/>
                      </a:lnTo>
                      <a:lnTo>
                        <a:pt x="3713" y="960"/>
                      </a:lnTo>
                      <a:lnTo>
                        <a:pt x="3721" y="958"/>
                      </a:lnTo>
                      <a:lnTo>
                        <a:pt x="3734" y="955"/>
                      </a:lnTo>
                      <a:lnTo>
                        <a:pt x="3734" y="964"/>
                      </a:lnTo>
                      <a:lnTo>
                        <a:pt x="3734" y="972"/>
                      </a:lnTo>
                      <a:lnTo>
                        <a:pt x="3734" y="979"/>
                      </a:lnTo>
                      <a:lnTo>
                        <a:pt x="3734" y="985"/>
                      </a:lnTo>
                      <a:lnTo>
                        <a:pt x="3734" y="998"/>
                      </a:lnTo>
                      <a:lnTo>
                        <a:pt x="3733" y="1007"/>
                      </a:lnTo>
                      <a:lnTo>
                        <a:pt x="3732" y="1014"/>
                      </a:lnTo>
                      <a:lnTo>
                        <a:pt x="3729" y="1018"/>
                      </a:lnTo>
                      <a:lnTo>
                        <a:pt x="3724" y="1022"/>
                      </a:lnTo>
                      <a:lnTo>
                        <a:pt x="3717" y="1024"/>
                      </a:lnTo>
                      <a:lnTo>
                        <a:pt x="3707" y="1026"/>
                      </a:lnTo>
                      <a:lnTo>
                        <a:pt x="3694" y="1028"/>
                      </a:lnTo>
                      <a:lnTo>
                        <a:pt x="3699" y="1037"/>
                      </a:lnTo>
                      <a:lnTo>
                        <a:pt x="3704" y="1047"/>
                      </a:lnTo>
                      <a:lnTo>
                        <a:pt x="3709" y="1054"/>
                      </a:lnTo>
                      <a:lnTo>
                        <a:pt x="3713" y="1059"/>
                      </a:lnTo>
                      <a:lnTo>
                        <a:pt x="3706" y="1068"/>
                      </a:lnTo>
                      <a:lnTo>
                        <a:pt x="3697" y="1076"/>
                      </a:lnTo>
                      <a:lnTo>
                        <a:pt x="3687" y="1083"/>
                      </a:lnTo>
                      <a:lnTo>
                        <a:pt x="3676" y="1087"/>
                      </a:lnTo>
                      <a:lnTo>
                        <a:pt x="3672" y="1089"/>
                      </a:lnTo>
                      <a:lnTo>
                        <a:pt x="3666" y="1090"/>
                      </a:lnTo>
                      <a:lnTo>
                        <a:pt x="3661" y="1091"/>
                      </a:lnTo>
                      <a:lnTo>
                        <a:pt x="3655" y="1091"/>
                      </a:lnTo>
                      <a:lnTo>
                        <a:pt x="3650" y="1090"/>
                      </a:lnTo>
                      <a:lnTo>
                        <a:pt x="3644" y="1089"/>
                      </a:lnTo>
                      <a:lnTo>
                        <a:pt x="3639" y="1087"/>
                      </a:lnTo>
                      <a:lnTo>
                        <a:pt x="3634" y="1084"/>
                      </a:lnTo>
                      <a:lnTo>
                        <a:pt x="3627" y="1089"/>
                      </a:lnTo>
                      <a:lnTo>
                        <a:pt x="3617" y="1093"/>
                      </a:lnTo>
                      <a:lnTo>
                        <a:pt x="3608" y="1096"/>
                      </a:lnTo>
                      <a:lnTo>
                        <a:pt x="3598" y="1099"/>
                      </a:lnTo>
                      <a:lnTo>
                        <a:pt x="3577" y="1104"/>
                      </a:lnTo>
                      <a:lnTo>
                        <a:pt x="3556" y="1108"/>
                      </a:lnTo>
                      <a:lnTo>
                        <a:pt x="3546" y="1110"/>
                      </a:lnTo>
                      <a:lnTo>
                        <a:pt x="3538" y="1113"/>
                      </a:lnTo>
                      <a:lnTo>
                        <a:pt x="3529" y="1116"/>
                      </a:lnTo>
                      <a:lnTo>
                        <a:pt x="3522" y="1120"/>
                      </a:lnTo>
                      <a:lnTo>
                        <a:pt x="3516" y="1124"/>
                      </a:lnTo>
                      <a:lnTo>
                        <a:pt x="3511" y="1130"/>
                      </a:lnTo>
                      <a:lnTo>
                        <a:pt x="3509" y="1137"/>
                      </a:lnTo>
                      <a:lnTo>
                        <a:pt x="3508" y="1145"/>
                      </a:lnTo>
                      <a:lnTo>
                        <a:pt x="3501" y="1145"/>
                      </a:lnTo>
                      <a:lnTo>
                        <a:pt x="3489" y="1159"/>
                      </a:lnTo>
                      <a:lnTo>
                        <a:pt x="3480" y="1168"/>
                      </a:lnTo>
                      <a:lnTo>
                        <a:pt x="3474" y="1172"/>
                      </a:lnTo>
                      <a:lnTo>
                        <a:pt x="3467" y="1174"/>
                      </a:lnTo>
                      <a:lnTo>
                        <a:pt x="3459" y="1176"/>
                      </a:lnTo>
                      <a:lnTo>
                        <a:pt x="3448" y="1176"/>
                      </a:lnTo>
                      <a:lnTo>
                        <a:pt x="3336" y="1164"/>
                      </a:lnTo>
                      <a:lnTo>
                        <a:pt x="3301" y="1164"/>
                      </a:lnTo>
                      <a:lnTo>
                        <a:pt x="3264" y="1164"/>
                      </a:lnTo>
                      <a:lnTo>
                        <a:pt x="3228" y="1164"/>
                      </a:lnTo>
                      <a:lnTo>
                        <a:pt x="3189" y="1164"/>
                      </a:lnTo>
                      <a:lnTo>
                        <a:pt x="3169" y="1165"/>
                      </a:lnTo>
                      <a:lnTo>
                        <a:pt x="3151" y="1168"/>
                      </a:lnTo>
                      <a:lnTo>
                        <a:pt x="3135" y="1172"/>
                      </a:lnTo>
                      <a:lnTo>
                        <a:pt x="3119" y="1177"/>
                      </a:lnTo>
                      <a:lnTo>
                        <a:pt x="3105" y="1183"/>
                      </a:lnTo>
                      <a:lnTo>
                        <a:pt x="3093" y="1191"/>
                      </a:lnTo>
                      <a:lnTo>
                        <a:pt x="3081" y="1198"/>
                      </a:lnTo>
                      <a:lnTo>
                        <a:pt x="3070" y="1207"/>
                      </a:lnTo>
                      <a:lnTo>
                        <a:pt x="3047" y="1225"/>
                      </a:lnTo>
                      <a:lnTo>
                        <a:pt x="3025" y="1242"/>
                      </a:lnTo>
                      <a:lnTo>
                        <a:pt x="3013" y="1250"/>
                      </a:lnTo>
                      <a:lnTo>
                        <a:pt x="3000" y="1257"/>
                      </a:lnTo>
                      <a:lnTo>
                        <a:pt x="2985" y="1263"/>
                      </a:lnTo>
                      <a:lnTo>
                        <a:pt x="2970" y="1269"/>
                      </a:lnTo>
                      <a:lnTo>
                        <a:pt x="2959" y="1272"/>
                      </a:lnTo>
                      <a:lnTo>
                        <a:pt x="2948" y="1276"/>
                      </a:lnTo>
                      <a:lnTo>
                        <a:pt x="2936" y="1281"/>
                      </a:lnTo>
                      <a:lnTo>
                        <a:pt x="2924" y="1286"/>
                      </a:lnTo>
                      <a:lnTo>
                        <a:pt x="2912" y="1293"/>
                      </a:lnTo>
                      <a:lnTo>
                        <a:pt x="2900" y="1300"/>
                      </a:lnTo>
                      <a:lnTo>
                        <a:pt x="2887" y="1308"/>
                      </a:lnTo>
                      <a:lnTo>
                        <a:pt x="2876" y="1316"/>
                      </a:lnTo>
                      <a:lnTo>
                        <a:pt x="2864" y="1326"/>
                      </a:lnTo>
                      <a:lnTo>
                        <a:pt x="2853" y="1335"/>
                      </a:lnTo>
                      <a:lnTo>
                        <a:pt x="2843" y="1344"/>
                      </a:lnTo>
                      <a:lnTo>
                        <a:pt x="2834" y="1354"/>
                      </a:lnTo>
                      <a:lnTo>
                        <a:pt x="2825" y="1363"/>
                      </a:lnTo>
                      <a:lnTo>
                        <a:pt x="2819" y="1373"/>
                      </a:lnTo>
                      <a:lnTo>
                        <a:pt x="2814" y="1383"/>
                      </a:lnTo>
                      <a:lnTo>
                        <a:pt x="2811" y="1392"/>
                      </a:lnTo>
                      <a:lnTo>
                        <a:pt x="2819" y="1392"/>
                      </a:lnTo>
                      <a:lnTo>
                        <a:pt x="2825" y="1391"/>
                      </a:lnTo>
                      <a:lnTo>
                        <a:pt x="2832" y="1389"/>
                      </a:lnTo>
                      <a:lnTo>
                        <a:pt x="2836" y="1387"/>
                      </a:lnTo>
                      <a:lnTo>
                        <a:pt x="2840" y="1385"/>
                      </a:lnTo>
                      <a:lnTo>
                        <a:pt x="2845" y="1382"/>
                      </a:lnTo>
                      <a:lnTo>
                        <a:pt x="2847" y="1379"/>
                      </a:lnTo>
                      <a:lnTo>
                        <a:pt x="2850" y="1375"/>
                      </a:lnTo>
                      <a:lnTo>
                        <a:pt x="2855" y="1369"/>
                      </a:lnTo>
                      <a:lnTo>
                        <a:pt x="2859" y="1363"/>
                      </a:lnTo>
                      <a:lnTo>
                        <a:pt x="2861" y="1361"/>
                      </a:lnTo>
                      <a:lnTo>
                        <a:pt x="2864" y="1358"/>
                      </a:lnTo>
                      <a:lnTo>
                        <a:pt x="2867" y="1356"/>
                      </a:lnTo>
                      <a:lnTo>
                        <a:pt x="2870" y="1355"/>
                      </a:lnTo>
                      <a:lnTo>
                        <a:pt x="2888" y="1346"/>
                      </a:lnTo>
                      <a:lnTo>
                        <a:pt x="2905" y="1337"/>
                      </a:lnTo>
                      <a:lnTo>
                        <a:pt x="2923" y="1327"/>
                      </a:lnTo>
                      <a:lnTo>
                        <a:pt x="2940" y="1315"/>
                      </a:lnTo>
                      <a:lnTo>
                        <a:pt x="2976" y="1293"/>
                      </a:lnTo>
                      <a:lnTo>
                        <a:pt x="3012" y="1271"/>
                      </a:lnTo>
                      <a:lnTo>
                        <a:pt x="3029" y="1260"/>
                      </a:lnTo>
                      <a:lnTo>
                        <a:pt x="3048" y="1251"/>
                      </a:lnTo>
                      <a:lnTo>
                        <a:pt x="3067" y="1242"/>
                      </a:lnTo>
                      <a:lnTo>
                        <a:pt x="3085" y="1235"/>
                      </a:lnTo>
                      <a:lnTo>
                        <a:pt x="3104" y="1228"/>
                      </a:lnTo>
                      <a:lnTo>
                        <a:pt x="3123" y="1224"/>
                      </a:lnTo>
                      <a:lnTo>
                        <a:pt x="3142" y="1221"/>
                      </a:lnTo>
                      <a:lnTo>
                        <a:pt x="3162" y="1220"/>
                      </a:lnTo>
                      <a:lnTo>
                        <a:pt x="3171" y="1220"/>
                      </a:lnTo>
                      <a:lnTo>
                        <a:pt x="3179" y="1222"/>
                      </a:lnTo>
                      <a:lnTo>
                        <a:pt x="3189" y="1225"/>
                      </a:lnTo>
                      <a:lnTo>
                        <a:pt x="3196" y="1229"/>
                      </a:lnTo>
                      <a:lnTo>
                        <a:pt x="3204" y="1234"/>
                      </a:lnTo>
                      <a:lnTo>
                        <a:pt x="3210" y="1240"/>
                      </a:lnTo>
                      <a:lnTo>
                        <a:pt x="3213" y="1244"/>
                      </a:lnTo>
                      <a:lnTo>
                        <a:pt x="3214" y="1248"/>
                      </a:lnTo>
                      <a:lnTo>
                        <a:pt x="3215" y="1252"/>
                      </a:lnTo>
                      <a:lnTo>
                        <a:pt x="3216" y="1256"/>
                      </a:lnTo>
                      <a:lnTo>
                        <a:pt x="3215" y="1265"/>
                      </a:lnTo>
                      <a:lnTo>
                        <a:pt x="3213" y="1274"/>
                      </a:lnTo>
                      <a:lnTo>
                        <a:pt x="3208" y="1281"/>
                      </a:lnTo>
                      <a:lnTo>
                        <a:pt x="3203" y="1287"/>
                      </a:lnTo>
                      <a:lnTo>
                        <a:pt x="3197" y="1293"/>
                      </a:lnTo>
                      <a:lnTo>
                        <a:pt x="3191" y="1296"/>
                      </a:lnTo>
                      <a:lnTo>
                        <a:pt x="3183" y="1299"/>
                      </a:lnTo>
                      <a:lnTo>
                        <a:pt x="3175" y="1299"/>
                      </a:lnTo>
                      <a:lnTo>
                        <a:pt x="3165" y="1299"/>
                      </a:lnTo>
                      <a:lnTo>
                        <a:pt x="3156" y="1298"/>
                      </a:lnTo>
                      <a:lnTo>
                        <a:pt x="3146" y="1296"/>
                      </a:lnTo>
                      <a:lnTo>
                        <a:pt x="3136" y="1293"/>
                      </a:lnTo>
                      <a:lnTo>
                        <a:pt x="3126" y="1291"/>
                      </a:lnTo>
                      <a:lnTo>
                        <a:pt x="3116" y="1289"/>
                      </a:lnTo>
                      <a:lnTo>
                        <a:pt x="3106" y="1288"/>
                      </a:lnTo>
                      <a:lnTo>
                        <a:pt x="3096" y="1287"/>
                      </a:lnTo>
                      <a:lnTo>
                        <a:pt x="3089" y="1288"/>
                      </a:lnTo>
                      <a:lnTo>
                        <a:pt x="3082" y="1289"/>
                      </a:lnTo>
                      <a:lnTo>
                        <a:pt x="3077" y="1290"/>
                      </a:lnTo>
                      <a:lnTo>
                        <a:pt x="3072" y="1292"/>
                      </a:lnTo>
                      <a:lnTo>
                        <a:pt x="3068" y="1294"/>
                      </a:lnTo>
                      <a:lnTo>
                        <a:pt x="3066" y="1298"/>
                      </a:lnTo>
                      <a:lnTo>
                        <a:pt x="3063" y="1301"/>
                      </a:lnTo>
                      <a:lnTo>
                        <a:pt x="3063" y="1306"/>
                      </a:lnTo>
                      <a:lnTo>
                        <a:pt x="3129" y="1331"/>
                      </a:lnTo>
                      <a:lnTo>
                        <a:pt x="3140" y="1329"/>
                      </a:lnTo>
                      <a:lnTo>
                        <a:pt x="3152" y="1325"/>
                      </a:lnTo>
                      <a:lnTo>
                        <a:pt x="3159" y="1324"/>
                      </a:lnTo>
                      <a:lnTo>
                        <a:pt x="3164" y="1323"/>
                      </a:lnTo>
                      <a:lnTo>
                        <a:pt x="3171" y="1323"/>
                      </a:lnTo>
                      <a:lnTo>
                        <a:pt x="3175" y="1325"/>
                      </a:lnTo>
                      <a:lnTo>
                        <a:pt x="3170" y="1333"/>
                      </a:lnTo>
                      <a:lnTo>
                        <a:pt x="3164" y="1340"/>
                      </a:lnTo>
                      <a:lnTo>
                        <a:pt x="3158" y="1346"/>
                      </a:lnTo>
                      <a:lnTo>
                        <a:pt x="3151" y="1351"/>
                      </a:lnTo>
                      <a:lnTo>
                        <a:pt x="3145" y="1356"/>
                      </a:lnTo>
                      <a:lnTo>
                        <a:pt x="3140" y="1361"/>
                      </a:lnTo>
                      <a:lnTo>
                        <a:pt x="3138" y="1364"/>
                      </a:lnTo>
                      <a:lnTo>
                        <a:pt x="3137" y="1367"/>
                      </a:lnTo>
                      <a:lnTo>
                        <a:pt x="3136" y="1370"/>
                      </a:lnTo>
                      <a:lnTo>
                        <a:pt x="3136" y="1373"/>
                      </a:lnTo>
                      <a:lnTo>
                        <a:pt x="3136" y="1380"/>
                      </a:lnTo>
                      <a:lnTo>
                        <a:pt x="3137" y="1386"/>
                      </a:lnTo>
                      <a:lnTo>
                        <a:pt x="3138" y="1391"/>
                      </a:lnTo>
                      <a:lnTo>
                        <a:pt x="3140" y="1396"/>
                      </a:lnTo>
                      <a:lnTo>
                        <a:pt x="3144" y="1401"/>
                      </a:lnTo>
                      <a:lnTo>
                        <a:pt x="3146" y="1405"/>
                      </a:lnTo>
                      <a:lnTo>
                        <a:pt x="3149" y="1410"/>
                      </a:lnTo>
                      <a:lnTo>
                        <a:pt x="3153" y="1413"/>
                      </a:lnTo>
                      <a:lnTo>
                        <a:pt x="3162" y="1420"/>
                      </a:lnTo>
                      <a:lnTo>
                        <a:pt x="3173" y="1426"/>
                      </a:lnTo>
                      <a:lnTo>
                        <a:pt x="3184" y="1431"/>
                      </a:lnTo>
                      <a:lnTo>
                        <a:pt x="3196" y="1436"/>
                      </a:lnTo>
                      <a:lnTo>
                        <a:pt x="3209" y="1439"/>
                      </a:lnTo>
                      <a:lnTo>
                        <a:pt x="3224" y="1441"/>
                      </a:lnTo>
                      <a:lnTo>
                        <a:pt x="3237" y="1442"/>
                      </a:lnTo>
                      <a:lnTo>
                        <a:pt x="3251" y="1443"/>
                      </a:lnTo>
                      <a:lnTo>
                        <a:pt x="3277" y="1443"/>
                      </a:lnTo>
                      <a:lnTo>
                        <a:pt x="3302" y="1442"/>
                      </a:lnTo>
                      <a:lnTo>
                        <a:pt x="3302" y="1466"/>
                      </a:lnTo>
                      <a:lnTo>
                        <a:pt x="3292" y="1469"/>
                      </a:lnTo>
                      <a:lnTo>
                        <a:pt x="3283" y="1471"/>
                      </a:lnTo>
                      <a:lnTo>
                        <a:pt x="3274" y="1472"/>
                      </a:lnTo>
                      <a:lnTo>
                        <a:pt x="3265" y="1472"/>
                      </a:lnTo>
                      <a:lnTo>
                        <a:pt x="3257" y="1472"/>
                      </a:lnTo>
                      <a:lnTo>
                        <a:pt x="3248" y="1473"/>
                      </a:lnTo>
                      <a:lnTo>
                        <a:pt x="3239" y="1474"/>
                      </a:lnTo>
                      <a:lnTo>
                        <a:pt x="3229" y="1478"/>
                      </a:lnTo>
                      <a:lnTo>
                        <a:pt x="3213" y="1485"/>
                      </a:lnTo>
                      <a:lnTo>
                        <a:pt x="3198" y="1494"/>
                      </a:lnTo>
                      <a:lnTo>
                        <a:pt x="3184" y="1502"/>
                      </a:lnTo>
                      <a:lnTo>
                        <a:pt x="3172" y="1510"/>
                      </a:lnTo>
                      <a:lnTo>
                        <a:pt x="3158" y="1519"/>
                      </a:lnTo>
                      <a:lnTo>
                        <a:pt x="3144" y="1527"/>
                      </a:lnTo>
                      <a:lnTo>
                        <a:pt x="3128" y="1536"/>
                      </a:lnTo>
                      <a:lnTo>
                        <a:pt x="3109" y="1546"/>
                      </a:lnTo>
                      <a:lnTo>
                        <a:pt x="3099" y="1550"/>
                      </a:lnTo>
                      <a:lnTo>
                        <a:pt x="3088" y="1553"/>
                      </a:lnTo>
                      <a:lnTo>
                        <a:pt x="3077" y="1555"/>
                      </a:lnTo>
                      <a:lnTo>
                        <a:pt x="3066" y="1556"/>
                      </a:lnTo>
                      <a:lnTo>
                        <a:pt x="3056" y="1558"/>
                      </a:lnTo>
                      <a:lnTo>
                        <a:pt x="3047" y="1561"/>
                      </a:lnTo>
                      <a:lnTo>
                        <a:pt x="3044" y="1563"/>
                      </a:lnTo>
                      <a:lnTo>
                        <a:pt x="3040" y="1565"/>
                      </a:lnTo>
                      <a:lnTo>
                        <a:pt x="3038" y="1568"/>
                      </a:lnTo>
                      <a:lnTo>
                        <a:pt x="3036" y="1571"/>
                      </a:lnTo>
                      <a:lnTo>
                        <a:pt x="3026" y="1567"/>
                      </a:lnTo>
                      <a:lnTo>
                        <a:pt x="3018" y="1564"/>
                      </a:lnTo>
                      <a:lnTo>
                        <a:pt x="3015" y="1562"/>
                      </a:lnTo>
                      <a:lnTo>
                        <a:pt x="3012" y="1560"/>
                      </a:lnTo>
                      <a:lnTo>
                        <a:pt x="3011" y="1557"/>
                      </a:lnTo>
                      <a:lnTo>
                        <a:pt x="3010" y="1553"/>
                      </a:lnTo>
                      <a:lnTo>
                        <a:pt x="3010" y="1546"/>
                      </a:lnTo>
                      <a:lnTo>
                        <a:pt x="3012" y="1539"/>
                      </a:lnTo>
                      <a:lnTo>
                        <a:pt x="3013" y="1533"/>
                      </a:lnTo>
                      <a:lnTo>
                        <a:pt x="3016" y="1528"/>
                      </a:lnTo>
                      <a:lnTo>
                        <a:pt x="3019" y="1524"/>
                      </a:lnTo>
                      <a:lnTo>
                        <a:pt x="3024" y="1519"/>
                      </a:lnTo>
                      <a:lnTo>
                        <a:pt x="3028" y="1516"/>
                      </a:lnTo>
                      <a:lnTo>
                        <a:pt x="3033" y="1512"/>
                      </a:lnTo>
                      <a:lnTo>
                        <a:pt x="3045" y="1506"/>
                      </a:lnTo>
                      <a:lnTo>
                        <a:pt x="3058" y="1501"/>
                      </a:lnTo>
                      <a:lnTo>
                        <a:pt x="3072" y="1497"/>
                      </a:lnTo>
                      <a:lnTo>
                        <a:pt x="3086" y="1493"/>
                      </a:lnTo>
                      <a:lnTo>
                        <a:pt x="3117" y="1487"/>
                      </a:lnTo>
                      <a:lnTo>
                        <a:pt x="3147" y="1482"/>
                      </a:lnTo>
                      <a:lnTo>
                        <a:pt x="3160" y="1479"/>
                      </a:lnTo>
                      <a:lnTo>
                        <a:pt x="3172" y="1475"/>
                      </a:lnTo>
                      <a:lnTo>
                        <a:pt x="3182" y="1471"/>
                      </a:lnTo>
                      <a:lnTo>
                        <a:pt x="3189" y="1466"/>
                      </a:lnTo>
                      <a:lnTo>
                        <a:pt x="3178" y="1463"/>
                      </a:lnTo>
                      <a:lnTo>
                        <a:pt x="3169" y="1460"/>
                      </a:lnTo>
                      <a:lnTo>
                        <a:pt x="3160" y="1456"/>
                      </a:lnTo>
                      <a:lnTo>
                        <a:pt x="3153" y="1451"/>
                      </a:lnTo>
                      <a:lnTo>
                        <a:pt x="3147" y="1448"/>
                      </a:lnTo>
                      <a:lnTo>
                        <a:pt x="3139" y="1445"/>
                      </a:lnTo>
                      <a:lnTo>
                        <a:pt x="3131" y="1442"/>
                      </a:lnTo>
                      <a:lnTo>
                        <a:pt x="3123" y="1442"/>
                      </a:lnTo>
                      <a:lnTo>
                        <a:pt x="3117" y="1442"/>
                      </a:lnTo>
                      <a:lnTo>
                        <a:pt x="3113" y="1443"/>
                      </a:lnTo>
                      <a:lnTo>
                        <a:pt x="3107" y="1445"/>
                      </a:lnTo>
                      <a:lnTo>
                        <a:pt x="3103" y="1446"/>
                      </a:lnTo>
                      <a:lnTo>
                        <a:pt x="3093" y="1452"/>
                      </a:lnTo>
                      <a:lnTo>
                        <a:pt x="3083" y="1458"/>
                      </a:lnTo>
                      <a:lnTo>
                        <a:pt x="3074" y="1464"/>
                      </a:lnTo>
                      <a:lnTo>
                        <a:pt x="3066" y="1470"/>
                      </a:lnTo>
                      <a:lnTo>
                        <a:pt x="3057" y="1475"/>
                      </a:lnTo>
                      <a:lnTo>
                        <a:pt x="3049" y="1478"/>
                      </a:lnTo>
                      <a:lnTo>
                        <a:pt x="3044" y="1479"/>
                      </a:lnTo>
                      <a:lnTo>
                        <a:pt x="3036" y="1481"/>
                      </a:lnTo>
                      <a:lnTo>
                        <a:pt x="3026" y="1483"/>
                      </a:lnTo>
                      <a:lnTo>
                        <a:pt x="3016" y="1484"/>
                      </a:lnTo>
                      <a:lnTo>
                        <a:pt x="3010" y="1478"/>
                      </a:ln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s-MX" dirty="0"/>
                </a:p>
              </p:txBody>
            </p:sp>
          </p:grpSp>
          <p:sp>
            <p:nvSpPr>
              <p:cNvPr id="463" name="Freeform 439"/>
              <p:cNvSpPr>
                <a:spLocks/>
              </p:cNvSpPr>
              <p:nvPr/>
            </p:nvSpPr>
            <p:spPr bwMode="auto">
              <a:xfrm>
                <a:off x="8208292" y="5427862"/>
                <a:ext cx="24954" cy="30147"/>
              </a:xfrm>
              <a:custGeom>
                <a:avLst/>
                <a:gdLst>
                  <a:gd name="T0" fmla="*/ 2147483647 w 46"/>
                  <a:gd name="T1" fmla="*/ 2147483647 h 51"/>
                  <a:gd name="T2" fmla="*/ 2147483647 w 46"/>
                  <a:gd name="T3" fmla="*/ 0 h 51"/>
                  <a:gd name="T4" fmla="*/ 2075281508 w 46"/>
                  <a:gd name="T5" fmla="*/ 1032885874 h 51"/>
                  <a:gd name="T6" fmla="*/ 1117391297 w 46"/>
                  <a:gd name="T7" fmla="*/ 1858914856 h 51"/>
                  <a:gd name="T8" fmla="*/ 638593474 w 46"/>
                  <a:gd name="T9" fmla="*/ 2147483647 h 51"/>
                  <a:gd name="T10" fmla="*/ 319296737 w 46"/>
                  <a:gd name="T11" fmla="*/ 2147483647 h 51"/>
                  <a:gd name="T12" fmla="*/ 0 w 46"/>
                  <a:gd name="T13" fmla="*/ 2147483647 h 51"/>
                  <a:gd name="T14" fmla="*/ 0 w 46"/>
                  <a:gd name="T15" fmla="*/ 2147483647 h 51"/>
                  <a:gd name="T16" fmla="*/ 0 w 46"/>
                  <a:gd name="T17" fmla="*/ 2147483647 h 51"/>
                  <a:gd name="T18" fmla="*/ 319296737 w 46"/>
                  <a:gd name="T19" fmla="*/ 2147483647 h 51"/>
                  <a:gd name="T20" fmla="*/ 638593474 w 46"/>
                  <a:gd name="T21" fmla="*/ 2147483647 h 51"/>
                  <a:gd name="T22" fmla="*/ 1117391297 w 46"/>
                  <a:gd name="T23" fmla="*/ 2147483647 h 51"/>
                  <a:gd name="T24" fmla="*/ 1596483685 w 46"/>
                  <a:gd name="T25" fmla="*/ 2147483647 h 51"/>
                  <a:gd name="T26" fmla="*/ 2075281508 w 46"/>
                  <a:gd name="T27" fmla="*/ 2147483647 h 51"/>
                  <a:gd name="T28" fmla="*/ 2147483647 w 46"/>
                  <a:gd name="T29" fmla="*/ 2147483647 h 51"/>
                  <a:gd name="T30" fmla="*/ 2147483647 w 46"/>
                  <a:gd name="T31" fmla="*/ 2147483647 h 51"/>
                  <a:gd name="T32" fmla="*/ 2147483647 w 46"/>
                  <a:gd name="T33" fmla="*/ 2147483647 h 51"/>
                  <a:gd name="T34" fmla="*/ 2147483647 w 46"/>
                  <a:gd name="T35" fmla="*/ 2147483647 h 51"/>
                  <a:gd name="T36" fmla="*/ 2147483647 w 46"/>
                  <a:gd name="T37" fmla="*/ 2147483647 h 51"/>
                  <a:gd name="T38" fmla="*/ 2147483647 w 46"/>
                  <a:gd name="T39" fmla="*/ 2147483647 h 51"/>
                  <a:gd name="T40" fmla="*/ 2147483647 w 46"/>
                  <a:gd name="T41" fmla="*/ 2147483647 h 51"/>
                  <a:gd name="T42" fmla="*/ 2147483647 w 46"/>
                  <a:gd name="T43" fmla="*/ 2147483647 h 51"/>
                  <a:gd name="T44" fmla="*/ 2147483647 w 46"/>
                  <a:gd name="T45" fmla="*/ 2147483647 h 51"/>
                  <a:gd name="T46" fmla="*/ 2147483647 w 46"/>
                  <a:gd name="T47" fmla="*/ 2147483647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4" name="Freeform 440"/>
              <p:cNvSpPr>
                <a:spLocks/>
              </p:cNvSpPr>
              <p:nvPr/>
            </p:nvSpPr>
            <p:spPr bwMode="auto">
              <a:xfrm>
                <a:off x="8226591" y="5780761"/>
                <a:ext cx="104807" cy="93988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2147483647 h 158"/>
                  <a:gd name="T4" fmla="*/ 325387524 w 192"/>
                  <a:gd name="T5" fmla="*/ 2147483647 h 158"/>
                  <a:gd name="T6" fmla="*/ 650477003 w 192"/>
                  <a:gd name="T7" fmla="*/ 2147483647 h 158"/>
                  <a:gd name="T8" fmla="*/ 1138557744 w 192"/>
                  <a:gd name="T9" fmla="*/ 2147483647 h 158"/>
                  <a:gd name="T10" fmla="*/ 1789332792 w 192"/>
                  <a:gd name="T11" fmla="*/ 2147483647 h 158"/>
                  <a:gd name="T12" fmla="*/ 2147483647 w 192"/>
                  <a:gd name="T13" fmla="*/ 2147483647 h 158"/>
                  <a:gd name="T14" fmla="*/ 2147483647 w 192"/>
                  <a:gd name="T15" fmla="*/ 2147483647 h 158"/>
                  <a:gd name="T16" fmla="*/ 2147483647 w 192"/>
                  <a:gd name="T17" fmla="*/ 2147483647 h 158"/>
                  <a:gd name="T18" fmla="*/ 2147483647 w 192"/>
                  <a:gd name="T19" fmla="*/ 2147483647 h 158"/>
                  <a:gd name="T20" fmla="*/ 2147483647 w 192"/>
                  <a:gd name="T21" fmla="*/ 2147483647 h 158"/>
                  <a:gd name="T22" fmla="*/ 2147483647 w 192"/>
                  <a:gd name="T23" fmla="*/ 2147483647 h 158"/>
                  <a:gd name="T24" fmla="*/ 2147483647 w 192"/>
                  <a:gd name="T25" fmla="*/ 2147483647 h 158"/>
                  <a:gd name="T26" fmla="*/ 2147483647 w 192"/>
                  <a:gd name="T27" fmla="*/ 2147483647 h 158"/>
                  <a:gd name="T28" fmla="*/ 2147483647 w 192"/>
                  <a:gd name="T29" fmla="*/ 2147483647 h 158"/>
                  <a:gd name="T30" fmla="*/ 2147483647 w 192"/>
                  <a:gd name="T31" fmla="*/ 2147483647 h 158"/>
                  <a:gd name="T32" fmla="*/ 2147483647 w 192"/>
                  <a:gd name="T33" fmla="*/ 2147483647 h 158"/>
                  <a:gd name="T34" fmla="*/ 2147483647 w 192"/>
                  <a:gd name="T35" fmla="*/ 2147483647 h 158"/>
                  <a:gd name="T36" fmla="*/ 2147483647 w 192"/>
                  <a:gd name="T37" fmla="*/ 2147483647 h 158"/>
                  <a:gd name="T38" fmla="*/ 2147483647 w 192"/>
                  <a:gd name="T39" fmla="*/ 2147483647 h 158"/>
                  <a:gd name="T40" fmla="*/ 2147483647 w 192"/>
                  <a:gd name="T41" fmla="*/ 2147483647 h 158"/>
                  <a:gd name="T42" fmla="*/ 2147483647 w 192"/>
                  <a:gd name="T43" fmla="*/ 2147483647 h 158"/>
                  <a:gd name="T44" fmla="*/ 2147483647 w 192"/>
                  <a:gd name="T45" fmla="*/ 2147483647 h 158"/>
                  <a:gd name="T46" fmla="*/ 2147483647 w 192"/>
                  <a:gd name="T47" fmla="*/ 2147483647 h 158"/>
                  <a:gd name="T48" fmla="*/ 2147483647 w 192"/>
                  <a:gd name="T49" fmla="*/ 2147483647 h 158"/>
                  <a:gd name="T50" fmla="*/ 2147483647 w 192"/>
                  <a:gd name="T51" fmla="*/ 2147483647 h 158"/>
                  <a:gd name="T52" fmla="*/ 2147483647 w 192"/>
                  <a:gd name="T53" fmla="*/ 2147483647 h 158"/>
                  <a:gd name="T54" fmla="*/ 2147483647 w 192"/>
                  <a:gd name="T55" fmla="*/ 2147483647 h 158"/>
                  <a:gd name="T56" fmla="*/ 2147483647 w 192"/>
                  <a:gd name="T57" fmla="*/ 2147483647 h 158"/>
                  <a:gd name="T58" fmla="*/ 2147483647 w 192"/>
                  <a:gd name="T59" fmla="*/ 2147483647 h 158"/>
                  <a:gd name="T60" fmla="*/ 2147483647 w 192"/>
                  <a:gd name="T61" fmla="*/ 2147483647 h 158"/>
                  <a:gd name="T62" fmla="*/ 2147483647 w 192"/>
                  <a:gd name="T63" fmla="*/ 2147483647 h 158"/>
                  <a:gd name="T64" fmla="*/ 2147483647 w 192"/>
                  <a:gd name="T65" fmla="*/ 2147483647 h 158"/>
                  <a:gd name="T66" fmla="*/ 2147483647 w 192"/>
                  <a:gd name="T67" fmla="*/ 2147483647 h 158"/>
                  <a:gd name="T68" fmla="*/ 2147483647 w 192"/>
                  <a:gd name="T69" fmla="*/ 2147483647 h 158"/>
                  <a:gd name="T70" fmla="*/ 2147483647 w 192"/>
                  <a:gd name="T71" fmla="*/ 2147483647 h 158"/>
                  <a:gd name="T72" fmla="*/ 2114422271 w 192"/>
                  <a:gd name="T73" fmla="*/ 1262923894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5" name="Freeform 441"/>
              <p:cNvSpPr>
                <a:spLocks/>
              </p:cNvSpPr>
              <p:nvPr/>
            </p:nvSpPr>
            <p:spPr bwMode="auto">
              <a:xfrm>
                <a:off x="7943779" y="4709653"/>
                <a:ext cx="482444" cy="1074654"/>
              </a:xfrm>
              <a:custGeom>
                <a:avLst/>
                <a:gdLst>
                  <a:gd name="T0" fmla="*/ 2147483647 w 884"/>
                  <a:gd name="T1" fmla="*/ 2147483647 h 1818"/>
                  <a:gd name="T2" fmla="*/ 2147483647 w 884"/>
                  <a:gd name="T3" fmla="*/ 2147483647 h 1818"/>
                  <a:gd name="T4" fmla="*/ 2147483647 w 884"/>
                  <a:gd name="T5" fmla="*/ 2147483647 h 1818"/>
                  <a:gd name="T6" fmla="*/ 2147483647 w 884"/>
                  <a:gd name="T7" fmla="*/ 2147483647 h 1818"/>
                  <a:gd name="T8" fmla="*/ 2147483647 w 884"/>
                  <a:gd name="T9" fmla="*/ 2147483647 h 1818"/>
                  <a:gd name="T10" fmla="*/ 2147483647 w 884"/>
                  <a:gd name="T11" fmla="*/ 2147483647 h 1818"/>
                  <a:gd name="T12" fmla="*/ 2147483647 w 884"/>
                  <a:gd name="T13" fmla="*/ 2147483647 h 1818"/>
                  <a:gd name="T14" fmla="*/ 2147483647 w 884"/>
                  <a:gd name="T15" fmla="*/ 2147483647 h 1818"/>
                  <a:gd name="T16" fmla="*/ 2147483647 w 884"/>
                  <a:gd name="T17" fmla="*/ 2147483647 h 1818"/>
                  <a:gd name="T18" fmla="*/ 2147483647 w 884"/>
                  <a:gd name="T19" fmla="*/ 2147483647 h 1818"/>
                  <a:gd name="T20" fmla="*/ 2147483647 w 884"/>
                  <a:gd name="T21" fmla="*/ 2147483647 h 1818"/>
                  <a:gd name="T22" fmla="*/ 2147483647 w 884"/>
                  <a:gd name="T23" fmla="*/ 2065430014 h 1818"/>
                  <a:gd name="T24" fmla="*/ 2147483647 w 884"/>
                  <a:gd name="T25" fmla="*/ 2147483647 h 1818"/>
                  <a:gd name="T26" fmla="*/ 2147483647 w 884"/>
                  <a:gd name="T27" fmla="*/ 2147483647 h 1818"/>
                  <a:gd name="T28" fmla="*/ 2147483647 w 884"/>
                  <a:gd name="T29" fmla="*/ 1652414118 h 1818"/>
                  <a:gd name="T30" fmla="*/ 2147483647 w 884"/>
                  <a:gd name="T31" fmla="*/ 2147483647 h 1818"/>
                  <a:gd name="T32" fmla="*/ 2147483647 w 884"/>
                  <a:gd name="T33" fmla="*/ 2147483647 h 1818"/>
                  <a:gd name="T34" fmla="*/ 2147483647 w 884"/>
                  <a:gd name="T35" fmla="*/ 2147483647 h 1818"/>
                  <a:gd name="T36" fmla="*/ 2147483647 w 884"/>
                  <a:gd name="T37" fmla="*/ 2147483647 h 1818"/>
                  <a:gd name="T38" fmla="*/ 2147483647 w 884"/>
                  <a:gd name="T39" fmla="*/ 2147483647 h 1818"/>
                  <a:gd name="T40" fmla="*/ 0 w 884"/>
                  <a:gd name="T41" fmla="*/ 2147483647 h 1818"/>
                  <a:gd name="T42" fmla="*/ 1950582216 w 884"/>
                  <a:gd name="T43" fmla="*/ 2147483647 h 1818"/>
                  <a:gd name="T44" fmla="*/ 2147483647 w 884"/>
                  <a:gd name="T45" fmla="*/ 2147483647 h 1818"/>
                  <a:gd name="T46" fmla="*/ 2147483647 w 884"/>
                  <a:gd name="T47" fmla="*/ 2147483647 h 1818"/>
                  <a:gd name="T48" fmla="*/ 2147483647 w 884"/>
                  <a:gd name="T49" fmla="*/ 2147483647 h 1818"/>
                  <a:gd name="T50" fmla="*/ 2147483647 w 884"/>
                  <a:gd name="T51" fmla="*/ 2147483647 h 1818"/>
                  <a:gd name="T52" fmla="*/ 2147483647 w 884"/>
                  <a:gd name="T53" fmla="*/ 2147483647 h 1818"/>
                  <a:gd name="T54" fmla="*/ 2147483647 w 884"/>
                  <a:gd name="T55" fmla="*/ 2147483647 h 1818"/>
                  <a:gd name="T56" fmla="*/ 2147483647 w 884"/>
                  <a:gd name="T57" fmla="*/ 2147483647 h 1818"/>
                  <a:gd name="T58" fmla="*/ 2147483647 w 884"/>
                  <a:gd name="T59" fmla="*/ 2147483647 h 1818"/>
                  <a:gd name="T60" fmla="*/ 2147483647 w 884"/>
                  <a:gd name="T61" fmla="*/ 2147483647 h 1818"/>
                  <a:gd name="T62" fmla="*/ 2147483647 w 884"/>
                  <a:gd name="T63" fmla="*/ 2147483647 h 1818"/>
                  <a:gd name="T64" fmla="*/ 2147483647 w 884"/>
                  <a:gd name="T65" fmla="*/ 2147483647 h 1818"/>
                  <a:gd name="T66" fmla="*/ 2147483647 w 884"/>
                  <a:gd name="T67" fmla="*/ 2147483647 h 1818"/>
                  <a:gd name="T68" fmla="*/ 2147483647 w 884"/>
                  <a:gd name="T69" fmla="*/ 2147483647 h 1818"/>
                  <a:gd name="T70" fmla="*/ 2147483647 w 884"/>
                  <a:gd name="T71" fmla="*/ 2147483647 h 1818"/>
                  <a:gd name="T72" fmla="*/ 2147483647 w 884"/>
                  <a:gd name="T73" fmla="*/ 2147483647 h 1818"/>
                  <a:gd name="T74" fmla="*/ 2147483647 w 884"/>
                  <a:gd name="T75" fmla="*/ 2147483647 h 1818"/>
                  <a:gd name="T76" fmla="*/ 2147483647 w 884"/>
                  <a:gd name="T77" fmla="*/ 2147483647 h 1818"/>
                  <a:gd name="T78" fmla="*/ 2147483647 w 884"/>
                  <a:gd name="T79" fmla="*/ 2147483647 h 1818"/>
                  <a:gd name="T80" fmla="*/ 2147483647 w 884"/>
                  <a:gd name="T81" fmla="*/ 2147483647 h 1818"/>
                  <a:gd name="T82" fmla="*/ 2147483647 w 884"/>
                  <a:gd name="T83" fmla="*/ 2147483647 h 1818"/>
                  <a:gd name="T84" fmla="*/ 2147483647 w 884"/>
                  <a:gd name="T85" fmla="*/ 2147483647 h 1818"/>
                  <a:gd name="T86" fmla="*/ 2147483647 w 884"/>
                  <a:gd name="T87" fmla="*/ 2147483647 h 1818"/>
                  <a:gd name="T88" fmla="*/ 2147483647 w 884"/>
                  <a:gd name="T89" fmla="*/ 2147483647 h 1818"/>
                  <a:gd name="T90" fmla="*/ 2147483647 w 884"/>
                  <a:gd name="T91" fmla="*/ 2147483647 h 1818"/>
                  <a:gd name="T92" fmla="*/ 2147483647 w 884"/>
                  <a:gd name="T93" fmla="*/ 2147483647 h 1818"/>
                  <a:gd name="T94" fmla="*/ 2147483647 w 884"/>
                  <a:gd name="T95" fmla="*/ 2147483647 h 1818"/>
                  <a:gd name="T96" fmla="*/ 2147483647 w 884"/>
                  <a:gd name="T97" fmla="*/ 2147483647 h 1818"/>
                  <a:gd name="T98" fmla="*/ 2147483647 w 884"/>
                  <a:gd name="T99" fmla="*/ 2147483647 h 1818"/>
                  <a:gd name="T100" fmla="*/ 2147483647 w 884"/>
                  <a:gd name="T101" fmla="*/ 2147483647 h 1818"/>
                  <a:gd name="T102" fmla="*/ 2147483647 w 884"/>
                  <a:gd name="T103" fmla="*/ 2147483647 h 1818"/>
                  <a:gd name="T104" fmla="*/ 2147483647 w 884"/>
                  <a:gd name="T105" fmla="*/ 2147483647 h 1818"/>
                  <a:gd name="T106" fmla="*/ 2147483647 w 884"/>
                  <a:gd name="T107" fmla="*/ 2147483647 h 1818"/>
                  <a:gd name="T108" fmla="*/ 2147483647 w 884"/>
                  <a:gd name="T109" fmla="*/ 2147483647 h 1818"/>
                  <a:gd name="T110" fmla="*/ 2147483647 w 884"/>
                  <a:gd name="T111" fmla="*/ 2147483647 h 1818"/>
                  <a:gd name="T112" fmla="*/ 2147483647 w 884"/>
                  <a:gd name="T113" fmla="*/ 2147483647 h 1818"/>
                  <a:gd name="T114" fmla="*/ 2147483647 w 884"/>
                  <a:gd name="T115" fmla="*/ 2147483647 h 1818"/>
                  <a:gd name="T116" fmla="*/ 2147483647 w 884"/>
                  <a:gd name="T117" fmla="*/ 2147483647 h 1818"/>
                  <a:gd name="T118" fmla="*/ 2147483647 w 884"/>
                  <a:gd name="T119" fmla="*/ 214748364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6" name="Freeform 445"/>
              <p:cNvSpPr>
                <a:spLocks/>
              </p:cNvSpPr>
              <p:nvPr>
                <p:custDataLst>
                  <p:tags r:id="rId352"/>
                </p:custDataLst>
              </p:nvPr>
            </p:nvSpPr>
            <p:spPr bwMode="auto">
              <a:xfrm>
                <a:off x="8444166" y="3912011"/>
                <a:ext cx="103666" cy="64528"/>
              </a:xfrm>
              <a:custGeom>
                <a:avLst/>
                <a:gdLst>
                  <a:gd name="T0" fmla="*/ 2147483647 w 186"/>
                  <a:gd name="T1" fmla="*/ 2147483647 h 104"/>
                  <a:gd name="T2" fmla="*/ 2147483647 w 186"/>
                  <a:gd name="T3" fmla="*/ 2147483647 h 104"/>
                  <a:gd name="T4" fmla="*/ 2147483647 w 186"/>
                  <a:gd name="T5" fmla="*/ 2147483647 h 104"/>
                  <a:gd name="T6" fmla="*/ 2147483647 w 186"/>
                  <a:gd name="T7" fmla="*/ 2147483647 h 104"/>
                  <a:gd name="T8" fmla="*/ 2147483647 w 186"/>
                  <a:gd name="T9" fmla="*/ 2147483647 h 104"/>
                  <a:gd name="T10" fmla="*/ 2147483647 w 186"/>
                  <a:gd name="T11" fmla="*/ 2147483647 h 104"/>
                  <a:gd name="T12" fmla="*/ 2147483647 w 186"/>
                  <a:gd name="T13" fmla="*/ 2147483647 h 104"/>
                  <a:gd name="T14" fmla="*/ 2147483647 w 186"/>
                  <a:gd name="T15" fmla="*/ 2147483647 h 104"/>
                  <a:gd name="T16" fmla="*/ 2147483647 w 186"/>
                  <a:gd name="T17" fmla="*/ 2147483647 h 104"/>
                  <a:gd name="T18" fmla="*/ 2147483647 w 186"/>
                  <a:gd name="T19" fmla="*/ 1911003545 h 104"/>
                  <a:gd name="T20" fmla="*/ 2147483647 w 186"/>
                  <a:gd name="T21" fmla="*/ 1433252504 h 104"/>
                  <a:gd name="T22" fmla="*/ 2147483647 w 186"/>
                  <a:gd name="T23" fmla="*/ 716433909 h 104"/>
                  <a:gd name="T24" fmla="*/ 2147483647 w 186"/>
                  <a:gd name="T25" fmla="*/ 238682867 h 104"/>
                  <a:gd name="T26" fmla="*/ 2147483647 w 186"/>
                  <a:gd name="T27" fmla="*/ 0 h 104"/>
                  <a:gd name="T28" fmla="*/ 2147483647 w 186"/>
                  <a:gd name="T29" fmla="*/ 0 h 104"/>
                  <a:gd name="T30" fmla="*/ 2147483647 w 186"/>
                  <a:gd name="T31" fmla="*/ 238682867 h 104"/>
                  <a:gd name="T32" fmla="*/ 2147483647 w 186"/>
                  <a:gd name="T33" fmla="*/ 477751041 h 104"/>
                  <a:gd name="T34" fmla="*/ 2147483647 w 186"/>
                  <a:gd name="T35" fmla="*/ 955502083 h 104"/>
                  <a:gd name="T36" fmla="*/ 2147483647 w 186"/>
                  <a:gd name="T37" fmla="*/ 1433252504 h 104"/>
                  <a:gd name="T38" fmla="*/ 2147483647 w 186"/>
                  <a:gd name="T39" fmla="*/ 2147483647 h 104"/>
                  <a:gd name="T40" fmla="*/ 2147483647 w 186"/>
                  <a:gd name="T41" fmla="*/ 2147483647 h 104"/>
                  <a:gd name="T42" fmla="*/ 2147483647 w 186"/>
                  <a:gd name="T43" fmla="*/ 2147483647 h 104"/>
                  <a:gd name="T44" fmla="*/ 2147483647 w 186"/>
                  <a:gd name="T45" fmla="*/ 2147483647 h 104"/>
                  <a:gd name="T46" fmla="*/ 1211776954 w 186"/>
                  <a:gd name="T47" fmla="*/ 2147483647 h 104"/>
                  <a:gd name="T48" fmla="*/ 0 w 186"/>
                  <a:gd name="T49" fmla="*/ 2147483647 h 104"/>
                  <a:gd name="T50" fmla="*/ 1385109851 w 186"/>
                  <a:gd name="T51" fmla="*/ 2147483647 h 104"/>
                  <a:gd name="T52" fmla="*/ 2147483647 w 186"/>
                  <a:gd name="T53" fmla="*/ 2147483647 h 104"/>
                  <a:gd name="T54" fmla="*/ 2147483647 w 186"/>
                  <a:gd name="T55" fmla="*/ 2147483647 h 104"/>
                  <a:gd name="T56" fmla="*/ 2147483647 w 186"/>
                  <a:gd name="T57" fmla="*/ 2147483647 h 104"/>
                  <a:gd name="T58" fmla="*/ 2147483647 w 186"/>
                  <a:gd name="T59" fmla="*/ 2147483647 h 104"/>
                  <a:gd name="T60" fmla="*/ 2147483647 w 186"/>
                  <a:gd name="T61" fmla="*/ 2147483647 h 104"/>
                  <a:gd name="T62" fmla="*/ 2147483647 w 186"/>
                  <a:gd name="T63" fmla="*/ 2147483647 h 104"/>
                  <a:gd name="T64" fmla="*/ 2147483647 w 186"/>
                  <a:gd name="T65" fmla="*/ 2147483647 h 104"/>
                  <a:gd name="T66" fmla="*/ 2147483647 w 186"/>
                  <a:gd name="T67" fmla="*/ 2147483647 h 104"/>
                  <a:gd name="T68" fmla="*/ 2147483647 w 186"/>
                  <a:gd name="T69" fmla="*/ 2147483647 h 104"/>
                  <a:gd name="T70" fmla="*/ 2147483647 w 186"/>
                  <a:gd name="T71" fmla="*/ 2147483647 h 104"/>
                  <a:gd name="T72" fmla="*/ 2147483647 w 186"/>
                  <a:gd name="T73" fmla="*/ 2147483647 h 104"/>
                  <a:gd name="T74" fmla="*/ 2147483647 w 186"/>
                  <a:gd name="T75" fmla="*/ 2147483647 h 104"/>
                  <a:gd name="T76" fmla="*/ 2147483647 w 186"/>
                  <a:gd name="T77" fmla="*/ 2147483647 h 104"/>
                  <a:gd name="T78" fmla="*/ 2147483647 w 186"/>
                  <a:gd name="T79" fmla="*/ 2147483647 h 104"/>
                  <a:gd name="T80" fmla="*/ 2147483647 w 186"/>
                  <a:gd name="T81" fmla="*/ 2147483647 h 104"/>
                  <a:gd name="T82" fmla="*/ 2147483647 w 186"/>
                  <a:gd name="T83" fmla="*/ 2147483647 h 104"/>
                  <a:gd name="T84" fmla="*/ 2147483647 w 186"/>
                  <a:gd name="T85" fmla="*/ 2147483647 h 104"/>
                  <a:gd name="T86" fmla="*/ 2147483647 w 186"/>
                  <a:gd name="T87" fmla="*/ 2147483647 h 104"/>
                  <a:gd name="T88" fmla="*/ 2147483647 w 186"/>
                  <a:gd name="T89" fmla="*/ 2147483647 h 104"/>
                  <a:gd name="T90" fmla="*/ 2147483647 w 186"/>
                  <a:gd name="T91" fmla="*/ 2147483647 h 104"/>
                  <a:gd name="T92" fmla="*/ 2147483647 w 186"/>
                  <a:gd name="T93" fmla="*/ 2147483647 h 104"/>
                  <a:gd name="T94" fmla="*/ 2147483647 w 186"/>
                  <a:gd name="T95" fmla="*/ 2147483647 h 104"/>
                  <a:gd name="T96" fmla="*/ 2147483647 w 186"/>
                  <a:gd name="T97" fmla="*/ 2147483647 h 10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86" h="104">
                    <a:moveTo>
                      <a:pt x="153" y="21"/>
                    </a:moveTo>
                    <a:lnTo>
                      <a:pt x="146" y="21"/>
                    </a:lnTo>
                    <a:lnTo>
                      <a:pt x="141" y="20"/>
                    </a:lnTo>
                    <a:lnTo>
                      <a:pt x="136" y="18"/>
                    </a:lnTo>
                    <a:lnTo>
                      <a:pt x="133" y="15"/>
                    </a:lnTo>
                    <a:lnTo>
                      <a:pt x="130" y="13"/>
                    </a:lnTo>
                    <a:lnTo>
                      <a:pt x="125" y="11"/>
                    </a:lnTo>
                    <a:lnTo>
                      <a:pt x="120" y="10"/>
                    </a:lnTo>
                    <a:lnTo>
                      <a:pt x="113" y="9"/>
                    </a:lnTo>
                    <a:lnTo>
                      <a:pt x="100" y="8"/>
                    </a:lnTo>
                    <a:lnTo>
                      <a:pt x="88" y="6"/>
                    </a:lnTo>
                    <a:lnTo>
                      <a:pt x="75" y="3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41" y="10"/>
                    </a:lnTo>
                    <a:lnTo>
                      <a:pt x="40" y="15"/>
                    </a:lnTo>
                    <a:lnTo>
                      <a:pt x="34" y="27"/>
                    </a:lnTo>
                    <a:lnTo>
                      <a:pt x="20" y="47"/>
                    </a:lnTo>
                    <a:lnTo>
                      <a:pt x="7" y="66"/>
                    </a:lnTo>
                    <a:lnTo>
                      <a:pt x="0" y="77"/>
                    </a:lnTo>
                    <a:lnTo>
                      <a:pt x="8" y="77"/>
                    </a:lnTo>
                    <a:lnTo>
                      <a:pt x="16" y="78"/>
                    </a:lnTo>
                    <a:lnTo>
                      <a:pt x="21" y="79"/>
                    </a:lnTo>
                    <a:lnTo>
                      <a:pt x="25" y="81"/>
                    </a:lnTo>
                    <a:lnTo>
                      <a:pt x="33" y="85"/>
                    </a:lnTo>
                    <a:lnTo>
                      <a:pt x="40" y="89"/>
                    </a:lnTo>
                    <a:lnTo>
                      <a:pt x="45" y="94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1" y="101"/>
                    </a:lnTo>
                    <a:lnTo>
                      <a:pt x="66" y="102"/>
                    </a:lnTo>
                    <a:lnTo>
                      <a:pt x="74" y="102"/>
                    </a:lnTo>
                    <a:lnTo>
                      <a:pt x="107" y="103"/>
                    </a:lnTo>
                    <a:lnTo>
                      <a:pt x="131" y="104"/>
                    </a:lnTo>
                    <a:lnTo>
                      <a:pt x="135" y="103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5" y="97"/>
                    </a:lnTo>
                    <a:lnTo>
                      <a:pt x="147" y="94"/>
                    </a:lnTo>
                    <a:lnTo>
                      <a:pt x="150" y="88"/>
                    </a:lnTo>
                    <a:lnTo>
                      <a:pt x="152" y="83"/>
                    </a:lnTo>
                    <a:lnTo>
                      <a:pt x="153" y="77"/>
                    </a:lnTo>
                    <a:lnTo>
                      <a:pt x="186" y="27"/>
                    </a:lnTo>
                    <a:lnTo>
                      <a:pt x="153" y="21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7" name="Freeform 450"/>
              <p:cNvSpPr>
                <a:spLocks/>
              </p:cNvSpPr>
              <p:nvPr>
                <p:custDataLst>
                  <p:tags r:id="rId353"/>
                </p:custDataLst>
              </p:nvPr>
            </p:nvSpPr>
            <p:spPr bwMode="auto">
              <a:xfrm>
                <a:off x="7568987" y="3478237"/>
                <a:ext cx="374792" cy="591510"/>
              </a:xfrm>
              <a:custGeom>
                <a:avLst/>
                <a:gdLst>
                  <a:gd name="T0" fmla="*/ 2147483647 w 684"/>
                  <a:gd name="T1" fmla="*/ 2147483647 h 998"/>
                  <a:gd name="T2" fmla="*/ 2147483647 w 684"/>
                  <a:gd name="T3" fmla="*/ 2147483647 h 998"/>
                  <a:gd name="T4" fmla="*/ 2147483647 w 684"/>
                  <a:gd name="T5" fmla="*/ 2147483647 h 998"/>
                  <a:gd name="T6" fmla="*/ 2147483647 w 684"/>
                  <a:gd name="T7" fmla="*/ 2147483647 h 998"/>
                  <a:gd name="T8" fmla="*/ 2147483647 w 684"/>
                  <a:gd name="T9" fmla="*/ 2147483647 h 998"/>
                  <a:gd name="T10" fmla="*/ 2147483647 w 684"/>
                  <a:gd name="T11" fmla="*/ 2147483647 h 998"/>
                  <a:gd name="T12" fmla="*/ 2147483647 w 684"/>
                  <a:gd name="T13" fmla="*/ 2147483647 h 998"/>
                  <a:gd name="T14" fmla="*/ 2147483647 w 684"/>
                  <a:gd name="T15" fmla="*/ 2147483647 h 998"/>
                  <a:gd name="T16" fmla="*/ 2147483647 w 684"/>
                  <a:gd name="T17" fmla="*/ 2147483647 h 998"/>
                  <a:gd name="T18" fmla="*/ 2147483647 w 684"/>
                  <a:gd name="T19" fmla="*/ 2147483647 h 998"/>
                  <a:gd name="T20" fmla="*/ 2147483647 w 684"/>
                  <a:gd name="T21" fmla="*/ 2147483647 h 998"/>
                  <a:gd name="T22" fmla="*/ 2147483647 w 684"/>
                  <a:gd name="T23" fmla="*/ 2147483647 h 998"/>
                  <a:gd name="T24" fmla="*/ 2147483647 w 684"/>
                  <a:gd name="T25" fmla="*/ 2147483647 h 998"/>
                  <a:gd name="T26" fmla="*/ 2147483647 w 684"/>
                  <a:gd name="T27" fmla="*/ 2147483647 h 998"/>
                  <a:gd name="T28" fmla="*/ 2147483647 w 684"/>
                  <a:gd name="T29" fmla="*/ 2147483647 h 998"/>
                  <a:gd name="T30" fmla="*/ 2147483647 w 684"/>
                  <a:gd name="T31" fmla="*/ 2147483647 h 998"/>
                  <a:gd name="T32" fmla="*/ 2147483647 w 684"/>
                  <a:gd name="T33" fmla="*/ 2147483647 h 998"/>
                  <a:gd name="T34" fmla="*/ 2147483647 w 684"/>
                  <a:gd name="T35" fmla="*/ 2147483647 h 998"/>
                  <a:gd name="T36" fmla="*/ 2147483647 w 684"/>
                  <a:gd name="T37" fmla="*/ 2147483647 h 998"/>
                  <a:gd name="T38" fmla="*/ 2147483647 w 684"/>
                  <a:gd name="T39" fmla="*/ 2147483647 h 998"/>
                  <a:gd name="T40" fmla="*/ 2147483647 w 684"/>
                  <a:gd name="T41" fmla="*/ 2147483647 h 998"/>
                  <a:gd name="T42" fmla="*/ 2147483647 w 684"/>
                  <a:gd name="T43" fmla="*/ 2147483647 h 998"/>
                  <a:gd name="T44" fmla="*/ 2147483647 w 684"/>
                  <a:gd name="T45" fmla="*/ 2147483647 h 998"/>
                  <a:gd name="T46" fmla="*/ 2147483647 w 684"/>
                  <a:gd name="T47" fmla="*/ 2147483647 h 998"/>
                  <a:gd name="T48" fmla="*/ 2147483647 w 684"/>
                  <a:gd name="T49" fmla="*/ 2147483647 h 998"/>
                  <a:gd name="T50" fmla="*/ 2147483647 w 684"/>
                  <a:gd name="T51" fmla="*/ 2147483647 h 998"/>
                  <a:gd name="T52" fmla="*/ 2147483647 w 684"/>
                  <a:gd name="T53" fmla="*/ 2147483647 h 998"/>
                  <a:gd name="T54" fmla="*/ 2147483647 w 684"/>
                  <a:gd name="T55" fmla="*/ 2147483647 h 998"/>
                  <a:gd name="T56" fmla="*/ 2147483647 w 684"/>
                  <a:gd name="T57" fmla="*/ 2147483647 h 998"/>
                  <a:gd name="T58" fmla="*/ 2147483647 w 684"/>
                  <a:gd name="T59" fmla="*/ 2147483647 h 998"/>
                  <a:gd name="T60" fmla="*/ 1809546187 w 684"/>
                  <a:gd name="T61" fmla="*/ 2147483647 h 998"/>
                  <a:gd name="T62" fmla="*/ 2147483647 w 684"/>
                  <a:gd name="T63" fmla="*/ 2147483647 h 998"/>
                  <a:gd name="T64" fmla="*/ 2147483647 w 684"/>
                  <a:gd name="T65" fmla="*/ 2147483647 h 998"/>
                  <a:gd name="T66" fmla="*/ 2147483647 w 684"/>
                  <a:gd name="T67" fmla="*/ 2147483647 h 998"/>
                  <a:gd name="T68" fmla="*/ 2147483647 w 684"/>
                  <a:gd name="T69" fmla="*/ 2147483647 h 998"/>
                  <a:gd name="T70" fmla="*/ 2147483647 w 684"/>
                  <a:gd name="T71" fmla="*/ 2147483647 h 998"/>
                  <a:gd name="T72" fmla="*/ 2147483647 w 684"/>
                  <a:gd name="T73" fmla="*/ 2147483647 h 998"/>
                  <a:gd name="T74" fmla="*/ 2147483647 w 684"/>
                  <a:gd name="T75" fmla="*/ 2147483647 h 998"/>
                  <a:gd name="T76" fmla="*/ 2147483647 w 684"/>
                  <a:gd name="T77" fmla="*/ 2147483647 h 998"/>
                  <a:gd name="T78" fmla="*/ 2147483647 w 684"/>
                  <a:gd name="T79" fmla="*/ 2147483647 h 998"/>
                  <a:gd name="T80" fmla="*/ 2147483647 w 684"/>
                  <a:gd name="T81" fmla="*/ 2147483647 h 998"/>
                  <a:gd name="T82" fmla="*/ 2147483647 w 684"/>
                  <a:gd name="T83" fmla="*/ 2147483647 h 998"/>
                  <a:gd name="T84" fmla="*/ 2147483647 w 684"/>
                  <a:gd name="T85" fmla="*/ 2147483647 h 998"/>
                  <a:gd name="T86" fmla="*/ 2147483647 w 684"/>
                  <a:gd name="T87" fmla="*/ 2147483647 h 998"/>
                  <a:gd name="T88" fmla="*/ 2147483647 w 684"/>
                  <a:gd name="T89" fmla="*/ 2147483647 h 998"/>
                  <a:gd name="T90" fmla="*/ 2147483647 w 684"/>
                  <a:gd name="T91" fmla="*/ 2147483647 h 998"/>
                  <a:gd name="T92" fmla="*/ 2147483647 w 684"/>
                  <a:gd name="T93" fmla="*/ 2147483647 h 998"/>
                  <a:gd name="T94" fmla="*/ 2147483647 w 684"/>
                  <a:gd name="T95" fmla="*/ 2147483647 h 998"/>
                  <a:gd name="T96" fmla="*/ 2147483647 w 684"/>
                  <a:gd name="T97" fmla="*/ 2147483647 h 998"/>
                  <a:gd name="T98" fmla="*/ 2147483647 w 684"/>
                  <a:gd name="T99" fmla="*/ 2147483647 h 998"/>
                  <a:gd name="T100" fmla="*/ 2147483647 w 684"/>
                  <a:gd name="T101" fmla="*/ 2147483647 h 998"/>
                  <a:gd name="T102" fmla="*/ 2147483647 w 684"/>
                  <a:gd name="T103" fmla="*/ 2147483647 h 998"/>
                  <a:gd name="T104" fmla="*/ 2147483647 w 684"/>
                  <a:gd name="T105" fmla="*/ 2147483647 h 998"/>
                  <a:gd name="T106" fmla="*/ 2147483647 w 684"/>
                  <a:gd name="T107" fmla="*/ 2147483647 h 998"/>
                  <a:gd name="T108" fmla="*/ 2147483647 w 684"/>
                  <a:gd name="T109" fmla="*/ 2147483647 h 998"/>
                  <a:gd name="T110" fmla="*/ 2147483647 w 684"/>
                  <a:gd name="T111" fmla="*/ 2147483647 h 99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84" h="998">
                    <a:moveTo>
                      <a:pt x="684" y="622"/>
                    </a:moveTo>
                    <a:lnTo>
                      <a:pt x="680" y="609"/>
                    </a:lnTo>
                    <a:lnTo>
                      <a:pt x="676" y="596"/>
                    </a:lnTo>
                    <a:lnTo>
                      <a:pt x="672" y="583"/>
                    </a:lnTo>
                    <a:lnTo>
                      <a:pt x="671" y="573"/>
                    </a:lnTo>
                    <a:lnTo>
                      <a:pt x="671" y="568"/>
                    </a:lnTo>
                    <a:lnTo>
                      <a:pt x="673" y="564"/>
                    </a:lnTo>
                    <a:lnTo>
                      <a:pt x="676" y="559"/>
                    </a:lnTo>
                    <a:lnTo>
                      <a:pt x="678" y="555"/>
                    </a:lnTo>
                    <a:lnTo>
                      <a:pt x="680" y="550"/>
                    </a:lnTo>
                    <a:lnTo>
                      <a:pt x="682" y="546"/>
                    </a:lnTo>
                    <a:lnTo>
                      <a:pt x="683" y="541"/>
                    </a:lnTo>
                    <a:lnTo>
                      <a:pt x="684" y="537"/>
                    </a:lnTo>
                    <a:lnTo>
                      <a:pt x="680" y="519"/>
                    </a:lnTo>
                    <a:lnTo>
                      <a:pt x="671" y="491"/>
                    </a:lnTo>
                    <a:lnTo>
                      <a:pt x="666" y="475"/>
                    </a:lnTo>
                    <a:lnTo>
                      <a:pt x="662" y="459"/>
                    </a:lnTo>
                    <a:lnTo>
                      <a:pt x="659" y="444"/>
                    </a:lnTo>
                    <a:lnTo>
                      <a:pt x="658" y="432"/>
                    </a:lnTo>
                    <a:lnTo>
                      <a:pt x="659" y="423"/>
                    </a:lnTo>
                    <a:lnTo>
                      <a:pt x="661" y="415"/>
                    </a:lnTo>
                    <a:lnTo>
                      <a:pt x="665" y="409"/>
                    </a:lnTo>
                    <a:lnTo>
                      <a:pt x="669" y="403"/>
                    </a:lnTo>
                    <a:lnTo>
                      <a:pt x="673" y="396"/>
                    </a:lnTo>
                    <a:lnTo>
                      <a:pt x="678" y="389"/>
                    </a:lnTo>
                    <a:lnTo>
                      <a:pt x="681" y="381"/>
                    </a:lnTo>
                    <a:lnTo>
                      <a:pt x="684" y="370"/>
                    </a:lnTo>
                    <a:lnTo>
                      <a:pt x="571" y="370"/>
                    </a:lnTo>
                    <a:lnTo>
                      <a:pt x="564" y="366"/>
                    </a:lnTo>
                    <a:lnTo>
                      <a:pt x="557" y="361"/>
                    </a:lnTo>
                    <a:lnTo>
                      <a:pt x="550" y="355"/>
                    </a:lnTo>
                    <a:lnTo>
                      <a:pt x="544" y="347"/>
                    </a:lnTo>
                    <a:lnTo>
                      <a:pt x="539" y="340"/>
                    </a:lnTo>
                    <a:lnTo>
                      <a:pt x="535" y="333"/>
                    </a:lnTo>
                    <a:lnTo>
                      <a:pt x="533" y="326"/>
                    </a:lnTo>
                    <a:lnTo>
                      <a:pt x="532" y="321"/>
                    </a:lnTo>
                    <a:lnTo>
                      <a:pt x="512" y="320"/>
                    </a:lnTo>
                    <a:lnTo>
                      <a:pt x="494" y="318"/>
                    </a:lnTo>
                    <a:lnTo>
                      <a:pt x="477" y="315"/>
                    </a:lnTo>
                    <a:lnTo>
                      <a:pt x="462" y="310"/>
                    </a:lnTo>
                    <a:lnTo>
                      <a:pt x="447" y="304"/>
                    </a:lnTo>
                    <a:lnTo>
                      <a:pt x="434" y="298"/>
                    </a:lnTo>
                    <a:lnTo>
                      <a:pt x="423" y="290"/>
                    </a:lnTo>
                    <a:lnTo>
                      <a:pt x="412" y="281"/>
                    </a:lnTo>
                    <a:lnTo>
                      <a:pt x="402" y="270"/>
                    </a:lnTo>
                    <a:lnTo>
                      <a:pt x="395" y="259"/>
                    </a:lnTo>
                    <a:lnTo>
                      <a:pt x="388" y="246"/>
                    </a:lnTo>
                    <a:lnTo>
                      <a:pt x="382" y="232"/>
                    </a:lnTo>
                    <a:lnTo>
                      <a:pt x="378" y="218"/>
                    </a:lnTo>
                    <a:lnTo>
                      <a:pt x="375" y="201"/>
                    </a:lnTo>
                    <a:lnTo>
                      <a:pt x="373" y="184"/>
                    </a:lnTo>
                    <a:lnTo>
                      <a:pt x="373" y="167"/>
                    </a:lnTo>
                    <a:lnTo>
                      <a:pt x="373" y="155"/>
                    </a:lnTo>
                    <a:lnTo>
                      <a:pt x="374" y="144"/>
                    </a:lnTo>
                    <a:lnTo>
                      <a:pt x="375" y="133"/>
                    </a:lnTo>
                    <a:lnTo>
                      <a:pt x="377" y="123"/>
                    </a:lnTo>
                    <a:lnTo>
                      <a:pt x="380" y="113"/>
                    </a:lnTo>
                    <a:lnTo>
                      <a:pt x="385" y="103"/>
                    </a:lnTo>
                    <a:lnTo>
                      <a:pt x="389" y="94"/>
                    </a:lnTo>
                    <a:lnTo>
                      <a:pt x="395" y="84"/>
                    </a:lnTo>
                    <a:lnTo>
                      <a:pt x="401" y="76"/>
                    </a:lnTo>
                    <a:lnTo>
                      <a:pt x="408" y="68"/>
                    </a:lnTo>
                    <a:lnTo>
                      <a:pt x="416" y="61"/>
                    </a:lnTo>
                    <a:lnTo>
                      <a:pt x="425" y="54"/>
                    </a:lnTo>
                    <a:lnTo>
                      <a:pt x="435" y="48"/>
                    </a:lnTo>
                    <a:lnTo>
                      <a:pt x="446" y="42"/>
                    </a:lnTo>
                    <a:lnTo>
                      <a:pt x="458" y="36"/>
                    </a:lnTo>
                    <a:lnTo>
                      <a:pt x="471" y="31"/>
                    </a:lnTo>
                    <a:lnTo>
                      <a:pt x="471" y="18"/>
                    </a:lnTo>
                    <a:lnTo>
                      <a:pt x="463" y="11"/>
                    </a:lnTo>
                    <a:lnTo>
                      <a:pt x="455" y="7"/>
                    </a:lnTo>
                    <a:lnTo>
                      <a:pt x="447" y="4"/>
                    </a:lnTo>
                    <a:lnTo>
                      <a:pt x="438" y="0"/>
                    </a:lnTo>
                    <a:lnTo>
                      <a:pt x="414" y="19"/>
                    </a:lnTo>
                    <a:lnTo>
                      <a:pt x="389" y="39"/>
                    </a:lnTo>
                    <a:lnTo>
                      <a:pt x="378" y="48"/>
                    </a:lnTo>
                    <a:lnTo>
                      <a:pt x="367" y="56"/>
                    </a:lnTo>
                    <a:lnTo>
                      <a:pt x="356" y="63"/>
                    </a:lnTo>
                    <a:lnTo>
                      <a:pt x="345" y="68"/>
                    </a:lnTo>
                    <a:lnTo>
                      <a:pt x="335" y="68"/>
                    </a:lnTo>
                    <a:lnTo>
                      <a:pt x="326" y="68"/>
                    </a:lnTo>
                    <a:lnTo>
                      <a:pt x="319" y="68"/>
                    </a:lnTo>
                    <a:lnTo>
                      <a:pt x="312" y="68"/>
                    </a:lnTo>
                    <a:lnTo>
                      <a:pt x="309" y="74"/>
                    </a:lnTo>
                    <a:lnTo>
                      <a:pt x="304" y="78"/>
                    </a:lnTo>
                    <a:lnTo>
                      <a:pt x="299" y="81"/>
                    </a:lnTo>
                    <a:lnTo>
                      <a:pt x="295" y="83"/>
                    </a:lnTo>
                    <a:lnTo>
                      <a:pt x="289" y="85"/>
                    </a:lnTo>
                    <a:lnTo>
                      <a:pt x="284" y="85"/>
                    </a:lnTo>
                    <a:lnTo>
                      <a:pt x="278" y="84"/>
                    </a:lnTo>
                    <a:lnTo>
                      <a:pt x="273" y="84"/>
                    </a:lnTo>
                    <a:lnTo>
                      <a:pt x="262" y="82"/>
                    </a:lnTo>
                    <a:lnTo>
                      <a:pt x="251" y="81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36" y="83"/>
                    </a:lnTo>
                    <a:lnTo>
                      <a:pt x="233" y="86"/>
                    </a:lnTo>
                    <a:lnTo>
                      <a:pt x="225" y="94"/>
                    </a:lnTo>
                    <a:lnTo>
                      <a:pt x="221" y="101"/>
                    </a:lnTo>
                    <a:lnTo>
                      <a:pt x="217" y="108"/>
                    </a:lnTo>
                    <a:lnTo>
                      <a:pt x="213" y="114"/>
                    </a:lnTo>
                    <a:lnTo>
                      <a:pt x="209" y="128"/>
                    </a:lnTo>
                    <a:lnTo>
                      <a:pt x="206" y="143"/>
                    </a:lnTo>
                    <a:lnTo>
                      <a:pt x="201" y="159"/>
                    </a:lnTo>
                    <a:lnTo>
                      <a:pt x="196" y="175"/>
                    </a:lnTo>
                    <a:lnTo>
                      <a:pt x="192" y="183"/>
                    </a:lnTo>
                    <a:lnTo>
                      <a:pt x="187" y="191"/>
                    </a:lnTo>
                    <a:lnTo>
                      <a:pt x="180" y="200"/>
                    </a:lnTo>
                    <a:lnTo>
                      <a:pt x="173" y="210"/>
                    </a:lnTo>
                    <a:lnTo>
                      <a:pt x="157" y="227"/>
                    </a:lnTo>
                    <a:lnTo>
                      <a:pt x="140" y="244"/>
                    </a:lnTo>
                    <a:lnTo>
                      <a:pt x="131" y="253"/>
                    </a:lnTo>
                    <a:lnTo>
                      <a:pt x="122" y="263"/>
                    </a:lnTo>
                    <a:lnTo>
                      <a:pt x="115" y="273"/>
                    </a:lnTo>
                    <a:lnTo>
                      <a:pt x="107" y="284"/>
                    </a:lnTo>
                    <a:lnTo>
                      <a:pt x="102" y="288"/>
                    </a:lnTo>
                    <a:lnTo>
                      <a:pt x="98" y="294"/>
                    </a:lnTo>
                    <a:lnTo>
                      <a:pt x="96" y="299"/>
                    </a:lnTo>
                    <a:lnTo>
                      <a:pt x="94" y="305"/>
                    </a:lnTo>
                    <a:lnTo>
                      <a:pt x="90" y="317"/>
                    </a:lnTo>
                    <a:lnTo>
                      <a:pt x="86" y="327"/>
                    </a:lnTo>
                    <a:lnTo>
                      <a:pt x="85" y="331"/>
                    </a:lnTo>
                    <a:lnTo>
                      <a:pt x="84" y="338"/>
                    </a:lnTo>
                    <a:lnTo>
                      <a:pt x="84" y="347"/>
                    </a:lnTo>
                    <a:lnTo>
                      <a:pt x="86" y="356"/>
                    </a:lnTo>
                    <a:lnTo>
                      <a:pt x="88" y="366"/>
                    </a:lnTo>
                    <a:lnTo>
                      <a:pt x="91" y="375"/>
                    </a:lnTo>
                    <a:lnTo>
                      <a:pt x="93" y="378"/>
                    </a:lnTo>
                    <a:lnTo>
                      <a:pt x="95" y="380"/>
                    </a:lnTo>
                    <a:lnTo>
                      <a:pt x="97" y="382"/>
                    </a:lnTo>
                    <a:lnTo>
                      <a:pt x="100" y="382"/>
                    </a:lnTo>
                    <a:lnTo>
                      <a:pt x="98" y="397"/>
                    </a:lnTo>
                    <a:lnTo>
                      <a:pt x="97" y="414"/>
                    </a:lnTo>
                    <a:lnTo>
                      <a:pt x="97" y="433"/>
                    </a:lnTo>
                    <a:lnTo>
                      <a:pt x="97" y="451"/>
                    </a:lnTo>
                    <a:lnTo>
                      <a:pt x="99" y="484"/>
                    </a:lnTo>
                    <a:lnTo>
                      <a:pt x="100" y="505"/>
                    </a:lnTo>
                    <a:lnTo>
                      <a:pt x="99" y="511"/>
                    </a:lnTo>
                    <a:lnTo>
                      <a:pt x="98" y="518"/>
                    </a:lnTo>
                    <a:lnTo>
                      <a:pt x="95" y="525"/>
                    </a:lnTo>
                    <a:lnTo>
                      <a:pt x="91" y="532"/>
                    </a:lnTo>
                    <a:lnTo>
                      <a:pt x="88" y="541"/>
                    </a:lnTo>
                    <a:lnTo>
                      <a:pt x="83" y="548"/>
                    </a:lnTo>
                    <a:lnTo>
                      <a:pt x="77" y="556"/>
                    </a:lnTo>
                    <a:lnTo>
                      <a:pt x="72" y="563"/>
                    </a:lnTo>
                    <a:lnTo>
                      <a:pt x="65" y="570"/>
                    </a:lnTo>
                    <a:lnTo>
                      <a:pt x="59" y="576"/>
                    </a:lnTo>
                    <a:lnTo>
                      <a:pt x="51" y="582"/>
                    </a:lnTo>
                    <a:lnTo>
                      <a:pt x="43" y="587"/>
                    </a:lnTo>
                    <a:lnTo>
                      <a:pt x="37" y="592"/>
                    </a:lnTo>
                    <a:lnTo>
                      <a:pt x="29" y="596"/>
                    </a:lnTo>
                    <a:lnTo>
                      <a:pt x="21" y="598"/>
                    </a:lnTo>
                    <a:lnTo>
                      <a:pt x="14" y="598"/>
                    </a:lnTo>
                    <a:lnTo>
                      <a:pt x="12" y="605"/>
                    </a:lnTo>
                    <a:lnTo>
                      <a:pt x="11" y="612"/>
                    </a:lnTo>
                    <a:lnTo>
                      <a:pt x="9" y="618"/>
                    </a:lnTo>
                    <a:lnTo>
                      <a:pt x="7" y="625"/>
                    </a:lnTo>
                    <a:lnTo>
                      <a:pt x="3" y="637"/>
                    </a:lnTo>
                    <a:lnTo>
                      <a:pt x="0" y="648"/>
                    </a:lnTo>
                    <a:lnTo>
                      <a:pt x="30" y="668"/>
                    </a:lnTo>
                    <a:lnTo>
                      <a:pt x="67" y="694"/>
                    </a:lnTo>
                    <a:lnTo>
                      <a:pt x="87" y="707"/>
                    </a:lnTo>
                    <a:lnTo>
                      <a:pt x="106" y="718"/>
                    </a:lnTo>
                    <a:lnTo>
                      <a:pt x="115" y="722"/>
                    </a:lnTo>
                    <a:lnTo>
                      <a:pt x="123" y="725"/>
                    </a:lnTo>
                    <a:lnTo>
                      <a:pt x="132" y="727"/>
                    </a:lnTo>
                    <a:lnTo>
                      <a:pt x="140" y="727"/>
                    </a:lnTo>
                    <a:lnTo>
                      <a:pt x="153" y="727"/>
                    </a:lnTo>
                    <a:lnTo>
                      <a:pt x="166" y="727"/>
                    </a:lnTo>
                    <a:lnTo>
                      <a:pt x="175" y="728"/>
                    </a:lnTo>
                    <a:lnTo>
                      <a:pt x="184" y="729"/>
                    </a:lnTo>
                    <a:lnTo>
                      <a:pt x="192" y="730"/>
                    </a:lnTo>
                    <a:lnTo>
                      <a:pt x="201" y="732"/>
                    </a:lnTo>
                    <a:lnTo>
                      <a:pt x="218" y="738"/>
                    </a:lnTo>
                    <a:lnTo>
                      <a:pt x="234" y="746"/>
                    </a:lnTo>
                    <a:lnTo>
                      <a:pt x="250" y="755"/>
                    </a:lnTo>
                    <a:lnTo>
                      <a:pt x="265" y="767"/>
                    </a:lnTo>
                    <a:lnTo>
                      <a:pt x="279" y="778"/>
                    </a:lnTo>
                    <a:lnTo>
                      <a:pt x="292" y="789"/>
                    </a:lnTo>
                    <a:lnTo>
                      <a:pt x="299" y="795"/>
                    </a:lnTo>
                    <a:lnTo>
                      <a:pt x="306" y="802"/>
                    </a:lnTo>
                    <a:lnTo>
                      <a:pt x="312" y="809"/>
                    </a:lnTo>
                    <a:lnTo>
                      <a:pt x="318" y="818"/>
                    </a:lnTo>
                    <a:lnTo>
                      <a:pt x="328" y="834"/>
                    </a:lnTo>
                    <a:lnTo>
                      <a:pt x="337" y="850"/>
                    </a:lnTo>
                    <a:lnTo>
                      <a:pt x="342" y="857"/>
                    </a:lnTo>
                    <a:lnTo>
                      <a:pt x="347" y="864"/>
                    </a:lnTo>
                    <a:lnTo>
                      <a:pt x="354" y="871"/>
                    </a:lnTo>
                    <a:lnTo>
                      <a:pt x="359" y="877"/>
                    </a:lnTo>
                    <a:lnTo>
                      <a:pt x="367" y="881"/>
                    </a:lnTo>
                    <a:lnTo>
                      <a:pt x="374" y="885"/>
                    </a:lnTo>
                    <a:lnTo>
                      <a:pt x="382" y="887"/>
                    </a:lnTo>
                    <a:lnTo>
                      <a:pt x="392" y="888"/>
                    </a:lnTo>
                    <a:lnTo>
                      <a:pt x="402" y="887"/>
                    </a:lnTo>
                    <a:lnTo>
                      <a:pt x="412" y="886"/>
                    </a:lnTo>
                    <a:lnTo>
                      <a:pt x="422" y="884"/>
                    </a:lnTo>
                    <a:lnTo>
                      <a:pt x="432" y="882"/>
                    </a:lnTo>
                    <a:lnTo>
                      <a:pt x="442" y="879"/>
                    </a:lnTo>
                    <a:lnTo>
                      <a:pt x="452" y="877"/>
                    </a:lnTo>
                    <a:lnTo>
                      <a:pt x="462" y="876"/>
                    </a:lnTo>
                    <a:lnTo>
                      <a:pt x="471" y="875"/>
                    </a:lnTo>
                    <a:lnTo>
                      <a:pt x="478" y="876"/>
                    </a:lnTo>
                    <a:lnTo>
                      <a:pt x="485" y="878"/>
                    </a:lnTo>
                    <a:lnTo>
                      <a:pt x="489" y="878"/>
                    </a:lnTo>
                    <a:lnTo>
                      <a:pt x="492" y="878"/>
                    </a:lnTo>
                    <a:lnTo>
                      <a:pt x="496" y="877"/>
                    </a:lnTo>
                    <a:lnTo>
                      <a:pt x="499" y="875"/>
                    </a:lnTo>
                    <a:lnTo>
                      <a:pt x="501" y="883"/>
                    </a:lnTo>
                    <a:lnTo>
                      <a:pt x="509" y="894"/>
                    </a:lnTo>
                    <a:lnTo>
                      <a:pt x="515" y="904"/>
                    </a:lnTo>
                    <a:lnTo>
                      <a:pt x="519" y="912"/>
                    </a:lnTo>
                    <a:lnTo>
                      <a:pt x="518" y="915"/>
                    </a:lnTo>
                    <a:lnTo>
                      <a:pt x="516" y="918"/>
                    </a:lnTo>
                    <a:lnTo>
                      <a:pt x="515" y="920"/>
                    </a:lnTo>
                    <a:lnTo>
                      <a:pt x="513" y="922"/>
                    </a:lnTo>
                    <a:lnTo>
                      <a:pt x="508" y="927"/>
                    </a:lnTo>
                    <a:lnTo>
                      <a:pt x="502" y="930"/>
                    </a:lnTo>
                    <a:lnTo>
                      <a:pt x="496" y="933"/>
                    </a:lnTo>
                    <a:lnTo>
                      <a:pt x="490" y="936"/>
                    </a:lnTo>
                    <a:lnTo>
                      <a:pt x="488" y="937"/>
                    </a:lnTo>
                    <a:lnTo>
                      <a:pt x="487" y="939"/>
                    </a:lnTo>
                    <a:lnTo>
                      <a:pt x="486" y="941"/>
                    </a:lnTo>
                    <a:lnTo>
                      <a:pt x="485" y="943"/>
                    </a:lnTo>
                    <a:lnTo>
                      <a:pt x="486" y="954"/>
                    </a:lnTo>
                    <a:lnTo>
                      <a:pt x="488" y="963"/>
                    </a:lnTo>
                    <a:lnTo>
                      <a:pt x="490" y="970"/>
                    </a:lnTo>
                    <a:lnTo>
                      <a:pt x="494" y="977"/>
                    </a:lnTo>
                    <a:lnTo>
                      <a:pt x="499" y="984"/>
                    </a:lnTo>
                    <a:lnTo>
                      <a:pt x="504" y="989"/>
                    </a:lnTo>
                    <a:lnTo>
                      <a:pt x="511" y="994"/>
                    </a:lnTo>
                    <a:lnTo>
                      <a:pt x="519" y="998"/>
                    </a:lnTo>
                    <a:lnTo>
                      <a:pt x="538" y="998"/>
                    </a:lnTo>
                    <a:lnTo>
                      <a:pt x="538" y="986"/>
                    </a:lnTo>
                    <a:lnTo>
                      <a:pt x="539" y="973"/>
                    </a:lnTo>
                    <a:lnTo>
                      <a:pt x="542" y="962"/>
                    </a:lnTo>
                    <a:lnTo>
                      <a:pt x="544" y="950"/>
                    </a:lnTo>
                    <a:lnTo>
                      <a:pt x="548" y="928"/>
                    </a:lnTo>
                    <a:lnTo>
                      <a:pt x="555" y="906"/>
                    </a:lnTo>
                    <a:lnTo>
                      <a:pt x="561" y="884"/>
                    </a:lnTo>
                    <a:lnTo>
                      <a:pt x="566" y="861"/>
                    </a:lnTo>
                    <a:lnTo>
                      <a:pt x="568" y="850"/>
                    </a:lnTo>
                    <a:lnTo>
                      <a:pt x="570" y="838"/>
                    </a:lnTo>
                    <a:lnTo>
                      <a:pt x="571" y="826"/>
                    </a:lnTo>
                    <a:lnTo>
                      <a:pt x="571" y="813"/>
                    </a:lnTo>
                    <a:lnTo>
                      <a:pt x="571" y="803"/>
                    </a:lnTo>
                    <a:lnTo>
                      <a:pt x="569" y="794"/>
                    </a:lnTo>
                    <a:lnTo>
                      <a:pt x="567" y="786"/>
                    </a:lnTo>
                    <a:lnTo>
                      <a:pt x="564" y="780"/>
                    </a:lnTo>
                    <a:lnTo>
                      <a:pt x="559" y="775"/>
                    </a:lnTo>
                    <a:lnTo>
                      <a:pt x="555" y="771"/>
                    </a:lnTo>
                    <a:lnTo>
                      <a:pt x="549" y="768"/>
                    </a:lnTo>
                    <a:lnTo>
                      <a:pt x="545" y="765"/>
                    </a:lnTo>
                    <a:lnTo>
                      <a:pt x="535" y="759"/>
                    </a:lnTo>
                    <a:lnTo>
                      <a:pt x="526" y="752"/>
                    </a:lnTo>
                    <a:lnTo>
                      <a:pt x="523" y="749"/>
                    </a:lnTo>
                    <a:lnTo>
                      <a:pt x="521" y="745"/>
                    </a:lnTo>
                    <a:lnTo>
                      <a:pt x="519" y="740"/>
                    </a:lnTo>
                    <a:lnTo>
                      <a:pt x="519" y="733"/>
                    </a:lnTo>
                    <a:lnTo>
                      <a:pt x="519" y="728"/>
                    </a:lnTo>
                    <a:lnTo>
                      <a:pt x="521" y="723"/>
                    </a:lnTo>
                    <a:lnTo>
                      <a:pt x="523" y="719"/>
                    </a:lnTo>
                    <a:lnTo>
                      <a:pt x="526" y="716"/>
                    </a:lnTo>
                    <a:lnTo>
                      <a:pt x="535" y="710"/>
                    </a:lnTo>
                    <a:lnTo>
                      <a:pt x="546" y="706"/>
                    </a:lnTo>
                    <a:lnTo>
                      <a:pt x="566" y="700"/>
                    </a:lnTo>
                    <a:lnTo>
                      <a:pt x="578" y="696"/>
                    </a:lnTo>
                    <a:lnTo>
                      <a:pt x="578" y="678"/>
                    </a:lnTo>
                    <a:lnTo>
                      <a:pt x="568" y="673"/>
                    </a:lnTo>
                    <a:lnTo>
                      <a:pt x="560" y="668"/>
                    </a:lnTo>
                    <a:lnTo>
                      <a:pt x="556" y="665"/>
                    </a:lnTo>
                    <a:lnTo>
                      <a:pt x="554" y="662"/>
                    </a:lnTo>
                    <a:lnTo>
                      <a:pt x="552" y="658"/>
                    </a:lnTo>
                    <a:lnTo>
                      <a:pt x="552" y="654"/>
                    </a:lnTo>
                    <a:lnTo>
                      <a:pt x="553" y="651"/>
                    </a:lnTo>
                    <a:lnTo>
                      <a:pt x="556" y="649"/>
                    </a:lnTo>
                    <a:lnTo>
                      <a:pt x="563" y="646"/>
                    </a:lnTo>
                    <a:lnTo>
                      <a:pt x="569" y="644"/>
                    </a:lnTo>
                    <a:lnTo>
                      <a:pt x="588" y="639"/>
                    </a:lnTo>
                    <a:lnTo>
                      <a:pt x="611" y="635"/>
                    </a:lnTo>
                    <a:lnTo>
                      <a:pt x="655" y="628"/>
                    </a:lnTo>
                    <a:lnTo>
                      <a:pt x="684" y="622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8" name="Freeform 541"/>
              <p:cNvSpPr>
                <a:spLocks/>
              </p:cNvSpPr>
              <p:nvPr>
                <p:custDataLst>
                  <p:tags r:id="rId354"/>
                </p:custDataLst>
              </p:nvPr>
            </p:nvSpPr>
            <p:spPr bwMode="auto">
              <a:xfrm>
                <a:off x="8246802" y="3704087"/>
                <a:ext cx="125596" cy="138018"/>
              </a:xfrm>
              <a:custGeom>
                <a:avLst/>
                <a:gdLst>
                  <a:gd name="T0" fmla="*/ 2147483647 w 226"/>
                  <a:gd name="T1" fmla="*/ 2147483647 h 237"/>
                  <a:gd name="T2" fmla="*/ 2147483647 w 226"/>
                  <a:gd name="T3" fmla="*/ 2147483647 h 237"/>
                  <a:gd name="T4" fmla="*/ 2147483647 w 226"/>
                  <a:gd name="T5" fmla="*/ 2147483647 h 237"/>
                  <a:gd name="T6" fmla="*/ 2147483647 w 226"/>
                  <a:gd name="T7" fmla="*/ 2147483647 h 237"/>
                  <a:gd name="T8" fmla="*/ 2147483647 w 226"/>
                  <a:gd name="T9" fmla="*/ 2147483647 h 237"/>
                  <a:gd name="T10" fmla="*/ 2147483647 w 226"/>
                  <a:gd name="T11" fmla="*/ 2147483647 h 237"/>
                  <a:gd name="T12" fmla="*/ 2147483647 w 226"/>
                  <a:gd name="T13" fmla="*/ 2147483647 h 237"/>
                  <a:gd name="T14" fmla="*/ 2147483647 w 226"/>
                  <a:gd name="T15" fmla="*/ 2147483647 h 237"/>
                  <a:gd name="T16" fmla="*/ 2147483647 w 226"/>
                  <a:gd name="T17" fmla="*/ 2147483647 h 237"/>
                  <a:gd name="T18" fmla="*/ 2147483647 w 226"/>
                  <a:gd name="T19" fmla="*/ 2147483647 h 237"/>
                  <a:gd name="T20" fmla="*/ 2147483647 w 226"/>
                  <a:gd name="T21" fmla="*/ 2147483647 h 237"/>
                  <a:gd name="T22" fmla="*/ 2147483647 w 226"/>
                  <a:gd name="T23" fmla="*/ 2147483647 h 237"/>
                  <a:gd name="T24" fmla="*/ 2147483647 w 226"/>
                  <a:gd name="T25" fmla="*/ 2147483647 h 237"/>
                  <a:gd name="T26" fmla="*/ 2147483647 w 226"/>
                  <a:gd name="T27" fmla="*/ 2147483647 h 237"/>
                  <a:gd name="T28" fmla="*/ 2147483647 w 226"/>
                  <a:gd name="T29" fmla="*/ 2147483647 h 237"/>
                  <a:gd name="T30" fmla="*/ 2147483647 w 226"/>
                  <a:gd name="T31" fmla="*/ 2147483647 h 237"/>
                  <a:gd name="T32" fmla="*/ 2147483647 w 226"/>
                  <a:gd name="T33" fmla="*/ 2147483647 h 237"/>
                  <a:gd name="T34" fmla="*/ 2147483647 w 226"/>
                  <a:gd name="T35" fmla="*/ 2147483647 h 237"/>
                  <a:gd name="T36" fmla="*/ 2147483647 w 226"/>
                  <a:gd name="T37" fmla="*/ 2147483647 h 237"/>
                  <a:gd name="T38" fmla="*/ 2147483647 w 226"/>
                  <a:gd name="T39" fmla="*/ 2147483647 h 237"/>
                  <a:gd name="T40" fmla="*/ 2147483647 w 226"/>
                  <a:gd name="T41" fmla="*/ 2147483647 h 237"/>
                  <a:gd name="T42" fmla="*/ 2147483647 w 226"/>
                  <a:gd name="T43" fmla="*/ 2147483647 h 237"/>
                  <a:gd name="T44" fmla="*/ 2147483647 w 226"/>
                  <a:gd name="T45" fmla="*/ 2147483647 h 237"/>
                  <a:gd name="T46" fmla="*/ 2147483647 w 226"/>
                  <a:gd name="T47" fmla="*/ 1382321317 h 237"/>
                  <a:gd name="T48" fmla="*/ 2147483647 w 226"/>
                  <a:gd name="T49" fmla="*/ 395094287 h 237"/>
                  <a:gd name="T50" fmla="*/ 2147483647 w 226"/>
                  <a:gd name="T51" fmla="*/ 1184943348 h 237"/>
                  <a:gd name="T52" fmla="*/ 2147483647 w 226"/>
                  <a:gd name="T53" fmla="*/ 2147483647 h 237"/>
                  <a:gd name="T54" fmla="*/ 1716228771 w 226"/>
                  <a:gd name="T55" fmla="*/ 2147483647 h 237"/>
                  <a:gd name="T56" fmla="*/ 514837455 w 226"/>
                  <a:gd name="T57" fmla="*/ 2147483647 h 237"/>
                  <a:gd name="T58" fmla="*/ 0 w 226"/>
                  <a:gd name="T59" fmla="*/ 2147483647 h 237"/>
                  <a:gd name="T60" fmla="*/ 514837455 w 226"/>
                  <a:gd name="T61" fmla="*/ 2147483647 h 237"/>
                  <a:gd name="T62" fmla="*/ 1716228771 w 226"/>
                  <a:gd name="T63" fmla="*/ 2147483647 h 237"/>
                  <a:gd name="T64" fmla="*/ 2147483647 w 226"/>
                  <a:gd name="T65" fmla="*/ 2147483647 h 237"/>
                  <a:gd name="T66" fmla="*/ 2147483647 w 226"/>
                  <a:gd name="T67" fmla="*/ 2147483647 h 237"/>
                  <a:gd name="T68" fmla="*/ 2147483647 w 226"/>
                  <a:gd name="T69" fmla="*/ 2147483647 h 237"/>
                  <a:gd name="T70" fmla="*/ 2147483647 w 226"/>
                  <a:gd name="T71" fmla="*/ 2147483647 h 23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26" h="237">
                    <a:moveTo>
                      <a:pt x="61" y="234"/>
                    </a:moveTo>
                    <a:lnTo>
                      <a:pt x="63" y="236"/>
                    </a:lnTo>
                    <a:lnTo>
                      <a:pt x="65" y="237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5" y="235"/>
                    </a:lnTo>
                    <a:lnTo>
                      <a:pt x="80" y="234"/>
                    </a:lnTo>
                    <a:lnTo>
                      <a:pt x="83" y="234"/>
                    </a:lnTo>
                    <a:lnTo>
                      <a:pt x="86" y="232"/>
                    </a:lnTo>
                    <a:lnTo>
                      <a:pt x="89" y="230"/>
                    </a:lnTo>
                    <a:lnTo>
                      <a:pt x="92" y="227"/>
                    </a:lnTo>
                    <a:lnTo>
                      <a:pt x="96" y="223"/>
                    </a:lnTo>
                    <a:lnTo>
                      <a:pt x="98" y="219"/>
                    </a:lnTo>
                    <a:lnTo>
                      <a:pt x="99" y="214"/>
                    </a:lnTo>
                    <a:lnTo>
                      <a:pt x="100" y="209"/>
                    </a:lnTo>
                    <a:lnTo>
                      <a:pt x="123" y="209"/>
                    </a:lnTo>
                    <a:lnTo>
                      <a:pt x="145" y="208"/>
                    </a:lnTo>
                    <a:lnTo>
                      <a:pt x="166" y="205"/>
                    </a:lnTo>
                    <a:lnTo>
                      <a:pt x="186" y="201"/>
                    </a:lnTo>
                    <a:lnTo>
                      <a:pt x="195" y="198"/>
                    </a:lnTo>
                    <a:lnTo>
                      <a:pt x="202" y="195"/>
                    </a:lnTo>
                    <a:lnTo>
                      <a:pt x="209" y="191"/>
                    </a:lnTo>
                    <a:lnTo>
                      <a:pt x="215" y="186"/>
                    </a:lnTo>
                    <a:lnTo>
                      <a:pt x="220" y="181"/>
                    </a:lnTo>
                    <a:lnTo>
                      <a:pt x="223" y="175"/>
                    </a:lnTo>
                    <a:lnTo>
                      <a:pt x="225" y="168"/>
                    </a:lnTo>
                    <a:lnTo>
                      <a:pt x="226" y="161"/>
                    </a:lnTo>
                    <a:lnTo>
                      <a:pt x="226" y="153"/>
                    </a:lnTo>
                    <a:lnTo>
                      <a:pt x="225" y="147"/>
                    </a:lnTo>
                    <a:lnTo>
                      <a:pt x="223" y="140"/>
                    </a:lnTo>
                    <a:lnTo>
                      <a:pt x="221" y="134"/>
                    </a:lnTo>
                    <a:lnTo>
                      <a:pt x="215" y="123"/>
                    </a:lnTo>
                    <a:lnTo>
                      <a:pt x="210" y="112"/>
                    </a:lnTo>
                    <a:lnTo>
                      <a:pt x="203" y="100"/>
                    </a:lnTo>
                    <a:lnTo>
                      <a:pt x="198" y="90"/>
                    </a:lnTo>
                    <a:lnTo>
                      <a:pt x="196" y="84"/>
                    </a:lnTo>
                    <a:lnTo>
                      <a:pt x="195" y="79"/>
                    </a:lnTo>
                    <a:lnTo>
                      <a:pt x="193" y="74"/>
                    </a:lnTo>
                    <a:lnTo>
                      <a:pt x="193" y="68"/>
                    </a:lnTo>
                    <a:lnTo>
                      <a:pt x="195" y="59"/>
                    </a:lnTo>
                    <a:lnTo>
                      <a:pt x="197" y="51"/>
                    </a:lnTo>
                    <a:lnTo>
                      <a:pt x="200" y="43"/>
                    </a:lnTo>
                    <a:lnTo>
                      <a:pt x="204" y="36"/>
                    </a:lnTo>
                    <a:lnTo>
                      <a:pt x="213" y="25"/>
                    </a:lnTo>
                    <a:lnTo>
                      <a:pt x="220" y="19"/>
                    </a:lnTo>
                    <a:lnTo>
                      <a:pt x="213" y="14"/>
                    </a:lnTo>
                    <a:lnTo>
                      <a:pt x="203" y="11"/>
                    </a:lnTo>
                    <a:lnTo>
                      <a:pt x="191" y="7"/>
                    </a:lnTo>
                    <a:lnTo>
                      <a:pt x="179" y="5"/>
                    </a:lnTo>
                    <a:lnTo>
                      <a:pt x="154" y="2"/>
                    </a:lnTo>
                    <a:lnTo>
                      <a:pt x="133" y="0"/>
                    </a:lnTo>
                    <a:lnTo>
                      <a:pt x="20" y="6"/>
                    </a:lnTo>
                    <a:lnTo>
                      <a:pt x="20" y="19"/>
                    </a:lnTo>
                    <a:lnTo>
                      <a:pt x="18" y="31"/>
                    </a:lnTo>
                    <a:lnTo>
                      <a:pt x="14" y="42"/>
                    </a:lnTo>
                    <a:lnTo>
                      <a:pt x="10" y="54"/>
                    </a:lnTo>
                    <a:lnTo>
                      <a:pt x="7" y="66"/>
                    </a:lnTo>
                    <a:lnTo>
                      <a:pt x="3" y="79"/>
                    </a:lnTo>
                    <a:lnTo>
                      <a:pt x="1" y="93"/>
                    </a:lnTo>
                    <a:lnTo>
                      <a:pt x="0" y="111"/>
                    </a:lnTo>
                    <a:lnTo>
                      <a:pt x="1" y="121"/>
                    </a:lnTo>
                    <a:lnTo>
                      <a:pt x="3" y="130"/>
                    </a:lnTo>
                    <a:lnTo>
                      <a:pt x="6" y="138"/>
                    </a:lnTo>
                    <a:lnTo>
                      <a:pt x="10" y="146"/>
                    </a:lnTo>
                    <a:lnTo>
                      <a:pt x="19" y="159"/>
                    </a:lnTo>
                    <a:lnTo>
                      <a:pt x="30" y="173"/>
                    </a:lnTo>
                    <a:lnTo>
                      <a:pt x="41" y="185"/>
                    </a:lnTo>
                    <a:lnTo>
                      <a:pt x="51" y="199"/>
                    </a:lnTo>
                    <a:lnTo>
                      <a:pt x="55" y="207"/>
                    </a:lnTo>
                    <a:lnTo>
                      <a:pt x="57" y="216"/>
                    </a:lnTo>
                    <a:lnTo>
                      <a:pt x="59" y="225"/>
                    </a:lnTo>
                    <a:lnTo>
                      <a:pt x="61" y="23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</p:grpSp>
        <p:grpSp>
          <p:nvGrpSpPr>
            <p:cNvPr id="4" name="Group 16"/>
            <p:cNvGrpSpPr>
              <a:grpSpLocks/>
            </p:cNvGrpSpPr>
            <p:nvPr/>
          </p:nvGrpSpPr>
          <p:grpSpPr bwMode="auto">
            <a:xfrm>
              <a:off x="9036496" y="1268760"/>
              <a:ext cx="5688632" cy="4395218"/>
              <a:chOff x="9341118" y="1693435"/>
              <a:chExt cx="4837112" cy="3929062"/>
            </a:xfrm>
          </p:grpSpPr>
          <p:sp>
            <p:nvSpPr>
              <p:cNvPr id="5" name="Freeform 10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10288855" y="2933272"/>
                <a:ext cx="69850" cy="49213"/>
              </a:xfrm>
              <a:custGeom>
                <a:avLst/>
                <a:gdLst>
                  <a:gd name="T0" fmla="*/ 2147483647 w 161"/>
                  <a:gd name="T1" fmla="*/ 0 h 93"/>
                  <a:gd name="T2" fmla="*/ 2147483647 w 161"/>
                  <a:gd name="T3" fmla="*/ 2147483647 h 93"/>
                  <a:gd name="T4" fmla="*/ 2147483647 w 161"/>
                  <a:gd name="T5" fmla="*/ 1778146124 h 93"/>
                  <a:gd name="T6" fmla="*/ 2147483647 w 161"/>
                  <a:gd name="T7" fmla="*/ 1185337439 h 93"/>
                  <a:gd name="T8" fmla="*/ 2147483647 w 161"/>
                  <a:gd name="T9" fmla="*/ 740940874 h 93"/>
                  <a:gd name="T10" fmla="*/ 2147483647 w 161"/>
                  <a:gd name="T11" fmla="*/ 444676497 h 93"/>
                  <a:gd name="T12" fmla="*/ 2147483647 w 161"/>
                  <a:gd name="T13" fmla="*/ 148132188 h 93"/>
                  <a:gd name="T14" fmla="*/ 2147483647 w 161"/>
                  <a:gd name="T15" fmla="*/ 0 h 93"/>
                  <a:gd name="T16" fmla="*/ 2147483647 w 161"/>
                  <a:gd name="T17" fmla="*/ 0 h 93"/>
                  <a:gd name="T18" fmla="*/ 2147483647 w 161"/>
                  <a:gd name="T19" fmla="*/ 0 h 93"/>
                  <a:gd name="T20" fmla="*/ 2147483647 w 161"/>
                  <a:gd name="T21" fmla="*/ 2147483647 h 93"/>
                  <a:gd name="T22" fmla="*/ 2147483647 w 161"/>
                  <a:gd name="T23" fmla="*/ 2147483647 h 93"/>
                  <a:gd name="T24" fmla="*/ 2147483647 w 161"/>
                  <a:gd name="T25" fmla="*/ 2147483647 h 93"/>
                  <a:gd name="T26" fmla="*/ 2147483647 w 161"/>
                  <a:gd name="T27" fmla="*/ 2147483647 h 93"/>
                  <a:gd name="T28" fmla="*/ 2147483647 w 161"/>
                  <a:gd name="T29" fmla="*/ 2147483647 h 93"/>
                  <a:gd name="T30" fmla="*/ 2147483647 w 161"/>
                  <a:gd name="T31" fmla="*/ 2147483647 h 93"/>
                  <a:gd name="T32" fmla="*/ 2147483647 w 161"/>
                  <a:gd name="T33" fmla="*/ 2147483647 h 93"/>
                  <a:gd name="T34" fmla="*/ 2147483647 w 161"/>
                  <a:gd name="T35" fmla="*/ 2147483647 h 93"/>
                  <a:gd name="T36" fmla="*/ 2147483647 w 161"/>
                  <a:gd name="T37" fmla="*/ 2147483647 h 93"/>
                  <a:gd name="T38" fmla="*/ 2147483647 w 161"/>
                  <a:gd name="T39" fmla="*/ 2147483647 h 93"/>
                  <a:gd name="T40" fmla="*/ 2147483647 w 161"/>
                  <a:gd name="T41" fmla="*/ 2147483647 h 93"/>
                  <a:gd name="T42" fmla="*/ 2147483647 w 161"/>
                  <a:gd name="T43" fmla="*/ 2147483647 h 93"/>
                  <a:gd name="T44" fmla="*/ 2147483647 w 161"/>
                  <a:gd name="T45" fmla="*/ 2147483647 h 93"/>
                  <a:gd name="T46" fmla="*/ 2147483647 w 161"/>
                  <a:gd name="T47" fmla="*/ 2147483647 h 93"/>
                  <a:gd name="T48" fmla="*/ 2147483647 w 161"/>
                  <a:gd name="T49" fmla="*/ 2147483647 h 93"/>
                  <a:gd name="T50" fmla="*/ 2147483647 w 161"/>
                  <a:gd name="T51" fmla="*/ 2147483647 h 93"/>
                  <a:gd name="T52" fmla="*/ 2147483647 w 161"/>
                  <a:gd name="T53" fmla="*/ 2147483647 h 93"/>
                  <a:gd name="T54" fmla="*/ 2147483647 w 161"/>
                  <a:gd name="T55" fmla="*/ 2147483647 h 93"/>
                  <a:gd name="T56" fmla="*/ 2147483647 w 161"/>
                  <a:gd name="T57" fmla="*/ 2147483647 h 93"/>
                  <a:gd name="T58" fmla="*/ 2147483647 w 161"/>
                  <a:gd name="T59" fmla="*/ 2147483647 h 93"/>
                  <a:gd name="T60" fmla="*/ 2147483647 w 161"/>
                  <a:gd name="T61" fmla="*/ 2147483647 h 93"/>
                  <a:gd name="T62" fmla="*/ 1714932904 w 161"/>
                  <a:gd name="T63" fmla="*/ 2147483647 h 93"/>
                  <a:gd name="T64" fmla="*/ 979907862 w 161"/>
                  <a:gd name="T65" fmla="*/ 2147483647 h 93"/>
                  <a:gd name="T66" fmla="*/ 653334816 w 161"/>
                  <a:gd name="T67" fmla="*/ 2074410501 h 93"/>
                  <a:gd name="T68" fmla="*/ 408263705 w 161"/>
                  <a:gd name="T69" fmla="*/ 1333749559 h 93"/>
                  <a:gd name="T70" fmla="*/ 245071111 w 161"/>
                  <a:gd name="T71" fmla="*/ 740940874 h 93"/>
                  <a:gd name="T72" fmla="*/ 0 w 161"/>
                  <a:gd name="T73" fmla="*/ 0 h 93"/>
                  <a:gd name="T74" fmla="*/ 2147483647 w 161"/>
                  <a:gd name="T75" fmla="*/ 0 h 9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61" h="93">
                    <a:moveTo>
                      <a:pt x="94" y="0"/>
                    </a:moveTo>
                    <a:lnTo>
                      <a:pt x="107" y="18"/>
                    </a:lnTo>
                    <a:lnTo>
                      <a:pt x="112" y="12"/>
                    </a:lnTo>
                    <a:lnTo>
                      <a:pt x="117" y="8"/>
                    </a:lnTo>
                    <a:lnTo>
                      <a:pt x="122" y="5"/>
                    </a:lnTo>
                    <a:lnTo>
                      <a:pt x="127" y="3"/>
                    </a:lnTo>
                    <a:lnTo>
                      <a:pt x="137" y="1"/>
                    </a:lnTo>
                    <a:lnTo>
                      <a:pt x="148" y="0"/>
                    </a:lnTo>
                    <a:lnTo>
                      <a:pt x="151" y="0"/>
                    </a:lnTo>
                    <a:lnTo>
                      <a:pt x="161" y="0"/>
                    </a:lnTo>
                    <a:lnTo>
                      <a:pt x="161" y="92"/>
                    </a:lnTo>
                    <a:lnTo>
                      <a:pt x="155" y="93"/>
                    </a:lnTo>
                    <a:lnTo>
                      <a:pt x="150" y="93"/>
                    </a:lnTo>
                    <a:lnTo>
                      <a:pt x="145" y="92"/>
                    </a:lnTo>
                    <a:lnTo>
                      <a:pt x="140" y="91"/>
                    </a:lnTo>
                    <a:lnTo>
                      <a:pt x="129" y="88"/>
                    </a:lnTo>
                    <a:lnTo>
                      <a:pt x="120" y="82"/>
                    </a:lnTo>
                    <a:lnTo>
                      <a:pt x="111" y="75"/>
                    </a:lnTo>
                    <a:lnTo>
                      <a:pt x="104" y="67"/>
                    </a:lnTo>
                    <a:lnTo>
                      <a:pt x="97" y="59"/>
                    </a:lnTo>
                    <a:lnTo>
                      <a:pt x="94" y="49"/>
                    </a:lnTo>
                    <a:lnTo>
                      <a:pt x="92" y="50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1"/>
                    </a:lnTo>
                    <a:lnTo>
                      <a:pt x="78" y="50"/>
                    </a:lnTo>
                    <a:lnTo>
                      <a:pt x="74" y="49"/>
                    </a:lnTo>
                    <a:lnTo>
                      <a:pt x="65" y="48"/>
                    </a:lnTo>
                    <a:lnTo>
                      <a:pt x="55" y="45"/>
                    </a:lnTo>
                    <a:lnTo>
                      <a:pt x="44" y="40"/>
                    </a:lnTo>
                    <a:lnTo>
                      <a:pt x="32" y="34"/>
                    </a:lnTo>
                    <a:lnTo>
                      <a:pt x="21" y="26"/>
                    </a:lnTo>
                    <a:lnTo>
                      <a:pt x="12" y="18"/>
                    </a:lnTo>
                    <a:lnTo>
                      <a:pt x="8" y="14"/>
                    </a:lnTo>
                    <a:lnTo>
                      <a:pt x="5" y="9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9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" name="Freeform 11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9787205" y="2807860"/>
                <a:ext cx="82550" cy="160337"/>
              </a:xfrm>
              <a:custGeom>
                <a:avLst/>
                <a:gdLst>
                  <a:gd name="T0" fmla="*/ 2147483647 w 192"/>
                  <a:gd name="T1" fmla="*/ 427425017 h 307"/>
                  <a:gd name="T2" fmla="*/ 2147483647 w 192"/>
                  <a:gd name="T3" fmla="*/ 0 h 307"/>
                  <a:gd name="T4" fmla="*/ 2147483647 w 192"/>
                  <a:gd name="T5" fmla="*/ 427425017 h 307"/>
                  <a:gd name="T6" fmla="*/ 2147483647 w 192"/>
                  <a:gd name="T7" fmla="*/ 1994467457 h 307"/>
                  <a:gd name="T8" fmla="*/ 2147483647 w 192"/>
                  <a:gd name="T9" fmla="*/ 2147483647 h 307"/>
                  <a:gd name="T10" fmla="*/ 2147483647 w 192"/>
                  <a:gd name="T11" fmla="*/ 2147483647 h 307"/>
                  <a:gd name="T12" fmla="*/ 2147483647 w 192"/>
                  <a:gd name="T13" fmla="*/ 2147483647 h 307"/>
                  <a:gd name="T14" fmla="*/ 2147483647 w 192"/>
                  <a:gd name="T15" fmla="*/ 2147483647 h 307"/>
                  <a:gd name="T16" fmla="*/ 2147483647 w 192"/>
                  <a:gd name="T17" fmla="*/ 2147483647 h 307"/>
                  <a:gd name="T18" fmla="*/ 2147483647 w 192"/>
                  <a:gd name="T19" fmla="*/ 2147483647 h 307"/>
                  <a:gd name="T20" fmla="*/ 2147483647 w 192"/>
                  <a:gd name="T21" fmla="*/ 2147483647 h 307"/>
                  <a:gd name="T22" fmla="*/ 2147483647 w 192"/>
                  <a:gd name="T23" fmla="*/ 2147483647 h 307"/>
                  <a:gd name="T24" fmla="*/ 2147483647 w 192"/>
                  <a:gd name="T25" fmla="*/ 2147483647 h 307"/>
                  <a:gd name="T26" fmla="*/ 2147483647 w 192"/>
                  <a:gd name="T27" fmla="*/ 2147483647 h 307"/>
                  <a:gd name="T28" fmla="*/ 2147483647 w 192"/>
                  <a:gd name="T29" fmla="*/ 2147483647 h 307"/>
                  <a:gd name="T30" fmla="*/ 2147483647 w 192"/>
                  <a:gd name="T31" fmla="*/ 2147483647 h 307"/>
                  <a:gd name="T32" fmla="*/ 2147483647 w 192"/>
                  <a:gd name="T33" fmla="*/ 2147483647 h 307"/>
                  <a:gd name="T34" fmla="*/ 2147483647 w 192"/>
                  <a:gd name="T35" fmla="*/ 2147483647 h 307"/>
                  <a:gd name="T36" fmla="*/ 2147483647 w 192"/>
                  <a:gd name="T37" fmla="*/ 2147483647 h 307"/>
                  <a:gd name="T38" fmla="*/ 2147483647 w 192"/>
                  <a:gd name="T39" fmla="*/ 2147483647 h 307"/>
                  <a:gd name="T40" fmla="*/ 1748545293 w 192"/>
                  <a:gd name="T41" fmla="*/ 2147483647 h 307"/>
                  <a:gd name="T42" fmla="*/ 794692512 w 192"/>
                  <a:gd name="T43" fmla="*/ 2147483647 h 307"/>
                  <a:gd name="T44" fmla="*/ 158975392 w 192"/>
                  <a:gd name="T45" fmla="*/ 2147483647 h 307"/>
                  <a:gd name="T46" fmla="*/ 0 w 192"/>
                  <a:gd name="T47" fmla="*/ 2147483647 h 307"/>
                  <a:gd name="T48" fmla="*/ 0 w 192"/>
                  <a:gd name="T49" fmla="*/ 2147483647 h 307"/>
                  <a:gd name="T50" fmla="*/ 158975392 w 192"/>
                  <a:gd name="T51" fmla="*/ 2147483647 h 307"/>
                  <a:gd name="T52" fmla="*/ 874180423 w 192"/>
                  <a:gd name="T53" fmla="*/ 2147483647 h 307"/>
                  <a:gd name="T54" fmla="*/ 2147483647 w 192"/>
                  <a:gd name="T55" fmla="*/ 2147483647 h 307"/>
                  <a:gd name="T56" fmla="*/ 2147483647 w 192"/>
                  <a:gd name="T57" fmla="*/ 2147483647 h 307"/>
                  <a:gd name="T58" fmla="*/ 2147483647 w 192"/>
                  <a:gd name="T59" fmla="*/ 2147483647 h 307"/>
                  <a:gd name="T60" fmla="*/ 2147483647 w 192"/>
                  <a:gd name="T61" fmla="*/ 2147483647 h 307"/>
                  <a:gd name="T62" fmla="*/ 2147483647 w 192"/>
                  <a:gd name="T63" fmla="*/ 2147483647 h 307"/>
                  <a:gd name="T64" fmla="*/ 2147483647 w 192"/>
                  <a:gd name="T65" fmla="*/ 2147483647 h 307"/>
                  <a:gd name="T66" fmla="*/ 2147483647 w 192"/>
                  <a:gd name="T67" fmla="*/ 2147483647 h 307"/>
                  <a:gd name="T68" fmla="*/ 2147483647 w 192"/>
                  <a:gd name="T69" fmla="*/ 997233468 h 30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" name="Freeform 12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9868168" y="2293510"/>
                <a:ext cx="171450" cy="269875"/>
              </a:xfrm>
              <a:custGeom>
                <a:avLst/>
                <a:gdLst>
                  <a:gd name="T0" fmla="*/ 2078389271 w 398"/>
                  <a:gd name="T1" fmla="*/ 282835252 h 518"/>
                  <a:gd name="T2" fmla="*/ 2147483647 w 398"/>
                  <a:gd name="T3" fmla="*/ 1838429138 h 518"/>
                  <a:gd name="T4" fmla="*/ 2147483647 w 398"/>
                  <a:gd name="T5" fmla="*/ 2147483647 h 518"/>
                  <a:gd name="T6" fmla="*/ 2147483647 w 398"/>
                  <a:gd name="T7" fmla="*/ 2147483647 h 518"/>
                  <a:gd name="T8" fmla="*/ 2147483647 w 398"/>
                  <a:gd name="T9" fmla="*/ 2147483647 h 518"/>
                  <a:gd name="T10" fmla="*/ 2147483647 w 398"/>
                  <a:gd name="T11" fmla="*/ 2147483647 h 518"/>
                  <a:gd name="T12" fmla="*/ 2147483647 w 398"/>
                  <a:gd name="T13" fmla="*/ 2147483647 h 518"/>
                  <a:gd name="T14" fmla="*/ 2147483647 w 398"/>
                  <a:gd name="T15" fmla="*/ 2147483647 h 518"/>
                  <a:gd name="T16" fmla="*/ 2147483647 w 398"/>
                  <a:gd name="T17" fmla="*/ 2147483647 h 518"/>
                  <a:gd name="T18" fmla="*/ 2147483647 w 398"/>
                  <a:gd name="T19" fmla="*/ 2147483647 h 518"/>
                  <a:gd name="T20" fmla="*/ 2147483647 w 398"/>
                  <a:gd name="T21" fmla="*/ 2147483647 h 518"/>
                  <a:gd name="T22" fmla="*/ 2147483647 w 398"/>
                  <a:gd name="T23" fmla="*/ 2147483647 h 518"/>
                  <a:gd name="T24" fmla="*/ 2147483647 w 398"/>
                  <a:gd name="T25" fmla="*/ 2147483647 h 518"/>
                  <a:gd name="T26" fmla="*/ 2147483647 w 398"/>
                  <a:gd name="T27" fmla="*/ 2147483647 h 518"/>
                  <a:gd name="T28" fmla="*/ 2147483647 w 398"/>
                  <a:gd name="T29" fmla="*/ 2147483647 h 518"/>
                  <a:gd name="T30" fmla="*/ 2147483647 w 398"/>
                  <a:gd name="T31" fmla="*/ 2147483647 h 518"/>
                  <a:gd name="T32" fmla="*/ 2147483647 w 398"/>
                  <a:gd name="T33" fmla="*/ 2147483647 h 518"/>
                  <a:gd name="T34" fmla="*/ 2147483647 w 398"/>
                  <a:gd name="T35" fmla="*/ 2147483647 h 518"/>
                  <a:gd name="T36" fmla="*/ 2147483647 w 398"/>
                  <a:gd name="T37" fmla="*/ 2147483647 h 518"/>
                  <a:gd name="T38" fmla="*/ 2147483647 w 398"/>
                  <a:gd name="T39" fmla="*/ 2147483647 h 518"/>
                  <a:gd name="T40" fmla="*/ 2147483647 w 398"/>
                  <a:gd name="T41" fmla="*/ 2147483647 h 518"/>
                  <a:gd name="T42" fmla="*/ 2147483647 w 398"/>
                  <a:gd name="T43" fmla="*/ 2147483647 h 518"/>
                  <a:gd name="T44" fmla="*/ 2147483647 w 398"/>
                  <a:gd name="T45" fmla="*/ 2147483647 h 518"/>
                  <a:gd name="T46" fmla="*/ 2147483647 w 398"/>
                  <a:gd name="T47" fmla="*/ 2147483647 h 518"/>
                  <a:gd name="T48" fmla="*/ 2147483647 w 398"/>
                  <a:gd name="T49" fmla="*/ 2147483647 h 518"/>
                  <a:gd name="T50" fmla="*/ 2147483647 w 398"/>
                  <a:gd name="T51" fmla="*/ 2147483647 h 518"/>
                  <a:gd name="T52" fmla="*/ 2147483647 w 398"/>
                  <a:gd name="T53" fmla="*/ 2147483647 h 518"/>
                  <a:gd name="T54" fmla="*/ 2147483647 w 398"/>
                  <a:gd name="T55" fmla="*/ 2147483647 h 518"/>
                  <a:gd name="T56" fmla="*/ 2147483647 w 398"/>
                  <a:gd name="T57" fmla="*/ 2147483647 h 518"/>
                  <a:gd name="T58" fmla="*/ 2147483647 w 398"/>
                  <a:gd name="T59" fmla="*/ 2147483647 h 518"/>
                  <a:gd name="T60" fmla="*/ 2147483647 w 398"/>
                  <a:gd name="T61" fmla="*/ 2147483647 h 518"/>
                  <a:gd name="T62" fmla="*/ 2147483647 w 398"/>
                  <a:gd name="T63" fmla="*/ 2147483647 h 518"/>
                  <a:gd name="T64" fmla="*/ 2147483647 w 398"/>
                  <a:gd name="T65" fmla="*/ 2147483647 h 518"/>
                  <a:gd name="T66" fmla="*/ 2147483647 w 398"/>
                  <a:gd name="T67" fmla="*/ 2147483647 h 518"/>
                  <a:gd name="T68" fmla="*/ 2147483647 w 398"/>
                  <a:gd name="T69" fmla="*/ 2147483647 h 518"/>
                  <a:gd name="T70" fmla="*/ 2147483647 w 398"/>
                  <a:gd name="T71" fmla="*/ 2147483647 h 518"/>
                  <a:gd name="T72" fmla="*/ 2147483647 w 398"/>
                  <a:gd name="T73" fmla="*/ 2147483647 h 518"/>
                  <a:gd name="T74" fmla="*/ 2147483647 w 398"/>
                  <a:gd name="T75" fmla="*/ 2147483647 h 518"/>
                  <a:gd name="T76" fmla="*/ 2147483647 w 398"/>
                  <a:gd name="T77" fmla="*/ 2147483647 h 518"/>
                  <a:gd name="T78" fmla="*/ 2147483647 w 398"/>
                  <a:gd name="T79" fmla="*/ 2147483647 h 518"/>
                  <a:gd name="T80" fmla="*/ 2147483647 w 398"/>
                  <a:gd name="T81" fmla="*/ 2147483647 h 518"/>
                  <a:gd name="T82" fmla="*/ 2147483647 w 398"/>
                  <a:gd name="T83" fmla="*/ 2147483647 h 518"/>
                  <a:gd name="T84" fmla="*/ 2147483647 w 398"/>
                  <a:gd name="T85" fmla="*/ 2147483647 h 518"/>
                  <a:gd name="T86" fmla="*/ 2147483647 w 398"/>
                  <a:gd name="T87" fmla="*/ 2147483647 h 518"/>
                  <a:gd name="T88" fmla="*/ 2147483647 w 398"/>
                  <a:gd name="T89" fmla="*/ 2147483647 h 518"/>
                  <a:gd name="T90" fmla="*/ 2147483647 w 398"/>
                  <a:gd name="T91" fmla="*/ 2147483647 h 518"/>
                  <a:gd name="T92" fmla="*/ 2147483647 w 398"/>
                  <a:gd name="T93" fmla="*/ 2147483647 h 518"/>
                  <a:gd name="T94" fmla="*/ 2147483647 w 398"/>
                  <a:gd name="T95" fmla="*/ 2147483647 h 518"/>
                  <a:gd name="T96" fmla="*/ 2147483647 w 398"/>
                  <a:gd name="T97" fmla="*/ 2147483647 h 518"/>
                  <a:gd name="T98" fmla="*/ 2147483647 w 398"/>
                  <a:gd name="T99" fmla="*/ 2147483647 h 518"/>
                  <a:gd name="T100" fmla="*/ 2147483647 w 398"/>
                  <a:gd name="T101" fmla="*/ 2147483647 h 518"/>
                  <a:gd name="T102" fmla="*/ 2147483647 w 398"/>
                  <a:gd name="T103" fmla="*/ 2147483647 h 518"/>
                  <a:gd name="T104" fmla="*/ 1758651390 w 398"/>
                  <a:gd name="T105" fmla="*/ 2147483647 h 518"/>
                  <a:gd name="T106" fmla="*/ 1598875068 w 398"/>
                  <a:gd name="T107" fmla="*/ 2147483647 h 518"/>
                  <a:gd name="T108" fmla="*/ 1119175630 w 398"/>
                  <a:gd name="T109" fmla="*/ 2147483647 h 518"/>
                  <a:gd name="T110" fmla="*/ 1598875068 w 398"/>
                  <a:gd name="T111" fmla="*/ 2147483647 h 518"/>
                  <a:gd name="T112" fmla="*/ 1518894073 w 398"/>
                  <a:gd name="T113" fmla="*/ 2147483647 h 518"/>
                  <a:gd name="T114" fmla="*/ 319737880 w 398"/>
                  <a:gd name="T115" fmla="*/ 2147483647 h 518"/>
                  <a:gd name="T116" fmla="*/ 1598875068 w 398"/>
                  <a:gd name="T117" fmla="*/ 2147483647 h 518"/>
                  <a:gd name="T118" fmla="*/ 239756886 w 398"/>
                  <a:gd name="T119" fmla="*/ 1272758634 h 5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" name="Freeform 13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0226943" y="2596722"/>
                <a:ext cx="169862" cy="76200"/>
              </a:xfrm>
              <a:custGeom>
                <a:avLst/>
                <a:gdLst>
                  <a:gd name="T0" fmla="*/ 2147483647 w 382"/>
                  <a:gd name="T1" fmla="*/ 2147483647 h 148"/>
                  <a:gd name="T2" fmla="*/ 2147483647 w 382"/>
                  <a:gd name="T3" fmla="*/ 2147483647 h 148"/>
                  <a:gd name="T4" fmla="*/ 2147483647 w 382"/>
                  <a:gd name="T5" fmla="*/ 2147483647 h 148"/>
                  <a:gd name="T6" fmla="*/ 2147483647 w 382"/>
                  <a:gd name="T7" fmla="*/ 2147483647 h 148"/>
                  <a:gd name="T8" fmla="*/ 2147483647 w 382"/>
                  <a:gd name="T9" fmla="*/ 2147483647 h 148"/>
                  <a:gd name="T10" fmla="*/ 2147483647 w 382"/>
                  <a:gd name="T11" fmla="*/ 2147483647 h 148"/>
                  <a:gd name="T12" fmla="*/ 2147483647 w 382"/>
                  <a:gd name="T13" fmla="*/ 2147483647 h 148"/>
                  <a:gd name="T14" fmla="*/ 2147483647 w 382"/>
                  <a:gd name="T15" fmla="*/ 2147483647 h 148"/>
                  <a:gd name="T16" fmla="*/ 2147483647 w 382"/>
                  <a:gd name="T17" fmla="*/ 2147483647 h 148"/>
                  <a:gd name="T18" fmla="*/ 2147483647 w 382"/>
                  <a:gd name="T19" fmla="*/ 2147483647 h 148"/>
                  <a:gd name="T20" fmla="*/ 351756188 w 382"/>
                  <a:gd name="T21" fmla="*/ 2147483647 h 148"/>
                  <a:gd name="T22" fmla="*/ 0 w 382"/>
                  <a:gd name="T23" fmla="*/ 2147483647 h 148"/>
                  <a:gd name="T24" fmla="*/ 351756188 w 382"/>
                  <a:gd name="T25" fmla="*/ 2147483647 h 148"/>
                  <a:gd name="T26" fmla="*/ 1055070688 w 382"/>
                  <a:gd name="T27" fmla="*/ 2147483647 h 148"/>
                  <a:gd name="T28" fmla="*/ 2147483647 w 382"/>
                  <a:gd name="T29" fmla="*/ 2147483647 h 148"/>
                  <a:gd name="T30" fmla="*/ 2147483647 w 382"/>
                  <a:gd name="T31" fmla="*/ 2147483647 h 148"/>
                  <a:gd name="T32" fmla="*/ 2147483647 w 382"/>
                  <a:gd name="T33" fmla="*/ 2147483647 h 148"/>
                  <a:gd name="T34" fmla="*/ 2147483647 w 382"/>
                  <a:gd name="T35" fmla="*/ 2147483647 h 148"/>
                  <a:gd name="T36" fmla="*/ 2147483647 w 382"/>
                  <a:gd name="T37" fmla="*/ 2147483647 h 148"/>
                  <a:gd name="T38" fmla="*/ 2147483647 w 382"/>
                  <a:gd name="T39" fmla="*/ 2147483647 h 148"/>
                  <a:gd name="T40" fmla="*/ 2147483647 w 382"/>
                  <a:gd name="T41" fmla="*/ 2147483647 h 148"/>
                  <a:gd name="T42" fmla="*/ 2147483647 w 382"/>
                  <a:gd name="T43" fmla="*/ 2147483647 h 148"/>
                  <a:gd name="T44" fmla="*/ 2147483647 w 382"/>
                  <a:gd name="T45" fmla="*/ 2147483647 h 148"/>
                  <a:gd name="T46" fmla="*/ 2147483647 w 382"/>
                  <a:gd name="T47" fmla="*/ 2147483647 h 148"/>
                  <a:gd name="T48" fmla="*/ 2147483647 w 382"/>
                  <a:gd name="T49" fmla="*/ 2147483647 h 148"/>
                  <a:gd name="T50" fmla="*/ 2147483647 w 382"/>
                  <a:gd name="T51" fmla="*/ 2147483647 h 148"/>
                  <a:gd name="T52" fmla="*/ 2147483647 w 382"/>
                  <a:gd name="T53" fmla="*/ 2147483647 h 148"/>
                  <a:gd name="T54" fmla="*/ 2147483647 w 382"/>
                  <a:gd name="T55" fmla="*/ 2147483647 h 148"/>
                  <a:gd name="T56" fmla="*/ 2147483647 w 382"/>
                  <a:gd name="T57" fmla="*/ 2147483647 h 148"/>
                  <a:gd name="T58" fmla="*/ 2147483647 w 382"/>
                  <a:gd name="T59" fmla="*/ 2147483647 h 148"/>
                  <a:gd name="T60" fmla="*/ 2147483647 w 382"/>
                  <a:gd name="T61" fmla="*/ 2147483647 h 148"/>
                  <a:gd name="T62" fmla="*/ 2147483647 w 382"/>
                  <a:gd name="T63" fmla="*/ 2147483647 h 148"/>
                  <a:gd name="T64" fmla="*/ 2147483647 w 382"/>
                  <a:gd name="T65" fmla="*/ 2147483647 h 148"/>
                  <a:gd name="T66" fmla="*/ 2147483647 w 382"/>
                  <a:gd name="T67" fmla="*/ 1091888335 h 148"/>
                  <a:gd name="T68" fmla="*/ 2147483647 w 382"/>
                  <a:gd name="T69" fmla="*/ 2147483647 h 14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" name="Freeform 14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1719193" y="2445910"/>
                <a:ext cx="1281112" cy="1038225"/>
              </a:xfrm>
              <a:custGeom>
                <a:avLst/>
                <a:gdLst>
                  <a:gd name="T0" fmla="*/ 2147483647 w 2936"/>
                  <a:gd name="T1" fmla="*/ 2147483647 h 1983"/>
                  <a:gd name="T2" fmla="*/ 2147483647 w 2936"/>
                  <a:gd name="T3" fmla="*/ 2147483647 h 1983"/>
                  <a:gd name="T4" fmla="*/ 2147483647 w 2936"/>
                  <a:gd name="T5" fmla="*/ 2147483647 h 1983"/>
                  <a:gd name="T6" fmla="*/ 2147483647 w 2936"/>
                  <a:gd name="T7" fmla="*/ 2147483647 h 1983"/>
                  <a:gd name="T8" fmla="*/ 2147483647 w 2936"/>
                  <a:gd name="T9" fmla="*/ 2147483647 h 1983"/>
                  <a:gd name="T10" fmla="*/ 2147483647 w 2936"/>
                  <a:gd name="T11" fmla="*/ 2147483647 h 1983"/>
                  <a:gd name="T12" fmla="*/ 2147483647 w 2936"/>
                  <a:gd name="T13" fmla="*/ 2147483647 h 1983"/>
                  <a:gd name="T14" fmla="*/ 2147483647 w 2936"/>
                  <a:gd name="T15" fmla="*/ 2147483647 h 1983"/>
                  <a:gd name="T16" fmla="*/ 2147483647 w 2936"/>
                  <a:gd name="T17" fmla="*/ 2147483647 h 1983"/>
                  <a:gd name="T18" fmla="*/ 2147483647 w 2936"/>
                  <a:gd name="T19" fmla="*/ 2147483647 h 1983"/>
                  <a:gd name="T20" fmla="*/ 2147483647 w 2936"/>
                  <a:gd name="T21" fmla="*/ 2147483647 h 1983"/>
                  <a:gd name="T22" fmla="*/ 2147483647 w 2936"/>
                  <a:gd name="T23" fmla="*/ 2147483647 h 1983"/>
                  <a:gd name="T24" fmla="*/ 2147483647 w 2936"/>
                  <a:gd name="T25" fmla="*/ 2147483647 h 1983"/>
                  <a:gd name="T26" fmla="*/ 2147483647 w 2936"/>
                  <a:gd name="T27" fmla="*/ 2147483647 h 1983"/>
                  <a:gd name="T28" fmla="*/ 2147483647 w 2936"/>
                  <a:gd name="T29" fmla="*/ 2147483647 h 1983"/>
                  <a:gd name="T30" fmla="*/ 2147483647 w 2936"/>
                  <a:gd name="T31" fmla="*/ 2147483647 h 1983"/>
                  <a:gd name="T32" fmla="*/ 2147483647 w 2936"/>
                  <a:gd name="T33" fmla="*/ 2147483647 h 1983"/>
                  <a:gd name="T34" fmla="*/ 2147483647 w 2936"/>
                  <a:gd name="T35" fmla="*/ 2147483647 h 1983"/>
                  <a:gd name="T36" fmla="*/ 2147483647 w 2936"/>
                  <a:gd name="T37" fmla="*/ 2147483647 h 1983"/>
                  <a:gd name="T38" fmla="*/ 2147483647 w 2936"/>
                  <a:gd name="T39" fmla="*/ 2147483647 h 1983"/>
                  <a:gd name="T40" fmla="*/ 2147483647 w 2936"/>
                  <a:gd name="T41" fmla="*/ 2147483647 h 1983"/>
                  <a:gd name="T42" fmla="*/ 2147483647 w 2936"/>
                  <a:gd name="T43" fmla="*/ 2147483647 h 1983"/>
                  <a:gd name="T44" fmla="*/ 2147483647 w 2936"/>
                  <a:gd name="T45" fmla="*/ 2147483647 h 1983"/>
                  <a:gd name="T46" fmla="*/ 2147483647 w 2936"/>
                  <a:gd name="T47" fmla="*/ 2147483647 h 1983"/>
                  <a:gd name="T48" fmla="*/ 2147483647 w 2936"/>
                  <a:gd name="T49" fmla="*/ 2147483647 h 1983"/>
                  <a:gd name="T50" fmla="*/ 2147483647 w 2936"/>
                  <a:gd name="T51" fmla="*/ 2147483647 h 1983"/>
                  <a:gd name="T52" fmla="*/ 2147483647 w 2936"/>
                  <a:gd name="T53" fmla="*/ 2147483647 h 1983"/>
                  <a:gd name="T54" fmla="*/ 2147483647 w 2936"/>
                  <a:gd name="T55" fmla="*/ 2147483647 h 1983"/>
                  <a:gd name="T56" fmla="*/ 2147483647 w 2936"/>
                  <a:gd name="T57" fmla="*/ 2147483647 h 1983"/>
                  <a:gd name="T58" fmla="*/ 2147483647 w 2936"/>
                  <a:gd name="T59" fmla="*/ 2147483647 h 1983"/>
                  <a:gd name="T60" fmla="*/ 2147483647 w 2936"/>
                  <a:gd name="T61" fmla="*/ 2147483647 h 1983"/>
                  <a:gd name="T62" fmla="*/ 2147483647 w 2936"/>
                  <a:gd name="T63" fmla="*/ 2147483647 h 1983"/>
                  <a:gd name="T64" fmla="*/ 2147483647 w 2936"/>
                  <a:gd name="T65" fmla="*/ 2147483647 h 1983"/>
                  <a:gd name="T66" fmla="*/ 2147483647 w 2936"/>
                  <a:gd name="T67" fmla="*/ 2147483647 h 1983"/>
                  <a:gd name="T68" fmla="*/ 2147483647 w 2936"/>
                  <a:gd name="T69" fmla="*/ 2147483647 h 1983"/>
                  <a:gd name="T70" fmla="*/ 2147483647 w 2936"/>
                  <a:gd name="T71" fmla="*/ 2147483647 h 1983"/>
                  <a:gd name="T72" fmla="*/ 2147483647 w 2936"/>
                  <a:gd name="T73" fmla="*/ 2147483647 h 1983"/>
                  <a:gd name="T74" fmla="*/ 2147483647 w 2936"/>
                  <a:gd name="T75" fmla="*/ 2147483647 h 1983"/>
                  <a:gd name="T76" fmla="*/ 2147483647 w 2936"/>
                  <a:gd name="T77" fmla="*/ 2147483647 h 1983"/>
                  <a:gd name="T78" fmla="*/ 2147483647 w 2936"/>
                  <a:gd name="T79" fmla="*/ 2147483647 h 1983"/>
                  <a:gd name="T80" fmla="*/ 2147483647 w 2936"/>
                  <a:gd name="T81" fmla="*/ 2147483647 h 1983"/>
                  <a:gd name="T82" fmla="*/ 2147483647 w 2936"/>
                  <a:gd name="T83" fmla="*/ 2147483647 h 1983"/>
                  <a:gd name="T84" fmla="*/ 2147483647 w 2936"/>
                  <a:gd name="T85" fmla="*/ 2147483647 h 1983"/>
                  <a:gd name="T86" fmla="*/ 2147483647 w 2936"/>
                  <a:gd name="T87" fmla="*/ 2147483647 h 1983"/>
                  <a:gd name="T88" fmla="*/ 2147483647 w 2936"/>
                  <a:gd name="T89" fmla="*/ 2147483647 h 1983"/>
                  <a:gd name="T90" fmla="*/ 2147483647 w 2936"/>
                  <a:gd name="T91" fmla="*/ 2147483647 h 1983"/>
                  <a:gd name="T92" fmla="*/ 2147483647 w 2936"/>
                  <a:gd name="T93" fmla="*/ 2147483647 h 1983"/>
                  <a:gd name="T94" fmla="*/ 2147483647 w 2936"/>
                  <a:gd name="T95" fmla="*/ 2147483647 h 1983"/>
                  <a:gd name="T96" fmla="*/ 2147483647 w 2936"/>
                  <a:gd name="T97" fmla="*/ 2147483647 h 1983"/>
                  <a:gd name="T98" fmla="*/ 2147483647 w 2936"/>
                  <a:gd name="T99" fmla="*/ 2147483647 h 1983"/>
                  <a:gd name="T100" fmla="*/ 2147483647 w 2936"/>
                  <a:gd name="T101" fmla="*/ 2147483647 h 1983"/>
                  <a:gd name="T102" fmla="*/ 2147483647 w 2936"/>
                  <a:gd name="T103" fmla="*/ 2147483647 h 1983"/>
                  <a:gd name="T104" fmla="*/ 2147483647 w 2936"/>
                  <a:gd name="T105" fmla="*/ 2147483647 h 1983"/>
                  <a:gd name="T106" fmla="*/ 2147483647 w 2936"/>
                  <a:gd name="T107" fmla="*/ 2147483647 h 1983"/>
                  <a:gd name="T108" fmla="*/ 2147483647 w 2936"/>
                  <a:gd name="T109" fmla="*/ 2147483647 h 1983"/>
                  <a:gd name="T110" fmla="*/ 2147483647 w 2936"/>
                  <a:gd name="T111" fmla="*/ 2147483647 h 1983"/>
                  <a:gd name="T112" fmla="*/ 2147483647 w 2936"/>
                  <a:gd name="T113" fmla="*/ 2147483647 h 1983"/>
                  <a:gd name="T114" fmla="*/ 2147483647 w 2936"/>
                  <a:gd name="T115" fmla="*/ 2147483647 h 1983"/>
                  <a:gd name="T116" fmla="*/ 2147483647 w 2936"/>
                  <a:gd name="T117" fmla="*/ 2147483647 h 1983"/>
                  <a:gd name="T118" fmla="*/ 2147483647 w 2936"/>
                  <a:gd name="T119" fmla="*/ 2147483647 h 198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2936" h="1983">
                    <a:moveTo>
                      <a:pt x="98" y="954"/>
                    </a:moveTo>
                    <a:lnTo>
                      <a:pt x="129" y="989"/>
                    </a:lnTo>
                    <a:lnTo>
                      <a:pt x="157" y="1017"/>
                    </a:lnTo>
                    <a:lnTo>
                      <a:pt x="170" y="1029"/>
                    </a:lnTo>
                    <a:lnTo>
                      <a:pt x="182" y="1041"/>
                    </a:lnTo>
                    <a:lnTo>
                      <a:pt x="194" y="1050"/>
                    </a:lnTo>
                    <a:lnTo>
                      <a:pt x="205" y="1059"/>
                    </a:lnTo>
                    <a:lnTo>
                      <a:pt x="216" y="1066"/>
                    </a:lnTo>
                    <a:lnTo>
                      <a:pt x="227" y="1072"/>
                    </a:lnTo>
                    <a:lnTo>
                      <a:pt x="238" y="1076"/>
                    </a:lnTo>
                    <a:lnTo>
                      <a:pt x="248" y="1080"/>
                    </a:lnTo>
                    <a:lnTo>
                      <a:pt x="259" y="1082"/>
                    </a:lnTo>
                    <a:lnTo>
                      <a:pt x="270" y="1084"/>
                    </a:lnTo>
                    <a:lnTo>
                      <a:pt x="281" y="1084"/>
                    </a:lnTo>
                    <a:lnTo>
                      <a:pt x="292" y="1084"/>
                    </a:lnTo>
                    <a:lnTo>
                      <a:pt x="364" y="1065"/>
                    </a:lnTo>
                    <a:lnTo>
                      <a:pt x="373" y="1071"/>
                    </a:lnTo>
                    <a:lnTo>
                      <a:pt x="383" y="1079"/>
                    </a:lnTo>
                    <a:lnTo>
                      <a:pt x="393" y="1090"/>
                    </a:lnTo>
                    <a:lnTo>
                      <a:pt x="401" y="1102"/>
                    </a:lnTo>
                    <a:lnTo>
                      <a:pt x="410" y="1114"/>
                    </a:lnTo>
                    <a:lnTo>
                      <a:pt x="418" y="1127"/>
                    </a:lnTo>
                    <a:lnTo>
                      <a:pt x="420" y="1133"/>
                    </a:lnTo>
                    <a:lnTo>
                      <a:pt x="422" y="1139"/>
                    </a:lnTo>
                    <a:lnTo>
                      <a:pt x="423" y="1145"/>
                    </a:lnTo>
                    <a:lnTo>
                      <a:pt x="425" y="1151"/>
                    </a:lnTo>
                    <a:lnTo>
                      <a:pt x="423" y="1157"/>
                    </a:lnTo>
                    <a:lnTo>
                      <a:pt x="420" y="1162"/>
                    </a:lnTo>
                    <a:lnTo>
                      <a:pt x="416" y="1167"/>
                    </a:lnTo>
                    <a:lnTo>
                      <a:pt x="409" y="1172"/>
                    </a:lnTo>
                    <a:lnTo>
                      <a:pt x="403" y="1176"/>
                    </a:lnTo>
                    <a:lnTo>
                      <a:pt x="396" y="1179"/>
                    </a:lnTo>
                    <a:lnTo>
                      <a:pt x="390" y="1182"/>
                    </a:lnTo>
                    <a:lnTo>
                      <a:pt x="385" y="1182"/>
                    </a:lnTo>
                    <a:lnTo>
                      <a:pt x="399" y="1200"/>
                    </a:lnTo>
                    <a:lnTo>
                      <a:pt x="412" y="1217"/>
                    </a:lnTo>
                    <a:lnTo>
                      <a:pt x="419" y="1226"/>
                    </a:lnTo>
                    <a:lnTo>
                      <a:pt x="423" y="1235"/>
                    </a:lnTo>
                    <a:lnTo>
                      <a:pt x="428" y="1245"/>
                    </a:lnTo>
                    <a:lnTo>
                      <a:pt x="431" y="1256"/>
                    </a:lnTo>
                    <a:lnTo>
                      <a:pt x="385" y="1256"/>
                    </a:lnTo>
                    <a:lnTo>
                      <a:pt x="385" y="1287"/>
                    </a:lnTo>
                    <a:lnTo>
                      <a:pt x="390" y="1300"/>
                    </a:lnTo>
                    <a:lnTo>
                      <a:pt x="397" y="1311"/>
                    </a:lnTo>
                    <a:lnTo>
                      <a:pt x="405" y="1321"/>
                    </a:lnTo>
                    <a:lnTo>
                      <a:pt x="414" y="1328"/>
                    </a:lnTo>
                    <a:lnTo>
                      <a:pt x="423" y="1335"/>
                    </a:lnTo>
                    <a:lnTo>
                      <a:pt x="434" y="1340"/>
                    </a:lnTo>
                    <a:lnTo>
                      <a:pt x="444" y="1345"/>
                    </a:lnTo>
                    <a:lnTo>
                      <a:pt x="456" y="1349"/>
                    </a:lnTo>
                    <a:lnTo>
                      <a:pt x="478" y="1358"/>
                    </a:lnTo>
                    <a:lnTo>
                      <a:pt x="500" y="1367"/>
                    </a:lnTo>
                    <a:lnTo>
                      <a:pt x="510" y="1373"/>
                    </a:lnTo>
                    <a:lnTo>
                      <a:pt x="520" y="1381"/>
                    </a:lnTo>
                    <a:lnTo>
                      <a:pt x="529" y="1389"/>
                    </a:lnTo>
                    <a:lnTo>
                      <a:pt x="538" y="1398"/>
                    </a:lnTo>
                    <a:lnTo>
                      <a:pt x="617" y="1404"/>
                    </a:lnTo>
                    <a:lnTo>
                      <a:pt x="620" y="1408"/>
                    </a:lnTo>
                    <a:lnTo>
                      <a:pt x="623" y="1411"/>
                    </a:lnTo>
                    <a:lnTo>
                      <a:pt x="628" y="1414"/>
                    </a:lnTo>
                    <a:lnTo>
                      <a:pt x="633" y="1417"/>
                    </a:lnTo>
                    <a:lnTo>
                      <a:pt x="644" y="1422"/>
                    </a:lnTo>
                    <a:lnTo>
                      <a:pt x="656" y="1427"/>
                    </a:lnTo>
                    <a:lnTo>
                      <a:pt x="678" y="1436"/>
                    </a:lnTo>
                    <a:lnTo>
                      <a:pt x="690" y="1441"/>
                    </a:lnTo>
                    <a:lnTo>
                      <a:pt x="723" y="1462"/>
                    </a:lnTo>
                    <a:lnTo>
                      <a:pt x="754" y="1481"/>
                    </a:lnTo>
                    <a:lnTo>
                      <a:pt x="768" y="1492"/>
                    </a:lnTo>
                    <a:lnTo>
                      <a:pt x="784" y="1501"/>
                    </a:lnTo>
                    <a:lnTo>
                      <a:pt x="798" y="1509"/>
                    </a:lnTo>
                    <a:lnTo>
                      <a:pt x="814" y="1517"/>
                    </a:lnTo>
                    <a:lnTo>
                      <a:pt x="830" y="1525"/>
                    </a:lnTo>
                    <a:lnTo>
                      <a:pt x="847" y="1531"/>
                    </a:lnTo>
                    <a:lnTo>
                      <a:pt x="866" y="1537"/>
                    </a:lnTo>
                    <a:lnTo>
                      <a:pt x="886" y="1543"/>
                    </a:lnTo>
                    <a:lnTo>
                      <a:pt x="907" y="1547"/>
                    </a:lnTo>
                    <a:lnTo>
                      <a:pt x="930" y="1550"/>
                    </a:lnTo>
                    <a:lnTo>
                      <a:pt x="955" y="1552"/>
                    </a:lnTo>
                    <a:lnTo>
                      <a:pt x="982" y="1552"/>
                    </a:lnTo>
                    <a:lnTo>
                      <a:pt x="982" y="1521"/>
                    </a:lnTo>
                    <a:lnTo>
                      <a:pt x="1015" y="1521"/>
                    </a:lnTo>
                    <a:lnTo>
                      <a:pt x="1021" y="1532"/>
                    </a:lnTo>
                    <a:lnTo>
                      <a:pt x="1025" y="1539"/>
                    </a:lnTo>
                    <a:lnTo>
                      <a:pt x="1031" y="1545"/>
                    </a:lnTo>
                    <a:lnTo>
                      <a:pt x="1036" y="1552"/>
                    </a:lnTo>
                    <a:lnTo>
                      <a:pt x="1042" y="1552"/>
                    </a:lnTo>
                    <a:lnTo>
                      <a:pt x="1046" y="1551"/>
                    </a:lnTo>
                    <a:lnTo>
                      <a:pt x="1050" y="1548"/>
                    </a:lnTo>
                    <a:lnTo>
                      <a:pt x="1054" y="1546"/>
                    </a:lnTo>
                    <a:lnTo>
                      <a:pt x="1058" y="1538"/>
                    </a:lnTo>
                    <a:lnTo>
                      <a:pt x="1062" y="1530"/>
                    </a:lnTo>
                    <a:lnTo>
                      <a:pt x="1066" y="1522"/>
                    </a:lnTo>
                    <a:lnTo>
                      <a:pt x="1071" y="1516"/>
                    </a:lnTo>
                    <a:lnTo>
                      <a:pt x="1075" y="1513"/>
                    </a:lnTo>
                    <a:lnTo>
                      <a:pt x="1078" y="1511"/>
                    </a:lnTo>
                    <a:lnTo>
                      <a:pt x="1083" y="1510"/>
                    </a:lnTo>
                    <a:lnTo>
                      <a:pt x="1089" y="1509"/>
                    </a:lnTo>
                    <a:lnTo>
                      <a:pt x="1092" y="1512"/>
                    </a:lnTo>
                    <a:lnTo>
                      <a:pt x="1096" y="1516"/>
                    </a:lnTo>
                    <a:lnTo>
                      <a:pt x="1102" y="1519"/>
                    </a:lnTo>
                    <a:lnTo>
                      <a:pt x="1109" y="1522"/>
                    </a:lnTo>
                    <a:lnTo>
                      <a:pt x="1124" y="1529"/>
                    </a:lnTo>
                    <a:lnTo>
                      <a:pt x="1142" y="1534"/>
                    </a:lnTo>
                    <a:lnTo>
                      <a:pt x="1159" y="1539"/>
                    </a:lnTo>
                    <a:lnTo>
                      <a:pt x="1178" y="1543"/>
                    </a:lnTo>
                    <a:lnTo>
                      <a:pt x="1194" y="1546"/>
                    </a:lnTo>
                    <a:lnTo>
                      <a:pt x="1208" y="1546"/>
                    </a:lnTo>
                    <a:lnTo>
                      <a:pt x="1217" y="1535"/>
                    </a:lnTo>
                    <a:lnTo>
                      <a:pt x="1227" y="1526"/>
                    </a:lnTo>
                    <a:lnTo>
                      <a:pt x="1236" y="1518"/>
                    </a:lnTo>
                    <a:lnTo>
                      <a:pt x="1247" y="1510"/>
                    </a:lnTo>
                    <a:lnTo>
                      <a:pt x="1258" y="1502"/>
                    </a:lnTo>
                    <a:lnTo>
                      <a:pt x="1269" y="1496"/>
                    </a:lnTo>
                    <a:lnTo>
                      <a:pt x="1280" y="1489"/>
                    </a:lnTo>
                    <a:lnTo>
                      <a:pt x="1292" y="1482"/>
                    </a:lnTo>
                    <a:lnTo>
                      <a:pt x="1317" y="1472"/>
                    </a:lnTo>
                    <a:lnTo>
                      <a:pt x="1344" y="1463"/>
                    </a:lnTo>
                    <a:lnTo>
                      <a:pt x="1372" y="1455"/>
                    </a:lnTo>
                    <a:lnTo>
                      <a:pt x="1401" y="1448"/>
                    </a:lnTo>
                    <a:lnTo>
                      <a:pt x="1408" y="1456"/>
                    </a:lnTo>
                    <a:lnTo>
                      <a:pt x="1418" y="1465"/>
                    </a:lnTo>
                    <a:lnTo>
                      <a:pt x="1431" y="1476"/>
                    </a:lnTo>
                    <a:lnTo>
                      <a:pt x="1446" y="1487"/>
                    </a:lnTo>
                    <a:lnTo>
                      <a:pt x="1453" y="1492"/>
                    </a:lnTo>
                    <a:lnTo>
                      <a:pt x="1461" y="1496"/>
                    </a:lnTo>
                    <a:lnTo>
                      <a:pt x="1469" y="1499"/>
                    </a:lnTo>
                    <a:lnTo>
                      <a:pt x="1475" y="1502"/>
                    </a:lnTo>
                    <a:lnTo>
                      <a:pt x="1483" y="1504"/>
                    </a:lnTo>
                    <a:lnTo>
                      <a:pt x="1490" y="1505"/>
                    </a:lnTo>
                    <a:lnTo>
                      <a:pt x="1495" y="1505"/>
                    </a:lnTo>
                    <a:lnTo>
                      <a:pt x="1501" y="1503"/>
                    </a:lnTo>
                    <a:lnTo>
                      <a:pt x="1512" y="1510"/>
                    </a:lnTo>
                    <a:lnTo>
                      <a:pt x="1521" y="1518"/>
                    </a:lnTo>
                    <a:lnTo>
                      <a:pt x="1530" y="1526"/>
                    </a:lnTo>
                    <a:lnTo>
                      <a:pt x="1538" y="1534"/>
                    </a:lnTo>
                    <a:lnTo>
                      <a:pt x="1547" y="1542"/>
                    </a:lnTo>
                    <a:lnTo>
                      <a:pt x="1555" y="1547"/>
                    </a:lnTo>
                    <a:lnTo>
                      <a:pt x="1561" y="1550"/>
                    </a:lnTo>
                    <a:lnTo>
                      <a:pt x="1566" y="1551"/>
                    </a:lnTo>
                    <a:lnTo>
                      <a:pt x="1573" y="1552"/>
                    </a:lnTo>
                    <a:lnTo>
                      <a:pt x="1581" y="1552"/>
                    </a:lnTo>
                    <a:lnTo>
                      <a:pt x="1586" y="1578"/>
                    </a:lnTo>
                    <a:lnTo>
                      <a:pt x="1593" y="1602"/>
                    </a:lnTo>
                    <a:lnTo>
                      <a:pt x="1596" y="1613"/>
                    </a:lnTo>
                    <a:lnTo>
                      <a:pt x="1598" y="1625"/>
                    </a:lnTo>
                    <a:lnTo>
                      <a:pt x="1599" y="1637"/>
                    </a:lnTo>
                    <a:lnTo>
                      <a:pt x="1600" y="1650"/>
                    </a:lnTo>
                    <a:lnTo>
                      <a:pt x="1599" y="1658"/>
                    </a:lnTo>
                    <a:lnTo>
                      <a:pt x="1598" y="1664"/>
                    </a:lnTo>
                    <a:lnTo>
                      <a:pt x="1596" y="1670"/>
                    </a:lnTo>
                    <a:lnTo>
                      <a:pt x="1593" y="1676"/>
                    </a:lnTo>
                    <a:lnTo>
                      <a:pt x="1585" y="1686"/>
                    </a:lnTo>
                    <a:lnTo>
                      <a:pt x="1577" y="1697"/>
                    </a:lnTo>
                    <a:lnTo>
                      <a:pt x="1569" y="1707"/>
                    </a:lnTo>
                    <a:lnTo>
                      <a:pt x="1561" y="1719"/>
                    </a:lnTo>
                    <a:lnTo>
                      <a:pt x="1558" y="1724"/>
                    </a:lnTo>
                    <a:lnTo>
                      <a:pt x="1555" y="1730"/>
                    </a:lnTo>
                    <a:lnTo>
                      <a:pt x="1554" y="1736"/>
                    </a:lnTo>
                    <a:lnTo>
                      <a:pt x="1553" y="1743"/>
                    </a:lnTo>
                    <a:lnTo>
                      <a:pt x="1554" y="1748"/>
                    </a:lnTo>
                    <a:lnTo>
                      <a:pt x="1555" y="1753"/>
                    </a:lnTo>
                    <a:lnTo>
                      <a:pt x="1558" y="1756"/>
                    </a:lnTo>
                    <a:lnTo>
                      <a:pt x="1561" y="1759"/>
                    </a:lnTo>
                    <a:lnTo>
                      <a:pt x="1565" y="1761"/>
                    </a:lnTo>
                    <a:lnTo>
                      <a:pt x="1570" y="1764"/>
                    </a:lnTo>
                    <a:lnTo>
                      <a:pt x="1574" y="1765"/>
                    </a:lnTo>
                    <a:lnTo>
                      <a:pt x="1580" y="1767"/>
                    </a:lnTo>
                    <a:lnTo>
                      <a:pt x="1591" y="1769"/>
                    </a:lnTo>
                    <a:lnTo>
                      <a:pt x="1602" y="1771"/>
                    </a:lnTo>
                    <a:lnTo>
                      <a:pt x="1607" y="1773"/>
                    </a:lnTo>
                    <a:lnTo>
                      <a:pt x="1611" y="1775"/>
                    </a:lnTo>
                    <a:lnTo>
                      <a:pt x="1616" y="1777"/>
                    </a:lnTo>
                    <a:lnTo>
                      <a:pt x="1620" y="1780"/>
                    </a:lnTo>
                    <a:lnTo>
                      <a:pt x="1627" y="1787"/>
                    </a:lnTo>
                    <a:lnTo>
                      <a:pt x="1632" y="1794"/>
                    </a:lnTo>
                    <a:lnTo>
                      <a:pt x="1636" y="1801"/>
                    </a:lnTo>
                    <a:lnTo>
                      <a:pt x="1639" y="1807"/>
                    </a:lnTo>
                    <a:lnTo>
                      <a:pt x="1645" y="1822"/>
                    </a:lnTo>
                    <a:lnTo>
                      <a:pt x="1653" y="1836"/>
                    </a:lnTo>
                    <a:lnTo>
                      <a:pt x="1659" y="1848"/>
                    </a:lnTo>
                    <a:lnTo>
                      <a:pt x="1666" y="1862"/>
                    </a:lnTo>
                    <a:lnTo>
                      <a:pt x="1674" y="1877"/>
                    </a:lnTo>
                    <a:lnTo>
                      <a:pt x="1683" y="1890"/>
                    </a:lnTo>
                    <a:lnTo>
                      <a:pt x="1688" y="1897"/>
                    </a:lnTo>
                    <a:lnTo>
                      <a:pt x="1694" y="1903"/>
                    </a:lnTo>
                    <a:lnTo>
                      <a:pt x="1699" y="1908"/>
                    </a:lnTo>
                    <a:lnTo>
                      <a:pt x="1706" y="1912"/>
                    </a:lnTo>
                    <a:lnTo>
                      <a:pt x="1712" y="1916"/>
                    </a:lnTo>
                    <a:lnTo>
                      <a:pt x="1719" y="1919"/>
                    </a:lnTo>
                    <a:lnTo>
                      <a:pt x="1726" y="1921"/>
                    </a:lnTo>
                    <a:lnTo>
                      <a:pt x="1733" y="1921"/>
                    </a:lnTo>
                    <a:lnTo>
                      <a:pt x="1741" y="1921"/>
                    </a:lnTo>
                    <a:lnTo>
                      <a:pt x="1752" y="1918"/>
                    </a:lnTo>
                    <a:lnTo>
                      <a:pt x="1762" y="1916"/>
                    </a:lnTo>
                    <a:lnTo>
                      <a:pt x="1766" y="1915"/>
                    </a:lnTo>
                    <a:lnTo>
                      <a:pt x="1777" y="1910"/>
                    </a:lnTo>
                    <a:lnTo>
                      <a:pt x="1787" y="1904"/>
                    </a:lnTo>
                    <a:lnTo>
                      <a:pt x="1795" y="1898"/>
                    </a:lnTo>
                    <a:lnTo>
                      <a:pt x="1803" y="1891"/>
                    </a:lnTo>
                    <a:lnTo>
                      <a:pt x="1809" y="1884"/>
                    </a:lnTo>
                    <a:lnTo>
                      <a:pt x="1816" y="1878"/>
                    </a:lnTo>
                    <a:lnTo>
                      <a:pt x="1823" y="1871"/>
                    </a:lnTo>
                    <a:lnTo>
                      <a:pt x="1833" y="1866"/>
                    </a:lnTo>
                    <a:lnTo>
                      <a:pt x="1842" y="1859"/>
                    </a:lnTo>
                    <a:lnTo>
                      <a:pt x="1852" y="1853"/>
                    </a:lnTo>
                    <a:lnTo>
                      <a:pt x="1863" y="1848"/>
                    </a:lnTo>
                    <a:lnTo>
                      <a:pt x="1874" y="1844"/>
                    </a:lnTo>
                    <a:lnTo>
                      <a:pt x="1896" y="1838"/>
                    </a:lnTo>
                    <a:lnTo>
                      <a:pt x="1919" y="1834"/>
                    </a:lnTo>
                    <a:lnTo>
                      <a:pt x="1941" y="1831"/>
                    </a:lnTo>
                    <a:lnTo>
                      <a:pt x="1960" y="1827"/>
                    </a:lnTo>
                    <a:lnTo>
                      <a:pt x="1968" y="1824"/>
                    </a:lnTo>
                    <a:lnTo>
                      <a:pt x="1975" y="1821"/>
                    </a:lnTo>
                    <a:lnTo>
                      <a:pt x="1981" y="1816"/>
                    </a:lnTo>
                    <a:lnTo>
                      <a:pt x="1986" y="1811"/>
                    </a:lnTo>
                    <a:lnTo>
                      <a:pt x="1996" y="1820"/>
                    </a:lnTo>
                    <a:lnTo>
                      <a:pt x="2008" y="1827"/>
                    </a:lnTo>
                    <a:lnTo>
                      <a:pt x="2019" y="1832"/>
                    </a:lnTo>
                    <a:lnTo>
                      <a:pt x="2031" y="1837"/>
                    </a:lnTo>
                    <a:lnTo>
                      <a:pt x="2054" y="1846"/>
                    </a:lnTo>
                    <a:lnTo>
                      <a:pt x="2072" y="1854"/>
                    </a:lnTo>
                    <a:lnTo>
                      <a:pt x="2091" y="1869"/>
                    </a:lnTo>
                    <a:lnTo>
                      <a:pt x="2109" y="1887"/>
                    </a:lnTo>
                    <a:lnTo>
                      <a:pt x="2119" y="1896"/>
                    </a:lnTo>
                    <a:lnTo>
                      <a:pt x="2129" y="1903"/>
                    </a:lnTo>
                    <a:lnTo>
                      <a:pt x="2140" y="1910"/>
                    </a:lnTo>
                    <a:lnTo>
                      <a:pt x="2152" y="1915"/>
                    </a:lnTo>
                    <a:lnTo>
                      <a:pt x="2245" y="1921"/>
                    </a:lnTo>
                    <a:lnTo>
                      <a:pt x="2238" y="1935"/>
                    </a:lnTo>
                    <a:lnTo>
                      <a:pt x="2232" y="1947"/>
                    </a:lnTo>
                    <a:lnTo>
                      <a:pt x="2232" y="1953"/>
                    </a:lnTo>
                    <a:lnTo>
                      <a:pt x="2235" y="1957"/>
                    </a:lnTo>
                    <a:lnTo>
                      <a:pt x="2238" y="1961"/>
                    </a:lnTo>
                    <a:lnTo>
                      <a:pt x="2243" y="1965"/>
                    </a:lnTo>
                    <a:lnTo>
                      <a:pt x="2248" y="1968"/>
                    </a:lnTo>
                    <a:lnTo>
                      <a:pt x="2254" y="1972"/>
                    </a:lnTo>
                    <a:lnTo>
                      <a:pt x="2259" y="1977"/>
                    </a:lnTo>
                    <a:lnTo>
                      <a:pt x="2265" y="1983"/>
                    </a:lnTo>
                    <a:lnTo>
                      <a:pt x="2266" y="1980"/>
                    </a:lnTo>
                    <a:lnTo>
                      <a:pt x="2267" y="1972"/>
                    </a:lnTo>
                    <a:lnTo>
                      <a:pt x="2268" y="1968"/>
                    </a:lnTo>
                    <a:lnTo>
                      <a:pt x="2267" y="1963"/>
                    </a:lnTo>
                    <a:lnTo>
                      <a:pt x="2267" y="1957"/>
                    </a:lnTo>
                    <a:lnTo>
                      <a:pt x="2265" y="1953"/>
                    </a:lnTo>
                    <a:lnTo>
                      <a:pt x="2275" y="1947"/>
                    </a:lnTo>
                    <a:lnTo>
                      <a:pt x="2293" y="1935"/>
                    </a:lnTo>
                    <a:lnTo>
                      <a:pt x="2303" y="1927"/>
                    </a:lnTo>
                    <a:lnTo>
                      <a:pt x="2313" y="1921"/>
                    </a:lnTo>
                    <a:lnTo>
                      <a:pt x="2319" y="1919"/>
                    </a:lnTo>
                    <a:lnTo>
                      <a:pt x="2323" y="1917"/>
                    </a:lnTo>
                    <a:lnTo>
                      <a:pt x="2327" y="1916"/>
                    </a:lnTo>
                    <a:lnTo>
                      <a:pt x="2331" y="1915"/>
                    </a:lnTo>
                    <a:lnTo>
                      <a:pt x="2341" y="1915"/>
                    </a:lnTo>
                    <a:lnTo>
                      <a:pt x="2349" y="1913"/>
                    </a:lnTo>
                    <a:lnTo>
                      <a:pt x="2357" y="1910"/>
                    </a:lnTo>
                    <a:lnTo>
                      <a:pt x="2364" y="1906"/>
                    </a:lnTo>
                    <a:lnTo>
                      <a:pt x="2370" y="1901"/>
                    </a:lnTo>
                    <a:lnTo>
                      <a:pt x="2376" y="1895"/>
                    </a:lnTo>
                    <a:lnTo>
                      <a:pt x="2382" y="1889"/>
                    </a:lnTo>
                    <a:lnTo>
                      <a:pt x="2388" y="1882"/>
                    </a:lnTo>
                    <a:lnTo>
                      <a:pt x="2399" y="1867"/>
                    </a:lnTo>
                    <a:lnTo>
                      <a:pt x="2412" y="1853"/>
                    </a:lnTo>
                    <a:lnTo>
                      <a:pt x="2418" y="1847"/>
                    </a:lnTo>
                    <a:lnTo>
                      <a:pt x="2426" y="1840"/>
                    </a:lnTo>
                    <a:lnTo>
                      <a:pt x="2435" y="1835"/>
                    </a:lnTo>
                    <a:lnTo>
                      <a:pt x="2444" y="1830"/>
                    </a:lnTo>
                    <a:lnTo>
                      <a:pt x="2449" y="1838"/>
                    </a:lnTo>
                    <a:lnTo>
                      <a:pt x="2454" y="1846"/>
                    </a:lnTo>
                    <a:lnTo>
                      <a:pt x="2455" y="1850"/>
                    </a:lnTo>
                    <a:lnTo>
                      <a:pt x="2456" y="1854"/>
                    </a:lnTo>
                    <a:lnTo>
                      <a:pt x="2457" y="1860"/>
                    </a:lnTo>
                    <a:lnTo>
                      <a:pt x="2457" y="1866"/>
                    </a:lnTo>
                    <a:lnTo>
                      <a:pt x="2462" y="1860"/>
                    </a:lnTo>
                    <a:lnTo>
                      <a:pt x="2468" y="1857"/>
                    </a:lnTo>
                    <a:lnTo>
                      <a:pt x="2474" y="1855"/>
                    </a:lnTo>
                    <a:lnTo>
                      <a:pt x="2481" y="1855"/>
                    </a:lnTo>
                    <a:lnTo>
                      <a:pt x="2487" y="1856"/>
                    </a:lnTo>
                    <a:lnTo>
                      <a:pt x="2493" y="1858"/>
                    </a:lnTo>
                    <a:lnTo>
                      <a:pt x="2499" y="1862"/>
                    </a:lnTo>
                    <a:lnTo>
                      <a:pt x="2504" y="1866"/>
                    </a:lnTo>
                    <a:lnTo>
                      <a:pt x="2505" y="1856"/>
                    </a:lnTo>
                    <a:lnTo>
                      <a:pt x="2507" y="1847"/>
                    </a:lnTo>
                    <a:lnTo>
                      <a:pt x="2511" y="1841"/>
                    </a:lnTo>
                    <a:lnTo>
                      <a:pt x="2514" y="1836"/>
                    </a:lnTo>
                    <a:lnTo>
                      <a:pt x="2517" y="1832"/>
                    </a:lnTo>
                    <a:lnTo>
                      <a:pt x="2522" y="1829"/>
                    </a:lnTo>
                    <a:lnTo>
                      <a:pt x="2527" y="1828"/>
                    </a:lnTo>
                    <a:lnTo>
                      <a:pt x="2533" y="1827"/>
                    </a:lnTo>
                    <a:lnTo>
                      <a:pt x="2546" y="1826"/>
                    </a:lnTo>
                    <a:lnTo>
                      <a:pt x="2561" y="1827"/>
                    </a:lnTo>
                    <a:lnTo>
                      <a:pt x="2569" y="1827"/>
                    </a:lnTo>
                    <a:lnTo>
                      <a:pt x="2578" y="1826"/>
                    </a:lnTo>
                    <a:lnTo>
                      <a:pt x="2588" y="1825"/>
                    </a:lnTo>
                    <a:lnTo>
                      <a:pt x="2596" y="1824"/>
                    </a:lnTo>
                    <a:lnTo>
                      <a:pt x="2604" y="1821"/>
                    </a:lnTo>
                    <a:lnTo>
                      <a:pt x="2611" y="1816"/>
                    </a:lnTo>
                    <a:lnTo>
                      <a:pt x="2616" y="1810"/>
                    </a:lnTo>
                    <a:lnTo>
                      <a:pt x="2622" y="1804"/>
                    </a:lnTo>
                    <a:lnTo>
                      <a:pt x="2633" y="1790"/>
                    </a:lnTo>
                    <a:lnTo>
                      <a:pt x="2642" y="1774"/>
                    </a:lnTo>
                    <a:lnTo>
                      <a:pt x="2648" y="1766"/>
                    </a:lnTo>
                    <a:lnTo>
                      <a:pt x="2653" y="1758"/>
                    </a:lnTo>
                    <a:lnTo>
                      <a:pt x="2660" y="1750"/>
                    </a:lnTo>
                    <a:lnTo>
                      <a:pt x="2667" y="1743"/>
                    </a:lnTo>
                    <a:lnTo>
                      <a:pt x="2674" y="1737"/>
                    </a:lnTo>
                    <a:lnTo>
                      <a:pt x="2683" y="1732"/>
                    </a:lnTo>
                    <a:lnTo>
                      <a:pt x="2693" y="1728"/>
                    </a:lnTo>
                    <a:lnTo>
                      <a:pt x="2703" y="1725"/>
                    </a:lnTo>
                    <a:lnTo>
                      <a:pt x="2704" y="1716"/>
                    </a:lnTo>
                    <a:lnTo>
                      <a:pt x="2706" y="1707"/>
                    </a:lnTo>
                    <a:lnTo>
                      <a:pt x="2711" y="1699"/>
                    </a:lnTo>
                    <a:lnTo>
                      <a:pt x="2715" y="1691"/>
                    </a:lnTo>
                    <a:lnTo>
                      <a:pt x="2726" y="1677"/>
                    </a:lnTo>
                    <a:lnTo>
                      <a:pt x="2737" y="1663"/>
                    </a:lnTo>
                    <a:lnTo>
                      <a:pt x="2733" y="1658"/>
                    </a:lnTo>
                    <a:lnTo>
                      <a:pt x="2730" y="1651"/>
                    </a:lnTo>
                    <a:lnTo>
                      <a:pt x="2729" y="1645"/>
                    </a:lnTo>
                    <a:lnTo>
                      <a:pt x="2729" y="1638"/>
                    </a:lnTo>
                    <a:lnTo>
                      <a:pt x="2728" y="1631"/>
                    </a:lnTo>
                    <a:lnTo>
                      <a:pt x="2726" y="1625"/>
                    </a:lnTo>
                    <a:lnTo>
                      <a:pt x="2725" y="1622"/>
                    </a:lnTo>
                    <a:lnTo>
                      <a:pt x="2723" y="1619"/>
                    </a:lnTo>
                    <a:lnTo>
                      <a:pt x="2719" y="1616"/>
                    </a:lnTo>
                    <a:lnTo>
                      <a:pt x="2716" y="1614"/>
                    </a:lnTo>
                    <a:lnTo>
                      <a:pt x="2728" y="1602"/>
                    </a:lnTo>
                    <a:lnTo>
                      <a:pt x="2739" y="1588"/>
                    </a:lnTo>
                    <a:lnTo>
                      <a:pt x="2750" y="1573"/>
                    </a:lnTo>
                    <a:lnTo>
                      <a:pt x="2760" y="1558"/>
                    </a:lnTo>
                    <a:lnTo>
                      <a:pt x="2780" y="1521"/>
                    </a:lnTo>
                    <a:lnTo>
                      <a:pt x="2803" y="1478"/>
                    </a:lnTo>
                    <a:lnTo>
                      <a:pt x="2798" y="1475"/>
                    </a:lnTo>
                    <a:lnTo>
                      <a:pt x="2796" y="1471"/>
                    </a:lnTo>
                    <a:lnTo>
                      <a:pt x="2795" y="1467"/>
                    </a:lnTo>
                    <a:lnTo>
                      <a:pt x="2794" y="1462"/>
                    </a:lnTo>
                    <a:lnTo>
                      <a:pt x="2795" y="1451"/>
                    </a:lnTo>
                    <a:lnTo>
                      <a:pt x="2796" y="1441"/>
                    </a:lnTo>
                    <a:lnTo>
                      <a:pt x="2790" y="1428"/>
                    </a:lnTo>
                    <a:lnTo>
                      <a:pt x="2790" y="1426"/>
                    </a:lnTo>
                    <a:lnTo>
                      <a:pt x="2792" y="1423"/>
                    </a:lnTo>
                    <a:lnTo>
                      <a:pt x="2794" y="1420"/>
                    </a:lnTo>
                    <a:lnTo>
                      <a:pt x="2797" y="1417"/>
                    </a:lnTo>
                    <a:lnTo>
                      <a:pt x="2801" y="1414"/>
                    </a:lnTo>
                    <a:lnTo>
                      <a:pt x="2804" y="1412"/>
                    </a:lnTo>
                    <a:lnTo>
                      <a:pt x="2807" y="1411"/>
                    </a:lnTo>
                    <a:lnTo>
                      <a:pt x="2809" y="1410"/>
                    </a:lnTo>
                    <a:lnTo>
                      <a:pt x="2809" y="1386"/>
                    </a:lnTo>
                    <a:lnTo>
                      <a:pt x="2801" y="1389"/>
                    </a:lnTo>
                    <a:lnTo>
                      <a:pt x="2793" y="1391"/>
                    </a:lnTo>
                    <a:lnTo>
                      <a:pt x="2785" y="1393"/>
                    </a:lnTo>
                    <a:lnTo>
                      <a:pt x="2778" y="1394"/>
                    </a:lnTo>
                    <a:lnTo>
                      <a:pt x="2763" y="1395"/>
                    </a:lnTo>
                    <a:lnTo>
                      <a:pt x="2750" y="1394"/>
                    </a:lnTo>
                    <a:lnTo>
                      <a:pt x="2738" y="1392"/>
                    </a:lnTo>
                    <a:lnTo>
                      <a:pt x="2725" y="1389"/>
                    </a:lnTo>
                    <a:lnTo>
                      <a:pt x="2711" y="1384"/>
                    </a:lnTo>
                    <a:lnTo>
                      <a:pt x="2696" y="1380"/>
                    </a:lnTo>
                    <a:lnTo>
                      <a:pt x="2705" y="1375"/>
                    </a:lnTo>
                    <a:lnTo>
                      <a:pt x="2713" y="1369"/>
                    </a:lnTo>
                    <a:lnTo>
                      <a:pt x="2719" y="1363"/>
                    </a:lnTo>
                    <a:lnTo>
                      <a:pt x="2726" y="1356"/>
                    </a:lnTo>
                    <a:lnTo>
                      <a:pt x="2737" y="1342"/>
                    </a:lnTo>
                    <a:lnTo>
                      <a:pt x="2750" y="1324"/>
                    </a:lnTo>
                    <a:lnTo>
                      <a:pt x="2730" y="1316"/>
                    </a:lnTo>
                    <a:lnTo>
                      <a:pt x="2712" y="1310"/>
                    </a:lnTo>
                    <a:lnTo>
                      <a:pt x="2695" y="1305"/>
                    </a:lnTo>
                    <a:lnTo>
                      <a:pt x="2679" y="1300"/>
                    </a:lnTo>
                    <a:lnTo>
                      <a:pt x="2662" y="1294"/>
                    </a:lnTo>
                    <a:lnTo>
                      <a:pt x="2647" y="1287"/>
                    </a:lnTo>
                    <a:lnTo>
                      <a:pt x="2639" y="1282"/>
                    </a:lnTo>
                    <a:lnTo>
                      <a:pt x="2632" y="1277"/>
                    </a:lnTo>
                    <a:lnTo>
                      <a:pt x="2624" y="1270"/>
                    </a:lnTo>
                    <a:lnTo>
                      <a:pt x="2617" y="1262"/>
                    </a:lnTo>
                    <a:lnTo>
                      <a:pt x="2626" y="1268"/>
                    </a:lnTo>
                    <a:lnTo>
                      <a:pt x="2640" y="1273"/>
                    </a:lnTo>
                    <a:lnTo>
                      <a:pt x="2657" y="1278"/>
                    </a:lnTo>
                    <a:lnTo>
                      <a:pt x="2675" y="1283"/>
                    </a:lnTo>
                    <a:lnTo>
                      <a:pt x="2715" y="1293"/>
                    </a:lnTo>
                    <a:lnTo>
                      <a:pt x="2750" y="1299"/>
                    </a:lnTo>
                    <a:lnTo>
                      <a:pt x="2749" y="1293"/>
                    </a:lnTo>
                    <a:lnTo>
                      <a:pt x="2746" y="1288"/>
                    </a:lnTo>
                    <a:lnTo>
                      <a:pt x="2742" y="1283"/>
                    </a:lnTo>
                    <a:lnTo>
                      <a:pt x="2737" y="1279"/>
                    </a:lnTo>
                    <a:lnTo>
                      <a:pt x="2725" y="1272"/>
                    </a:lnTo>
                    <a:lnTo>
                      <a:pt x="2709" y="1266"/>
                    </a:lnTo>
                    <a:lnTo>
                      <a:pt x="2695" y="1259"/>
                    </a:lnTo>
                    <a:lnTo>
                      <a:pt x="2682" y="1252"/>
                    </a:lnTo>
                    <a:lnTo>
                      <a:pt x="2678" y="1248"/>
                    </a:lnTo>
                    <a:lnTo>
                      <a:pt x="2673" y="1244"/>
                    </a:lnTo>
                    <a:lnTo>
                      <a:pt x="2671" y="1238"/>
                    </a:lnTo>
                    <a:lnTo>
                      <a:pt x="2670" y="1232"/>
                    </a:lnTo>
                    <a:lnTo>
                      <a:pt x="2669" y="1227"/>
                    </a:lnTo>
                    <a:lnTo>
                      <a:pt x="2668" y="1224"/>
                    </a:lnTo>
                    <a:lnTo>
                      <a:pt x="2666" y="1220"/>
                    </a:lnTo>
                    <a:lnTo>
                      <a:pt x="2662" y="1217"/>
                    </a:lnTo>
                    <a:lnTo>
                      <a:pt x="2656" y="1212"/>
                    </a:lnTo>
                    <a:lnTo>
                      <a:pt x="2650" y="1208"/>
                    </a:lnTo>
                    <a:lnTo>
                      <a:pt x="2626" y="1186"/>
                    </a:lnTo>
                    <a:lnTo>
                      <a:pt x="2581" y="1145"/>
                    </a:lnTo>
                    <a:lnTo>
                      <a:pt x="2557" y="1124"/>
                    </a:lnTo>
                    <a:lnTo>
                      <a:pt x="2537" y="1105"/>
                    </a:lnTo>
                    <a:lnTo>
                      <a:pt x="2523" y="1090"/>
                    </a:lnTo>
                    <a:lnTo>
                      <a:pt x="2517" y="1084"/>
                    </a:lnTo>
                    <a:lnTo>
                      <a:pt x="2517" y="1078"/>
                    </a:lnTo>
                    <a:lnTo>
                      <a:pt x="2520" y="1074"/>
                    </a:lnTo>
                    <a:lnTo>
                      <a:pt x="2522" y="1070"/>
                    </a:lnTo>
                    <a:lnTo>
                      <a:pt x="2525" y="1068"/>
                    </a:lnTo>
                    <a:lnTo>
                      <a:pt x="2528" y="1065"/>
                    </a:lnTo>
                    <a:lnTo>
                      <a:pt x="2532" y="1061"/>
                    </a:lnTo>
                    <a:lnTo>
                      <a:pt x="2534" y="1055"/>
                    </a:lnTo>
                    <a:lnTo>
                      <a:pt x="2537" y="1047"/>
                    </a:lnTo>
                    <a:lnTo>
                      <a:pt x="2535" y="1046"/>
                    </a:lnTo>
                    <a:lnTo>
                      <a:pt x="2530" y="1043"/>
                    </a:lnTo>
                    <a:lnTo>
                      <a:pt x="2528" y="1042"/>
                    </a:lnTo>
                    <a:lnTo>
                      <a:pt x="2526" y="1039"/>
                    </a:lnTo>
                    <a:lnTo>
                      <a:pt x="2524" y="1036"/>
                    </a:lnTo>
                    <a:lnTo>
                      <a:pt x="2524" y="1034"/>
                    </a:lnTo>
                    <a:lnTo>
                      <a:pt x="2557" y="1034"/>
                    </a:lnTo>
                    <a:lnTo>
                      <a:pt x="2558" y="1028"/>
                    </a:lnTo>
                    <a:lnTo>
                      <a:pt x="2559" y="1022"/>
                    </a:lnTo>
                    <a:lnTo>
                      <a:pt x="2561" y="1016"/>
                    </a:lnTo>
                    <a:lnTo>
                      <a:pt x="2565" y="1011"/>
                    </a:lnTo>
                    <a:lnTo>
                      <a:pt x="2569" y="1006"/>
                    </a:lnTo>
                    <a:lnTo>
                      <a:pt x="2573" y="1002"/>
                    </a:lnTo>
                    <a:lnTo>
                      <a:pt x="2578" y="997"/>
                    </a:lnTo>
                    <a:lnTo>
                      <a:pt x="2583" y="993"/>
                    </a:lnTo>
                    <a:lnTo>
                      <a:pt x="2607" y="977"/>
                    </a:lnTo>
                    <a:lnTo>
                      <a:pt x="2630" y="960"/>
                    </a:lnTo>
                    <a:lnTo>
                      <a:pt x="2617" y="958"/>
                    </a:lnTo>
                    <a:lnTo>
                      <a:pt x="2603" y="954"/>
                    </a:lnTo>
                    <a:lnTo>
                      <a:pt x="2590" y="949"/>
                    </a:lnTo>
                    <a:lnTo>
                      <a:pt x="2577" y="944"/>
                    </a:lnTo>
                    <a:lnTo>
                      <a:pt x="2563" y="938"/>
                    </a:lnTo>
                    <a:lnTo>
                      <a:pt x="2552" y="932"/>
                    </a:lnTo>
                    <a:lnTo>
                      <a:pt x="2544" y="924"/>
                    </a:lnTo>
                    <a:lnTo>
                      <a:pt x="2537" y="917"/>
                    </a:lnTo>
                    <a:lnTo>
                      <a:pt x="2498" y="917"/>
                    </a:lnTo>
                    <a:lnTo>
                      <a:pt x="2498" y="926"/>
                    </a:lnTo>
                    <a:lnTo>
                      <a:pt x="2498" y="938"/>
                    </a:lnTo>
                    <a:lnTo>
                      <a:pt x="2498" y="950"/>
                    </a:lnTo>
                    <a:lnTo>
                      <a:pt x="2498" y="967"/>
                    </a:lnTo>
                    <a:lnTo>
                      <a:pt x="2457" y="967"/>
                    </a:lnTo>
                    <a:lnTo>
                      <a:pt x="2453" y="962"/>
                    </a:lnTo>
                    <a:lnTo>
                      <a:pt x="2449" y="956"/>
                    </a:lnTo>
                    <a:lnTo>
                      <a:pt x="2447" y="949"/>
                    </a:lnTo>
                    <a:lnTo>
                      <a:pt x="2444" y="942"/>
                    </a:lnTo>
                    <a:lnTo>
                      <a:pt x="2442" y="936"/>
                    </a:lnTo>
                    <a:lnTo>
                      <a:pt x="2438" y="928"/>
                    </a:lnTo>
                    <a:lnTo>
                      <a:pt x="2435" y="922"/>
                    </a:lnTo>
                    <a:lnTo>
                      <a:pt x="2431" y="917"/>
                    </a:lnTo>
                    <a:lnTo>
                      <a:pt x="2426" y="914"/>
                    </a:lnTo>
                    <a:lnTo>
                      <a:pt x="2421" y="911"/>
                    </a:lnTo>
                    <a:lnTo>
                      <a:pt x="2413" y="909"/>
                    </a:lnTo>
                    <a:lnTo>
                      <a:pt x="2404" y="907"/>
                    </a:lnTo>
                    <a:lnTo>
                      <a:pt x="2387" y="903"/>
                    </a:lnTo>
                    <a:lnTo>
                      <a:pt x="2367" y="899"/>
                    </a:lnTo>
                    <a:lnTo>
                      <a:pt x="2357" y="897"/>
                    </a:lnTo>
                    <a:lnTo>
                      <a:pt x="2348" y="894"/>
                    </a:lnTo>
                    <a:lnTo>
                      <a:pt x="2339" y="890"/>
                    </a:lnTo>
                    <a:lnTo>
                      <a:pt x="2333" y="887"/>
                    </a:lnTo>
                    <a:lnTo>
                      <a:pt x="2326" y="882"/>
                    </a:lnTo>
                    <a:lnTo>
                      <a:pt x="2322" y="876"/>
                    </a:lnTo>
                    <a:lnTo>
                      <a:pt x="2320" y="872"/>
                    </a:lnTo>
                    <a:lnTo>
                      <a:pt x="2319" y="869"/>
                    </a:lnTo>
                    <a:lnTo>
                      <a:pt x="2319" y="866"/>
                    </a:lnTo>
                    <a:lnTo>
                      <a:pt x="2317" y="862"/>
                    </a:lnTo>
                    <a:lnTo>
                      <a:pt x="2319" y="858"/>
                    </a:lnTo>
                    <a:lnTo>
                      <a:pt x="2319" y="855"/>
                    </a:lnTo>
                    <a:lnTo>
                      <a:pt x="2321" y="853"/>
                    </a:lnTo>
                    <a:lnTo>
                      <a:pt x="2322" y="850"/>
                    </a:lnTo>
                    <a:lnTo>
                      <a:pt x="2327" y="846"/>
                    </a:lnTo>
                    <a:lnTo>
                      <a:pt x="2334" y="843"/>
                    </a:lnTo>
                    <a:lnTo>
                      <a:pt x="2341" y="840"/>
                    </a:lnTo>
                    <a:lnTo>
                      <a:pt x="2348" y="839"/>
                    </a:lnTo>
                    <a:lnTo>
                      <a:pt x="2357" y="838"/>
                    </a:lnTo>
                    <a:lnTo>
                      <a:pt x="2365" y="837"/>
                    </a:lnTo>
                    <a:lnTo>
                      <a:pt x="2368" y="836"/>
                    </a:lnTo>
                    <a:lnTo>
                      <a:pt x="2372" y="833"/>
                    </a:lnTo>
                    <a:lnTo>
                      <a:pt x="2378" y="828"/>
                    </a:lnTo>
                    <a:lnTo>
                      <a:pt x="2383" y="822"/>
                    </a:lnTo>
                    <a:lnTo>
                      <a:pt x="2393" y="811"/>
                    </a:lnTo>
                    <a:lnTo>
                      <a:pt x="2398" y="806"/>
                    </a:lnTo>
                    <a:lnTo>
                      <a:pt x="2410" y="798"/>
                    </a:lnTo>
                    <a:lnTo>
                      <a:pt x="2423" y="789"/>
                    </a:lnTo>
                    <a:lnTo>
                      <a:pt x="2428" y="783"/>
                    </a:lnTo>
                    <a:lnTo>
                      <a:pt x="2433" y="776"/>
                    </a:lnTo>
                    <a:lnTo>
                      <a:pt x="2435" y="773"/>
                    </a:lnTo>
                    <a:lnTo>
                      <a:pt x="2436" y="768"/>
                    </a:lnTo>
                    <a:lnTo>
                      <a:pt x="2437" y="763"/>
                    </a:lnTo>
                    <a:lnTo>
                      <a:pt x="2437" y="757"/>
                    </a:lnTo>
                    <a:lnTo>
                      <a:pt x="2438" y="758"/>
                    </a:lnTo>
                    <a:lnTo>
                      <a:pt x="2439" y="758"/>
                    </a:lnTo>
                    <a:lnTo>
                      <a:pt x="2442" y="757"/>
                    </a:lnTo>
                    <a:lnTo>
                      <a:pt x="2443" y="756"/>
                    </a:lnTo>
                    <a:lnTo>
                      <a:pt x="2445" y="752"/>
                    </a:lnTo>
                    <a:lnTo>
                      <a:pt x="2448" y="747"/>
                    </a:lnTo>
                    <a:lnTo>
                      <a:pt x="2451" y="742"/>
                    </a:lnTo>
                    <a:lnTo>
                      <a:pt x="2455" y="737"/>
                    </a:lnTo>
                    <a:lnTo>
                      <a:pt x="2457" y="735"/>
                    </a:lnTo>
                    <a:lnTo>
                      <a:pt x="2459" y="734"/>
                    </a:lnTo>
                    <a:lnTo>
                      <a:pt x="2461" y="733"/>
                    </a:lnTo>
                    <a:lnTo>
                      <a:pt x="2464" y="733"/>
                    </a:lnTo>
                    <a:lnTo>
                      <a:pt x="2471" y="733"/>
                    </a:lnTo>
                    <a:lnTo>
                      <a:pt x="2478" y="735"/>
                    </a:lnTo>
                    <a:lnTo>
                      <a:pt x="2484" y="737"/>
                    </a:lnTo>
                    <a:lnTo>
                      <a:pt x="2491" y="741"/>
                    </a:lnTo>
                    <a:lnTo>
                      <a:pt x="2503" y="751"/>
                    </a:lnTo>
                    <a:lnTo>
                      <a:pt x="2517" y="764"/>
                    </a:lnTo>
                    <a:lnTo>
                      <a:pt x="2511" y="769"/>
                    </a:lnTo>
                    <a:lnTo>
                      <a:pt x="2504" y="775"/>
                    </a:lnTo>
                    <a:lnTo>
                      <a:pt x="2496" y="780"/>
                    </a:lnTo>
                    <a:lnTo>
                      <a:pt x="2491" y="782"/>
                    </a:lnTo>
                    <a:lnTo>
                      <a:pt x="2493" y="789"/>
                    </a:lnTo>
                    <a:lnTo>
                      <a:pt x="2496" y="795"/>
                    </a:lnTo>
                    <a:lnTo>
                      <a:pt x="2501" y="800"/>
                    </a:lnTo>
                    <a:lnTo>
                      <a:pt x="2504" y="805"/>
                    </a:lnTo>
                    <a:lnTo>
                      <a:pt x="2510" y="809"/>
                    </a:lnTo>
                    <a:lnTo>
                      <a:pt x="2514" y="813"/>
                    </a:lnTo>
                    <a:lnTo>
                      <a:pt x="2518" y="816"/>
                    </a:lnTo>
                    <a:lnTo>
                      <a:pt x="2524" y="819"/>
                    </a:lnTo>
                    <a:lnTo>
                      <a:pt x="2524" y="837"/>
                    </a:lnTo>
                    <a:lnTo>
                      <a:pt x="2523" y="840"/>
                    </a:lnTo>
                    <a:lnTo>
                      <a:pt x="2523" y="842"/>
                    </a:lnTo>
                    <a:lnTo>
                      <a:pt x="2525" y="844"/>
                    </a:lnTo>
                    <a:lnTo>
                      <a:pt x="2527" y="847"/>
                    </a:lnTo>
                    <a:lnTo>
                      <a:pt x="2529" y="849"/>
                    </a:lnTo>
                    <a:lnTo>
                      <a:pt x="2532" y="851"/>
                    </a:lnTo>
                    <a:lnTo>
                      <a:pt x="2532" y="853"/>
                    </a:lnTo>
                    <a:lnTo>
                      <a:pt x="2530" y="856"/>
                    </a:lnTo>
                    <a:lnTo>
                      <a:pt x="2561" y="830"/>
                    </a:lnTo>
                    <a:lnTo>
                      <a:pt x="2585" y="810"/>
                    </a:lnTo>
                    <a:lnTo>
                      <a:pt x="2596" y="803"/>
                    </a:lnTo>
                    <a:lnTo>
                      <a:pt x="2605" y="797"/>
                    </a:lnTo>
                    <a:lnTo>
                      <a:pt x="2613" y="793"/>
                    </a:lnTo>
                    <a:lnTo>
                      <a:pt x="2621" y="790"/>
                    </a:lnTo>
                    <a:lnTo>
                      <a:pt x="2627" y="787"/>
                    </a:lnTo>
                    <a:lnTo>
                      <a:pt x="2633" y="786"/>
                    </a:lnTo>
                    <a:lnTo>
                      <a:pt x="2638" y="785"/>
                    </a:lnTo>
                    <a:lnTo>
                      <a:pt x="2645" y="785"/>
                    </a:lnTo>
                    <a:lnTo>
                      <a:pt x="2657" y="786"/>
                    </a:lnTo>
                    <a:lnTo>
                      <a:pt x="2670" y="788"/>
                    </a:lnTo>
                    <a:lnTo>
                      <a:pt x="2674" y="781"/>
                    </a:lnTo>
                    <a:lnTo>
                      <a:pt x="2679" y="774"/>
                    </a:lnTo>
                    <a:lnTo>
                      <a:pt x="2683" y="768"/>
                    </a:lnTo>
                    <a:lnTo>
                      <a:pt x="2689" y="763"/>
                    </a:lnTo>
                    <a:lnTo>
                      <a:pt x="2701" y="753"/>
                    </a:lnTo>
                    <a:lnTo>
                      <a:pt x="2713" y="745"/>
                    </a:lnTo>
                    <a:lnTo>
                      <a:pt x="2724" y="738"/>
                    </a:lnTo>
                    <a:lnTo>
                      <a:pt x="2735" y="730"/>
                    </a:lnTo>
                    <a:lnTo>
                      <a:pt x="2739" y="726"/>
                    </a:lnTo>
                    <a:lnTo>
                      <a:pt x="2743" y="721"/>
                    </a:lnTo>
                    <a:lnTo>
                      <a:pt x="2747" y="715"/>
                    </a:lnTo>
                    <a:lnTo>
                      <a:pt x="2750" y="708"/>
                    </a:lnTo>
                    <a:lnTo>
                      <a:pt x="2758" y="708"/>
                    </a:lnTo>
                    <a:lnTo>
                      <a:pt x="2765" y="706"/>
                    </a:lnTo>
                    <a:lnTo>
                      <a:pt x="2773" y="705"/>
                    </a:lnTo>
                    <a:lnTo>
                      <a:pt x="2780" y="704"/>
                    </a:lnTo>
                    <a:lnTo>
                      <a:pt x="2792" y="700"/>
                    </a:lnTo>
                    <a:lnTo>
                      <a:pt x="2803" y="694"/>
                    </a:lnTo>
                    <a:lnTo>
                      <a:pt x="2812" y="688"/>
                    </a:lnTo>
                    <a:lnTo>
                      <a:pt x="2820" y="681"/>
                    </a:lnTo>
                    <a:lnTo>
                      <a:pt x="2828" y="673"/>
                    </a:lnTo>
                    <a:lnTo>
                      <a:pt x="2836" y="665"/>
                    </a:lnTo>
                    <a:lnTo>
                      <a:pt x="2842" y="657"/>
                    </a:lnTo>
                    <a:lnTo>
                      <a:pt x="2850" y="649"/>
                    </a:lnTo>
                    <a:lnTo>
                      <a:pt x="2858" y="641"/>
                    </a:lnTo>
                    <a:lnTo>
                      <a:pt x="2866" y="635"/>
                    </a:lnTo>
                    <a:lnTo>
                      <a:pt x="2876" y="630"/>
                    </a:lnTo>
                    <a:lnTo>
                      <a:pt x="2887" y="625"/>
                    </a:lnTo>
                    <a:lnTo>
                      <a:pt x="2901" y="623"/>
                    </a:lnTo>
                    <a:lnTo>
                      <a:pt x="2916" y="622"/>
                    </a:lnTo>
                    <a:lnTo>
                      <a:pt x="2915" y="611"/>
                    </a:lnTo>
                    <a:lnTo>
                      <a:pt x="2914" y="602"/>
                    </a:lnTo>
                    <a:lnTo>
                      <a:pt x="2910" y="593"/>
                    </a:lnTo>
                    <a:lnTo>
                      <a:pt x="2906" y="586"/>
                    </a:lnTo>
                    <a:lnTo>
                      <a:pt x="2902" y="580"/>
                    </a:lnTo>
                    <a:lnTo>
                      <a:pt x="2897" y="574"/>
                    </a:lnTo>
                    <a:lnTo>
                      <a:pt x="2892" y="569"/>
                    </a:lnTo>
                    <a:lnTo>
                      <a:pt x="2886" y="564"/>
                    </a:lnTo>
                    <a:lnTo>
                      <a:pt x="2875" y="554"/>
                    </a:lnTo>
                    <a:lnTo>
                      <a:pt x="2865" y="543"/>
                    </a:lnTo>
                    <a:lnTo>
                      <a:pt x="2861" y="536"/>
                    </a:lnTo>
                    <a:lnTo>
                      <a:pt x="2859" y="529"/>
                    </a:lnTo>
                    <a:lnTo>
                      <a:pt x="2857" y="520"/>
                    </a:lnTo>
                    <a:lnTo>
                      <a:pt x="2855" y="511"/>
                    </a:lnTo>
                    <a:lnTo>
                      <a:pt x="2857" y="505"/>
                    </a:lnTo>
                    <a:lnTo>
                      <a:pt x="2860" y="499"/>
                    </a:lnTo>
                    <a:lnTo>
                      <a:pt x="2862" y="497"/>
                    </a:lnTo>
                    <a:lnTo>
                      <a:pt x="2864" y="495"/>
                    </a:lnTo>
                    <a:lnTo>
                      <a:pt x="2866" y="493"/>
                    </a:lnTo>
                    <a:lnTo>
                      <a:pt x="2870" y="493"/>
                    </a:lnTo>
                    <a:lnTo>
                      <a:pt x="2885" y="493"/>
                    </a:lnTo>
                    <a:lnTo>
                      <a:pt x="2903" y="495"/>
                    </a:lnTo>
                    <a:lnTo>
                      <a:pt x="2911" y="495"/>
                    </a:lnTo>
                    <a:lnTo>
                      <a:pt x="2919" y="495"/>
                    </a:lnTo>
                    <a:lnTo>
                      <a:pt x="2928" y="494"/>
                    </a:lnTo>
                    <a:lnTo>
                      <a:pt x="2936" y="493"/>
                    </a:lnTo>
                    <a:lnTo>
                      <a:pt x="2936" y="412"/>
                    </a:lnTo>
                    <a:lnTo>
                      <a:pt x="2930" y="407"/>
                    </a:lnTo>
                    <a:lnTo>
                      <a:pt x="2926" y="402"/>
                    </a:lnTo>
                    <a:lnTo>
                      <a:pt x="2921" y="396"/>
                    </a:lnTo>
                    <a:lnTo>
                      <a:pt x="2917" y="389"/>
                    </a:lnTo>
                    <a:lnTo>
                      <a:pt x="2914" y="382"/>
                    </a:lnTo>
                    <a:lnTo>
                      <a:pt x="2911" y="375"/>
                    </a:lnTo>
                    <a:lnTo>
                      <a:pt x="2909" y="365"/>
                    </a:lnTo>
                    <a:lnTo>
                      <a:pt x="2909" y="357"/>
                    </a:lnTo>
                    <a:lnTo>
                      <a:pt x="2909" y="348"/>
                    </a:lnTo>
                    <a:lnTo>
                      <a:pt x="2909" y="341"/>
                    </a:lnTo>
                    <a:lnTo>
                      <a:pt x="2909" y="332"/>
                    </a:lnTo>
                    <a:lnTo>
                      <a:pt x="2909" y="320"/>
                    </a:lnTo>
                    <a:lnTo>
                      <a:pt x="2904" y="316"/>
                    </a:lnTo>
                    <a:lnTo>
                      <a:pt x="2897" y="310"/>
                    </a:lnTo>
                    <a:lnTo>
                      <a:pt x="2893" y="307"/>
                    </a:lnTo>
                    <a:lnTo>
                      <a:pt x="2888" y="304"/>
                    </a:lnTo>
                    <a:lnTo>
                      <a:pt x="2883" y="302"/>
                    </a:lnTo>
                    <a:lnTo>
                      <a:pt x="2876" y="301"/>
                    </a:lnTo>
                    <a:lnTo>
                      <a:pt x="2866" y="302"/>
                    </a:lnTo>
                    <a:lnTo>
                      <a:pt x="2858" y="303"/>
                    </a:lnTo>
                    <a:lnTo>
                      <a:pt x="2849" y="305"/>
                    </a:lnTo>
                    <a:lnTo>
                      <a:pt x="2841" y="308"/>
                    </a:lnTo>
                    <a:lnTo>
                      <a:pt x="2827" y="314"/>
                    </a:lnTo>
                    <a:lnTo>
                      <a:pt x="2813" y="323"/>
                    </a:lnTo>
                    <a:lnTo>
                      <a:pt x="2798" y="331"/>
                    </a:lnTo>
                    <a:lnTo>
                      <a:pt x="2784" y="338"/>
                    </a:lnTo>
                    <a:lnTo>
                      <a:pt x="2776" y="341"/>
                    </a:lnTo>
                    <a:lnTo>
                      <a:pt x="2768" y="343"/>
                    </a:lnTo>
                    <a:lnTo>
                      <a:pt x="2759" y="344"/>
                    </a:lnTo>
                    <a:lnTo>
                      <a:pt x="2750" y="344"/>
                    </a:lnTo>
                    <a:lnTo>
                      <a:pt x="2735" y="343"/>
                    </a:lnTo>
                    <a:lnTo>
                      <a:pt x="2722" y="341"/>
                    </a:lnTo>
                    <a:lnTo>
                      <a:pt x="2708" y="336"/>
                    </a:lnTo>
                    <a:lnTo>
                      <a:pt x="2696" y="331"/>
                    </a:lnTo>
                    <a:lnTo>
                      <a:pt x="2684" y="324"/>
                    </a:lnTo>
                    <a:lnTo>
                      <a:pt x="2672" y="315"/>
                    </a:lnTo>
                    <a:lnTo>
                      <a:pt x="2661" y="307"/>
                    </a:lnTo>
                    <a:lnTo>
                      <a:pt x="2650" y="298"/>
                    </a:lnTo>
                    <a:lnTo>
                      <a:pt x="2627" y="280"/>
                    </a:lnTo>
                    <a:lnTo>
                      <a:pt x="2604" y="261"/>
                    </a:lnTo>
                    <a:lnTo>
                      <a:pt x="2592" y="253"/>
                    </a:lnTo>
                    <a:lnTo>
                      <a:pt x="2579" y="245"/>
                    </a:lnTo>
                    <a:lnTo>
                      <a:pt x="2565" y="239"/>
                    </a:lnTo>
                    <a:lnTo>
                      <a:pt x="2550" y="233"/>
                    </a:lnTo>
                    <a:lnTo>
                      <a:pt x="2525" y="227"/>
                    </a:lnTo>
                    <a:lnTo>
                      <a:pt x="2499" y="219"/>
                    </a:lnTo>
                    <a:lnTo>
                      <a:pt x="2487" y="215"/>
                    </a:lnTo>
                    <a:lnTo>
                      <a:pt x="2473" y="211"/>
                    </a:lnTo>
                    <a:lnTo>
                      <a:pt x="2461" y="205"/>
                    </a:lnTo>
                    <a:lnTo>
                      <a:pt x="2450" y="199"/>
                    </a:lnTo>
                    <a:lnTo>
                      <a:pt x="2438" y="193"/>
                    </a:lnTo>
                    <a:lnTo>
                      <a:pt x="2428" y="187"/>
                    </a:lnTo>
                    <a:lnTo>
                      <a:pt x="2418" y="179"/>
                    </a:lnTo>
                    <a:lnTo>
                      <a:pt x="2410" y="171"/>
                    </a:lnTo>
                    <a:lnTo>
                      <a:pt x="2401" y="162"/>
                    </a:lnTo>
                    <a:lnTo>
                      <a:pt x="2394" y="152"/>
                    </a:lnTo>
                    <a:lnTo>
                      <a:pt x="2389" y="141"/>
                    </a:lnTo>
                    <a:lnTo>
                      <a:pt x="2384" y="129"/>
                    </a:lnTo>
                    <a:lnTo>
                      <a:pt x="2370" y="128"/>
                    </a:lnTo>
                    <a:lnTo>
                      <a:pt x="2357" y="126"/>
                    </a:lnTo>
                    <a:lnTo>
                      <a:pt x="2346" y="122"/>
                    </a:lnTo>
                    <a:lnTo>
                      <a:pt x="2335" y="117"/>
                    </a:lnTo>
                    <a:lnTo>
                      <a:pt x="2325" y="111"/>
                    </a:lnTo>
                    <a:lnTo>
                      <a:pt x="2316" y="105"/>
                    </a:lnTo>
                    <a:lnTo>
                      <a:pt x="2308" y="98"/>
                    </a:lnTo>
                    <a:lnTo>
                      <a:pt x="2300" y="89"/>
                    </a:lnTo>
                    <a:lnTo>
                      <a:pt x="2283" y="74"/>
                    </a:lnTo>
                    <a:lnTo>
                      <a:pt x="2267" y="59"/>
                    </a:lnTo>
                    <a:lnTo>
                      <a:pt x="2257" y="52"/>
                    </a:lnTo>
                    <a:lnTo>
                      <a:pt x="2247" y="46"/>
                    </a:lnTo>
                    <a:lnTo>
                      <a:pt x="2236" y="41"/>
                    </a:lnTo>
                    <a:lnTo>
                      <a:pt x="2225" y="36"/>
                    </a:lnTo>
                    <a:lnTo>
                      <a:pt x="2190" y="25"/>
                    </a:lnTo>
                    <a:lnTo>
                      <a:pt x="2160" y="18"/>
                    </a:lnTo>
                    <a:lnTo>
                      <a:pt x="2131" y="10"/>
                    </a:lnTo>
                    <a:lnTo>
                      <a:pt x="2092" y="0"/>
                    </a:lnTo>
                    <a:lnTo>
                      <a:pt x="1973" y="18"/>
                    </a:lnTo>
                    <a:lnTo>
                      <a:pt x="1973" y="27"/>
                    </a:lnTo>
                    <a:lnTo>
                      <a:pt x="1973" y="36"/>
                    </a:lnTo>
                    <a:lnTo>
                      <a:pt x="1973" y="42"/>
                    </a:lnTo>
                    <a:lnTo>
                      <a:pt x="1975" y="46"/>
                    </a:lnTo>
                    <a:lnTo>
                      <a:pt x="1977" y="50"/>
                    </a:lnTo>
                    <a:lnTo>
                      <a:pt x="1980" y="53"/>
                    </a:lnTo>
                    <a:lnTo>
                      <a:pt x="1989" y="58"/>
                    </a:lnTo>
                    <a:lnTo>
                      <a:pt x="1999" y="62"/>
                    </a:lnTo>
                    <a:lnTo>
                      <a:pt x="2009" y="66"/>
                    </a:lnTo>
                    <a:lnTo>
                      <a:pt x="2018" y="72"/>
                    </a:lnTo>
                    <a:lnTo>
                      <a:pt x="2021" y="75"/>
                    </a:lnTo>
                    <a:lnTo>
                      <a:pt x="2023" y="80"/>
                    </a:lnTo>
                    <a:lnTo>
                      <a:pt x="2025" y="85"/>
                    </a:lnTo>
                    <a:lnTo>
                      <a:pt x="2025" y="91"/>
                    </a:lnTo>
                    <a:lnTo>
                      <a:pt x="2024" y="101"/>
                    </a:lnTo>
                    <a:lnTo>
                      <a:pt x="2022" y="108"/>
                    </a:lnTo>
                    <a:lnTo>
                      <a:pt x="2019" y="114"/>
                    </a:lnTo>
                    <a:lnTo>
                      <a:pt x="2016" y="120"/>
                    </a:lnTo>
                    <a:lnTo>
                      <a:pt x="2012" y="125"/>
                    </a:lnTo>
                    <a:lnTo>
                      <a:pt x="2009" y="131"/>
                    </a:lnTo>
                    <a:lnTo>
                      <a:pt x="2007" y="138"/>
                    </a:lnTo>
                    <a:lnTo>
                      <a:pt x="2006" y="147"/>
                    </a:lnTo>
                    <a:lnTo>
                      <a:pt x="2007" y="155"/>
                    </a:lnTo>
                    <a:lnTo>
                      <a:pt x="2009" y="161"/>
                    </a:lnTo>
                    <a:lnTo>
                      <a:pt x="2012" y="168"/>
                    </a:lnTo>
                    <a:lnTo>
                      <a:pt x="2018" y="174"/>
                    </a:lnTo>
                    <a:lnTo>
                      <a:pt x="2022" y="179"/>
                    </a:lnTo>
                    <a:lnTo>
                      <a:pt x="2028" y="184"/>
                    </a:lnTo>
                    <a:lnTo>
                      <a:pt x="2033" y="187"/>
                    </a:lnTo>
                    <a:lnTo>
                      <a:pt x="2039" y="190"/>
                    </a:lnTo>
                    <a:lnTo>
                      <a:pt x="2033" y="197"/>
                    </a:lnTo>
                    <a:lnTo>
                      <a:pt x="2025" y="204"/>
                    </a:lnTo>
                    <a:lnTo>
                      <a:pt x="2017" y="211"/>
                    </a:lnTo>
                    <a:lnTo>
                      <a:pt x="2008" y="216"/>
                    </a:lnTo>
                    <a:lnTo>
                      <a:pt x="1999" y="221"/>
                    </a:lnTo>
                    <a:lnTo>
                      <a:pt x="1989" y="224"/>
                    </a:lnTo>
                    <a:lnTo>
                      <a:pt x="1980" y="227"/>
                    </a:lnTo>
                    <a:lnTo>
                      <a:pt x="1973" y="227"/>
                    </a:lnTo>
                    <a:lnTo>
                      <a:pt x="1962" y="227"/>
                    </a:lnTo>
                    <a:lnTo>
                      <a:pt x="1952" y="227"/>
                    </a:lnTo>
                    <a:lnTo>
                      <a:pt x="1940" y="227"/>
                    </a:lnTo>
                    <a:lnTo>
                      <a:pt x="1925" y="227"/>
                    </a:lnTo>
                    <a:lnTo>
                      <a:pt x="1919" y="258"/>
                    </a:lnTo>
                    <a:lnTo>
                      <a:pt x="1924" y="278"/>
                    </a:lnTo>
                    <a:lnTo>
                      <a:pt x="1930" y="296"/>
                    </a:lnTo>
                    <a:lnTo>
                      <a:pt x="1933" y="304"/>
                    </a:lnTo>
                    <a:lnTo>
                      <a:pt x="1938" y="311"/>
                    </a:lnTo>
                    <a:lnTo>
                      <a:pt x="1942" y="319"/>
                    </a:lnTo>
                    <a:lnTo>
                      <a:pt x="1947" y="326"/>
                    </a:lnTo>
                    <a:lnTo>
                      <a:pt x="1953" y="331"/>
                    </a:lnTo>
                    <a:lnTo>
                      <a:pt x="1961" y="336"/>
                    </a:lnTo>
                    <a:lnTo>
                      <a:pt x="1968" y="340"/>
                    </a:lnTo>
                    <a:lnTo>
                      <a:pt x="1977" y="344"/>
                    </a:lnTo>
                    <a:lnTo>
                      <a:pt x="1987" y="347"/>
                    </a:lnTo>
                    <a:lnTo>
                      <a:pt x="1999" y="349"/>
                    </a:lnTo>
                    <a:lnTo>
                      <a:pt x="2011" y="350"/>
                    </a:lnTo>
                    <a:lnTo>
                      <a:pt x="2025" y="350"/>
                    </a:lnTo>
                    <a:lnTo>
                      <a:pt x="2036" y="350"/>
                    </a:lnTo>
                    <a:lnTo>
                      <a:pt x="2043" y="349"/>
                    </a:lnTo>
                    <a:lnTo>
                      <a:pt x="2048" y="347"/>
                    </a:lnTo>
                    <a:lnTo>
                      <a:pt x="2053" y="344"/>
                    </a:lnTo>
                    <a:lnTo>
                      <a:pt x="2057" y="342"/>
                    </a:lnTo>
                    <a:lnTo>
                      <a:pt x="2064" y="340"/>
                    </a:lnTo>
                    <a:lnTo>
                      <a:pt x="2073" y="339"/>
                    </a:lnTo>
                    <a:lnTo>
                      <a:pt x="2086" y="338"/>
                    </a:lnTo>
                    <a:lnTo>
                      <a:pt x="2092" y="339"/>
                    </a:lnTo>
                    <a:lnTo>
                      <a:pt x="2098" y="340"/>
                    </a:lnTo>
                    <a:lnTo>
                      <a:pt x="2103" y="341"/>
                    </a:lnTo>
                    <a:lnTo>
                      <a:pt x="2109" y="343"/>
                    </a:lnTo>
                    <a:lnTo>
                      <a:pt x="2122" y="349"/>
                    </a:lnTo>
                    <a:lnTo>
                      <a:pt x="2138" y="357"/>
                    </a:lnTo>
                    <a:lnTo>
                      <a:pt x="2140" y="361"/>
                    </a:lnTo>
                    <a:lnTo>
                      <a:pt x="2142" y="366"/>
                    </a:lnTo>
                    <a:lnTo>
                      <a:pt x="2146" y="370"/>
                    </a:lnTo>
                    <a:lnTo>
                      <a:pt x="2151" y="375"/>
                    </a:lnTo>
                    <a:lnTo>
                      <a:pt x="2157" y="379"/>
                    </a:lnTo>
                    <a:lnTo>
                      <a:pt x="2164" y="382"/>
                    </a:lnTo>
                    <a:lnTo>
                      <a:pt x="2170" y="385"/>
                    </a:lnTo>
                    <a:lnTo>
                      <a:pt x="2178" y="388"/>
                    </a:lnTo>
                    <a:lnTo>
                      <a:pt x="2175" y="393"/>
                    </a:lnTo>
                    <a:lnTo>
                      <a:pt x="2169" y="399"/>
                    </a:lnTo>
                    <a:lnTo>
                      <a:pt x="2160" y="405"/>
                    </a:lnTo>
                    <a:lnTo>
                      <a:pt x="2152" y="410"/>
                    </a:lnTo>
                    <a:lnTo>
                      <a:pt x="2141" y="416"/>
                    </a:lnTo>
                    <a:lnTo>
                      <a:pt x="2130" y="420"/>
                    </a:lnTo>
                    <a:lnTo>
                      <a:pt x="2118" y="423"/>
                    </a:lnTo>
                    <a:lnTo>
                      <a:pt x="2106" y="424"/>
                    </a:lnTo>
                    <a:lnTo>
                      <a:pt x="2098" y="426"/>
                    </a:lnTo>
                    <a:lnTo>
                      <a:pt x="2084" y="434"/>
                    </a:lnTo>
                    <a:lnTo>
                      <a:pt x="2064" y="443"/>
                    </a:lnTo>
                    <a:lnTo>
                      <a:pt x="2041" y="455"/>
                    </a:lnTo>
                    <a:lnTo>
                      <a:pt x="2019" y="467"/>
                    </a:lnTo>
                    <a:lnTo>
                      <a:pt x="1998" y="479"/>
                    </a:lnTo>
                    <a:lnTo>
                      <a:pt x="1989" y="485"/>
                    </a:lnTo>
                    <a:lnTo>
                      <a:pt x="1981" y="490"/>
                    </a:lnTo>
                    <a:lnTo>
                      <a:pt x="1976" y="495"/>
                    </a:lnTo>
                    <a:lnTo>
                      <a:pt x="1973" y="499"/>
                    </a:lnTo>
                    <a:lnTo>
                      <a:pt x="1860" y="499"/>
                    </a:lnTo>
                    <a:lnTo>
                      <a:pt x="1860" y="506"/>
                    </a:lnTo>
                    <a:lnTo>
                      <a:pt x="1861" y="513"/>
                    </a:lnTo>
                    <a:lnTo>
                      <a:pt x="1863" y="520"/>
                    </a:lnTo>
                    <a:lnTo>
                      <a:pt x="1864" y="525"/>
                    </a:lnTo>
                    <a:lnTo>
                      <a:pt x="1869" y="536"/>
                    </a:lnTo>
                    <a:lnTo>
                      <a:pt x="1876" y="546"/>
                    </a:lnTo>
                    <a:lnTo>
                      <a:pt x="1882" y="554"/>
                    </a:lnTo>
                    <a:lnTo>
                      <a:pt x="1887" y="562"/>
                    </a:lnTo>
                    <a:lnTo>
                      <a:pt x="1889" y="566"/>
                    </a:lnTo>
                    <a:lnTo>
                      <a:pt x="1891" y="570"/>
                    </a:lnTo>
                    <a:lnTo>
                      <a:pt x="1893" y="574"/>
                    </a:lnTo>
                    <a:lnTo>
                      <a:pt x="1893" y="578"/>
                    </a:lnTo>
                    <a:lnTo>
                      <a:pt x="1893" y="583"/>
                    </a:lnTo>
                    <a:lnTo>
                      <a:pt x="1890" y="588"/>
                    </a:lnTo>
                    <a:lnTo>
                      <a:pt x="1888" y="594"/>
                    </a:lnTo>
                    <a:lnTo>
                      <a:pt x="1885" y="601"/>
                    </a:lnTo>
                    <a:lnTo>
                      <a:pt x="1877" y="613"/>
                    </a:lnTo>
                    <a:lnTo>
                      <a:pt x="1867" y="625"/>
                    </a:lnTo>
                    <a:lnTo>
                      <a:pt x="1856" y="637"/>
                    </a:lnTo>
                    <a:lnTo>
                      <a:pt x="1845" y="647"/>
                    </a:lnTo>
                    <a:lnTo>
                      <a:pt x="1834" y="655"/>
                    </a:lnTo>
                    <a:lnTo>
                      <a:pt x="1827" y="659"/>
                    </a:lnTo>
                    <a:lnTo>
                      <a:pt x="1727" y="659"/>
                    </a:lnTo>
                    <a:lnTo>
                      <a:pt x="1699" y="674"/>
                    </a:lnTo>
                    <a:lnTo>
                      <a:pt x="1664" y="694"/>
                    </a:lnTo>
                    <a:lnTo>
                      <a:pt x="1647" y="704"/>
                    </a:lnTo>
                    <a:lnTo>
                      <a:pt x="1630" y="713"/>
                    </a:lnTo>
                    <a:lnTo>
                      <a:pt x="1624" y="716"/>
                    </a:lnTo>
                    <a:lnTo>
                      <a:pt x="1617" y="718"/>
                    </a:lnTo>
                    <a:lnTo>
                      <a:pt x="1611" y="720"/>
                    </a:lnTo>
                    <a:lnTo>
                      <a:pt x="1607" y="721"/>
                    </a:lnTo>
                    <a:lnTo>
                      <a:pt x="1598" y="720"/>
                    </a:lnTo>
                    <a:lnTo>
                      <a:pt x="1587" y="719"/>
                    </a:lnTo>
                    <a:lnTo>
                      <a:pt x="1574" y="717"/>
                    </a:lnTo>
                    <a:lnTo>
                      <a:pt x="1560" y="714"/>
                    </a:lnTo>
                    <a:lnTo>
                      <a:pt x="1527" y="705"/>
                    </a:lnTo>
                    <a:lnTo>
                      <a:pt x="1493" y="696"/>
                    </a:lnTo>
                    <a:lnTo>
                      <a:pt x="1460" y="686"/>
                    </a:lnTo>
                    <a:lnTo>
                      <a:pt x="1430" y="676"/>
                    </a:lnTo>
                    <a:lnTo>
                      <a:pt x="1418" y="671"/>
                    </a:lnTo>
                    <a:lnTo>
                      <a:pt x="1407" y="667"/>
                    </a:lnTo>
                    <a:lnTo>
                      <a:pt x="1400" y="663"/>
                    </a:lnTo>
                    <a:lnTo>
                      <a:pt x="1394" y="659"/>
                    </a:lnTo>
                    <a:lnTo>
                      <a:pt x="1228" y="659"/>
                    </a:lnTo>
                    <a:lnTo>
                      <a:pt x="1169" y="646"/>
                    </a:lnTo>
                    <a:lnTo>
                      <a:pt x="1160" y="646"/>
                    </a:lnTo>
                    <a:lnTo>
                      <a:pt x="1151" y="646"/>
                    </a:lnTo>
                    <a:lnTo>
                      <a:pt x="1143" y="644"/>
                    </a:lnTo>
                    <a:lnTo>
                      <a:pt x="1133" y="641"/>
                    </a:lnTo>
                    <a:lnTo>
                      <a:pt x="1123" y="638"/>
                    </a:lnTo>
                    <a:lnTo>
                      <a:pt x="1112" y="633"/>
                    </a:lnTo>
                    <a:lnTo>
                      <a:pt x="1102" y="628"/>
                    </a:lnTo>
                    <a:lnTo>
                      <a:pt x="1092" y="622"/>
                    </a:lnTo>
                    <a:lnTo>
                      <a:pt x="1082" y="615"/>
                    </a:lnTo>
                    <a:lnTo>
                      <a:pt x="1073" y="608"/>
                    </a:lnTo>
                    <a:lnTo>
                      <a:pt x="1065" y="601"/>
                    </a:lnTo>
                    <a:lnTo>
                      <a:pt x="1056" y="592"/>
                    </a:lnTo>
                    <a:lnTo>
                      <a:pt x="1049" y="584"/>
                    </a:lnTo>
                    <a:lnTo>
                      <a:pt x="1044" y="576"/>
                    </a:lnTo>
                    <a:lnTo>
                      <a:pt x="1038" y="568"/>
                    </a:lnTo>
                    <a:lnTo>
                      <a:pt x="1036" y="560"/>
                    </a:lnTo>
                    <a:lnTo>
                      <a:pt x="1022" y="560"/>
                    </a:lnTo>
                    <a:lnTo>
                      <a:pt x="1008" y="558"/>
                    </a:lnTo>
                    <a:lnTo>
                      <a:pt x="994" y="555"/>
                    </a:lnTo>
                    <a:lnTo>
                      <a:pt x="980" y="552"/>
                    </a:lnTo>
                    <a:lnTo>
                      <a:pt x="953" y="543"/>
                    </a:lnTo>
                    <a:lnTo>
                      <a:pt x="923" y="532"/>
                    </a:lnTo>
                    <a:lnTo>
                      <a:pt x="893" y="522"/>
                    </a:lnTo>
                    <a:lnTo>
                      <a:pt x="863" y="513"/>
                    </a:lnTo>
                    <a:lnTo>
                      <a:pt x="846" y="510"/>
                    </a:lnTo>
                    <a:lnTo>
                      <a:pt x="831" y="507"/>
                    </a:lnTo>
                    <a:lnTo>
                      <a:pt x="813" y="505"/>
                    </a:lnTo>
                    <a:lnTo>
                      <a:pt x="797" y="505"/>
                    </a:lnTo>
                    <a:lnTo>
                      <a:pt x="786" y="504"/>
                    </a:lnTo>
                    <a:lnTo>
                      <a:pt x="770" y="501"/>
                    </a:lnTo>
                    <a:lnTo>
                      <a:pt x="763" y="499"/>
                    </a:lnTo>
                    <a:lnTo>
                      <a:pt x="756" y="497"/>
                    </a:lnTo>
                    <a:lnTo>
                      <a:pt x="752" y="495"/>
                    </a:lnTo>
                    <a:lnTo>
                      <a:pt x="750" y="493"/>
                    </a:lnTo>
                    <a:lnTo>
                      <a:pt x="746" y="485"/>
                    </a:lnTo>
                    <a:lnTo>
                      <a:pt x="744" y="477"/>
                    </a:lnTo>
                    <a:lnTo>
                      <a:pt x="743" y="470"/>
                    </a:lnTo>
                    <a:lnTo>
                      <a:pt x="743" y="461"/>
                    </a:lnTo>
                    <a:lnTo>
                      <a:pt x="743" y="456"/>
                    </a:lnTo>
                    <a:lnTo>
                      <a:pt x="743" y="449"/>
                    </a:lnTo>
                    <a:lnTo>
                      <a:pt x="743" y="440"/>
                    </a:lnTo>
                    <a:lnTo>
                      <a:pt x="743" y="431"/>
                    </a:lnTo>
                    <a:lnTo>
                      <a:pt x="741" y="431"/>
                    </a:lnTo>
                    <a:lnTo>
                      <a:pt x="736" y="428"/>
                    </a:lnTo>
                    <a:lnTo>
                      <a:pt x="732" y="426"/>
                    </a:lnTo>
                    <a:lnTo>
                      <a:pt x="728" y="422"/>
                    </a:lnTo>
                    <a:lnTo>
                      <a:pt x="717" y="414"/>
                    </a:lnTo>
                    <a:lnTo>
                      <a:pt x="705" y="403"/>
                    </a:lnTo>
                    <a:lnTo>
                      <a:pt x="695" y="391"/>
                    </a:lnTo>
                    <a:lnTo>
                      <a:pt x="686" y="379"/>
                    </a:lnTo>
                    <a:lnTo>
                      <a:pt x="681" y="372"/>
                    </a:lnTo>
                    <a:lnTo>
                      <a:pt x="679" y="367"/>
                    </a:lnTo>
                    <a:lnTo>
                      <a:pt x="677" y="361"/>
                    </a:lnTo>
                    <a:lnTo>
                      <a:pt x="677" y="357"/>
                    </a:lnTo>
                    <a:lnTo>
                      <a:pt x="661" y="356"/>
                    </a:lnTo>
                    <a:lnTo>
                      <a:pt x="645" y="355"/>
                    </a:lnTo>
                    <a:lnTo>
                      <a:pt x="630" y="353"/>
                    </a:lnTo>
                    <a:lnTo>
                      <a:pt x="616" y="351"/>
                    </a:lnTo>
                    <a:lnTo>
                      <a:pt x="602" y="348"/>
                    </a:lnTo>
                    <a:lnTo>
                      <a:pt x="589" y="344"/>
                    </a:lnTo>
                    <a:lnTo>
                      <a:pt x="576" y="340"/>
                    </a:lnTo>
                    <a:lnTo>
                      <a:pt x="564" y="335"/>
                    </a:lnTo>
                    <a:lnTo>
                      <a:pt x="552" y="329"/>
                    </a:lnTo>
                    <a:lnTo>
                      <a:pt x="541" y="323"/>
                    </a:lnTo>
                    <a:lnTo>
                      <a:pt x="531" y="315"/>
                    </a:lnTo>
                    <a:lnTo>
                      <a:pt x="522" y="307"/>
                    </a:lnTo>
                    <a:lnTo>
                      <a:pt x="512" y="299"/>
                    </a:lnTo>
                    <a:lnTo>
                      <a:pt x="505" y="290"/>
                    </a:lnTo>
                    <a:lnTo>
                      <a:pt x="497" y="281"/>
                    </a:lnTo>
                    <a:lnTo>
                      <a:pt x="490" y="271"/>
                    </a:lnTo>
                    <a:lnTo>
                      <a:pt x="475" y="268"/>
                    </a:lnTo>
                    <a:lnTo>
                      <a:pt x="463" y="267"/>
                    </a:lnTo>
                    <a:lnTo>
                      <a:pt x="454" y="267"/>
                    </a:lnTo>
                    <a:lnTo>
                      <a:pt x="449" y="268"/>
                    </a:lnTo>
                    <a:lnTo>
                      <a:pt x="444" y="270"/>
                    </a:lnTo>
                    <a:lnTo>
                      <a:pt x="442" y="273"/>
                    </a:lnTo>
                    <a:lnTo>
                      <a:pt x="441" y="277"/>
                    </a:lnTo>
                    <a:lnTo>
                      <a:pt x="441" y="281"/>
                    </a:lnTo>
                    <a:lnTo>
                      <a:pt x="441" y="286"/>
                    </a:lnTo>
                    <a:lnTo>
                      <a:pt x="441" y="291"/>
                    </a:lnTo>
                    <a:lnTo>
                      <a:pt x="440" y="296"/>
                    </a:lnTo>
                    <a:lnTo>
                      <a:pt x="439" y="301"/>
                    </a:lnTo>
                    <a:lnTo>
                      <a:pt x="436" y="307"/>
                    </a:lnTo>
                    <a:lnTo>
                      <a:pt x="430" y="311"/>
                    </a:lnTo>
                    <a:lnTo>
                      <a:pt x="422" y="316"/>
                    </a:lnTo>
                    <a:lnTo>
                      <a:pt x="411" y="320"/>
                    </a:lnTo>
                    <a:lnTo>
                      <a:pt x="407" y="320"/>
                    </a:lnTo>
                    <a:lnTo>
                      <a:pt x="403" y="321"/>
                    </a:lnTo>
                    <a:lnTo>
                      <a:pt x="400" y="322"/>
                    </a:lnTo>
                    <a:lnTo>
                      <a:pt x="398" y="323"/>
                    </a:lnTo>
                    <a:lnTo>
                      <a:pt x="397" y="325"/>
                    </a:lnTo>
                    <a:lnTo>
                      <a:pt x="396" y="327"/>
                    </a:lnTo>
                    <a:lnTo>
                      <a:pt x="396" y="329"/>
                    </a:lnTo>
                    <a:lnTo>
                      <a:pt x="396" y="332"/>
                    </a:lnTo>
                    <a:lnTo>
                      <a:pt x="401" y="344"/>
                    </a:lnTo>
                    <a:lnTo>
                      <a:pt x="410" y="357"/>
                    </a:lnTo>
                    <a:lnTo>
                      <a:pt x="415" y="364"/>
                    </a:lnTo>
                    <a:lnTo>
                      <a:pt x="419" y="371"/>
                    </a:lnTo>
                    <a:lnTo>
                      <a:pt x="421" y="379"/>
                    </a:lnTo>
                    <a:lnTo>
                      <a:pt x="423" y="385"/>
                    </a:lnTo>
                    <a:lnTo>
                      <a:pt x="423" y="388"/>
                    </a:lnTo>
                    <a:lnTo>
                      <a:pt x="422" y="390"/>
                    </a:lnTo>
                    <a:lnTo>
                      <a:pt x="421" y="393"/>
                    </a:lnTo>
                    <a:lnTo>
                      <a:pt x="420" y="395"/>
                    </a:lnTo>
                    <a:lnTo>
                      <a:pt x="417" y="397"/>
                    </a:lnTo>
                    <a:lnTo>
                      <a:pt x="414" y="398"/>
                    </a:lnTo>
                    <a:lnTo>
                      <a:pt x="409" y="399"/>
                    </a:lnTo>
                    <a:lnTo>
                      <a:pt x="405" y="400"/>
                    </a:lnTo>
                    <a:lnTo>
                      <a:pt x="392" y="400"/>
                    </a:lnTo>
                    <a:lnTo>
                      <a:pt x="377" y="400"/>
                    </a:lnTo>
                    <a:lnTo>
                      <a:pt x="370" y="400"/>
                    </a:lnTo>
                    <a:lnTo>
                      <a:pt x="361" y="399"/>
                    </a:lnTo>
                    <a:lnTo>
                      <a:pt x="351" y="397"/>
                    </a:lnTo>
                    <a:lnTo>
                      <a:pt x="341" y="395"/>
                    </a:lnTo>
                    <a:lnTo>
                      <a:pt x="331" y="393"/>
                    </a:lnTo>
                    <a:lnTo>
                      <a:pt x="321" y="390"/>
                    </a:lnTo>
                    <a:lnTo>
                      <a:pt x="313" y="386"/>
                    </a:lnTo>
                    <a:lnTo>
                      <a:pt x="305" y="382"/>
                    </a:lnTo>
                    <a:lnTo>
                      <a:pt x="303" y="387"/>
                    </a:lnTo>
                    <a:lnTo>
                      <a:pt x="302" y="393"/>
                    </a:lnTo>
                    <a:lnTo>
                      <a:pt x="303" y="401"/>
                    </a:lnTo>
                    <a:lnTo>
                      <a:pt x="303" y="409"/>
                    </a:lnTo>
                    <a:lnTo>
                      <a:pt x="307" y="427"/>
                    </a:lnTo>
                    <a:lnTo>
                      <a:pt x="311" y="448"/>
                    </a:lnTo>
                    <a:lnTo>
                      <a:pt x="316" y="467"/>
                    </a:lnTo>
                    <a:lnTo>
                      <a:pt x="320" y="483"/>
                    </a:lnTo>
                    <a:lnTo>
                      <a:pt x="320" y="491"/>
                    </a:lnTo>
                    <a:lnTo>
                      <a:pt x="320" y="497"/>
                    </a:lnTo>
                    <a:lnTo>
                      <a:pt x="320" y="502"/>
                    </a:lnTo>
                    <a:lnTo>
                      <a:pt x="318" y="505"/>
                    </a:lnTo>
                    <a:lnTo>
                      <a:pt x="292" y="503"/>
                    </a:lnTo>
                    <a:lnTo>
                      <a:pt x="254" y="503"/>
                    </a:lnTo>
                    <a:lnTo>
                      <a:pt x="244" y="504"/>
                    </a:lnTo>
                    <a:lnTo>
                      <a:pt x="236" y="505"/>
                    </a:lnTo>
                    <a:lnTo>
                      <a:pt x="227" y="507"/>
                    </a:lnTo>
                    <a:lnTo>
                      <a:pt x="220" y="510"/>
                    </a:lnTo>
                    <a:lnTo>
                      <a:pt x="214" y="513"/>
                    </a:lnTo>
                    <a:lnTo>
                      <a:pt x="209" y="517"/>
                    </a:lnTo>
                    <a:lnTo>
                      <a:pt x="207" y="520"/>
                    </a:lnTo>
                    <a:lnTo>
                      <a:pt x="206" y="523"/>
                    </a:lnTo>
                    <a:lnTo>
                      <a:pt x="205" y="526"/>
                    </a:lnTo>
                    <a:lnTo>
                      <a:pt x="205" y="529"/>
                    </a:lnTo>
                    <a:lnTo>
                      <a:pt x="216" y="531"/>
                    </a:lnTo>
                    <a:lnTo>
                      <a:pt x="226" y="534"/>
                    </a:lnTo>
                    <a:lnTo>
                      <a:pt x="233" y="538"/>
                    </a:lnTo>
                    <a:lnTo>
                      <a:pt x="239" y="544"/>
                    </a:lnTo>
                    <a:lnTo>
                      <a:pt x="243" y="550"/>
                    </a:lnTo>
                    <a:lnTo>
                      <a:pt x="247" y="556"/>
                    </a:lnTo>
                    <a:lnTo>
                      <a:pt x="250" y="563"/>
                    </a:lnTo>
                    <a:lnTo>
                      <a:pt x="252" y="569"/>
                    </a:lnTo>
                    <a:lnTo>
                      <a:pt x="255" y="583"/>
                    </a:lnTo>
                    <a:lnTo>
                      <a:pt x="260" y="595"/>
                    </a:lnTo>
                    <a:lnTo>
                      <a:pt x="262" y="601"/>
                    </a:lnTo>
                    <a:lnTo>
                      <a:pt x="266" y="605"/>
                    </a:lnTo>
                    <a:lnTo>
                      <a:pt x="272" y="608"/>
                    </a:lnTo>
                    <a:lnTo>
                      <a:pt x="278" y="610"/>
                    </a:lnTo>
                    <a:lnTo>
                      <a:pt x="276" y="614"/>
                    </a:lnTo>
                    <a:lnTo>
                      <a:pt x="275" y="618"/>
                    </a:lnTo>
                    <a:lnTo>
                      <a:pt x="275" y="621"/>
                    </a:lnTo>
                    <a:lnTo>
                      <a:pt x="275" y="625"/>
                    </a:lnTo>
                    <a:lnTo>
                      <a:pt x="277" y="632"/>
                    </a:lnTo>
                    <a:lnTo>
                      <a:pt x="278" y="640"/>
                    </a:lnTo>
                    <a:lnTo>
                      <a:pt x="277" y="658"/>
                    </a:lnTo>
                    <a:lnTo>
                      <a:pt x="274" y="674"/>
                    </a:lnTo>
                    <a:lnTo>
                      <a:pt x="270" y="688"/>
                    </a:lnTo>
                    <a:lnTo>
                      <a:pt x="264" y="700"/>
                    </a:lnTo>
                    <a:lnTo>
                      <a:pt x="261" y="705"/>
                    </a:lnTo>
                    <a:lnTo>
                      <a:pt x="257" y="711"/>
                    </a:lnTo>
                    <a:lnTo>
                      <a:pt x="252" y="716"/>
                    </a:lnTo>
                    <a:lnTo>
                      <a:pt x="248" y="720"/>
                    </a:lnTo>
                    <a:lnTo>
                      <a:pt x="242" y="724"/>
                    </a:lnTo>
                    <a:lnTo>
                      <a:pt x="237" y="727"/>
                    </a:lnTo>
                    <a:lnTo>
                      <a:pt x="231" y="730"/>
                    </a:lnTo>
                    <a:lnTo>
                      <a:pt x="225" y="733"/>
                    </a:lnTo>
                    <a:lnTo>
                      <a:pt x="206" y="735"/>
                    </a:lnTo>
                    <a:lnTo>
                      <a:pt x="182" y="737"/>
                    </a:lnTo>
                    <a:lnTo>
                      <a:pt x="170" y="739"/>
                    </a:lnTo>
                    <a:lnTo>
                      <a:pt x="158" y="741"/>
                    </a:lnTo>
                    <a:lnTo>
                      <a:pt x="152" y="743"/>
                    </a:lnTo>
                    <a:lnTo>
                      <a:pt x="147" y="745"/>
                    </a:lnTo>
                    <a:lnTo>
                      <a:pt x="142" y="748"/>
                    </a:lnTo>
                    <a:lnTo>
                      <a:pt x="139" y="751"/>
                    </a:lnTo>
                    <a:lnTo>
                      <a:pt x="134" y="758"/>
                    </a:lnTo>
                    <a:lnTo>
                      <a:pt x="127" y="770"/>
                    </a:lnTo>
                    <a:lnTo>
                      <a:pt x="123" y="776"/>
                    </a:lnTo>
                    <a:lnTo>
                      <a:pt x="118" y="781"/>
                    </a:lnTo>
                    <a:lnTo>
                      <a:pt x="113" y="785"/>
                    </a:lnTo>
                    <a:lnTo>
                      <a:pt x="105" y="788"/>
                    </a:lnTo>
                    <a:lnTo>
                      <a:pt x="81" y="794"/>
                    </a:lnTo>
                    <a:lnTo>
                      <a:pt x="45" y="800"/>
                    </a:lnTo>
                    <a:lnTo>
                      <a:pt x="27" y="804"/>
                    </a:lnTo>
                    <a:lnTo>
                      <a:pt x="13" y="807"/>
                    </a:lnTo>
                    <a:lnTo>
                      <a:pt x="3" y="810"/>
                    </a:lnTo>
                    <a:lnTo>
                      <a:pt x="0" y="812"/>
                    </a:lnTo>
                    <a:lnTo>
                      <a:pt x="0" y="824"/>
                    </a:lnTo>
                    <a:lnTo>
                      <a:pt x="3" y="833"/>
                    </a:lnTo>
                    <a:lnTo>
                      <a:pt x="6" y="842"/>
                    </a:lnTo>
                    <a:lnTo>
                      <a:pt x="9" y="850"/>
                    </a:lnTo>
                    <a:lnTo>
                      <a:pt x="14" y="859"/>
                    </a:lnTo>
                    <a:lnTo>
                      <a:pt x="18" y="869"/>
                    </a:lnTo>
                    <a:lnTo>
                      <a:pt x="23" y="880"/>
                    </a:lnTo>
                    <a:lnTo>
                      <a:pt x="26" y="893"/>
                    </a:lnTo>
                    <a:lnTo>
                      <a:pt x="40" y="894"/>
                    </a:lnTo>
                    <a:lnTo>
                      <a:pt x="53" y="896"/>
                    </a:lnTo>
                    <a:lnTo>
                      <a:pt x="59" y="897"/>
                    </a:lnTo>
                    <a:lnTo>
                      <a:pt x="64" y="899"/>
                    </a:lnTo>
                    <a:lnTo>
                      <a:pt x="70" y="902"/>
                    </a:lnTo>
                    <a:lnTo>
                      <a:pt x="74" y="905"/>
                    </a:lnTo>
                    <a:lnTo>
                      <a:pt x="79" y="909"/>
                    </a:lnTo>
                    <a:lnTo>
                      <a:pt x="83" y="913"/>
                    </a:lnTo>
                    <a:lnTo>
                      <a:pt x="87" y="918"/>
                    </a:lnTo>
                    <a:lnTo>
                      <a:pt x="90" y="924"/>
                    </a:lnTo>
                    <a:lnTo>
                      <a:pt x="93" y="931"/>
                    </a:lnTo>
                    <a:lnTo>
                      <a:pt x="95" y="938"/>
                    </a:lnTo>
                    <a:lnTo>
                      <a:pt x="97" y="946"/>
                    </a:lnTo>
                    <a:lnTo>
                      <a:pt x="98" y="954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" name="Freeform 15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0411093" y="1987122"/>
                <a:ext cx="220662" cy="273050"/>
              </a:xfrm>
              <a:custGeom>
                <a:avLst/>
                <a:gdLst>
                  <a:gd name="T0" fmla="*/ 2147483647 w 504"/>
                  <a:gd name="T1" fmla="*/ 2147483647 h 524"/>
                  <a:gd name="T2" fmla="*/ 2147483647 w 504"/>
                  <a:gd name="T3" fmla="*/ 2147483647 h 524"/>
                  <a:gd name="T4" fmla="*/ 2147483647 w 504"/>
                  <a:gd name="T5" fmla="*/ 2147483647 h 524"/>
                  <a:gd name="T6" fmla="*/ 2147483647 w 504"/>
                  <a:gd name="T7" fmla="*/ 2147483647 h 524"/>
                  <a:gd name="T8" fmla="*/ 2147483647 w 504"/>
                  <a:gd name="T9" fmla="*/ 2147483647 h 524"/>
                  <a:gd name="T10" fmla="*/ 2147483647 w 504"/>
                  <a:gd name="T11" fmla="*/ 2147483647 h 524"/>
                  <a:gd name="T12" fmla="*/ 2147483647 w 504"/>
                  <a:gd name="T13" fmla="*/ 2147483647 h 524"/>
                  <a:gd name="T14" fmla="*/ 2147483647 w 504"/>
                  <a:gd name="T15" fmla="*/ 2147483647 h 524"/>
                  <a:gd name="T16" fmla="*/ 2147483647 w 504"/>
                  <a:gd name="T17" fmla="*/ 2147483647 h 524"/>
                  <a:gd name="T18" fmla="*/ 1846334995 w 504"/>
                  <a:gd name="T19" fmla="*/ 2147483647 h 524"/>
                  <a:gd name="T20" fmla="*/ 1678416467 w 504"/>
                  <a:gd name="T21" fmla="*/ 2147483647 h 524"/>
                  <a:gd name="T22" fmla="*/ 2147483647 w 504"/>
                  <a:gd name="T23" fmla="*/ 2147483647 h 524"/>
                  <a:gd name="T24" fmla="*/ 2147483647 w 504"/>
                  <a:gd name="T25" fmla="*/ 2147483647 h 524"/>
                  <a:gd name="T26" fmla="*/ 2147483647 w 504"/>
                  <a:gd name="T27" fmla="*/ 2147483647 h 524"/>
                  <a:gd name="T28" fmla="*/ 839208234 w 504"/>
                  <a:gd name="T29" fmla="*/ 2147483647 h 524"/>
                  <a:gd name="T30" fmla="*/ 83959264 w 504"/>
                  <a:gd name="T31" fmla="*/ 2147483647 h 524"/>
                  <a:gd name="T32" fmla="*/ 83959264 w 504"/>
                  <a:gd name="T33" fmla="*/ 2147483647 h 524"/>
                  <a:gd name="T34" fmla="*/ 1426730878 w 504"/>
                  <a:gd name="T35" fmla="*/ 2147483647 h 524"/>
                  <a:gd name="T36" fmla="*/ 2147483647 w 504"/>
                  <a:gd name="T37" fmla="*/ 2147483647 h 524"/>
                  <a:gd name="T38" fmla="*/ 2147483647 w 504"/>
                  <a:gd name="T39" fmla="*/ 2147483647 h 524"/>
                  <a:gd name="T40" fmla="*/ 2147483647 w 504"/>
                  <a:gd name="T41" fmla="*/ 2147483647 h 524"/>
                  <a:gd name="T42" fmla="*/ 2147483647 w 504"/>
                  <a:gd name="T43" fmla="*/ 2147483647 h 524"/>
                  <a:gd name="T44" fmla="*/ 2147483647 w 504"/>
                  <a:gd name="T45" fmla="*/ 2147483647 h 524"/>
                  <a:gd name="T46" fmla="*/ 2147483647 w 504"/>
                  <a:gd name="T47" fmla="*/ 2147483647 h 524"/>
                  <a:gd name="T48" fmla="*/ 2147483647 w 504"/>
                  <a:gd name="T49" fmla="*/ 2147483647 h 524"/>
                  <a:gd name="T50" fmla="*/ 2147483647 w 504"/>
                  <a:gd name="T51" fmla="*/ 2147483647 h 524"/>
                  <a:gd name="T52" fmla="*/ 2147483647 w 504"/>
                  <a:gd name="T53" fmla="*/ 2147483647 h 524"/>
                  <a:gd name="T54" fmla="*/ 2147483647 w 504"/>
                  <a:gd name="T55" fmla="*/ 2147483647 h 524"/>
                  <a:gd name="T56" fmla="*/ 2147483647 w 504"/>
                  <a:gd name="T57" fmla="*/ 2147483647 h 524"/>
                  <a:gd name="T58" fmla="*/ 2147483647 w 504"/>
                  <a:gd name="T59" fmla="*/ 2147483647 h 524"/>
                  <a:gd name="T60" fmla="*/ 2147483647 w 504"/>
                  <a:gd name="T61" fmla="*/ 2147483647 h 524"/>
                  <a:gd name="T62" fmla="*/ 2147483647 w 504"/>
                  <a:gd name="T63" fmla="*/ 2147483647 h 524"/>
                  <a:gd name="T64" fmla="*/ 2147483647 w 504"/>
                  <a:gd name="T65" fmla="*/ 2147483647 h 524"/>
                  <a:gd name="T66" fmla="*/ 2147483647 w 504"/>
                  <a:gd name="T67" fmla="*/ 2147483647 h 524"/>
                  <a:gd name="T68" fmla="*/ 2147483647 w 504"/>
                  <a:gd name="T69" fmla="*/ 2147483647 h 524"/>
                  <a:gd name="T70" fmla="*/ 2147483647 w 504"/>
                  <a:gd name="T71" fmla="*/ 2147483647 h 524"/>
                  <a:gd name="T72" fmla="*/ 2147483647 w 504"/>
                  <a:gd name="T73" fmla="*/ 1839361201 h 524"/>
                  <a:gd name="T74" fmla="*/ 2147483647 w 504"/>
                  <a:gd name="T75" fmla="*/ 0 h 524"/>
                  <a:gd name="T76" fmla="*/ 2147483647 w 504"/>
                  <a:gd name="T77" fmla="*/ 0 h 524"/>
                  <a:gd name="T78" fmla="*/ 2147483647 w 504"/>
                  <a:gd name="T79" fmla="*/ 1132018923 h 524"/>
                  <a:gd name="T80" fmla="*/ 2147483647 w 504"/>
                  <a:gd name="T81" fmla="*/ 2147483647 h 524"/>
                  <a:gd name="T82" fmla="*/ 2147483647 w 504"/>
                  <a:gd name="T83" fmla="*/ 2147483647 h 524"/>
                  <a:gd name="T84" fmla="*/ 2147483647 w 504"/>
                  <a:gd name="T85" fmla="*/ 2147483647 h 524"/>
                  <a:gd name="T86" fmla="*/ 2147483647 w 504"/>
                  <a:gd name="T87" fmla="*/ 2147483647 h 524"/>
                  <a:gd name="T88" fmla="*/ 2147483647 w 504"/>
                  <a:gd name="T89" fmla="*/ 2147483647 h 524"/>
                  <a:gd name="T90" fmla="*/ 2147483647 w 504"/>
                  <a:gd name="T91" fmla="*/ 2147483647 h 524"/>
                  <a:gd name="T92" fmla="*/ 2147483647 w 504"/>
                  <a:gd name="T93" fmla="*/ 2147483647 h 524"/>
                  <a:gd name="T94" fmla="*/ 2147483647 w 504"/>
                  <a:gd name="T95" fmla="*/ 2147483647 h 524"/>
                  <a:gd name="T96" fmla="*/ 2147483647 w 504"/>
                  <a:gd name="T97" fmla="*/ 2147483647 h 524"/>
                  <a:gd name="T98" fmla="*/ 2147483647 w 504"/>
                  <a:gd name="T99" fmla="*/ 2147483647 h 524"/>
                  <a:gd name="T100" fmla="*/ 2147483647 w 504"/>
                  <a:gd name="T101" fmla="*/ 2147483647 h 524"/>
                  <a:gd name="T102" fmla="*/ 2147483647 w 504"/>
                  <a:gd name="T103" fmla="*/ 2147483647 h 524"/>
                  <a:gd name="T104" fmla="*/ 2147483647 w 504"/>
                  <a:gd name="T105" fmla="*/ 2147483647 h 524"/>
                  <a:gd name="T106" fmla="*/ 2147483647 w 504"/>
                  <a:gd name="T107" fmla="*/ 2147483647 h 524"/>
                  <a:gd name="T108" fmla="*/ 2147483647 w 504"/>
                  <a:gd name="T109" fmla="*/ 2147483647 h 524"/>
                  <a:gd name="T110" fmla="*/ 2147483647 w 504"/>
                  <a:gd name="T111" fmla="*/ 2147483647 h 52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04" h="524">
                    <a:moveTo>
                      <a:pt x="365" y="493"/>
                    </a:moveTo>
                    <a:lnTo>
                      <a:pt x="355" y="493"/>
                    </a:lnTo>
                    <a:lnTo>
                      <a:pt x="345" y="493"/>
                    </a:lnTo>
                    <a:lnTo>
                      <a:pt x="266" y="493"/>
                    </a:lnTo>
                    <a:lnTo>
                      <a:pt x="262" y="500"/>
                    </a:lnTo>
                    <a:lnTo>
                      <a:pt x="256" y="505"/>
                    </a:lnTo>
                    <a:lnTo>
                      <a:pt x="250" y="510"/>
                    </a:lnTo>
                    <a:lnTo>
                      <a:pt x="243" y="513"/>
                    </a:lnTo>
                    <a:lnTo>
                      <a:pt x="235" y="517"/>
                    </a:lnTo>
                    <a:lnTo>
                      <a:pt x="228" y="519"/>
                    </a:lnTo>
                    <a:lnTo>
                      <a:pt x="219" y="521"/>
                    </a:lnTo>
                    <a:lnTo>
                      <a:pt x="210" y="522"/>
                    </a:lnTo>
                    <a:lnTo>
                      <a:pt x="191" y="524"/>
                    </a:lnTo>
                    <a:lnTo>
                      <a:pt x="173" y="524"/>
                    </a:lnTo>
                    <a:lnTo>
                      <a:pt x="155" y="524"/>
                    </a:lnTo>
                    <a:lnTo>
                      <a:pt x="140" y="524"/>
                    </a:lnTo>
                    <a:lnTo>
                      <a:pt x="121" y="523"/>
                    </a:lnTo>
                    <a:lnTo>
                      <a:pt x="106" y="522"/>
                    </a:lnTo>
                    <a:lnTo>
                      <a:pt x="100" y="521"/>
                    </a:lnTo>
                    <a:lnTo>
                      <a:pt x="96" y="519"/>
                    </a:lnTo>
                    <a:lnTo>
                      <a:pt x="94" y="516"/>
                    </a:lnTo>
                    <a:lnTo>
                      <a:pt x="93" y="512"/>
                    </a:lnTo>
                    <a:lnTo>
                      <a:pt x="82" y="511"/>
                    </a:lnTo>
                    <a:lnTo>
                      <a:pt x="71" y="509"/>
                    </a:lnTo>
                    <a:lnTo>
                      <a:pt x="59" y="505"/>
                    </a:lnTo>
                    <a:lnTo>
                      <a:pt x="47" y="501"/>
                    </a:lnTo>
                    <a:lnTo>
                      <a:pt x="36" y="496"/>
                    </a:lnTo>
                    <a:lnTo>
                      <a:pt x="28" y="491"/>
                    </a:lnTo>
                    <a:lnTo>
                      <a:pt x="25" y="489"/>
                    </a:lnTo>
                    <a:lnTo>
                      <a:pt x="22" y="486"/>
                    </a:lnTo>
                    <a:lnTo>
                      <a:pt x="20" y="484"/>
                    </a:lnTo>
                    <a:lnTo>
                      <a:pt x="20" y="481"/>
                    </a:lnTo>
                    <a:lnTo>
                      <a:pt x="20" y="477"/>
                    </a:lnTo>
                    <a:lnTo>
                      <a:pt x="22" y="472"/>
                    </a:lnTo>
                    <a:lnTo>
                      <a:pt x="25" y="467"/>
                    </a:lnTo>
                    <a:lnTo>
                      <a:pt x="27" y="463"/>
                    </a:lnTo>
                    <a:lnTo>
                      <a:pt x="31" y="456"/>
                    </a:lnTo>
                    <a:lnTo>
                      <a:pt x="33" y="450"/>
                    </a:lnTo>
                    <a:lnTo>
                      <a:pt x="32" y="445"/>
                    </a:lnTo>
                    <a:lnTo>
                      <a:pt x="31" y="440"/>
                    </a:lnTo>
                    <a:lnTo>
                      <a:pt x="30" y="436"/>
                    </a:lnTo>
                    <a:lnTo>
                      <a:pt x="28" y="432"/>
                    </a:lnTo>
                    <a:lnTo>
                      <a:pt x="22" y="426"/>
                    </a:lnTo>
                    <a:lnTo>
                      <a:pt x="17" y="421"/>
                    </a:lnTo>
                    <a:lnTo>
                      <a:pt x="10" y="417"/>
                    </a:lnTo>
                    <a:lnTo>
                      <a:pt x="5" y="412"/>
                    </a:lnTo>
                    <a:lnTo>
                      <a:pt x="3" y="409"/>
                    </a:lnTo>
                    <a:lnTo>
                      <a:pt x="1" y="407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1" y="391"/>
                    </a:lnTo>
                    <a:lnTo>
                      <a:pt x="5" y="381"/>
                    </a:lnTo>
                    <a:lnTo>
                      <a:pt x="10" y="371"/>
                    </a:lnTo>
                    <a:lnTo>
                      <a:pt x="17" y="360"/>
                    </a:lnTo>
                    <a:lnTo>
                      <a:pt x="26" y="349"/>
                    </a:lnTo>
                    <a:lnTo>
                      <a:pt x="37" y="338"/>
                    </a:lnTo>
                    <a:lnTo>
                      <a:pt x="48" y="328"/>
                    </a:lnTo>
                    <a:lnTo>
                      <a:pt x="60" y="318"/>
                    </a:lnTo>
                    <a:lnTo>
                      <a:pt x="73" y="309"/>
                    </a:lnTo>
                    <a:lnTo>
                      <a:pt x="86" y="299"/>
                    </a:lnTo>
                    <a:lnTo>
                      <a:pt x="99" y="291"/>
                    </a:lnTo>
                    <a:lnTo>
                      <a:pt x="112" y="285"/>
                    </a:lnTo>
                    <a:lnTo>
                      <a:pt x="124" y="279"/>
                    </a:lnTo>
                    <a:lnTo>
                      <a:pt x="138" y="275"/>
                    </a:lnTo>
                    <a:lnTo>
                      <a:pt x="149" y="272"/>
                    </a:lnTo>
                    <a:lnTo>
                      <a:pt x="160" y="272"/>
                    </a:lnTo>
                    <a:lnTo>
                      <a:pt x="166" y="266"/>
                    </a:lnTo>
                    <a:lnTo>
                      <a:pt x="160" y="265"/>
                    </a:lnTo>
                    <a:lnTo>
                      <a:pt x="155" y="264"/>
                    </a:lnTo>
                    <a:lnTo>
                      <a:pt x="150" y="263"/>
                    </a:lnTo>
                    <a:lnTo>
                      <a:pt x="145" y="261"/>
                    </a:lnTo>
                    <a:lnTo>
                      <a:pt x="142" y="259"/>
                    </a:lnTo>
                    <a:lnTo>
                      <a:pt x="139" y="257"/>
                    </a:lnTo>
                    <a:lnTo>
                      <a:pt x="135" y="254"/>
                    </a:lnTo>
                    <a:lnTo>
                      <a:pt x="133" y="251"/>
                    </a:lnTo>
                    <a:lnTo>
                      <a:pt x="130" y="244"/>
                    </a:lnTo>
                    <a:lnTo>
                      <a:pt x="128" y="236"/>
                    </a:lnTo>
                    <a:lnTo>
                      <a:pt x="127" y="229"/>
                    </a:lnTo>
                    <a:lnTo>
                      <a:pt x="127" y="222"/>
                    </a:lnTo>
                    <a:lnTo>
                      <a:pt x="126" y="208"/>
                    </a:lnTo>
                    <a:lnTo>
                      <a:pt x="124" y="195"/>
                    </a:lnTo>
                    <a:lnTo>
                      <a:pt x="121" y="182"/>
                    </a:lnTo>
                    <a:lnTo>
                      <a:pt x="119" y="171"/>
                    </a:lnTo>
                    <a:lnTo>
                      <a:pt x="115" y="161"/>
                    </a:lnTo>
                    <a:lnTo>
                      <a:pt x="110" y="152"/>
                    </a:lnTo>
                    <a:lnTo>
                      <a:pt x="106" y="143"/>
                    </a:lnTo>
                    <a:lnTo>
                      <a:pt x="100" y="134"/>
                    </a:lnTo>
                    <a:lnTo>
                      <a:pt x="89" y="119"/>
                    </a:lnTo>
                    <a:lnTo>
                      <a:pt x="78" y="104"/>
                    </a:lnTo>
                    <a:lnTo>
                      <a:pt x="68" y="90"/>
                    </a:lnTo>
                    <a:lnTo>
                      <a:pt x="60" y="74"/>
                    </a:lnTo>
                    <a:lnTo>
                      <a:pt x="74" y="66"/>
                    </a:lnTo>
                    <a:lnTo>
                      <a:pt x="86" y="60"/>
                    </a:lnTo>
                    <a:lnTo>
                      <a:pt x="93" y="58"/>
                    </a:lnTo>
                    <a:lnTo>
                      <a:pt x="99" y="57"/>
                    </a:lnTo>
                    <a:lnTo>
                      <a:pt x="106" y="56"/>
                    </a:lnTo>
                    <a:lnTo>
                      <a:pt x="112" y="56"/>
                    </a:lnTo>
                    <a:lnTo>
                      <a:pt x="123" y="56"/>
                    </a:lnTo>
                    <a:lnTo>
                      <a:pt x="130" y="58"/>
                    </a:lnTo>
                    <a:lnTo>
                      <a:pt x="133" y="59"/>
                    </a:lnTo>
                    <a:lnTo>
                      <a:pt x="137" y="60"/>
                    </a:lnTo>
                    <a:lnTo>
                      <a:pt x="139" y="61"/>
                    </a:lnTo>
                    <a:lnTo>
                      <a:pt x="143" y="61"/>
                    </a:lnTo>
                    <a:lnTo>
                      <a:pt x="149" y="59"/>
                    </a:lnTo>
                    <a:lnTo>
                      <a:pt x="160" y="56"/>
                    </a:lnTo>
                    <a:lnTo>
                      <a:pt x="160" y="47"/>
                    </a:lnTo>
                    <a:lnTo>
                      <a:pt x="162" y="40"/>
                    </a:lnTo>
                    <a:lnTo>
                      <a:pt x="164" y="33"/>
                    </a:lnTo>
                    <a:lnTo>
                      <a:pt x="166" y="25"/>
                    </a:lnTo>
                    <a:lnTo>
                      <a:pt x="168" y="19"/>
                    </a:lnTo>
                    <a:lnTo>
                      <a:pt x="171" y="13"/>
                    </a:lnTo>
                    <a:lnTo>
                      <a:pt x="172" y="7"/>
                    </a:lnTo>
                    <a:lnTo>
                      <a:pt x="173" y="0"/>
                    </a:lnTo>
                    <a:lnTo>
                      <a:pt x="187" y="0"/>
                    </a:lnTo>
                    <a:lnTo>
                      <a:pt x="201" y="0"/>
                    </a:lnTo>
                    <a:lnTo>
                      <a:pt x="214" y="0"/>
                    </a:lnTo>
                    <a:lnTo>
                      <a:pt x="225" y="0"/>
                    </a:lnTo>
                    <a:lnTo>
                      <a:pt x="235" y="1"/>
                    </a:lnTo>
                    <a:lnTo>
                      <a:pt x="244" y="4"/>
                    </a:lnTo>
                    <a:lnTo>
                      <a:pt x="254" y="8"/>
                    </a:lnTo>
                    <a:lnTo>
                      <a:pt x="263" y="12"/>
                    </a:lnTo>
                    <a:lnTo>
                      <a:pt x="270" y="17"/>
                    </a:lnTo>
                    <a:lnTo>
                      <a:pt x="280" y="21"/>
                    </a:lnTo>
                    <a:lnTo>
                      <a:pt x="289" y="24"/>
                    </a:lnTo>
                    <a:lnTo>
                      <a:pt x="299" y="25"/>
                    </a:lnTo>
                    <a:lnTo>
                      <a:pt x="279" y="62"/>
                    </a:lnTo>
                    <a:lnTo>
                      <a:pt x="283" y="67"/>
                    </a:lnTo>
                    <a:lnTo>
                      <a:pt x="287" y="72"/>
                    </a:lnTo>
                    <a:lnTo>
                      <a:pt x="292" y="77"/>
                    </a:lnTo>
                    <a:lnTo>
                      <a:pt x="297" y="82"/>
                    </a:lnTo>
                    <a:lnTo>
                      <a:pt x="308" y="88"/>
                    </a:lnTo>
                    <a:lnTo>
                      <a:pt x="319" y="94"/>
                    </a:lnTo>
                    <a:lnTo>
                      <a:pt x="341" y="103"/>
                    </a:lnTo>
                    <a:lnTo>
                      <a:pt x="358" y="111"/>
                    </a:lnTo>
                    <a:lnTo>
                      <a:pt x="356" y="119"/>
                    </a:lnTo>
                    <a:lnTo>
                      <a:pt x="353" y="126"/>
                    </a:lnTo>
                    <a:lnTo>
                      <a:pt x="350" y="131"/>
                    </a:lnTo>
                    <a:lnTo>
                      <a:pt x="346" y="135"/>
                    </a:lnTo>
                    <a:lnTo>
                      <a:pt x="343" y="141"/>
                    </a:lnTo>
                    <a:lnTo>
                      <a:pt x="341" y="146"/>
                    </a:lnTo>
                    <a:lnTo>
                      <a:pt x="340" y="153"/>
                    </a:lnTo>
                    <a:lnTo>
                      <a:pt x="339" y="161"/>
                    </a:lnTo>
                    <a:lnTo>
                      <a:pt x="340" y="168"/>
                    </a:lnTo>
                    <a:lnTo>
                      <a:pt x="344" y="176"/>
                    </a:lnTo>
                    <a:lnTo>
                      <a:pt x="350" y="184"/>
                    </a:lnTo>
                    <a:lnTo>
                      <a:pt x="356" y="193"/>
                    </a:lnTo>
                    <a:lnTo>
                      <a:pt x="363" y="200"/>
                    </a:lnTo>
                    <a:lnTo>
                      <a:pt x="369" y="205"/>
                    </a:lnTo>
                    <a:lnTo>
                      <a:pt x="375" y="209"/>
                    </a:lnTo>
                    <a:lnTo>
                      <a:pt x="378" y="210"/>
                    </a:lnTo>
                    <a:lnTo>
                      <a:pt x="379" y="226"/>
                    </a:lnTo>
                    <a:lnTo>
                      <a:pt x="381" y="241"/>
                    </a:lnTo>
                    <a:lnTo>
                      <a:pt x="386" y="256"/>
                    </a:lnTo>
                    <a:lnTo>
                      <a:pt x="391" y="268"/>
                    </a:lnTo>
                    <a:lnTo>
                      <a:pt x="397" y="279"/>
                    </a:lnTo>
                    <a:lnTo>
                      <a:pt x="404" y="289"/>
                    </a:lnTo>
                    <a:lnTo>
                      <a:pt x="413" y="298"/>
                    </a:lnTo>
                    <a:lnTo>
                      <a:pt x="422" y="307"/>
                    </a:lnTo>
                    <a:lnTo>
                      <a:pt x="432" y="315"/>
                    </a:lnTo>
                    <a:lnTo>
                      <a:pt x="442" y="322"/>
                    </a:lnTo>
                    <a:lnTo>
                      <a:pt x="452" y="329"/>
                    </a:lnTo>
                    <a:lnTo>
                      <a:pt x="463" y="335"/>
                    </a:lnTo>
                    <a:lnTo>
                      <a:pt x="485" y="346"/>
                    </a:lnTo>
                    <a:lnTo>
                      <a:pt x="504" y="357"/>
                    </a:lnTo>
                    <a:lnTo>
                      <a:pt x="466" y="390"/>
                    </a:lnTo>
                    <a:lnTo>
                      <a:pt x="430" y="424"/>
                    </a:lnTo>
                    <a:lnTo>
                      <a:pt x="413" y="440"/>
                    </a:lnTo>
                    <a:lnTo>
                      <a:pt x="397" y="457"/>
                    </a:lnTo>
                    <a:lnTo>
                      <a:pt x="380" y="476"/>
                    </a:lnTo>
                    <a:lnTo>
                      <a:pt x="36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" name="Freeform 16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0147568" y="2404635"/>
                <a:ext cx="182562" cy="238125"/>
              </a:xfrm>
              <a:custGeom>
                <a:avLst/>
                <a:gdLst>
                  <a:gd name="T0" fmla="*/ 2147483647 w 438"/>
                  <a:gd name="T1" fmla="*/ 2147483647 h 451"/>
                  <a:gd name="T2" fmla="*/ 2147483647 w 438"/>
                  <a:gd name="T3" fmla="*/ 2147483647 h 451"/>
                  <a:gd name="T4" fmla="*/ 2147483647 w 438"/>
                  <a:gd name="T5" fmla="*/ 2147483647 h 451"/>
                  <a:gd name="T6" fmla="*/ 2147483647 w 438"/>
                  <a:gd name="T7" fmla="*/ 2147483647 h 451"/>
                  <a:gd name="T8" fmla="*/ 2147483647 w 438"/>
                  <a:gd name="T9" fmla="*/ 2147483647 h 451"/>
                  <a:gd name="T10" fmla="*/ 2147483647 w 438"/>
                  <a:gd name="T11" fmla="*/ 2147483647 h 451"/>
                  <a:gd name="T12" fmla="*/ 2147483647 w 438"/>
                  <a:gd name="T13" fmla="*/ 2147483647 h 451"/>
                  <a:gd name="T14" fmla="*/ 2147483647 w 438"/>
                  <a:gd name="T15" fmla="*/ 2147483647 h 451"/>
                  <a:gd name="T16" fmla="*/ 2147483647 w 438"/>
                  <a:gd name="T17" fmla="*/ 2147483647 h 451"/>
                  <a:gd name="T18" fmla="*/ 2147483647 w 438"/>
                  <a:gd name="T19" fmla="*/ 2147483647 h 451"/>
                  <a:gd name="T20" fmla="*/ 2147483647 w 438"/>
                  <a:gd name="T21" fmla="*/ 2147483647 h 451"/>
                  <a:gd name="T22" fmla="*/ 2147483647 w 438"/>
                  <a:gd name="T23" fmla="*/ 2147483647 h 451"/>
                  <a:gd name="T24" fmla="*/ 2147483647 w 438"/>
                  <a:gd name="T25" fmla="*/ 2147483647 h 451"/>
                  <a:gd name="T26" fmla="*/ 2147483647 w 438"/>
                  <a:gd name="T27" fmla="*/ 0 h 451"/>
                  <a:gd name="T28" fmla="*/ 2147483647 w 438"/>
                  <a:gd name="T29" fmla="*/ 2147483647 h 451"/>
                  <a:gd name="T30" fmla="*/ 2147483647 w 438"/>
                  <a:gd name="T31" fmla="*/ 2147483647 h 451"/>
                  <a:gd name="T32" fmla="*/ 2147483647 w 438"/>
                  <a:gd name="T33" fmla="*/ 2147483647 h 451"/>
                  <a:gd name="T34" fmla="*/ 2147483647 w 438"/>
                  <a:gd name="T35" fmla="*/ 2147483647 h 451"/>
                  <a:gd name="T36" fmla="*/ 2147483647 w 438"/>
                  <a:gd name="T37" fmla="*/ 2147483647 h 451"/>
                  <a:gd name="T38" fmla="*/ 2147483647 w 438"/>
                  <a:gd name="T39" fmla="*/ 2147483647 h 451"/>
                  <a:gd name="T40" fmla="*/ 2147483647 w 438"/>
                  <a:gd name="T41" fmla="*/ 2147483647 h 451"/>
                  <a:gd name="T42" fmla="*/ 2147483647 w 438"/>
                  <a:gd name="T43" fmla="*/ 2147483647 h 451"/>
                  <a:gd name="T44" fmla="*/ 2147483647 w 438"/>
                  <a:gd name="T45" fmla="*/ 2147483647 h 451"/>
                  <a:gd name="T46" fmla="*/ 2147483647 w 438"/>
                  <a:gd name="T47" fmla="*/ 2147483647 h 451"/>
                  <a:gd name="T48" fmla="*/ 506941329 w 438"/>
                  <a:gd name="T49" fmla="*/ 2147483647 h 451"/>
                  <a:gd name="T50" fmla="*/ 1086154286 w 438"/>
                  <a:gd name="T51" fmla="*/ 2147483647 h 451"/>
                  <a:gd name="T52" fmla="*/ 1882702302 w 438"/>
                  <a:gd name="T53" fmla="*/ 2147483647 h 451"/>
                  <a:gd name="T54" fmla="*/ 2147483647 w 438"/>
                  <a:gd name="T55" fmla="*/ 2147483647 h 451"/>
                  <a:gd name="T56" fmla="*/ 2147483647 w 438"/>
                  <a:gd name="T57" fmla="*/ 2147483647 h 451"/>
                  <a:gd name="T58" fmla="*/ 2147483647 w 438"/>
                  <a:gd name="T59" fmla="*/ 2147483647 h 451"/>
                  <a:gd name="T60" fmla="*/ 2147483647 w 438"/>
                  <a:gd name="T61" fmla="*/ 2147483647 h 451"/>
                  <a:gd name="T62" fmla="*/ 2147483647 w 438"/>
                  <a:gd name="T63" fmla="*/ 2147483647 h 451"/>
                  <a:gd name="T64" fmla="*/ 2147483647 w 438"/>
                  <a:gd name="T65" fmla="*/ 2147483647 h 451"/>
                  <a:gd name="T66" fmla="*/ 2147483647 w 438"/>
                  <a:gd name="T67" fmla="*/ 2147483647 h 451"/>
                  <a:gd name="T68" fmla="*/ 2147483647 w 438"/>
                  <a:gd name="T69" fmla="*/ 2147483647 h 451"/>
                  <a:gd name="T70" fmla="*/ 2147483647 w 438"/>
                  <a:gd name="T71" fmla="*/ 2147483647 h 451"/>
                  <a:gd name="T72" fmla="*/ 2147483647 w 438"/>
                  <a:gd name="T73" fmla="*/ 2147483647 h 451"/>
                  <a:gd name="T74" fmla="*/ 2147483647 w 438"/>
                  <a:gd name="T75" fmla="*/ 2147483647 h 451"/>
                  <a:gd name="T76" fmla="*/ 2147483647 w 438"/>
                  <a:gd name="T77" fmla="*/ 2147483647 h 451"/>
                  <a:gd name="T78" fmla="*/ 2147483647 w 438"/>
                  <a:gd name="T79" fmla="*/ 2147483647 h 451"/>
                  <a:gd name="T80" fmla="*/ 2147483647 w 438"/>
                  <a:gd name="T81" fmla="*/ 2147483647 h 451"/>
                  <a:gd name="T82" fmla="*/ 2147483647 w 438"/>
                  <a:gd name="T83" fmla="*/ 2147483647 h 451"/>
                  <a:gd name="T84" fmla="*/ 2147483647 w 438"/>
                  <a:gd name="T85" fmla="*/ 2147483647 h 451"/>
                  <a:gd name="T86" fmla="*/ 2147483647 w 438"/>
                  <a:gd name="T87" fmla="*/ 2147483647 h 451"/>
                  <a:gd name="T88" fmla="*/ 2147483647 w 438"/>
                  <a:gd name="T89" fmla="*/ 2147483647 h 451"/>
                  <a:gd name="T90" fmla="*/ 2147483647 w 438"/>
                  <a:gd name="T91" fmla="*/ 2147483647 h 451"/>
                  <a:gd name="T92" fmla="*/ 2147483647 w 438"/>
                  <a:gd name="T93" fmla="*/ 2147483647 h 451"/>
                  <a:gd name="T94" fmla="*/ 2147483647 w 438"/>
                  <a:gd name="T95" fmla="*/ 2147483647 h 451"/>
                  <a:gd name="T96" fmla="*/ 2147483647 w 438"/>
                  <a:gd name="T97" fmla="*/ 2147483647 h 451"/>
                  <a:gd name="T98" fmla="*/ 2147483647 w 438"/>
                  <a:gd name="T99" fmla="*/ 2147483647 h 45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" name="Freeform 17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0172968" y="2661810"/>
                <a:ext cx="250825" cy="274637"/>
              </a:xfrm>
              <a:custGeom>
                <a:avLst/>
                <a:gdLst>
                  <a:gd name="T0" fmla="*/ 2147483647 w 578"/>
                  <a:gd name="T1" fmla="*/ 2147483647 h 524"/>
                  <a:gd name="T2" fmla="*/ 2147483647 w 578"/>
                  <a:gd name="T3" fmla="*/ 2147483647 h 524"/>
                  <a:gd name="T4" fmla="*/ 2147483647 w 578"/>
                  <a:gd name="T5" fmla="*/ 2147483647 h 524"/>
                  <a:gd name="T6" fmla="*/ 2147483647 w 578"/>
                  <a:gd name="T7" fmla="*/ 2147483647 h 524"/>
                  <a:gd name="T8" fmla="*/ 2147483647 w 578"/>
                  <a:gd name="T9" fmla="*/ 2147483647 h 524"/>
                  <a:gd name="T10" fmla="*/ 2147483647 w 578"/>
                  <a:gd name="T11" fmla="*/ 2147483647 h 524"/>
                  <a:gd name="T12" fmla="*/ 2147483647 w 578"/>
                  <a:gd name="T13" fmla="*/ 2147483647 h 524"/>
                  <a:gd name="T14" fmla="*/ 2147483647 w 578"/>
                  <a:gd name="T15" fmla="*/ 2147483647 h 524"/>
                  <a:gd name="T16" fmla="*/ 2147483647 w 578"/>
                  <a:gd name="T17" fmla="*/ 2147483647 h 524"/>
                  <a:gd name="T18" fmla="*/ 2147483647 w 578"/>
                  <a:gd name="T19" fmla="*/ 2147483647 h 524"/>
                  <a:gd name="T20" fmla="*/ 2147483647 w 578"/>
                  <a:gd name="T21" fmla="*/ 2147483647 h 524"/>
                  <a:gd name="T22" fmla="*/ 2147483647 w 578"/>
                  <a:gd name="T23" fmla="*/ 2147483647 h 524"/>
                  <a:gd name="T24" fmla="*/ 2147483647 w 578"/>
                  <a:gd name="T25" fmla="*/ 2147483647 h 524"/>
                  <a:gd name="T26" fmla="*/ 2147483647 w 578"/>
                  <a:gd name="T27" fmla="*/ 2147483647 h 524"/>
                  <a:gd name="T28" fmla="*/ 2147483647 w 578"/>
                  <a:gd name="T29" fmla="*/ 2147483647 h 524"/>
                  <a:gd name="T30" fmla="*/ 2147483647 w 578"/>
                  <a:gd name="T31" fmla="*/ 2147483647 h 524"/>
                  <a:gd name="T32" fmla="*/ 2147483647 w 578"/>
                  <a:gd name="T33" fmla="*/ 2147483647 h 524"/>
                  <a:gd name="T34" fmla="*/ 2147483647 w 578"/>
                  <a:gd name="T35" fmla="*/ 2147483647 h 524"/>
                  <a:gd name="T36" fmla="*/ 2147483647 w 578"/>
                  <a:gd name="T37" fmla="*/ 2147483647 h 524"/>
                  <a:gd name="T38" fmla="*/ 2147483647 w 578"/>
                  <a:gd name="T39" fmla="*/ 2147483647 h 524"/>
                  <a:gd name="T40" fmla="*/ 2147483647 w 578"/>
                  <a:gd name="T41" fmla="*/ 2147483647 h 524"/>
                  <a:gd name="T42" fmla="*/ 2147483647 w 578"/>
                  <a:gd name="T43" fmla="*/ 2147483647 h 524"/>
                  <a:gd name="T44" fmla="*/ 2147483647 w 578"/>
                  <a:gd name="T45" fmla="*/ 2147483647 h 524"/>
                  <a:gd name="T46" fmla="*/ 2147483647 w 578"/>
                  <a:gd name="T47" fmla="*/ 2147483647 h 524"/>
                  <a:gd name="T48" fmla="*/ 2147483647 w 578"/>
                  <a:gd name="T49" fmla="*/ 2147483647 h 524"/>
                  <a:gd name="T50" fmla="*/ 2147483647 w 578"/>
                  <a:gd name="T51" fmla="*/ 2147483647 h 524"/>
                  <a:gd name="T52" fmla="*/ 2147483647 w 578"/>
                  <a:gd name="T53" fmla="*/ 2147483647 h 524"/>
                  <a:gd name="T54" fmla="*/ 2147483647 w 578"/>
                  <a:gd name="T55" fmla="*/ 2147483647 h 524"/>
                  <a:gd name="T56" fmla="*/ 2147483647 w 578"/>
                  <a:gd name="T57" fmla="*/ 2147483647 h 524"/>
                  <a:gd name="T58" fmla="*/ 2147483647 w 578"/>
                  <a:gd name="T59" fmla="*/ 2147483647 h 524"/>
                  <a:gd name="T60" fmla="*/ 2147483647 w 578"/>
                  <a:gd name="T61" fmla="*/ 2147483647 h 524"/>
                  <a:gd name="T62" fmla="*/ 2147483647 w 578"/>
                  <a:gd name="T63" fmla="*/ 2147483647 h 524"/>
                  <a:gd name="T64" fmla="*/ 2147483647 w 578"/>
                  <a:gd name="T65" fmla="*/ 2147483647 h 524"/>
                  <a:gd name="T66" fmla="*/ 2147483647 w 578"/>
                  <a:gd name="T67" fmla="*/ 2147483647 h 524"/>
                  <a:gd name="T68" fmla="*/ 2147483647 w 578"/>
                  <a:gd name="T69" fmla="*/ 2147483647 h 524"/>
                  <a:gd name="T70" fmla="*/ 2147483647 w 578"/>
                  <a:gd name="T71" fmla="*/ 2147483647 h 524"/>
                  <a:gd name="T72" fmla="*/ 2147483647 w 578"/>
                  <a:gd name="T73" fmla="*/ 2147483647 h 524"/>
                  <a:gd name="T74" fmla="*/ 2147483647 w 578"/>
                  <a:gd name="T75" fmla="*/ 2147483647 h 524"/>
                  <a:gd name="T76" fmla="*/ 2147483647 w 578"/>
                  <a:gd name="T77" fmla="*/ 2147483647 h 524"/>
                  <a:gd name="T78" fmla="*/ 1225745323 w 578"/>
                  <a:gd name="T79" fmla="*/ 2147483647 h 524"/>
                  <a:gd name="T80" fmla="*/ 245186645 w 578"/>
                  <a:gd name="T81" fmla="*/ 2147483647 h 524"/>
                  <a:gd name="T82" fmla="*/ 81729026 w 578"/>
                  <a:gd name="T83" fmla="*/ 2147483647 h 524"/>
                  <a:gd name="T84" fmla="*/ 490373290 w 578"/>
                  <a:gd name="T85" fmla="*/ 2147483647 h 524"/>
                  <a:gd name="T86" fmla="*/ 2147483647 w 578"/>
                  <a:gd name="T87" fmla="*/ 2147483647 h 524"/>
                  <a:gd name="T88" fmla="*/ 2147483647 w 578"/>
                  <a:gd name="T89" fmla="*/ 2147483647 h 524"/>
                  <a:gd name="T90" fmla="*/ 2147483647 w 578"/>
                  <a:gd name="T91" fmla="*/ 2147483647 h 524"/>
                  <a:gd name="T92" fmla="*/ 2147483647 w 578"/>
                  <a:gd name="T93" fmla="*/ 2147483647 h 524"/>
                  <a:gd name="T94" fmla="*/ 2147483647 w 578"/>
                  <a:gd name="T95" fmla="*/ 2147483647 h 524"/>
                  <a:gd name="T96" fmla="*/ 2147483647 w 578"/>
                  <a:gd name="T97" fmla="*/ 0 h 524"/>
                  <a:gd name="T98" fmla="*/ 2147483647 w 578"/>
                  <a:gd name="T99" fmla="*/ 1871792142 h 524"/>
                  <a:gd name="T100" fmla="*/ 2147483647 w 578"/>
                  <a:gd name="T101" fmla="*/ 2147483647 h 524"/>
                  <a:gd name="T102" fmla="*/ 2147483647 w 578"/>
                  <a:gd name="T103" fmla="*/ 2147483647 h 524"/>
                  <a:gd name="T104" fmla="*/ 2147483647 w 578"/>
                  <a:gd name="T105" fmla="*/ 2147483647 h 52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" name="Freeform 18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0190430" y="2830085"/>
                <a:ext cx="33338" cy="82550"/>
              </a:xfrm>
              <a:custGeom>
                <a:avLst/>
                <a:gdLst>
                  <a:gd name="T0" fmla="*/ 0 w 79"/>
                  <a:gd name="T1" fmla="*/ 2147483647 h 160"/>
                  <a:gd name="T2" fmla="*/ 450908688 w 79"/>
                  <a:gd name="T3" fmla="*/ 2147483647 h 160"/>
                  <a:gd name="T4" fmla="*/ 826665928 w 79"/>
                  <a:gd name="T5" fmla="*/ 2147483647 h 160"/>
                  <a:gd name="T6" fmla="*/ 1202423168 w 79"/>
                  <a:gd name="T7" fmla="*/ 2147483647 h 160"/>
                  <a:gd name="T8" fmla="*/ 1427877512 w 79"/>
                  <a:gd name="T9" fmla="*/ 2147483647 h 160"/>
                  <a:gd name="T10" fmla="*/ 1953937648 w 79"/>
                  <a:gd name="T11" fmla="*/ 2147483647 h 160"/>
                  <a:gd name="T12" fmla="*/ 2147483647 w 79"/>
                  <a:gd name="T13" fmla="*/ 2147483647 h 160"/>
                  <a:gd name="T14" fmla="*/ 2147483647 w 79"/>
                  <a:gd name="T15" fmla="*/ 2147483647 h 160"/>
                  <a:gd name="T16" fmla="*/ 2147483647 w 79"/>
                  <a:gd name="T17" fmla="*/ 1373282194 h 160"/>
                  <a:gd name="T18" fmla="*/ 2147483647 w 79"/>
                  <a:gd name="T19" fmla="*/ 686774209 h 160"/>
                  <a:gd name="T20" fmla="*/ 2147483647 w 79"/>
                  <a:gd name="T21" fmla="*/ 0 h 160"/>
                  <a:gd name="T22" fmla="*/ 2147483647 w 79"/>
                  <a:gd name="T23" fmla="*/ 412064319 h 160"/>
                  <a:gd name="T24" fmla="*/ 2147483647 w 79"/>
                  <a:gd name="T25" fmla="*/ 961483583 h 160"/>
                  <a:gd name="T26" fmla="*/ 2147483647 w 79"/>
                  <a:gd name="T27" fmla="*/ 1373282194 h 160"/>
                  <a:gd name="T28" fmla="*/ 2147483647 w 79"/>
                  <a:gd name="T29" fmla="*/ 1922701458 h 160"/>
                  <a:gd name="T30" fmla="*/ 2147483647 w 79"/>
                  <a:gd name="T31" fmla="*/ 2147483647 h 160"/>
                  <a:gd name="T32" fmla="*/ 2147483647 w 79"/>
                  <a:gd name="T33" fmla="*/ 2147483647 h 160"/>
                  <a:gd name="T34" fmla="*/ 2147483647 w 79"/>
                  <a:gd name="T35" fmla="*/ 2147483647 h 160"/>
                  <a:gd name="T36" fmla="*/ 2147483647 w 79"/>
                  <a:gd name="T37" fmla="*/ 2147483647 h 160"/>
                  <a:gd name="T38" fmla="*/ 2147483647 w 79"/>
                  <a:gd name="T39" fmla="*/ 2147483647 h 160"/>
                  <a:gd name="T40" fmla="*/ 2147483647 w 79"/>
                  <a:gd name="T41" fmla="*/ 2147483647 h 160"/>
                  <a:gd name="T42" fmla="*/ 2147483647 w 79"/>
                  <a:gd name="T43" fmla="*/ 2147483647 h 160"/>
                  <a:gd name="T44" fmla="*/ 2147483647 w 79"/>
                  <a:gd name="T45" fmla="*/ 2147483647 h 160"/>
                  <a:gd name="T46" fmla="*/ 2147483647 w 79"/>
                  <a:gd name="T47" fmla="*/ 2147483647 h 160"/>
                  <a:gd name="T48" fmla="*/ 2147483647 w 79"/>
                  <a:gd name="T49" fmla="*/ 2147483647 h 160"/>
                  <a:gd name="T50" fmla="*/ 2147483647 w 79"/>
                  <a:gd name="T51" fmla="*/ 2147483647 h 160"/>
                  <a:gd name="T52" fmla="*/ 2147483647 w 79"/>
                  <a:gd name="T53" fmla="*/ 2147483647 h 160"/>
                  <a:gd name="T54" fmla="*/ 2147483647 w 79"/>
                  <a:gd name="T55" fmla="*/ 2147483647 h 160"/>
                  <a:gd name="T56" fmla="*/ 2147483647 w 79"/>
                  <a:gd name="T57" fmla="*/ 2147483647 h 160"/>
                  <a:gd name="T58" fmla="*/ 2147483647 w 79"/>
                  <a:gd name="T59" fmla="*/ 2147483647 h 160"/>
                  <a:gd name="T60" fmla="*/ 2104240544 w 79"/>
                  <a:gd name="T61" fmla="*/ 2147483647 h 160"/>
                  <a:gd name="T62" fmla="*/ 1653331856 w 79"/>
                  <a:gd name="T63" fmla="*/ 2147483647 h 160"/>
                  <a:gd name="T64" fmla="*/ 1352726064 w 79"/>
                  <a:gd name="T65" fmla="*/ 2147483647 h 160"/>
                  <a:gd name="T66" fmla="*/ 1127271720 w 79"/>
                  <a:gd name="T67" fmla="*/ 2147483647 h 160"/>
                  <a:gd name="T68" fmla="*/ 826665928 w 79"/>
                  <a:gd name="T69" fmla="*/ 2147483647 h 160"/>
                  <a:gd name="T70" fmla="*/ 601211584 w 79"/>
                  <a:gd name="T71" fmla="*/ 2147483647 h 160"/>
                  <a:gd name="T72" fmla="*/ 300605792 w 79"/>
                  <a:gd name="T73" fmla="*/ 2147483647 h 160"/>
                  <a:gd name="T74" fmla="*/ 75151448 w 79"/>
                  <a:gd name="T75" fmla="*/ 2147483647 h 160"/>
                  <a:gd name="T76" fmla="*/ 0 w 79"/>
                  <a:gd name="T77" fmla="*/ 2147483647 h 160"/>
                  <a:gd name="T78" fmla="*/ 0 w 79"/>
                  <a:gd name="T79" fmla="*/ 2147483647 h 16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79" h="160">
                    <a:moveTo>
                      <a:pt x="0" y="37"/>
                    </a:moveTo>
                    <a:lnTo>
                      <a:pt x="6" y="37"/>
                    </a:lnTo>
                    <a:lnTo>
                      <a:pt x="11" y="36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6" y="28"/>
                    </a:lnTo>
                    <a:lnTo>
                      <a:pt x="31" y="22"/>
                    </a:lnTo>
                    <a:lnTo>
                      <a:pt x="37" y="16"/>
                    </a:lnTo>
                    <a:lnTo>
                      <a:pt x="41" y="10"/>
                    </a:lnTo>
                    <a:lnTo>
                      <a:pt x="46" y="5"/>
                    </a:lnTo>
                    <a:lnTo>
                      <a:pt x="53" y="0"/>
                    </a:lnTo>
                    <a:lnTo>
                      <a:pt x="57" y="3"/>
                    </a:lnTo>
                    <a:lnTo>
                      <a:pt x="62" y="7"/>
                    </a:lnTo>
                    <a:lnTo>
                      <a:pt x="64" y="10"/>
                    </a:lnTo>
                    <a:lnTo>
                      <a:pt x="66" y="14"/>
                    </a:lnTo>
                    <a:lnTo>
                      <a:pt x="69" y="22"/>
                    </a:lnTo>
                    <a:lnTo>
                      <a:pt x="72" y="32"/>
                    </a:lnTo>
                    <a:lnTo>
                      <a:pt x="73" y="40"/>
                    </a:lnTo>
                    <a:lnTo>
                      <a:pt x="74" y="49"/>
                    </a:lnTo>
                    <a:lnTo>
                      <a:pt x="76" y="58"/>
                    </a:lnTo>
                    <a:lnTo>
                      <a:pt x="79" y="67"/>
                    </a:lnTo>
                    <a:lnTo>
                      <a:pt x="79" y="98"/>
                    </a:lnTo>
                    <a:lnTo>
                      <a:pt x="68" y="115"/>
                    </a:lnTo>
                    <a:lnTo>
                      <a:pt x="59" y="129"/>
                    </a:lnTo>
                    <a:lnTo>
                      <a:pt x="53" y="136"/>
                    </a:lnTo>
                    <a:lnTo>
                      <a:pt x="50" y="144"/>
                    </a:lnTo>
                    <a:lnTo>
                      <a:pt x="48" y="151"/>
                    </a:lnTo>
                    <a:lnTo>
                      <a:pt x="46" y="160"/>
                    </a:lnTo>
                    <a:lnTo>
                      <a:pt x="40" y="155"/>
                    </a:lnTo>
                    <a:lnTo>
                      <a:pt x="33" y="150"/>
                    </a:lnTo>
                    <a:lnTo>
                      <a:pt x="28" y="144"/>
                    </a:lnTo>
                    <a:lnTo>
                      <a:pt x="22" y="137"/>
                    </a:lnTo>
                    <a:lnTo>
                      <a:pt x="18" y="130"/>
                    </a:lnTo>
                    <a:lnTo>
                      <a:pt x="15" y="123"/>
                    </a:lnTo>
                    <a:lnTo>
                      <a:pt x="11" y="115"/>
                    </a:lnTo>
                    <a:lnTo>
                      <a:pt x="8" y="108"/>
                    </a:lnTo>
                    <a:lnTo>
                      <a:pt x="4" y="91"/>
                    </a:lnTo>
                    <a:lnTo>
                      <a:pt x="1" y="73"/>
                    </a:lnTo>
                    <a:lnTo>
                      <a:pt x="0" y="55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14" name="Group 19"/>
              <p:cNvGrpSpPr>
                <a:grpSpLocks/>
              </p:cNvGrpSpPr>
              <p:nvPr>
                <p:custDataLst>
                  <p:tags r:id="rId10"/>
                </p:custDataLst>
              </p:nvPr>
            </p:nvGrpSpPr>
            <p:grpSpPr bwMode="auto">
              <a:xfrm>
                <a:off x="12509768" y="3890535"/>
                <a:ext cx="473075" cy="212725"/>
                <a:chOff x="4488" y="2394"/>
                <a:chExt cx="358" cy="124"/>
              </a:xfrm>
            </p:grpSpPr>
            <p:sp>
              <p:nvSpPr>
                <p:cNvPr id="408" name="Freeform 20"/>
                <p:cNvSpPr>
                  <a:spLocks/>
                </p:cNvSpPr>
                <p:nvPr/>
              </p:nvSpPr>
              <p:spPr bwMode="auto">
                <a:xfrm>
                  <a:off x="4675" y="2394"/>
                  <a:ext cx="171" cy="124"/>
                </a:xfrm>
                <a:custGeom>
                  <a:avLst/>
                  <a:gdLst>
                    <a:gd name="T0" fmla="*/ 16 w 512"/>
                    <a:gd name="T1" fmla="*/ 5 h 408"/>
                    <a:gd name="T2" fmla="*/ 14 w 512"/>
                    <a:gd name="T3" fmla="*/ 5 h 408"/>
                    <a:gd name="T4" fmla="*/ 14 w 512"/>
                    <a:gd name="T5" fmla="*/ 6 h 408"/>
                    <a:gd name="T6" fmla="*/ 13 w 512"/>
                    <a:gd name="T7" fmla="*/ 6 h 408"/>
                    <a:gd name="T8" fmla="*/ 13 w 512"/>
                    <a:gd name="T9" fmla="*/ 7 h 408"/>
                    <a:gd name="T10" fmla="*/ 12 w 512"/>
                    <a:gd name="T11" fmla="*/ 9 h 408"/>
                    <a:gd name="T12" fmla="*/ 11 w 512"/>
                    <a:gd name="T13" fmla="*/ 9 h 408"/>
                    <a:gd name="T14" fmla="*/ 11 w 512"/>
                    <a:gd name="T15" fmla="*/ 10 h 408"/>
                    <a:gd name="T16" fmla="*/ 10 w 512"/>
                    <a:gd name="T17" fmla="*/ 10 h 408"/>
                    <a:gd name="T18" fmla="*/ 10 w 512"/>
                    <a:gd name="T19" fmla="*/ 10 h 408"/>
                    <a:gd name="T20" fmla="*/ 9 w 512"/>
                    <a:gd name="T21" fmla="*/ 11 h 408"/>
                    <a:gd name="T22" fmla="*/ 8 w 512"/>
                    <a:gd name="T23" fmla="*/ 10 h 408"/>
                    <a:gd name="T24" fmla="*/ 7 w 512"/>
                    <a:gd name="T25" fmla="*/ 10 h 408"/>
                    <a:gd name="T26" fmla="*/ 6 w 512"/>
                    <a:gd name="T27" fmla="*/ 10 h 408"/>
                    <a:gd name="T28" fmla="*/ 5 w 512"/>
                    <a:gd name="T29" fmla="*/ 11 h 408"/>
                    <a:gd name="T30" fmla="*/ 4 w 512"/>
                    <a:gd name="T31" fmla="*/ 11 h 408"/>
                    <a:gd name="T32" fmla="*/ 2 w 512"/>
                    <a:gd name="T33" fmla="*/ 12 h 408"/>
                    <a:gd name="T34" fmla="*/ 2 w 512"/>
                    <a:gd name="T35" fmla="*/ 11 h 408"/>
                    <a:gd name="T36" fmla="*/ 1 w 512"/>
                    <a:gd name="T37" fmla="*/ 10 h 408"/>
                    <a:gd name="T38" fmla="*/ 0 w 512"/>
                    <a:gd name="T39" fmla="*/ 10 h 408"/>
                    <a:gd name="T40" fmla="*/ 0 w 512"/>
                    <a:gd name="T41" fmla="*/ 9 h 408"/>
                    <a:gd name="T42" fmla="*/ 1 w 512"/>
                    <a:gd name="T43" fmla="*/ 10 h 408"/>
                    <a:gd name="T44" fmla="*/ 2 w 512"/>
                    <a:gd name="T45" fmla="*/ 9 h 408"/>
                    <a:gd name="T46" fmla="*/ 2 w 512"/>
                    <a:gd name="T47" fmla="*/ 9 h 408"/>
                    <a:gd name="T48" fmla="*/ 3 w 512"/>
                    <a:gd name="T49" fmla="*/ 9 h 408"/>
                    <a:gd name="T50" fmla="*/ 3 w 512"/>
                    <a:gd name="T51" fmla="*/ 8 h 408"/>
                    <a:gd name="T52" fmla="*/ 3 w 512"/>
                    <a:gd name="T53" fmla="*/ 8 h 408"/>
                    <a:gd name="T54" fmla="*/ 4 w 512"/>
                    <a:gd name="T55" fmla="*/ 7 h 408"/>
                    <a:gd name="T56" fmla="*/ 5 w 512"/>
                    <a:gd name="T57" fmla="*/ 7 h 408"/>
                    <a:gd name="T58" fmla="*/ 6 w 512"/>
                    <a:gd name="T59" fmla="*/ 7 h 408"/>
                    <a:gd name="T60" fmla="*/ 7 w 512"/>
                    <a:gd name="T61" fmla="*/ 6 h 408"/>
                    <a:gd name="T62" fmla="*/ 8 w 512"/>
                    <a:gd name="T63" fmla="*/ 6 h 408"/>
                    <a:gd name="T64" fmla="*/ 8 w 512"/>
                    <a:gd name="T65" fmla="*/ 5 h 408"/>
                    <a:gd name="T66" fmla="*/ 8 w 512"/>
                    <a:gd name="T67" fmla="*/ 5 h 408"/>
                    <a:gd name="T68" fmla="*/ 8 w 512"/>
                    <a:gd name="T69" fmla="*/ 4 h 408"/>
                    <a:gd name="T70" fmla="*/ 9 w 512"/>
                    <a:gd name="T71" fmla="*/ 4 h 408"/>
                    <a:gd name="T72" fmla="*/ 9 w 512"/>
                    <a:gd name="T73" fmla="*/ 4 h 408"/>
                    <a:gd name="T74" fmla="*/ 9 w 512"/>
                    <a:gd name="T75" fmla="*/ 4 h 408"/>
                    <a:gd name="T76" fmla="*/ 9 w 512"/>
                    <a:gd name="T77" fmla="*/ 5 h 408"/>
                    <a:gd name="T78" fmla="*/ 9 w 512"/>
                    <a:gd name="T79" fmla="*/ 5 h 408"/>
                    <a:gd name="T80" fmla="*/ 10 w 512"/>
                    <a:gd name="T81" fmla="*/ 6 h 408"/>
                    <a:gd name="T82" fmla="*/ 11 w 512"/>
                    <a:gd name="T83" fmla="*/ 6 h 408"/>
                    <a:gd name="T84" fmla="*/ 12 w 512"/>
                    <a:gd name="T85" fmla="*/ 6 h 408"/>
                    <a:gd name="T86" fmla="*/ 12 w 512"/>
                    <a:gd name="T87" fmla="*/ 5 h 408"/>
                    <a:gd name="T88" fmla="*/ 12 w 512"/>
                    <a:gd name="T89" fmla="*/ 5 h 408"/>
                    <a:gd name="T90" fmla="*/ 11 w 512"/>
                    <a:gd name="T91" fmla="*/ 4 h 408"/>
                    <a:gd name="T92" fmla="*/ 12 w 512"/>
                    <a:gd name="T93" fmla="*/ 3 h 408"/>
                    <a:gd name="T94" fmla="*/ 13 w 512"/>
                    <a:gd name="T95" fmla="*/ 2 h 408"/>
                    <a:gd name="T96" fmla="*/ 14 w 512"/>
                    <a:gd name="T97" fmla="*/ 1 h 408"/>
                    <a:gd name="T98" fmla="*/ 15 w 512"/>
                    <a:gd name="T99" fmla="*/ 0 h 408"/>
                    <a:gd name="T100" fmla="*/ 15 w 512"/>
                    <a:gd name="T101" fmla="*/ 1 h 408"/>
                    <a:gd name="T102" fmla="*/ 15 w 512"/>
                    <a:gd name="T103" fmla="*/ 2 h 408"/>
                    <a:gd name="T104" fmla="*/ 16 w 512"/>
                    <a:gd name="T105" fmla="*/ 2 h 408"/>
                    <a:gd name="T106" fmla="*/ 18 w 512"/>
                    <a:gd name="T107" fmla="*/ 3 h 408"/>
                    <a:gd name="T108" fmla="*/ 19 w 512"/>
                    <a:gd name="T109" fmla="*/ 4 h 408"/>
                    <a:gd name="T110" fmla="*/ 19 w 512"/>
                    <a:gd name="T111" fmla="*/ 4 h 408"/>
                    <a:gd name="T112" fmla="*/ 18 w 512"/>
                    <a:gd name="T113" fmla="*/ 4 h 408"/>
                    <a:gd name="T114" fmla="*/ 17 w 512"/>
                    <a:gd name="T115" fmla="*/ 5 h 40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0" t="0" r="r" b="b"/>
                  <a:pathLst>
                    <a:path w="512" h="408">
                      <a:moveTo>
                        <a:pt x="452" y="204"/>
                      </a:moveTo>
                      <a:lnTo>
                        <a:pt x="442" y="202"/>
                      </a:lnTo>
                      <a:lnTo>
                        <a:pt x="424" y="198"/>
                      </a:lnTo>
                      <a:lnTo>
                        <a:pt x="407" y="194"/>
                      </a:lnTo>
                      <a:lnTo>
                        <a:pt x="392" y="192"/>
                      </a:lnTo>
                      <a:lnTo>
                        <a:pt x="387" y="193"/>
                      </a:lnTo>
                      <a:lnTo>
                        <a:pt x="380" y="195"/>
                      </a:lnTo>
                      <a:lnTo>
                        <a:pt x="374" y="198"/>
                      </a:lnTo>
                      <a:lnTo>
                        <a:pt x="367" y="203"/>
                      </a:lnTo>
                      <a:lnTo>
                        <a:pt x="362" y="207"/>
                      </a:lnTo>
                      <a:lnTo>
                        <a:pt x="356" y="212"/>
                      </a:lnTo>
                      <a:lnTo>
                        <a:pt x="354" y="217"/>
                      </a:lnTo>
                      <a:lnTo>
                        <a:pt x="353" y="222"/>
                      </a:lnTo>
                      <a:lnTo>
                        <a:pt x="351" y="238"/>
                      </a:lnTo>
                      <a:lnTo>
                        <a:pt x="347" y="254"/>
                      </a:lnTo>
                      <a:lnTo>
                        <a:pt x="342" y="271"/>
                      </a:lnTo>
                      <a:lnTo>
                        <a:pt x="335" y="289"/>
                      </a:lnTo>
                      <a:lnTo>
                        <a:pt x="327" y="306"/>
                      </a:lnTo>
                      <a:lnTo>
                        <a:pt x="316" y="321"/>
                      </a:lnTo>
                      <a:lnTo>
                        <a:pt x="310" y="328"/>
                      </a:lnTo>
                      <a:lnTo>
                        <a:pt x="305" y="335"/>
                      </a:lnTo>
                      <a:lnTo>
                        <a:pt x="299" y="341"/>
                      </a:lnTo>
                      <a:lnTo>
                        <a:pt x="293" y="346"/>
                      </a:lnTo>
                      <a:lnTo>
                        <a:pt x="289" y="350"/>
                      </a:lnTo>
                      <a:lnTo>
                        <a:pt x="284" y="354"/>
                      </a:lnTo>
                      <a:lnTo>
                        <a:pt x="277" y="356"/>
                      </a:lnTo>
                      <a:lnTo>
                        <a:pt x="271" y="359"/>
                      </a:lnTo>
                      <a:lnTo>
                        <a:pt x="264" y="362"/>
                      </a:lnTo>
                      <a:lnTo>
                        <a:pt x="258" y="366"/>
                      </a:lnTo>
                      <a:lnTo>
                        <a:pt x="256" y="368"/>
                      </a:lnTo>
                      <a:lnTo>
                        <a:pt x="254" y="370"/>
                      </a:lnTo>
                      <a:lnTo>
                        <a:pt x="253" y="373"/>
                      </a:lnTo>
                      <a:lnTo>
                        <a:pt x="253" y="376"/>
                      </a:lnTo>
                      <a:lnTo>
                        <a:pt x="227" y="376"/>
                      </a:lnTo>
                      <a:lnTo>
                        <a:pt x="221" y="373"/>
                      </a:lnTo>
                      <a:lnTo>
                        <a:pt x="215" y="370"/>
                      </a:lnTo>
                      <a:lnTo>
                        <a:pt x="208" y="369"/>
                      </a:lnTo>
                      <a:lnTo>
                        <a:pt x="200" y="368"/>
                      </a:lnTo>
                      <a:lnTo>
                        <a:pt x="183" y="367"/>
                      </a:lnTo>
                      <a:lnTo>
                        <a:pt x="160" y="364"/>
                      </a:lnTo>
                      <a:lnTo>
                        <a:pt x="157" y="369"/>
                      </a:lnTo>
                      <a:lnTo>
                        <a:pt x="155" y="373"/>
                      </a:lnTo>
                      <a:lnTo>
                        <a:pt x="152" y="377"/>
                      </a:lnTo>
                      <a:lnTo>
                        <a:pt x="148" y="381"/>
                      </a:lnTo>
                      <a:lnTo>
                        <a:pt x="138" y="388"/>
                      </a:lnTo>
                      <a:lnTo>
                        <a:pt x="126" y="396"/>
                      </a:lnTo>
                      <a:lnTo>
                        <a:pt x="111" y="401"/>
                      </a:lnTo>
                      <a:lnTo>
                        <a:pt x="97" y="405"/>
                      </a:lnTo>
                      <a:lnTo>
                        <a:pt x="82" y="407"/>
                      </a:lnTo>
                      <a:lnTo>
                        <a:pt x="66" y="408"/>
                      </a:lnTo>
                      <a:lnTo>
                        <a:pt x="62" y="407"/>
                      </a:lnTo>
                      <a:lnTo>
                        <a:pt x="56" y="406"/>
                      </a:lnTo>
                      <a:lnTo>
                        <a:pt x="51" y="403"/>
                      </a:lnTo>
                      <a:lnTo>
                        <a:pt x="45" y="400"/>
                      </a:lnTo>
                      <a:lnTo>
                        <a:pt x="34" y="390"/>
                      </a:lnTo>
                      <a:lnTo>
                        <a:pt x="24" y="379"/>
                      </a:lnTo>
                      <a:lnTo>
                        <a:pt x="15" y="368"/>
                      </a:lnTo>
                      <a:lnTo>
                        <a:pt x="7" y="356"/>
                      </a:lnTo>
                      <a:lnTo>
                        <a:pt x="4" y="350"/>
                      </a:lnTo>
                      <a:lnTo>
                        <a:pt x="2" y="344"/>
                      </a:lnTo>
                      <a:lnTo>
                        <a:pt x="0" y="338"/>
                      </a:lnTo>
                      <a:lnTo>
                        <a:pt x="0" y="333"/>
                      </a:lnTo>
                      <a:lnTo>
                        <a:pt x="8" y="335"/>
                      </a:lnTo>
                      <a:lnTo>
                        <a:pt x="19" y="340"/>
                      </a:lnTo>
                      <a:lnTo>
                        <a:pt x="27" y="342"/>
                      </a:lnTo>
                      <a:lnTo>
                        <a:pt x="34" y="344"/>
                      </a:lnTo>
                      <a:lnTo>
                        <a:pt x="43" y="346"/>
                      </a:lnTo>
                      <a:lnTo>
                        <a:pt x="53" y="346"/>
                      </a:lnTo>
                      <a:lnTo>
                        <a:pt x="53" y="336"/>
                      </a:lnTo>
                      <a:lnTo>
                        <a:pt x="54" y="328"/>
                      </a:lnTo>
                      <a:lnTo>
                        <a:pt x="54" y="321"/>
                      </a:lnTo>
                      <a:lnTo>
                        <a:pt x="56" y="314"/>
                      </a:lnTo>
                      <a:lnTo>
                        <a:pt x="60" y="308"/>
                      </a:lnTo>
                      <a:lnTo>
                        <a:pt x="64" y="303"/>
                      </a:lnTo>
                      <a:lnTo>
                        <a:pt x="71" y="300"/>
                      </a:lnTo>
                      <a:lnTo>
                        <a:pt x="80" y="297"/>
                      </a:lnTo>
                      <a:lnTo>
                        <a:pt x="81" y="291"/>
                      </a:lnTo>
                      <a:lnTo>
                        <a:pt x="82" y="286"/>
                      </a:lnTo>
                      <a:lnTo>
                        <a:pt x="84" y="281"/>
                      </a:lnTo>
                      <a:lnTo>
                        <a:pt x="86" y="276"/>
                      </a:lnTo>
                      <a:lnTo>
                        <a:pt x="89" y="272"/>
                      </a:lnTo>
                      <a:lnTo>
                        <a:pt x="93" y="268"/>
                      </a:lnTo>
                      <a:lnTo>
                        <a:pt x="97" y="265"/>
                      </a:lnTo>
                      <a:lnTo>
                        <a:pt x="101" y="262"/>
                      </a:lnTo>
                      <a:lnTo>
                        <a:pt x="112" y="256"/>
                      </a:lnTo>
                      <a:lnTo>
                        <a:pt x="125" y="251"/>
                      </a:lnTo>
                      <a:lnTo>
                        <a:pt x="137" y="246"/>
                      </a:lnTo>
                      <a:lnTo>
                        <a:pt x="150" y="241"/>
                      </a:lnTo>
                      <a:lnTo>
                        <a:pt x="163" y="237"/>
                      </a:lnTo>
                      <a:lnTo>
                        <a:pt x="175" y="232"/>
                      </a:lnTo>
                      <a:lnTo>
                        <a:pt x="187" y="226"/>
                      </a:lnTo>
                      <a:lnTo>
                        <a:pt x="198" y="220"/>
                      </a:lnTo>
                      <a:lnTo>
                        <a:pt x="202" y="217"/>
                      </a:lnTo>
                      <a:lnTo>
                        <a:pt x="207" y="213"/>
                      </a:lnTo>
                      <a:lnTo>
                        <a:pt x="210" y="210"/>
                      </a:lnTo>
                      <a:lnTo>
                        <a:pt x="213" y="205"/>
                      </a:lnTo>
                      <a:lnTo>
                        <a:pt x="216" y="201"/>
                      </a:lnTo>
                      <a:lnTo>
                        <a:pt x="218" y="196"/>
                      </a:lnTo>
                      <a:lnTo>
                        <a:pt x="219" y="191"/>
                      </a:lnTo>
                      <a:lnTo>
                        <a:pt x="219" y="186"/>
                      </a:lnTo>
                      <a:lnTo>
                        <a:pt x="221" y="175"/>
                      </a:lnTo>
                      <a:lnTo>
                        <a:pt x="227" y="161"/>
                      </a:lnTo>
                      <a:lnTo>
                        <a:pt x="231" y="150"/>
                      </a:lnTo>
                      <a:lnTo>
                        <a:pt x="233" y="143"/>
                      </a:lnTo>
                      <a:lnTo>
                        <a:pt x="229" y="149"/>
                      </a:lnTo>
                      <a:lnTo>
                        <a:pt x="228" y="153"/>
                      </a:lnTo>
                      <a:lnTo>
                        <a:pt x="229" y="153"/>
                      </a:lnTo>
                      <a:lnTo>
                        <a:pt x="231" y="152"/>
                      </a:lnTo>
                      <a:lnTo>
                        <a:pt x="237" y="146"/>
                      </a:lnTo>
                      <a:lnTo>
                        <a:pt x="240" y="143"/>
                      </a:lnTo>
                      <a:lnTo>
                        <a:pt x="239" y="143"/>
                      </a:lnTo>
                      <a:lnTo>
                        <a:pt x="238" y="146"/>
                      </a:lnTo>
                      <a:lnTo>
                        <a:pt x="237" y="150"/>
                      </a:lnTo>
                      <a:lnTo>
                        <a:pt x="237" y="155"/>
                      </a:lnTo>
                      <a:lnTo>
                        <a:pt x="238" y="160"/>
                      </a:lnTo>
                      <a:lnTo>
                        <a:pt x="239" y="166"/>
                      </a:lnTo>
                      <a:lnTo>
                        <a:pt x="240" y="174"/>
                      </a:lnTo>
                      <a:lnTo>
                        <a:pt x="243" y="181"/>
                      </a:lnTo>
                      <a:lnTo>
                        <a:pt x="246" y="187"/>
                      </a:lnTo>
                      <a:lnTo>
                        <a:pt x="251" y="193"/>
                      </a:lnTo>
                      <a:lnTo>
                        <a:pt x="256" y="198"/>
                      </a:lnTo>
                      <a:lnTo>
                        <a:pt x="264" y="202"/>
                      </a:lnTo>
                      <a:lnTo>
                        <a:pt x="272" y="205"/>
                      </a:lnTo>
                      <a:lnTo>
                        <a:pt x="282" y="207"/>
                      </a:lnTo>
                      <a:lnTo>
                        <a:pt x="293" y="206"/>
                      </a:lnTo>
                      <a:lnTo>
                        <a:pt x="306" y="204"/>
                      </a:lnTo>
                      <a:lnTo>
                        <a:pt x="311" y="206"/>
                      </a:lnTo>
                      <a:lnTo>
                        <a:pt x="317" y="206"/>
                      </a:lnTo>
                      <a:lnTo>
                        <a:pt x="320" y="205"/>
                      </a:lnTo>
                      <a:lnTo>
                        <a:pt x="323" y="204"/>
                      </a:lnTo>
                      <a:lnTo>
                        <a:pt x="325" y="201"/>
                      </a:lnTo>
                      <a:lnTo>
                        <a:pt x="327" y="198"/>
                      </a:lnTo>
                      <a:lnTo>
                        <a:pt x="328" y="193"/>
                      </a:lnTo>
                      <a:lnTo>
                        <a:pt x="328" y="188"/>
                      </a:lnTo>
                      <a:lnTo>
                        <a:pt x="324" y="176"/>
                      </a:lnTo>
                      <a:lnTo>
                        <a:pt x="319" y="161"/>
                      </a:lnTo>
                      <a:lnTo>
                        <a:pt x="310" y="146"/>
                      </a:lnTo>
                      <a:lnTo>
                        <a:pt x="299" y="130"/>
                      </a:lnTo>
                      <a:lnTo>
                        <a:pt x="307" y="124"/>
                      </a:lnTo>
                      <a:lnTo>
                        <a:pt x="312" y="118"/>
                      </a:lnTo>
                      <a:lnTo>
                        <a:pt x="319" y="109"/>
                      </a:lnTo>
                      <a:lnTo>
                        <a:pt x="324" y="101"/>
                      </a:lnTo>
                      <a:lnTo>
                        <a:pt x="334" y="84"/>
                      </a:lnTo>
                      <a:lnTo>
                        <a:pt x="344" y="66"/>
                      </a:lnTo>
                      <a:lnTo>
                        <a:pt x="354" y="47"/>
                      </a:lnTo>
                      <a:lnTo>
                        <a:pt x="366" y="30"/>
                      </a:lnTo>
                      <a:lnTo>
                        <a:pt x="374" y="22"/>
                      </a:lnTo>
                      <a:lnTo>
                        <a:pt x="381" y="14"/>
                      </a:lnTo>
                      <a:lnTo>
                        <a:pt x="389" y="7"/>
                      </a:lnTo>
                      <a:lnTo>
                        <a:pt x="399" y="0"/>
                      </a:lnTo>
                      <a:lnTo>
                        <a:pt x="399" y="9"/>
                      </a:lnTo>
                      <a:lnTo>
                        <a:pt x="400" y="16"/>
                      </a:lnTo>
                      <a:lnTo>
                        <a:pt x="401" y="23"/>
                      </a:lnTo>
                      <a:lnTo>
                        <a:pt x="403" y="29"/>
                      </a:lnTo>
                      <a:lnTo>
                        <a:pt x="408" y="41"/>
                      </a:lnTo>
                      <a:lnTo>
                        <a:pt x="413" y="50"/>
                      </a:lnTo>
                      <a:lnTo>
                        <a:pt x="421" y="59"/>
                      </a:lnTo>
                      <a:lnTo>
                        <a:pt x="430" y="68"/>
                      </a:lnTo>
                      <a:lnTo>
                        <a:pt x="439" y="75"/>
                      </a:lnTo>
                      <a:lnTo>
                        <a:pt x="447" y="81"/>
                      </a:lnTo>
                      <a:lnTo>
                        <a:pt x="467" y="93"/>
                      </a:lnTo>
                      <a:lnTo>
                        <a:pt x="486" y="106"/>
                      </a:lnTo>
                      <a:lnTo>
                        <a:pt x="493" y="113"/>
                      </a:lnTo>
                      <a:lnTo>
                        <a:pt x="501" y="123"/>
                      </a:lnTo>
                      <a:lnTo>
                        <a:pt x="508" y="132"/>
                      </a:lnTo>
                      <a:lnTo>
                        <a:pt x="512" y="143"/>
                      </a:lnTo>
                      <a:lnTo>
                        <a:pt x="504" y="146"/>
                      </a:lnTo>
                      <a:lnTo>
                        <a:pt x="499" y="149"/>
                      </a:lnTo>
                      <a:lnTo>
                        <a:pt x="493" y="150"/>
                      </a:lnTo>
                      <a:lnTo>
                        <a:pt x="489" y="151"/>
                      </a:lnTo>
                      <a:lnTo>
                        <a:pt x="478" y="152"/>
                      </a:lnTo>
                      <a:lnTo>
                        <a:pt x="465" y="155"/>
                      </a:lnTo>
                      <a:lnTo>
                        <a:pt x="463" y="166"/>
                      </a:lnTo>
                      <a:lnTo>
                        <a:pt x="458" y="180"/>
                      </a:lnTo>
                      <a:lnTo>
                        <a:pt x="454" y="193"/>
                      </a:lnTo>
                      <a:lnTo>
                        <a:pt x="452" y="20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9" name="Freeform 21"/>
                <p:cNvSpPr>
                  <a:spLocks/>
                </p:cNvSpPr>
                <p:nvPr/>
              </p:nvSpPr>
              <p:spPr bwMode="auto">
                <a:xfrm>
                  <a:off x="4488" y="2420"/>
                  <a:ext cx="77" cy="89"/>
                </a:xfrm>
                <a:custGeom>
                  <a:avLst/>
                  <a:gdLst>
                    <a:gd name="T0" fmla="*/ 6 w 232"/>
                    <a:gd name="T1" fmla="*/ 1 h 289"/>
                    <a:gd name="T2" fmla="*/ 6 w 232"/>
                    <a:gd name="T3" fmla="*/ 2 h 289"/>
                    <a:gd name="T4" fmla="*/ 6 w 232"/>
                    <a:gd name="T5" fmla="*/ 2 h 289"/>
                    <a:gd name="T6" fmla="*/ 7 w 232"/>
                    <a:gd name="T7" fmla="*/ 2 h 289"/>
                    <a:gd name="T8" fmla="*/ 7 w 232"/>
                    <a:gd name="T9" fmla="*/ 5 h 289"/>
                    <a:gd name="T10" fmla="*/ 7 w 232"/>
                    <a:gd name="T11" fmla="*/ 6 h 289"/>
                    <a:gd name="T12" fmla="*/ 7 w 232"/>
                    <a:gd name="T13" fmla="*/ 6 h 289"/>
                    <a:gd name="T14" fmla="*/ 7 w 232"/>
                    <a:gd name="T15" fmla="*/ 6 h 289"/>
                    <a:gd name="T16" fmla="*/ 9 w 232"/>
                    <a:gd name="T17" fmla="*/ 7 h 289"/>
                    <a:gd name="T18" fmla="*/ 8 w 232"/>
                    <a:gd name="T19" fmla="*/ 8 h 289"/>
                    <a:gd name="T20" fmla="*/ 7 w 232"/>
                    <a:gd name="T21" fmla="*/ 8 h 289"/>
                    <a:gd name="T22" fmla="*/ 6 w 232"/>
                    <a:gd name="T23" fmla="*/ 8 h 289"/>
                    <a:gd name="T24" fmla="*/ 4 w 232"/>
                    <a:gd name="T25" fmla="*/ 7 h 289"/>
                    <a:gd name="T26" fmla="*/ 3 w 232"/>
                    <a:gd name="T27" fmla="*/ 6 h 289"/>
                    <a:gd name="T28" fmla="*/ 2 w 232"/>
                    <a:gd name="T29" fmla="*/ 5 h 289"/>
                    <a:gd name="T30" fmla="*/ 1 w 232"/>
                    <a:gd name="T31" fmla="*/ 4 h 289"/>
                    <a:gd name="T32" fmla="*/ 0 w 232"/>
                    <a:gd name="T33" fmla="*/ 4 h 289"/>
                    <a:gd name="T34" fmla="*/ 0 w 232"/>
                    <a:gd name="T35" fmla="*/ 3 h 289"/>
                    <a:gd name="T36" fmla="*/ 0 w 232"/>
                    <a:gd name="T37" fmla="*/ 3 h 289"/>
                    <a:gd name="T38" fmla="*/ 0 w 232"/>
                    <a:gd name="T39" fmla="*/ 3 h 289"/>
                    <a:gd name="T40" fmla="*/ 0 w 232"/>
                    <a:gd name="T41" fmla="*/ 3 h 289"/>
                    <a:gd name="T42" fmla="*/ 0 w 232"/>
                    <a:gd name="T43" fmla="*/ 2 h 289"/>
                    <a:gd name="T44" fmla="*/ 0 w 232"/>
                    <a:gd name="T45" fmla="*/ 2 h 289"/>
                    <a:gd name="T46" fmla="*/ 0 w 232"/>
                    <a:gd name="T47" fmla="*/ 1 h 289"/>
                    <a:gd name="T48" fmla="*/ 0 w 232"/>
                    <a:gd name="T49" fmla="*/ 0 h 289"/>
                    <a:gd name="T50" fmla="*/ 1 w 232"/>
                    <a:gd name="T51" fmla="*/ 0 h 289"/>
                    <a:gd name="T52" fmla="*/ 2 w 232"/>
                    <a:gd name="T53" fmla="*/ 0 h 289"/>
                    <a:gd name="T54" fmla="*/ 2 w 232"/>
                    <a:gd name="T55" fmla="*/ 1 h 289"/>
                    <a:gd name="T56" fmla="*/ 3 w 232"/>
                    <a:gd name="T57" fmla="*/ 1 h 289"/>
                    <a:gd name="T58" fmla="*/ 3 w 232"/>
                    <a:gd name="T59" fmla="*/ 1 h 289"/>
                    <a:gd name="T60" fmla="*/ 3 w 232"/>
                    <a:gd name="T61" fmla="*/ 1 h 289"/>
                    <a:gd name="T62" fmla="*/ 4 w 232"/>
                    <a:gd name="T63" fmla="*/ 1 h 289"/>
                    <a:gd name="T64" fmla="*/ 4 w 232"/>
                    <a:gd name="T65" fmla="*/ 1 h 289"/>
                    <a:gd name="T66" fmla="*/ 5 w 232"/>
                    <a:gd name="T67" fmla="*/ 0 h 28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232" h="289">
                      <a:moveTo>
                        <a:pt x="140" y="6"/>
                      </a:moveTo>
                      <a:lnTo>
                        <a:pt x="151" y="24"/>
                      </a:lnTo>
                      <a:lnTo>
                        <a:pt x="159" y="41"/>
                      </a:lnTo>
                      <a:lnTo>
                        <a:pt x="165" y="48"/>
                      </a:lnTo>
                      <a:lnTo>
                        <a:pt x="170" y="54"/>
                      </a:lnTo>
                      <a:lnTo>
                        <a:pt x="174" y="56"/>
                      </a:lnTo>
                      <a:lnTo>
                        <a:pt x="177" y="59"/>
                      </a:lnTo>
                      <a:lnTo>
                        <a:pt x="181" y="60"/>
                      </a:lnTo>
                      <a:lnTo>
                        <a:pt x="186" y="62"/>
                      </a:lnTo>
                      <a:lnTo>
                        <a:pt x="186" y="166"/>
                      </a:lnTo>
                      <a:lnTo>
                        <a:pt x="187" y="183"/>
                      </a:lnTo>
                      <a:lnTo>
                        <a:pt x="189" y="196"/>
                      </a:lnTo>
                      <a:lnTo>
                        <a:pt x="191" y="202"/>
                      </a:lnTo>
                      <a:lnTo>
                        <a:pt x="193" y="207"/>
                      </a:lnTo>
                      <a:lnTo>
                        <a:pt x="196" y="212"/>
                      </a:lnTo>
                      <a:lnTo>
                        <a:pt x="199" y="216"/>
                      </a:lnTo>
                      <a:lnTo>
                        <a:pt x="213" y="230"/>
                      </a:lnTo>
                      <a:lnTo>
                        <a:pt x="232" y="246"/>
                      </a:lnTo>
                      <a:lnTo>
                        <a:pt x="232" y="289"/>
                      </a:lnTo>
                      <a:lnTo>
                        <a:pt x="219" y="288"/>
                      </a:lnTo>
                      <a:lnTo>
                        <a:pt x="202" y="286"/>
                      </a:lnTo>
                      <a:lnTo>
                        <a:pt x="186" y="282"/>
                      </a:lnTo>
                      <a:lnTo>
                        <a:pt x="172" y="277"/>
                      </a:lnTo>
                      <a:lnTo>
                        <a:pt x="151" y="264"/>
                      </a:lnTo>
                      <a:lnTo>
                        <a:pt x="131" y="249"/>
                      </a:lnTo>
                      <a:lnTo>
                        <a:pt x="113" y="235"/>
                      </a:lnTo>
                      <a:lnTo>
                        <a:pt x="97" y="221"/>
                      </a:lnTo>
                      <a:lnTo>
                        <a:pt x="81" y="207"/>
                      </a:lnTo>
                      <a:lnTo>
                        <a:pt x="68" y="191"/>
                      </a:lnTo>
                      <a:lnTo>
                        <a:pt x="56" y="176"/>
                      </a:lnTo>
                      <a:lnTo>
                        <a:pt x="46" y="160"/>
                      </a:lnTo>
                      <a:lnTo>
                        <a:pt x="31" y="145"/>
                      </a:lnTo>
                      <a:lnTo>
                        <a:pt x="15" y="132"/>
                      </a:lnTo>
                      <a:lnTo>
                        <a:pt x="9" y="126"/>
                      </a:lnTo>
                      <a:lnTo>
                        <a:pt x="4" y="120"/>
                      </a:lnTo>
                      <a:lnTo>
                        <a:pt x="2" y="117"/>
                      </a:lnTo>
                      <a:lnTo>
                        <a:pt x="1" y="113"/>
                      </a:lnTo>
                      <a:lnTo>
                        <a:pt x="0" y="109"/>
                      </a:lnTo>
                      <a:lnTo>
                        <a:pt x="0" y="105"/>
                      </a:lnTo>
                      <a:lnTo>
                        <a:pt x="0" y="100"/>
                      </a:lnTo>
                      <a:lnTo>
                        <a:pt x="1" y="96"/>
                      </a:lnTo>
                      <a:lnTo>
                        <a:pt x="3" y="92"/>
                      </a:lnTo>
                      <a:lnTo>
                        <a:pt x="7" y="88"/>
                      </a:lnTo>
                      <a:lnTo>
                        <a:pt x="11" y="79"/>
                      </a:lnTo>
                      <a:lnTo>
                        <a:pt x="13" y="74"/>
                      </a:lnTo>
                      <a:lnTo>
                        <a:pt x="12" y="52"/>
                      </a:lnTo>
                      <a:lnTo>
                        <a:pt x="10" y="33"/>
                      </a:lnTo>
                      <a:lnTo>
                        <a:pt x="7" y="15"/>
                      </a:lnTo>
                      <a:lnTo>
                        <a:pt x="7" y="0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3"/>
                      </a:lnTo>
                      <a:lnTo>
                        <a:pt x="32" y="5"/>
                      </a:lnTo>
                      <a:lnTo>
                        <a:pt x="42" y="10"/>
                      </a:lnTo>
                      <a:lnTo>
                        <a:pt x="51" y="15"/>
                      </a:lnTo>
                      <a:lnTo>
                        <a:pt x="59" y="21"/>
                      </a:lnTo>
                      <a:lnTo>
                        <a:pt x="68" y="26"/>
                      </a:lnTo>
                      <a:lnTo>
                        <a:pt x="73" y="28"/>
                      </a:lnTo>
                      <a:lnTo>
                        <a:pt x="77" y="29"/>
                      </a:lnTo>
                      <a:lnTo>
                        <a:pt x="81" y="31"/>
                      </a:lnTo>
                      <a:lnTo>
                        <a:pt x="86" y="31"/>
                      </a:lnTo>
                      <a:lnTo>
                        <a:pt x="91" y="31"/>
                      </a:lnTo>
                      <a:lnTo>
                        <a:pt x="98" y="28"/>
                      </a:lnTo>
                      <a:lnTo>
                        <a:pt x="105" y="26"/>
                      </a:lnTo>
                      <a:lnTo>
                        <a:pt x="112" y="23"/>
                      </a:lnTo>
                      <a:lnTo>
                        <a:pt x="120" y="19"/>
                      </a:lnTo>
                      <a:lnTo>
                        <a:pt x="127" y="15"/>
                      </a:lnTo>
                      <a:lnTo>
                        <a:pt x="133" y="11"/>
                      </a:lnTo>
                      <a:lnTo>
                        <a:pt x="140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15" name="Freeform 22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531743" y="1766460"/>
                <a:ext cx="3065462" cy="1074737"/>
              </a:xfrm>
              <a:custGeom>
                <a:avLst/>
                <a:gdLst>
                  <a:gd name="T0" fmla="*/ 2147483647 w 7049"/>
                  <a:gd name="T1" fmla="*/ 2147483647 h 2048"/>
                  <a:gd name="T2" fmla="*/ 2147483647 w 7049"/>
                  <a:gd name="T3" fmla="*/ 2147483647 h 2048"/>
                  <a:gd name="T4" fmla="*/ 2147483647 w 7049"/>
                  <a:gd name="T5" fmla="*/ 2147483647 h 2048"/>
                  <a:gd name="T6" fmla="*/ 2147483647 w 7049"/>
                  <a:gd name="T7" fmla="*/ 2147483647 h 2048"/>
                  <a:gd name="T8" fmla="*/ 2147483647 w 7049"/>
                  <a:gd name="T9" fmla="*/ 2147483647 h 2048"/>
                  <a:gd name="T10" fmla="*/ 2147483647 w 7049"/>
                  <a:gd name="T11" fmla="*/ 2147483647 h 2048"/>
                  <a:gd name="T12" fmla="*/ 2147483647 w 7049"/>
                  <a:gd name="T13" fmla="*/ 2147483647 h 2048"/>
                  <a:gd name="T14" fmla="*/ 2147483647 w 7049"/>
                  <a:gd name="T15" fmla="*/ 2147483647 h 2048"/>
                  <a:gd name="T16" fmla="*/ 2147483647 w 7049"/>
                  <a:gd name="T17" fmla="*/ 2147483647 h 2048"/>
                  <a:gd name="T18" fmla="*/ 2147483647 w 7049"/>
                  <a:gd name="T19" fmla="*/ 2147483647 h 2048"/>
                  <a:gd name="T20" fmla="*/ 2147483647 w 7049"/>
                  <a:gd name="T21" fmla="*/ 2147483647 h 2048"/>
                  <a:gd name="T22" fmla="*/ 2147483647 w 7049"/>
                  <a:gd name="T23" fmla="*/ 2147483647 h 2048"/>
                  <a:gd name="T24" fmla="*/ 2147483647 w 7049"/>
                  <a:gd name="T25" fmla="*/ 2147483647 h 2048"/>
                  <a:gd name="T26" fmla="*/ 2147483647 w 7049"/>
                  <a:gd name="T27" fmla="*/ 2147483647 h 2048"/>
                  <a:gd name="T28" fmla="*/ 2147483647 w 7049"/>
                  <a:gd name="T29" fmla="*/ 2147483647 h 2048"/>
                  <a:gd name="T30" fmla="*/ 2147483647 w 7049"/>
                  <a:gd name="T31" fmla="*/ 2147483647 h 2048"/>
                  <a:gd name="T32" fmla="*/ 2147483647 w 7049"/>
                  <a:gd name="T33" fmla="*/ 2147483647 h 2048"/>
                  <a:gd name="T34" fmla="*/ 2147483647 w 7049"/>
                  <a:gd name="T35" fmla="*/ 2147483647 h 2048"/>
                  <a:gd name="T36" fmla="*/ 2147483647 w 7049"/>
                  <a:gd name="T37" fmla="*/ 2147483647 h 2048"/>
                  <a:gd name="T38" fmla="*/ 2147483647 w 7049"/>
                  <a:gd name="T39" fmla="*/ 2147483647 h 2048"/>
                  <a:gd name="T40" fmla="*/ 2147483647 w 7049"/>
                  <a:gd name="T41" fmla="*/ 2147483647 h 2048"/>
                  <a:gd name="T42" fmla="*/ 2147483647 w 7049"/>
                  <a:gd name="T43" fmla="*/ 2147483647 h 2048"/>
                  <a:gd name="T44" fmla="*/ 2147483647 w 7049"/>
                  <a:gd name="T45" fmla="*/ 2147483647 h 2048"/>
                  <a:gd name="T46" fmla="*/ 2147483647 w 7049"/>
                  <a:gd name="T47" fmla="*/ 2147483647 h 2048"/>
                  <a:gd name="T48" fmla="*/ 2147483647 w 7049"/>
                  <a:gd name="T49" fmla="*/ 2147483647 h 2048"/>
                  <a:gd name="T50" fmla="*/ 2147483647 w 7049"/>
                  <a:gd name="T51" fmla="*/ 2147483647 h 2048"/>
                  <a:gd name="T52" fmla="*/ 2147483647 w 7049"/>
                  <a:gd name="T53" fmla="*/ 2147483647 h 2048"/>
                  <a:gd name="T54" fmla="*/ 2147483647 w 7049"/>
                  <a:gd name="T55" fmla="*/ 2147483647 h 2048"/>
                  <a:gd name="T56" fmla="*/ 2147483647 w 7049"/>
                  <a:gd name="T57" fmla="*/ 2147483647 h 2048"/>
                  <a:gd name="T58" fmla="*/ 2147483647 w 7049"/>
                  <a:gd name="T59" fmla="*/ 2147483647 h 2048"/>
                  <a:gd name="T60" fmla="*/ 2147483647 w 7049"/>
                  <a:gd name="T61" fmla="*/ 2147483647 h 2048"/>
                  <a:gd name="T62" fmla="*/ 2147483647 w 7049"/>
                  <a:gd name="T63" fmla="*/ 2147483647 h 2048"/>
                  <a:gd name="T64" fmla="*/ 2147483647 w 7049"/>
                  <a:gd name="T65" fmla="*/ 2147483647 h 2048"/>
                  <a:gd name="T66" fmla="*/ 2147483647 w 7049"/>
                  <a:gd name="T67" fmla="*/ 2147483647 h 2048"/>
                  <a:gd name="T68" fmla="*/ 2147483647 w 7049"/>
                  <a:gd name="T69" fmla="*/ 2147483647 h 2048"/>
                  <a:gd name="T70" fmla="*/ 2147483647 w 7049"/>
                  <a:gd name="T71" fmla="*/ 2147483647 h 2048"/>
                  <a:gd name="T72" fmla="*/ 2147483647 w 7049"/>
                  <a:gd name="T73" fmla="*/ 2147483647 h 2048"/>
                  <a:gd name="T74" fmla="*/ 2147483647 w 7049"/>
                  <a:gd name="T75" fmla="*/ 2147483647 h 2048"/>
                  <a:gd name="T76" fmla="*/ 2147483647 w 7049"/>
                  <a:gd name="T77" fmla="*/ 2147483647 h 2048"/>
                  <a:gd name="T78" fmla="*/ 2147483647 w 7049"/>
                  <a:gd name="T79" fmla="*/ 2147483647 h 2048"/>
                  <a:gd name="T80" fmla="*/ 2147483647 w 7049"/>
                  <a:gd name="T81" fmla="*/ 2147483647 h 2048"/>
                  <a:gd name="T82" fmla="*/ 2147483647 w 7049"/>
                  <a:gd name="T83" fmla="*/ 2147483647 h 2048"/>
                  <a:gd name="T84" fmla="*/ 2147483647 w 7049"/>
                  <a:gd name="T85" fmla="*/ 2147483647 h 2048"/>
                  <a:gd name="T86" fmla="*/ 2147483647 w 7049"/>
                  <a:gd name="T87" fmla="*/ 2147483647 h 2048"/>
                  <a:gd name="T88" fmla="*/ 2147483647 w 7049"/>
                  <a:gd name="T89" fmla="*/ 2147483647 h 2048"/>
                  <a:gd name="T90" fmla="*/ 2147483647 w 7049"/>
                  <a:gd name="T91" fmla="*/ 2147483647 h 2048"/>
                  <a:gd name="T92" fmla="*/ 2147483647 w 7049"/>
                  <a:gd name="T93" fmla="*/ 2147483647 h 2048"/>
                  <a:gd name="T94" fmla="*/ 2147483647 w 7049"/>
                  <a:gd name="T95" fmla="*/ 2147483647 h 2048"/>
                  <a:gd name="T96" fmla="*/ 2147483647 w 7049"/>
                  <a:gd name="T97" fmla="*/ 2147483647 h 2048"/>
                  <a:gd name="T98" fmla="*/ 2147483647 w 7049"/>
                  <a:gd name="T99" fmla="*/ 2147483647 h 2048"/>
                  <a:gd name="T100" fmla="*/ 2147483647 w 7049"/>
                  <a:gd name="T101" fmla="*/ 2147483647 h 2048"/>
                  <a:gd name="T102" fmla="*/ 2147483647 w 7049"/>
                  <a:gd name="T103" fmla="*/ 2147483647 h 2048"/>
                  <a:gd name="T104" fmla="*/ 2147483647 w 7049"/>
                  <a:gd name="T105" fmla="*/ 2147483647 h 2048"/>
                  <a:gd name="T106" fmla="*/ 2147483647 w 7049"/>
                  <a:gd name="T107" fmla="*/ 2147483647 h 2048"/>
                  <a:gd name="T108" fmla="*/ 2147483647 w 7049"/>
                  <a:gd name="T109" fmla="*/ 2147483647 h 2048"/>
                  <a:gd name="T110" fmla="*/ 2147483647 w 7049"/>
                  <a:gd name="T111" fmla="*/ 2147483647 h 2048"/>
                  <a:gd name="T112" fmla="*/ 2147483647 w 7049"/>
                  <a:gd name="T113" fmla="*/ 2147483647 h 2048"/>
                  <a:gd name="T114" fmla="*/ 2147483647 w 7049"/>
                  <a:gd name="T115" fmla="*/ 2147483647 h 2048"/>
                  <a:gd name="T116" fmla="*/ 2147483647 w 7049"/>
                  <a:gd name="T117" fmla="*/ 2147483647 h 2048"/>
                  <a:gd name="T118" fmla="*/ 2147483647 w 7049"/>
                  <a:gd name="T119" fmla="*/ 2147483647 h 2048"/>
                  <a:gd name="T120" fmla="*/ 2147483647 w 7049"/>
                  <a:gd name="T121" fmla="*/ 2147483647 h 2048"/>
                  <a:gd name="T122" fmla="*/ 2147483647 w 7049"/>
                  <a:gd name="T123" fmla="*/ 2147483647 h 204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7049" h="2048">
                    <a:moveTo>
                      <a:pt x="365" y="1401"/>
                    </a:moveTo>
                    <a:lnTo>
                      <a:pt x="373" y="1401"/>
                    </a:lnTo>
                    <a:lnTo>
                      <a:pt x="405" y="1401"/>
                    </a:lnTo>
                    <a:lnTo>
                      <a:pt x="425" y="1388"/>
                    </a:lnTo>
                    <a:lnTo>
                      <a:pt x="471" y="1388"/>
                    </a:lnTo>
                    <a:lnTo>
                      <a:pt x="491" y="1401"/>
                    </a:lnTo>
                    <a:lnTo>
                      <a:pt x="519" y="1426"/>
                    </a:lnTo>
                    <a:lnTo>
                      <a:pt x="505" y="1451"/>
                    </a:lnTo>
                    <a:lnTo>
                      <a:pt x="558" y="1451"/>
                    </a:lnTo>
                    <a:lnTo>
                      <a:pt x="578" y="1499"/>
                    </a:lnTo>
                    <a:lnTo>
                      <a:pt x="604" y="1493"/>
                    </a:lnTo>
                    <a:lnTo>
                      <a:pt x="632" y="1512"/>
                    </a:lnTo>
                    <a:lnTo>
                      <a:pt x="665" y="1499"/>
                    </a:lnTo>
                    <a:lnTo>
                      <a:pt x="698" y="1524"/>
                    </a:lnTo>
                    <a:lnTo>
                      <a:pt x="737" y="1524"/>
                    </a:lnTo>
                    <a:lnTo>
                      <a:pt x="778" y="1543"/>
                    </a:lnTo>
                    <a:lnTo>
                      <a:pt x="817" y="1555"/>
                    </a:lnTo>
                    <a:lnTo>
                      <a:pt x="811" y="1586"/>
                    </a:lnTo>
                    <a:lnTo>
                      <a:pt x="804" y="1623"/>
                    </a:lnTo>
                    <a:lnTo>
                      <a:pt x="817" y="1647"/>
                    </a:lnTo>
                    <a:lnTo>
                      <a:pt x="784" y="1647"/>
                    </a:lnTo>
                    <a:lnTo>
                      <a:pt x="744" y="1660"/>
                    </a:lnTo>
                    <a:lnTo>
                      <a:pt x="737" y="1691"/>
                    </a:lnTo>
                    <a:lnTo>
                      <a:pt x="743" y="1690"/>
                    </a:lnTo>
                    <a:lnTo>
                      <a:pt x="757" y="1685"/>
                    </a:lnTo>
                    <a:lnTo>
                      <a:pt x="752" y="1691"/>
                    </a:lnTo>
                    <a:lnTo>
                      <a:pt x="747" y="1696"/>
                    </a:lnTo>
                    <a:lnTo>
                      <a:pt x="743" y="1701"/>
                    </a:lnTo>
                    <a:lnTo>
                      <a:pt x="737" y="1705"/>
                    </a:lnTo>
                    <a:lnTo>
                      <a:pt x="725" y="1713"/>
                    </a:lnTo>
                    <a:lnTo>
                      <a:pt x="711" y="1721"/>
                    </a:lnTo>
                    <a:lnTo>
                      <a:pt x="712" y="1724"/>
                    </a:lnTo>
                    <a:lnTo>
                      <a:pt x="715" y="1728"/>
                    </a:lnTo>
                    <a:lnTo>
                      <a:pt x="719" y="1731"/>
                    </a:lnTo>
                    <a:lnTo>
                      <a:pt x="725" y="1733"/>
                    </a:lnTo>
                    <a:lnTo>
                      <a:pt x="736" y="1738"/>
                    </a:lnTo>
                    <a:lnTo>
                      <a:pt x="744" y="1740"/>
                    </a:lnTo>
                    <a:lnTo>
                      <a:pt x="741" y="1749"/>
                    </a:lnTo>
                    <a:lnTo>
                      <a:pt x="738" y="1756"/>
                    </a:lnTo>
                    <a:lnTo>
                      <a:pt x="734" y="1763"/>
                    </a:lnTo>
                    <a:lnTo>
                      <a:pt x="728" y="1769"/>
                    </a:lnTo>
                    <a:lnTo>
                      <a:pt x="722" y="1774"/>
                    </a:lnTo>
                    <a:lnTo>
                      <a:pt x="715" y="1779"/>
                    </a:lnTo>
                    <a:lnTo>
                      <a:pt x="707" y="1785"/>
                    </a:lnTo>
                    <a:lnTo>
                      <a:pt x="698" y="1790"/>
                    </a:lnTo>
                    <a:lnTo>
                      <a:pt x="696" y="1796"/>
                    </a:lnTo>
                    <a:lnTo>
                      <a:pt x="698" y="1801"/>
                    </a:lnTo>
                    <a:lnTo>
                      <a:pt x="700" y="1806"/>
                    </a:lnTo>
                    <a:lnTo>
                      <a:pt x="702" y="1809"/>
                    </a:lnTo>
                    <a:lnTo>
                      <a:pt x="706" y="1812"/>
                    </a:lnTo>
                    <a:lnTo>
                      <a:pt x="711" y="1815"/>
                    </a:lnTo>
                    <a:lnTo>
                      <a:pt x="716" y="1817"/>
                    </a:lnTo>
                    <a:lnTo>
                      <a:pt x="722" y="1819"/>
                    </a:lnTo>
                    <a:lnTo>
                      <a:pt x="734" y="1823"/>
                    </a:lnTo>
                    <a:lnTo>
                      <a:pt x="747" y="1828"/>
                    </a:lnTo>
                    <a:lnTo>
                      <a:pt x="754" y="1831"/>
                    </a:lnTo>
                    <a:lnTo>
                      <a:pt x="759" y="1835"/>
                    </a:lnTo>
                    <a:lnTo>
                      <a:pt x="766" y="1840"/>
                    </a:lnTo>
                    <a:lnTo>
                      <a:pt x="771" y="1845"/>
                    </a:lnTo>
                    <a:lnTo>
                      <a:pt x="781" y="1854"/>
                    </a:lnTo>
                    <a:lnTo>
                      <a:pt x="794" y="1861"/>
                    </a:lnTo>
                    <a:lnTo>
                      <a:pt x="807" y="1868"/>
                    </a:lnTo>
                    <a:lnTo>
                      <a:pt x="823" y="1875"/>
                    </a:lnTo>
                    <a:lnTo>
                      <a:pt x="856" y="1887"/>
                    </a:lnTo>
                    <a:lnTo>
                      <a:pt x="890" y="1901"/>
                    </a:lnTo>
                    <a:lnTo>
                      <a:pt x="897" y="1901"/>
                    </a:lnTo>
                    <a:lnTo>
                      <a:pt x="950" y="1919"/>
                    </a:lnTo>
                    <a:lnTo>
                      <a:pt x="996" y="1931"/>
                    </a:lnTo>
                    <a:lnTo>
                      <a:pt x="1024" y="1919"/>
                    </a:lnTo>
                    <a:lnTo>
                      <a:pt x="1070" y="1937"/>
                    </a:lnTo>
                    <a:lnTo>
                      <a:pt x="1096" y="1956"/>
                    </a:lnTo>
                    <a:lnTo>
                      <a:pt x="1136" y="1950"/>
                    </a:lnTo>
                    <a:lnTo>
                      <a:pt x="1176" y="1962"/>
                    </a:lnTo>
                    <a:lnTo>
                      <a:pt x="1203" y="1980"/>
                    </a:lnTo>
                    <a:lnTo>
                      <a:pt x="1249" y="2005"/>
                    </a:lnTo>
                    <a:lnTo>
                      <a:pt x="1282" y="2030"/>
                    </a:lnTo>
                    <a:lnTo>
                      <a:pt x="1316" y="2048"/>
                    </a:lnTo>
                    <a:lnTo>
                      <a:pt x="1342" y="2011"/>
                    </a:lnTo>
                    <a:lnTo>
                      <a:pt x="1355" y="2011"/>
                    </a:lnTo>
                    <a:lnTo>
                      <a:pt x="1350" y="2009"/>
                    </a:lnTo>
                    <a:lnTo>
                      <a:pt x="1345" y="2006"/>
                    </a:lnTo>
                    <a:lnTo>
                      <a:pt x="1341" y="2001"/>
                    </a:lnTo>
                    <a:lnTo>
                      <a:pt x="1337" y="1998"/>
                    </a:lnTo>
                    <a:lnTo>
                      <a:pt x="1333" y="1994"/>
                    </a:lnTo>
                    <a:lnTo>
                      <a:pt x="1331" y="1989"/>
                    </a:lnTo>
                    <a:lnTo>
                      <a:pt x="1329" y="1985"/>
                    </a:lnTo>
                    <a:lnTo>
                      <a:pt x="1329" y="1980"/>
                    </a:lnTo>
                    <a:lnTo>
                      <a:pt x="1318" y="1972"/>
                    </a:lnTo>
                    <a:lnTo>
                      <a:pt x="1296" y="1952"/>
                    </a:lnTo>
                    <a:lnTo>
                      <a:pt x="1283" y="1941"/>
                    </a:lnTo>
                    <a:lnTo>
                      <a:pt x="1273" y="1931"/>
                    </a:lnTo>
                    <a:lnTo>
                      <a:pt x="1265" y="1923"/>
                    </a:lnTo>
                    <a:lnTo>
                      <a:pt x="1262" y="1919"/>
                    </a:lnTo>
                    <a:lnTo>
                      <a:pt x="1255" y="1887"/>
                    </a:lnTo>
                    <a:lnTo>
                      <a:pt x="1255" y="1869"/>
                    </a:lnTo>
                    <a:lnTo>
                      <a:pt x="1245" y="1869"/>
                    </a:lnTo>
                    <a:lnTo>
                      <a:pt x="1237" y="1866"/>
                    </a:lnTo>
                    <a:lnTo>
                      <a:pt x="1229" y="1862"/>
                    </a:lnTo>
                    <a:lnTo>
                      <a:pt x="1222" y="1857"/>
                    </a:lnTo>
                    <a:lnTo>
                      <a:pt x="1217" y="1851"/>
                    </a:lnTo>
                    <a:lnTo>
                      <a:pt x="1212" y="1844"/>
                    </a:lnTo>
                    <a:lnTo>
                      <a:pt x="1210" y="1835"/>
                    </a:lnTo>
                    <a:lnTo>
                      <a:pt x="1209" y="1826"/>
                    </a:lnTo>
                    <a:lnTo>
                      <a:pt x="1210" y="1821"/>
                    </a:lnTo>
                    <a:lnTo>
                      <a:pt x="1212" y="1814"/>
                    </a:lnTo>
                    <a:lnTo>
                      <a:pt x="1216" y="1807"/>
                    </a:lnTo>
                    <a:lnTo>
                      <a:pt x="1220" y="1799"/>
                    </a:lnTo>
                    <a:lnTo>
                      <a:pt x="1229" y="1786"/>
                    </a:lnTo>
                    <a:lnTo>
                      <a:pt x="1236" y="1777"/>
                    </a:lnTo>
                    <a:lnTo>
                      <a:pt x="1254" y="1767"/>
                    </a:lnTo>
                    <a:lnTo>
                      <a:pt x="1272" y="1758"/>
                    </a:lnTo>
                    <a:lnTo>
                      <a:pt x="1287" y="1749"/>
                    </a:lnTo>
                    <a:lnTo>
                      <a:pt x="1303" y="1740"/>
                    </a:lnTo>
                    <a:lnTo>
                      <a:pt x="1309" y="1728"/>
                    </a:lnTo>
                    <a:lnTo>
                      <a:pt x="1282" y="1721"/>
                    </a:lnTo>
                    <a:lnTo>
                      <a:pt x="1309" y="1703"/>
                    </a:lnTo>
                    <a:lnTo>
                      <a:pt x="1282" y="1679"/>
                    </a:lnTo>
                    <a:lnTo>
                      <a:pt x="1255" y="1654"/>
                    </a:lnTo>
                    <a:lnTo>
                      <a:pt x="1216" y="1654"/>
                    </a:lnTo>
                    <a:lnTo>
                      <a:pt x="1203" y="1629"/>
                    </a:lnTo>
                    <a:lnTo>
                      <a:pt x="1183" y="1617"/>
                    </a:lnTo>
                    <a:lnTo>
                      <a:pt x="1176" y="1586"/>
                    </a:lnTo>
                    <a:lnTo>
                      <a:pt x="1176" y="1549"/>
                    </a:lnTo>
                    <a:lnTo>
                      <a:pt x="1189" y="1524"/>
                    </a:lnTo>
                    <a:lnTo>
                      <a:pt x="1196" y="1499"/>
                    </a:lnTo>
                    <a:lnTo>
                      <a:pt x="1229" y="1518"/>
                    </a:lnTo>
                    <a:lnTo>
                      <a:pt x="1262" y="1530"/>
                    </a:lnTo>
                    <a:lnTo>
                      <a:pt x="1282" y="1524"/>
                    </a:lnTo>
                    <a:lnTo>
                      <a:pt x="1255" y="1493"/>
                    </a:lnTo>
                    <a:lnTo>
                      <a:pt x="1289" y="1475"/>
                    </a:lnTo>
                    <a:lnTo>
                      <a:pt x="1322" y="1444"/>
                    </a:lnTo>
                    <a:lnTo>
                      <a:pt x="1355" y="1438"/>
                    </a:lnTo>
                    <a:lnTo>
                      <a:pt x="1395" y="1438"/>
                    </a:lnTo>
                    <a:lnTo>
                      <a:pt x="1422" y="1426"/>
                    </a:lnTo>
                    <a:lnTo>
                      <a:pt x="1468" y="1438"/>
                    </a:lnTo>
                    <a:lnTo>
                      <a:pt x="1514" y="1457"/>
                    </a:lnTo>
                    <a:lnTo>
                      <a:pt x="1555" y="1493"/>
                    </a:lnTo>
                    <a:lnTo>
                      <a:pt x="1601" y="1487"/>
                    </a:lnTo>
                    <a:lnTo>
                      <a:pt x="1641" y="1469"/>
                    </a:lnTo>
                    <a:lnTo>
                      <a:pt x="1674" y="1469"/>
                    </a:lnTo>
                    <a:lnTo>
                      <a:pt x="1714" y="1463"/>
                    </a:lnTo>
                    <a:lnTo>
                      <a:pt x="1754" y="1481"/>
                    </a:lnTo>
                    <a:lnTo>
                      <a:pt x="1800" y="1493"/>
                    </a:lnTo>
                    <a:lnTo>
                      <a:pt x="1847" y="1487"/>
                    </a:lnTo>
                    <a:lnTo>
                      <a:pt x="1893" y="1469"/>
                    </a:lnTo>
                    <a:lnTo>
                      <a:pt x="1893" y="1444"/>
                    </a:lnTo>
                    <a:lnTo>
                      <a:pt x="1860" y="1438"/>
                    </a:lnTo>
                    <a:lnTo>
                      <a:pt x="1821" y="1426"/>
                    </a:lnTo>
                    <a:lnTo>
                      <a:pt x="1793" y="1414"/>
                    </a:lnTo>
                    <a:lnTo>
                      <a:pt x="1834" y="1401"/>
                    </a:lnTo>
                    <a:lnTo>
                      <a:pt x="1827" y="1364"/>
                    </a:lnTo>
                    <a:lnTo>
                      <a:pt x="1880" y="1358"/>
                    </a:lnTo>
                    <a:lnTo>
                      <a:pt x="1814" y="1309"/>
                    </a:lnTo>
                    <a:lnTo>
                      <a:pt x="1920" y="1291"/>
                    </a:lnTo>
                    <a:lnTo>
                      <a:pt x="2006" y="1284"/>
                    </a:lnTo>
                    <a:lnTo>
                      <a:pt x="2020" y="1259"/>
                    </a:lnTo>
                    <a:lnTo>
                      <a:pt x="2080" y="1253"/>
                    </a:lnTo>
                    <a:lnTo>
                      <a:pt x="2139" y="1241"/>
                    </a:lnTo>
                    <a:lnTo>
                      <a:pt x="2159" y="1216"/>
                    </a:lnTo>
                    <a:lnTo>
                      <a:pt x="2226" y="1229"/>
                    </a:lnTo>
                    <a:lnTo>
                      <a:pt x="2265" y="1222"/>
                    </a:lnTo>
                    <a:lnTo>
                      <a:pt x="2292" y="1241"/>
                    </a:lnTo>
                    <a:lnTo>
                      <a:pt x="2298" y="1291"/>
                    </a:lnTo>
                    <a:lnTo>
                      <a:pt x="2339" y="1291"/>
                    </a:lnTo>
                    <a:lnTo>
                      <a:pt x="2352" y="1277"/>
                    </a:lnTo>
                    <a:lnTo>
                      <a:pt x="2372" y="1291"/>
                    </a:lnTo>
                    <a:lnTo>
                      <a:pt x="2411" y="1297"/>
                    </a:lnTo>
                    <a:lnTo>
                      <a:pt x="2431" y="1297"/>
                    </a:lnTo>
                    <a:lnTo>
                      <a:pt x="2431" y="1333"/>
                    </a:lnTo>
                    <a:lnTo>
                      <a:pt x="2472" y="1327"/>
                    </a:lnTo>
                    <a:lnTo>
                      <a:pt x="2511" y="1309"/>
                    </a:lnTo>
                    <a:lnTo>
                      <a:pt x="2551" y="1277"/>
                    </a:lnTo>
                    <a:lnTo>
                      <a:pt x="2577" y="1265"/>
                    </a:lnTo>
                    <a:lnTo>
                      <a:pt x="2577" y="1297"/>
                    </a:lnTo>
                    <a:lnTo>
                      <a:pt x="2618" y="1315"/>
                    </a:lnTo>
                    <a:lnTo>
                      <a:pt x="2664" y="1333"/>
                    </a:lnTo>
                    <a:lnTo>
                      <a:pt x="2704" y="1376"/>
                    </a:lnTo>
                    <a:lnTo>
                      <a:pt x="2757" y="1420"/>
                    </a:lnTo>
                    <a:lnTo>
                      <a:pt x="2803" y="1457"/>
                    </a:lnTo>
                    <a:lnTo>
                      <a:pt x="2823" y="1487"/>
                    </a:lnTo>
                    <a:lnTo>
                      <a:pt x="2836" y="1457"/>
                    </a:lnTo>
                    <a:lnTo>
                      <a:pt x="2864" y="1451"/>
                    </a:lnTo>
                    <a:lnTo>
                      <a:pt x="2884" y="1475"/>
                    </a:lnTo>
                    <a:lnTo>
                      <a:pt x="2923" y="1487"/>
                    </a:lnTo>
                    <a:lnTo>
                      <a:pt x="2969" y="1481"/>
                    </a:lnTo>
                    <a:lnTo>
                      <a:pt x="2997" y="1469"/>
                    </a:lnTo>
                    <a:lnTo>
                      <a:pt x="3036" y="1499"/>
                    </a:lnTo>
                    <a:lnTo>
                      <a:pt x="3082" y="1524"/>
                    </a:lnTo>
                    <a:lnTo>
                      <a:pt x="3123" y="1549"/>
                    </a:lnTo>
                    <a:lnTo>
                      <a:pt x="3176" y="1555"/>
                    </a:lnTo>
                    <a:lnTo>
                      <a:pt x="3182" y="1562"/>
                    </a:lnTo>
                    <a:lnTo>
                      <a:pt x="3186" y="1560"/>
                    </a:lnTo>
                    <a:lnTo>
                      <a:pt x="3189" y="1557"/>
                    </a:lnTo>
                    <a:lnTo>
                      <a:pt x="3193" y="1556"/>
                    </a:lnTo>
                    <a:lnTo>
                      <a:pt x="3198" y="1555"/>
                    </a:lnTo>
                    <a:lnTo>
                      <a:pt x="3211" y="1555"/>
                    </a:lnTo>
                    <a:lnTo>
                      <a:pt x="3228" y="1555"/>
                    </a:lnTo>
                    <a:lnTo>
                      <a:pt x="3234" y="1554"/>
                    </a:lnTo>
                    <a:lnTo>
                      <a:pt x="3239" y="1552"/>
                    </a:lnTo>
                    <a:lnTo>
                      <a:pt x="3246" y="1549"/>
                    </a:lnTo>
                    <a:lnTo>
                      <a:pt x="3251" y="1546"/>
                    </a:lnTo>
                    <a:lnTo>
                      <a:pt x="3261" y="1539"/>
                    </a:lnTo>
                    <a:lnTo>
                      <a:pt x="3269" y="1537"/>
                    </a:lnTo>
                    <a:lnTo>
                      <a:pt x="3278" y="1536"/>
                    </a:lnTo>
                    <a:lnTo>
                      <a:pt x="3288" y="1534"/>
                    </a:lnTo>
                    <a:lnTo>
                      <a:pt x="3296" y="1531"/>
                    </a:lnTo>
                    <a:lnTo>
                      <a:pt x="3304" y="1527"/>
                    </a:lnTo>
                    <a:lnTo>
                      <a:pt x="3320" y="1517"/>
                    </a:lnTo>
                    <a:lnTo>
                      <a:pt x="3335" y="1506"/>
                    </a:lnTo>
                    <a:lnTo>
                      <a:pt x="3350" y="1494"/>
                    </a:lnTo>
                    <a:lnTo>
                      <a:pt x="3366" y="1485"/>
                    </a:lnTo>
                    <a:lnTo>
                      <a:pt x="3374" y="1481"/>
                    </a:lnTo>
                    <a:lnTo>
                      <a:pt x="3383" y="1478"/>
                    </a:lnTo>
                    <a:lnTo>
                      <a:pt x="3392" y="1476"/>
                    </a:lnTo>
                    <a:lnTo>
                      <a:pt x="3402" y="1475"/>
                    </a:lnTo>
                    <a:lnTo>
                      <a:pt x="3413" y="1476"/>
                    </a:lnTo>
                    <a:lnTo>
                      <a:pt x="3423" y="1477"/>
                    </a:lnTo>
                    <a:lnTo>
                      <a:pt x="3432" y="1479"/>
                    </a:lnTo>
                    <a:lnTo>
                      <a:pt x="3439" y="1481"/>
                    </a:lnTo>
                    <a:lnTo>
                      <a:pt x="3447" y="1483"/>
                    </a:lnTo>
                    <a:lnTo>
                      <a:pt x="3453" y="1485"/>
                    </a:lnTo>
                    <a:lnTo>
                      <a:pt x="3461" y="1487"/>
                    </a:lnTo>
                    <a:lnTo>
                      <a:pt x="3468" y="1487"/>
                    </a:lnTo>
                    <a:lnTo>
                      <a:pt x="3494" y="1475"/>
                    </a:lnTo>
                    <a:lnTo>
                      <a:pt x="3507" y="1475"/>
                    </a:lnTo>
                    <a:lnTo>
                      <a:pt x="3522" y="1475"/>
                    </a:lnTo>
                    <a:lnTo>
                      <a:pt x="3522" y="1483"/>
                    </a:lnTo>
                    <a:lnTo>
                      <a:pt x="3524" y="1490"/>
                    </a:lnTo>
                    <a:lnTo>
                      <a:pt x="3526" y="1496"/>
                    </a:lnTo>
                    <a:lnTo>
                      <a:pt x="3528" y="1501"/>
                    </a:lnTo>
                    <a:lnTo>
                      <a:pt x="3535" y="1510"/>
                    </a:lnTo>
                    <a:lnTo>
                      <a:pt x="3541" y="1518"/>
                    </a:lnTo>
                    <a:lnTo>
                      <a:pt x="3720" y="1518"/>
                    </a:lnTo>
                    <a:lnTo>
                      <a:pt x="3721" y="1510"/>
                    </a:lnTo>
                    <a:lnTo>
                      <a:pt x="3720" y="1501"/>
                    </a:lnTo>
                    <a:lnTo>
                      <a:pt x="3718" y="1494"/>
                    </a:lnTo>
                    <a:lnTo>
                      <a:pt x="3716" y="1488"/>
                    </a:lnTo>
                    <a:lnTo>
                      <a:pt x="3713" y="1482"/>
                    </a:lnTo>
                    <a:lnTo>
                      <a:pt x="3708" y="1477"/>
                    </a:lnTo>
                    <a:lnTo>
                      <a:pt x="3704" y="1472"/>
                    </a:lnTo>
                    <a:lnTo>
                      <a:pt x="3699" y="1467"/>
                    </a:lnTo>
                    <a:lnTo>
                      <a:pt x="3691" y="1459"/>
                    </a:lnTo>
                    <a:lnTo>
                      <a:pt x="3682" y="1449"/>
                    </a:lnTo>
                    <a:lnTo>
                      <a:pt x="3679" y="1443"/>
                    </a:lnTo>
                    <a:lnTo>
                      <a:pt x="3676" y="1438"/>
                    </a:lnTo>
                    <a:lnTo>
                      <a:pt x="3674" y="1432"/>
                    </a:lnTo>
                    <a:lnTo>
                      <a:pt x="3674" y="1426"/>
                    </a:lnTo>
                    <a:lnTo>
                      <a:pt x="3674" y="1418"/>
                    </a:lnTo>
                    <a:lnTo>
                      <a:pt x="3674" y="1411"/>
                    </a:lnTo>
                    <a:lnTo>
                      <a:pt x="3674" y="1404"/>
                    </a:lnTo>
                    <a:lnTo>
                      <a:pt x="3674" y="1395"/>
                    </a:lnTo>
                    <a:lnTo>
                      <a:pt x="3687" y="1388"/>
                    </a:lnTo>
                    <a:lnTo>
                      <a:pt x="3880" y="1426"/>
                    </a:lnTo>
                    <a:lnTo>
                      <a:pt x="3883" y="1437"/>
                    </a:lnTo>
                    <a:lnTo>
                      <a:pt x="3886" y="1446"/>
                    </a:lnTo>
                    <a:lnTo>
                      <a:pt x="3890" y="1456"/>
                    </a:lnTo>
                    <a:lnTo>
                      <a:pt x="3895" y="1464"/>
                    </a:lnTo>
                    <a:lnTo>
                      <a:pt x="3900" y="1472"/>
                    </a:lnTo>
                    <a:lnTo>
                      <a:pt x="3906" y="1478"/>
                    </a:lnTo>
                    <a:lnTo>
                      <a:pt x="3914" y="1484"/>
                    </a:lnTo>
                    <a:lnTo>
                      <a:pt x="3920" y="1489"/>
                    </a:lnTo>
                    <a:lnTo>
                      <a:pt x="3929" y="1493"/>
                    </a:lnTo>
                    <a:lnTo>
                      <a:pt x="3938" y="1496"/>
                    </a:lnTo>
                    <a:lnTo>
                      <a:pt x="3948" y="1499"/>
                    </a:lnTo>
                    <a:lnTo>
                      <a:pt x="3957" y="1502"/>
                    </a:lnTo>
                    <a:lnTo>
                      <a:pt x="3968" y="1504"/>
                    </a:lnTo>
                    <a:lnTo>
                      <a:pt x="3981" y="1505"/>
                    </a:lnTo>
                    <a:lnTo>
                      <a:pt x="3993" y="1506"/>
                    </a:lnTo>
                    <a:lnTo>
                      <a:pt x="4006" y="1506"/>
                    </a:lnTo>
                    <a:lnTo>
                      <a:pt x="4018" y="1506"/>
                    </a:lnTo>
                    <a:lnTo>
                      <a:pt x="4029" y="1502"/>
                    </a:lnTo>
                    <a:lnTo>
                      <a:pt x="4039" y="1500"/>
                    </a:lnTo>
                    <a:lnTo>
                      <a:pt x="4050" y="1496"/>
                    </a:lnTo>
                    <a:lnTo>
                      <a:pt x="4060" y="1493"/>
                    </a:lnTo>
                    <a:lnTo>
                      <a:pt x="4069" y="1490"/>
                    </a:lnTo>
                    <a:lnTo>
                      <a:pt x="4080" y="1488"/>
                    </a:lnTo>
                    <a:lnTo>
                      <a:pt x="4093" y="1487"/>
                    </a:lnTo>
                    <a:lnTo>
                      <a:pt x="4108" y="1488"/>
                    </a:lnTo>
                    <a:lnTo>
                      <a:pt x="4123" y="1490"/>
                    </a:lnTo>
                    <a:lnTo>
                      <a:pt x="4136" y="1492"/>
                    </a:lnTo>
                    <a:lnTo>
                      <a:pt x="4150" y="1496"/>
                    </a:lnTo>
                    <a:lnTo>
                      <a:pt x="4162" y="1500"/>
                    </a:lnTo>
                    <a:lnTo>
                      <a:pt x="4173" y="1506"/>
                    </a:lnTo>
                    <a:lnTo>
                      <a:pt x="4184" y="1511"/>
                    </a:lnTo>
                    <a:lnTo>
                      <a:pt x="4195" y="1517"/>
                    </a:lnTo>
                    <a:lnTo>
                      <a:pt x="4214" y="1528"/>
                    </a:lnTo>
                    <a:lnTo>
                      <a:pt x="4233" y="1539"/>
                    </a:lnTo>
                    <a:lnTo>
                      <a:pt x="4243" y="1544"/>
                    </a:lnTo>
                    <a:lnTo>
                      <a:pt x="4253" y="1548"/>
                    </a:lnTo>
                    <a:lnTo>
                      <a:pt x="4262" y="1552"/>
                    </a:lnTo>
                    <a:lnTo>
                      <a:pt x="4272" y="1555"/>
                    </a:lnTo>
                    <a:lnTo>
                      <a:pt x="4306" y="1555"/>
                    </a:lnTo>
                    <a:lnTo>
                      <a:pt x="4334" y="1555"/>
                    </a:lnTo>
                    <a:lnTo>
                      <a:pt x="4358" y="1555"/>
                    </a:lnTo>
                    <a:lnTo>
                      <a:pt x="4378" y="1555"/>
                    </a:lnTo>
                    <a:lnTo>
                      <a:pt x="4396" y="1555"/>
                    </a:lnTo>
                    <a:lnTo>
                      <a:pt x="4412" y="1555"/>
                    </a:lnTo>
                    <a:lnTo>
                      <a:pt x="4427" y="1555"/>
                    </a:lnTo>
                    <a:lnTo>
                      <a:pt x="4445" y="1555"/>
                    </a:lnTo>
                    <a:lnTo>
                      <a:pt x="4455" y="1554"/>
                    </a:lnTo>
                    <a:lnTo>
                      <a:pt x="4464" y="1553"/>
                    </a:lnTo>
                    <a:lnTo>
                      <a:pt x="4470" y="1550"/>
                    </a:lnTo>
                    <a:lnTo>
                      <a:pt x="4476" y="1547"/>
                    </a:lnTo>
                    <a:lnTo>
                      <a:pt x="4480" y="1544"/>
                    </a:lnTo>
                    <a:lnTo>
                      <a:pt x="4485" y="1539"/>
                    </a:lnTo>
                    <a:lnTo>
                      <a:pt x="4488" y="1535"/>
                    </a:lnTo>
                    <a:lnTo>
                      <a:pt x="4490" y="1530"/>
                    </a:lnTo>
                    <a:lnTo>
                      <a:pt x="4495" y="1522"/>
                    </a:lnTo>
                    <a:lnTo>
                      <a:pt x="4503" y="1514"/>
                    </a:lnTo>
                    <a:lnTo>
                      <a:pt x="4509" y="1511"/>
                    </a:lnTo>
                    <a:lnTo>
                      <a:pt x="4514" y="1508"/>
                    </a:lnTo>
                    <a:lnTo>
                      <a:pt x="4522" y="1507"/>
                    </a:lnTo>
                    <a:lnTo>
                      <a:pt x="4531" y="1506"/>
                    </a:lnTo>
                    <a:lnTo>
                      <a:pt x="4554" y="1507"/>
                    </a:lnTo>
                    <a:lnTo>
                      <a:pt x="4577" y="1509"/>
                    </a:lnTo>
                    <a:lnTo>
                      <a:pt x="4599" y="1512"/>
                    </a:lnTo>
                    <a:lnTo>
                      <a:pt x="4620" y="1515"/>
                    </a:lnTo>
                    <a:lnTo>
                      <a:pt x="4651" y="1522"/>
                    </a:lnTo>
                    <a:lnTo>
                      <a:pt x="4663" y="1524"/>
                    </a:lnTo>
                    <a:lnTo>
                      <a:pt x="4678" y="1524"/>
                    </a:lnTo>
                    <a:lnTo>
                      <a:pt x="4690" y="1524"/>
                    </a:lnTo>
                    <a:lnTo>
                      <a:pt x="4700" y="1524"/>
                    </a:lnTo>
                    <a:lnTo>
                      <a:pt x="4711" y="1524"/>
                    </a:lnTo>
                    <a:lnTo>
                      <a:pt x="4718" y="1524"/>
                    </a:lnTo>
                    <a:lnTo>
                      <a:pt x="4727" y="1521"/>
                    </a:lnTo>
                    <a:lnTo>
                      <a:pt x="4737" y="1518"/>
                    </a:lnTo>
                    <a:lnTo>
                      <a:pt x="4746" y="1513"/>
                    </a:lnTo>
                    <a:lnTo>
                      <a:pt x="4755" y="1508"/>
                    </a:lnTo>
                    <a:lnTo>
                      <a:pt x="4763" y="1501"/>
                    </a:lnTo>
                    <a:lnTo>
                      <a:pt x="4771" y="1494"/>
                    </a:lnTo>
                    <a:lnTo>
                      <a:pt x="4777" y="1487"/>
                    </a:lnTo>
                    <a:lnTo>
                      <a:pt x="4771" y="1484"/>
                    </a:lnTo>
                    <a:lnTo>
                      <a:pt x="4766" y="1481"/>
                    </a:lnTo>
                    <a:lnTo>
                      <a:pt x="4760" y="1476"/>
                    </a:lnTo>
                    <a:lnTo>
                      <a:pt x="4756" y="1471"/>
                    </a:lnTo>
                    <a:lnTo>
                      <a:pt x="4750" y="1465"/>
                    </a:lnTo>
                    <a:lnTo>
                      <a:pt x="4747" y="1458"/>
                    </a:lnTo>
                    <a:lnTo>
                      <a:pt x="4745" y="1452"/>
                    </a:lnTo>
                    <a:lnTo>
                      <a:pt x="4744" y="1444"/>
                    </a:lnTo>
                    <a:lnTo>
                      <a:pt x="4745" y="1435"/>
                    </a:lnTo>
                    <a:lnTo>
                      <a:pt x="4747" y="1428"/>
                    </a:lnTo>
                    <a:lnTo>
                      <a:pt x="4750" y="1422"/>
                    </a:lnTo>
                    <a:lnTo>
                      <a:pt x="4754" y="1417"/>
                    </a:lnTo>
                    <a:lnTo>
                      <a:pt x="4757" y="1411"/>
                    </a:lnTo>
                    <a:lnTo>
                      <a:pt x="4760" y="1405"/>
                    </a:lnTo>
                    <a:lnTo>
                      <a:pt x="4762" y="1398"/>
                    </a:lnTo>
                    <a:lnTo>
                      <a:pt x="4763" y="1388"/>
                    </a:lnTo>
                    <a:lnTo>
                      <a:pt x="4763" y="1382"/>
                    </a:lnTo>
                    <a:lnTo>
                      <a:pt x="4761" y="1377"/>
                    </a:lnTo>
                    <a:lnTo>
                      <a:pt x="4759" y="1372"/>
                    </a:lnTo>
                    <a:lnTo>
                      <a:pt x="4756" y="1369"/>
                    </a:lnTo>
                    <a:lnTo>
                      <a:pt x="4747" y="1363"/>
                    </a:lnTo>
                    <a:lnTo>
                      <a:pt x="4737" y="1359"/>
                    </a:lnTo>
                    <a:lnTo>
                      <a:pt x="4727" y="1355"/>
                    </a:lnTo>
                    <a:lnTo>
                      <a:pt x="4718" y="1350"/>
                    </a:lnTo>
                    <a:lnTo>
                      <a:pt x="4715" y="1347"/>
                    </a:lnTo>
                    <a:lnTo>
                      <a:pt x="4713" y="1343"/>
                    </a:lnTo>
                    <a:lnTo>
                      <a:pt x="4711" y="1339"/>
                    </a:lnTo>
                    <a:lnTo>
                      <a:pt x="4711" y="1333"/>
                    </a:lnTo>
                    <a:lnTo>
                      <a:pt x="4711" y="1324"/>
                    </a:lnTo>
                    <a:lnTo>
                      <a:pt x="4711" y="1315"/>
                    </a:lnTo>
                    <a:lnTo>
                      <a:pt x="4830" y="1297"/>
                    </a:lnTo>
                    <a:lnTo>
                      <a:pt x="4869" y="1307"/>
                    </a:lnTo>
                    <a:lnTo>
                      <a:pt x="4898" y="1315"/>
                    </a:lnTo>
                    <a:lnTo>
                      <a:pt x="4928" y="1322"/>
                    </a:lnTo>
                    <a:lnTo>
                      <a:pt x="4963" y="1333"/>
                    </a:lnTo>
                    <a:lnTo>
                      <a:pt x="4974" y="1338"/>
                    </a:lnTo>
                    <a:lnTo>
                      <a:pt x="4985" y="1343"/>
                    </a:lnTo>
                    <a:lnTo>
                      <a:pt x="4995" y="1349"/>
                    </a:lnTo>
                    <a:lnTo>
                      <a:pt x="5005" y="1356"/>
                    </a:lnTo>
                    <a:lnTo>
                      <a:pt x="5021" y="1371"/>
                    </a:lnTo>
                    <a:lnTo>
                      <a:pt x="5038" y="1386"/>
                    </a:lnTo>
                    <a:lnTo>
                      <a:pt x="5046" y="1395"/>
                    </a:lnTo>
                    <a:lnTo>
                      <a:pt x="5054" y="1402"/>
                    </a:lnTo>
                    <a:lnTo>
                      <a:pt x="5063" y="1408"/>
                    </a:lnTo>
                    <a:lnTo>
                      <a:pt x="5073" y="1414"/>
                    </a:lnTo>
                    <a:lnTo>
                      <a:pt x="5084" y="1419"/>
                    </a:lnTo>
                    <a:lnTo>
                      <a:pt x="5095" y="1423"/>
                    </a:lnTo>
                    <a:lnTo>
                      <a:pt x="5108" y="1425"/>
                    </a:lnTo>
                    <a:lnTo>
                      <a:pt x="5122" y="1426"/>
                    </a:lnTo>
                    <a:lnTo>
                      <a:pt x="5127" y="1438"/>
                    </a:lnTo>
                    <a:lnTo>
                      <a:pt x="5132" y="1449"/>
                    </a:lnTo>
                    <a:lnTo>
                      <a:pt x="5139" y="1459"/>
                    </a:lnTo>
                    <a:lnTo>
                      <a:pt x="5148" y="1468"/>
                    </a:lnTo>
                    <a:lnTo>
                      <a:pt x="5156" y="1476"/>
                    </a:lnTo>
                    <a:lnTo>
                      <a:pt x="5166" y="1484"/>
                    </a:lnTo>
                    <a:lnTo>
                      <a:pt x="5176" y="1490"/>
                    </a:lnTo>
                    <a:lnTo>
                      <a:pt x="5188" y="1496"/>
                    </a:lnTo>
                    <a:lnTo>
                      <a:pt x="5199" y="1502"/>
                    </a:lnTo>
                    <a:lnTo>
                      <a:pt x="5211" y="1508"/>
                    </a:lnTo>
                    <a:lnTo>
                      <a:pt x="5225" y="1512"/>
                    </a:lnTo>
                    <a:lnTo>
                      <a:pt x="5237" y="1516"/>
                    </a:lnTo>
                    <a:lnTo>
                      <a:pt x="5263" y="1524"/>
                    </a:lnTo>
                    <a:lnTo>
                      <a:pt x="5288" y="1530"/>
                    </a:lnTo>
                    <a:lnTo>
                      <a:pt x="5303" y="1536"/>
                    </a:lnTo>
                    <a:lnTo>
                      <a:pt x="5317" y="1542"/>
                    </a:lnTo>
                    <a:lnTo>
                      <a:pt x="5330" y="1550"/>
                    </a:lnTo>
                    <a:lnTo>
                      <a:pt x="5342" y="1558"/>
                    </a:lnTo>
                    <a:lnTo>
                      <a:pt x="5365" y="1577"/>
                    </a:lnTo>
                    <a:lnTo>
                      <a:pt x="5388" y="1595"/>
                    </a:lnTo>
                    <a:lnTo>
                      <a:pt x="5399" y="1604"/>
                    </a:lnTo>
                    <a:lnTo>
                      <a:pt x="5410" y="1612"/>
                    </a:lnTo>
                    <a:lnTo>
                      <a:pt x="5422" y="1621"/>
                    </a:lnTo>
                    <a:lnTo>
                      <a:pt x="5434" y="1628"/>
                    </a:lnTo>
                    <a:lnTo>
                      <a:pt x="5446" y="1633"/>
                    </a:lnTo>
                    <a:lnTo>
                      <a:pt x="5460" y="1638"/>
                    </a:lnTo>
                    <a:lnTo>
                      <a:pt x="5473" y="1640"/>
                    </a:lnTo>
                    <a:lnTo>
                      <a:pt x="5488" y="1641"/>
                    </a:lnTo>
                    <a:lnTo>
                      <a:pt x="5497" y="1641"/>
                    </a:lnTo>
                    <a:lnTo>
                      <a:pt x="5506" y="1640"/>
                    </a:lnTo>
                    <a:lnTo>
                      <a:pt x="5514" y="1638"/>
                    </a:lnTo>
                    <a:lnTo>
                      <a:pt x="5522" y="1635"/>
                    </a:lnTo>
                    <a:lnTo>
                      <a:pt x="5536" y="1628"/>
                    </a:lnTo>
                    <a:lnTo>
                      <a:pt x="5551" y="1620"/>
                    </a:lnTo>
                    <a:lnTo>
                      <a:pt x="5565" y="1611"/>
                    </a:lnTo>
                    <a:lnTo>
                      <a:pt x="5579" y="1605"/>
                    </a:lnTo>
                    <a:lnTo>
                      <a:pt x="5587" y="1602"/>
                    </a:lnTo>
                    <a:lnTo>
                      <a:pt x="5596" y="1600"/>
                    </a:lnTo>
                    <a:lnTo>
                      <a:pt x="5604" y="1599"/>
                    </a:lnTo>
                    <a:lnTo>
                      <a:pt x="5614" y="1598"/>
                    </a:lnTo>
                    <a:lnTo>
                      <a:pt x="5621" y="1599"/>
                    </a:lnTo>
                    <a:lnTo>
                      <a:pt x="5626" y="1601"/>
                    </a:lnTo>
                    <a:lnTo>
                      <a:pt x="5631" y="1604"/>
                    </a:lnTo>
                    <a:lnTo>
                      <a:pt x="5635" y="1607"/>
                    </a:lnTo>
                    <a:lnTo>
                      <a:pt x="5642" y="1613"/>
                    </a:lnTo>
                    <a:lnTo>
                      <a:pt x="5647" y="1617"/>
                    </a:lnTo>
                    <a:lnTo>
                      <a:pt x="5647" y="1629"/>
                    </a:lnTo>
                    <a:lnTo>
                      <a:pt x="5647" y="1638"/>
                    </a:lnTo>
                    <a:lnTo>
                      <a:pt x="5647" y="1645"/>
                    </a:lnTo>
                    <a:lnTo>
                      <a:pt x="5647" y="1654"/>
                    </a:lnTo>
                    <a:lnTo>
                      <a:pt x="5647" y="1662"/>
                    </a:lnTo>
                    <a:lnTo>
                      <a:pt x="5649" y="1672"/>
                    </a:lnTo>
                    <a:lnTo>
                      <a:pt x="5652" y="1679"/>
                    </a:lnTo>
                    <a:lnTo>
                      <a:pt x="5655" y="1686"/>
                    </a:lnTo>
                    <a:lnTo>
                      <a:pt x="5659" y="1693"/>
                    </a:lnTo>
                    <a:lnTo>
                      <a:pt x="5664" y="1699"/>
                    </a:lnTo>
                    <a:lnTo>
                      <a:pt x="5668" y="1704"/>
                    </a:lnTo>
                    <a:lnTo>
                      <a:pt x="5674" y="1709"/>
                    </a:lnTo>
                    <a:lnTo>
                      <a:pt x="5674" y="1790"/>
                    </a:lnTo>
                    <a:lnTo>
                      <a:pt x="5666" y="1791"/>
                    </a:lnTo>
                    <a:lnTo>
                      <a:pt x="5657" y="1792"/>
                    </a:lnTo>
                    <a:lnTo>
                      <a:pt x="5649" y="1792"/>
                    </a:lnTo>
                    <a:lnTo>
                      <a:pt x="5641" y="1792"/>
                    </a:lnTo>
                    <a:lnTo>
                      <a:pt x="5623" y="1790"/>
                    </a:lnTo>
                    <a:lnTo>
                      <a:pt x="5608" y="1790"/>
                    </a:lnTo>
                    <a:lnTo>
                      <a:pt x="5604" y="1790"/>
                    </a:lnTo>
                    <a:lnTo>
                      <a:pt x="5602" y="1792"/>
                    </a:lnTo>
                    <a:lnTo>
                      <a:pt x="5600" y="1794"/>
                    </a:lnTo>
                    <a:lnTo>
                      <a:pt x="5598" y="1796"/>
                    </a:lnTo>
                    <a:lnTo>
                      <a:pt x="5595" y="1802"/>
                    </a:lnTo>
                    <a:lnTo>
                      <a:pt x="5593" y="1808"/>
                    </a:lnTo>
                    <a:lnTo>
                      <a:pt x="5595" y="1818"/>
                    </a:lnTo>
                    <a:lnTo>
                      <a:pt x="5597" y="1827"/>
                    </a:lnTo>
                    <a:lnTo>
                      <a:pt x="5600" y="1835"/>
                    </a:lnTo>
                    <a:lnTo>
                      <a:pt x="5604" y="1844"/>
                    </a:lnTo>
                    <a:lnTo>
                      <a:pt x="5609" y="1852"/>
                    </a:lnTo>
                    <a:lnTo>
                      <a:pt x="5614" y="1859"/>
                    </a:lnTo>
                    <a:lnTo>
                      <a:pt x="5620" y="1865"/>
                    </a:lnTo>
                    <a:lnTo>
                      <a:pt x="5626" y="1871"/>
                    </a:lnTo>
                    <a:lnTo>
                      <a:pt x="5637" y="1881"/>
                    </a:lnTo>
                    <a:lnTo>
                      <a:pt x="5647" y="1890"/>
                    </a:lnTo>
                    <a:lnTo>
                      <a:pt x="5651" y="1896"/>
                    </a:lnTo>
                    <a:lnTo>
                      <a:pt x="5653" y="1899"/>
                    </a:lnTo>
                    <a:lnTo>
                      <a:pt x="5654" y="1903"/>
                    </a:lnTo>
                    <a:lnTo>
                      <a:pt x="5654" y="1907"/>
                    </a:lnTo>
                    <a:lnTo>
                      <a:pt x="5747" y="1919"/>
                    </a:lnTo>
                    <a:lnTo>
                      <a:pt x="5754" y="1918"/>
                    </a:lnTo>
                    <a:lnTo>
                      <a:pt x="5761" y="1917"/>
                    </a:lnTo>
                    <a:lnTo>
                      <a:pt x="5768" y="1915"/>
                    </a:lnTo>
                    <a:lnTo>
                      <a:pt x="5775" y="1912"/>
                    </a:lnTo>
                    <a:lnTo>
                      <a:pt x="5780" y="1908"/>
                    </a:lnTo>
                    <a:lnTo>
                      <a:pt x="5786" y="1904"/>
                    </a:lnTo>
                    <a:lnTo>
                      <a:pt x="5792" y="1899"/>
                    </a:lnTo>
                    <a:lnTo>
                      <a:pt x="5797" y="1892"/>
                    </a:lnTo>
                    <a:lnTo>
                      <a:pt x="5807" y="1880"/>
                    </a:lnTo>
                    <a:lnTo>
                      <a:pt x="5815" y="1865"/>
                    </a:lnTo>
                    <a:lnTo>
                      <a:pt x="5823" y="1850"/>
                    </a:lnTo>
                    <a:lnTo>
                      <a:pt x="5830" y="1832"/>
                    </a:lnTo>
                    <a:lnTo>
                      <a:pt x="5835" y="1815"/>
                    </a:lnTo>
                    <a:lnTo>
                      <a:pt x="5841" y="1797"/>
                    </a:lnTo>
                    <a:lnTo>
                      <a:pt x="5845" y="1779"/>
                    </a:lnTo>
                    <a:lnTo>
                      <a:pt x="5847" y="1763"/>
                    </a:lnTo>
                    <a:lnTo>
                      <a:pt x="5852" y="1733"/>
                    </a:lnTo>
                    <a:lnTo>
                      <a:pt x="5853" y="1709"/>
                    </a:lnTo>
                    <a:lnTo>
                      <a:pt x="5853" y="1694"/>
                    </a:lnTo>
                    <a:lnTo>
                      <a:pt x="5853" y="1677"/>
                    </a:lnTo>
                    <a:lnTo>
                      <a:pt x="5853" y="1657"/>
                    </a:lnTo>
                    <a:lnTo>
                      <a:pt x="5853" y="1635"/>
                    </a:lnTo>
                    <a:lnTo>
                      <a:pt x="5853" y="1623"/>
                    </a:lnTo>
                    <a:lnTo>
                      <a:pt x="5853" y="1612"/>
                    </a:lnTo>
                    <a:lnTo>
                      <a:pt x="5855" y="1607"/>
                    </a:lnTo>
                    <a:lnTo>
                      <a:pt x="5858" y="1604"/>
                    </a:lnTo>
                    <a:lnTo>
                      <a:pt x="5865" y="1601"/>
                    </a:lnTo>
                    <a:lnTo>
                      <a:pt x="5873" y="1598"/>
                    </a:lnTo>
                    <a:lnTo>
                      <a:pt x="5873" y="1568"/>
                    </a:lnTo>
                    <a:lnTo>
                      <a:pt x="5867" y="1564"/>
                    </a:lnTo>
                    <a:lnTo>
                      <a:pt x="5859" y="1558"/>
                    </a:lnTo>
                    <a:lnTo>
                      <a:pt x="5850" y="1551"/>
                    </a:lnTo>
                    <a:lnTo>
                      <a:pt x="5843" y="1543"/>
                    </a:lnTo>
                    <a:lnTo>
                      <a:pt x="5835" y="1534"/>
                    </a:lnTo>
                    <a:lnTo>
                      <a:pt x="5830" y="1525"/>
                    </a:lnTo>
                    <a:lnTo>
                      <a:pt x="5827" y="1520"/>
                    </a:lnTo>
                    <a:lnTo>
                      <a:pt x="5826" y="1516"/>
                    </a:lnTo>
                    <a:lnTo>
                      <a:pt x="5826" y="1511"/>
                    </a:lnTo>
                    <a:lnTo>
                      <a:pt x="5826" y="1506"/>
                    </a:lnTo>
                    <a:lnTo>
                      <a:pt x="5816" y="1498"/>
                    </a:lnTo>
                    <a:lnTo>
                      <a:pt x="5808" y="1490"/>
                    </a:lnTo>
                    <a:lnTo>
                      <a:pt x="5799" y="1481"/>
                    </a:lnTo>
                    <a:lnTo>
                      <a:pt x="5791" y="1472"/>
                    </a:lnTo>
                    <a:lnTo>
                      <a:pt x="5776" y="1451"/>
                    </a:lnTo>
                    <a:lnTo>
                      <a:pt x="5761" y="1428"/>
                    </a:lnTo>
                    <a:lnTo>
                      <a:pt x="5748" y="1404"/>
                    </a:lnTo>
                    <a:lnTo>
                      <a:pt x="5735" y="1378"/>
                    </a:lnTo>
                    <a:lnTo>
                      <a:pt x="5721" y="1353"/>
                    </a:lnTo>
                    <a:lnTo>
                      <a:pt x="5707" y="1327"/>
                    </a:lnTo>
                    <a:lnTo>
                      <a:pt x="5700" y="1316"/>
                    </a:lnTo>
                    <a:lnTo>
                      <a:pt x="5692" y="1307"/>
                    </a:lnTo>
                    <a:lnTo>
                      <a:pt x="5684" y="1299"/>
                    </a:lnTo>
                    <a:lnTo>
                      <a:pt x="5674" y="1291"/>
                    </a:lnTo>
                    <a:lnTo>
                      <a:pt x="5664" y="1285"/>
                    </a:lnTo>
                    <a:lnTo>
                      <a:pt x="5652" y="1279"/>
                    </a:lnTo>
                    <a:lnTo>
                      <a:pt x="5640" y="1274"/>
                    </a:lnTo>
                    <a:lnTo>
                      <a:pt x="5628" y="1270"/>
                    </a:lnTo>
                    <a:lnTo>
                      <a:pt x="5600" y="1263"/>
                    </a:lnTo>
                    <a:lnTo>
                      <a:pt x="5570" y="1256"/>
                    </a:lnTo>
                    <a:lnTo>
                      <a:pt x="5540" y="1249"/>
                    </a:lnTo>
                    <a:lnTo>
                      <a:pt x="5508" y="1241"/>
                    </a:lnTo>
                    <a:lnTo>
                      <a:pt x="5503" y="1252"/>
                    </a:lnTo>
                    <a:lnTo>
                      <a:pt x="5500" y="1265"/>
                    </a:lnTo>
                    <a:lnTo>
                      <a:pt x="5498" y="1272"/>
                    </a:lnTo>
                    <a:lnTo>
                      <a:pt x="5496" y="1279"/>
                    </a:lnTo>
                    <a:lnTo>
                      <a:pt x="5492" y="1285"/>
                    </a:lnTo>
                    <a:lnTo>
                      <a:pt x="5488" y="1291"/>
                    </a:lnTo>
                    <a:lnTo>
                      <a:pt x="5483" y="1284"/>
                    </a:lnTo>
                    <a:lnTo>
                      <a:pt x="5476" y="1278"/>
                    </a:lnTo>
                    <a:lnTo>
                      <a:pt x="5469" y="1275"/>
                    </a:lnTo>
                    <a:lnTo>
                      <a:pt x="5462" y="1272"/>
                    </a:lnTo>
                    <a:lnTo>
                      <a:pt x="5446" y="1267"/>
                    </a:lnTo>
                    <a:lnTo>
                      <a:pt x="5431" y="1264"/>
                    </a:lnTo>
                    <a:lnTo>
                      <a:pt x="5423" y="1262"/>
                    </a:lnTo>
                    <a:lnTo>
                      <a:pt x="5417" y="1260"/>
                    </a:lnTo>
                    <a:lnTo>
                      <a:pt x="5411" y="1257"/>
                    </a:lnTo>
                    <a:lnTo>
                      <a:pt x="5406" y="1254"/>
                    </a:lnTo>
                    <a:lnTo>
                      <a:pt x="5401" y="1249"/>
                    </a:lnTo>
                    <a:lnTo>
                      <a:pt x="5398" y="1244"/>
                    </a:lnTo>
                    <a:lnTo>
                      <a:pt x="5396" y="1237"/>
                    </a:lnTo>
                    <a:lnTo>
                      <a:pt x="5395" y="1229"/>
                    </a:lnTo>
                    <a:lnTo>
                      <a:pt x="5378" y="1226"/>
                    </a:lnTo>
                    <a:lnTo>
                      <a:pt x="5341" y="1218"/>
                    </a:lnTo>
                    <a:lnTo>
                      <a:pt x="5322" y="1214"/>
                    </a:lnTo>
                    <a:lnTo>
                      <a:pt x="5305" y="1210"/>
                    </a:lnTo>
                    <a:lnTo>
                      <a:pt x="5293" y="1207"/>
                    </a:lnTo>
                    <a:lnTo>
                      <a:pt x="5288" y="1204"/>
                    </a:lnTo>
                    <a:lnTo>
                      <a:pt x="5289" y="1197"/>
                    </a:lnTo>
                    <a:lnTo>
                      <a:pt x="5293" y="1191"/>
                    </a:lnTo>
                    <a:lnTo>
                      <a:pt x="5298" y="1185"/>
                    </a:lnTo>
                    <a:lnTo>
                      <a:pt x="5304" y="1180"/>
                    </a:lnTo>
                    <a:lnTo>
                      <a:pt x="5319" y="1167"/>
                    </a:lnTo>
                    <a:lnTo>
                      <a:pt x="5334" y="1154"/>
                    </a:lnTo>
                    <a:lnTo>
                      <a:pt x="5331" y="1147"/>
                    </a:lnTo>
                    <a:lnTo>
                      <a:pt x="5329" y="1140"/>
                    </a:lnTo>
                    <a:lnTo>
                      <a:pt x="5328" y="1132"/>
                    </a:lnTo>
                    <a:lnTo>
                      <a:pt x="5329" y="1125"/>
                    </a:lnTo>
                    <a:lnTo>
                      <a:pt x="5331" y="1117"/>
                    </a:lnTo>
                    <a:lnTo>
                      <a:pt x="5334" y="1108"/>
                    </a:lnTo>
                    <a:lnTo>
                      <a:pt x="5339" y="1100"/>
                    </a:lnTo>
                    <a:lnTo>
                      <a:pt x="5343" y="1092"/>
                    </a:lnTo>
                    <a:lnTo>
                      <a:pt x="5365" y="1064"/>
                    </a:lnTo>
                    <a:lnTo>
                      <a:pt x="5382" y="1043"/>
                    </a:lnTo>
                    <a:lnTo>
                      <a:pt x="5382" y="964"/>
                    </a:lnTo>
                    <a:lnTo>
                      <a:pt x="5388" y="962"/>
                    </a:lnTo>
                    <a:lnTo>
                      <a:pt x="5396" y="961"/>
                    </a:lnTo>
                    <a:lnTo>
                      <a:pt x="5402" y="961"/>
                    </a:lnTo>
                    <a:lnTo>
                      <a:pt x="5409" y="962"/>
                    </a:lnTo>
                    <a:lnTo>
                      <a:pt x="5423" y="963"/>
                    </a:lnTo>
                    <a:lnTo>
                      <a:pt x="5441" y="964"/>
                    </a:lnTo>
                    <a:lnTo>
                      <a:pt x="5465" y="964"/>
                    </a:lnTo>
                    <a:lnTo>
                      <a:pt x="5492" y="966"/>
                    </a:lnTo>
                    <a:lnTo>
                      <a:pt x="5521" y="968"/>
                    </a:lnTo>
                    <a:lnTo>
                      <a:pt x="5552" y="970"/>
                    </a:lnTo>
                    <a:lnTo>
                      <a:pt x="5583" y="972"/>
                    </a:lnTo>
                    <a:lnTo>
                      <a:pt x="5612" y="974"/>
                    </a:lnTo>
                    <a:lnTo>
                      <a:pt x="5641" y="975"/>
                    </a:lnTo>
                    <a:lnTo>
                      <a:pt x="5667" y="976"/>
                    </a:lnTo>
                    <a:lnTo>
                      <a:pt x="5671" y="975"/>
                    </a:lnTo>
                    <a:lnTo>
                      <a:pt x="5677" y="972"/>
                    </a:lnTo>
                    <a:lnTo>
                      <a:pt x="5682" y="968"/>
                    </a:lnTo>
                    <a:lnTo>
                      <a:pt x="5687" y="964"/>
                    </a:lnTo>
                    <a:lnTo>
                      <a:pt x="5674" y="945"/>
                    </a:lnTo>
                    <a:lnTo>
                      <a:pt x="5807" y="945"/>
                    </a:lnTo>
                    <a:lnTo>
                      <a:pt x="5809" y="949"/>
                    </a:lnTo>
                    <a:lnTo>
                      <a:pt x="5816" y="955"/>
                    </a:lnTo>
                    <a:lnTo>
                      <a:pt x="5825" y="962"/>
                    </a:lnTo>
                    <a:lnTo>
                      <a:pt x="5836" y="969"/>
                    </a:lnTo>
                    <a:lnTo>
                      <a:pt x="5857" y="982"/>
                    </a:lnTo>
                    <a:lnTo>
                      <a:pt x="5867" y="988"/>
                    </a:lnTo>
                    <a:lnTo>
                      <a:pt x="5871" y="988"/>
                    </a:lnTo>
                    <a:lnTo>
                      <a:pt x="5875" y="987"/>
                    </a:lnTo>
                    <a:lnTo>
                      <a:pt x="5878" y="985"/>
                    </a:lnTo>
                    <a:lnTo>
                      <a:pt x="5880" y="983"/>
                    </a:lnTo>
                    <a:lnTo>
                      <a:pt x="5884" y="979"/>
                    </a:lnTo>
                    <a:lnTo>
                      <a:pt x="5888" y="973"/>
                    </a:lnTo>
                    <a:lnTo>
                      <a:pt x="5892" y="967"/>
                    </a:lnTo>
                    <a:lnTo>
                      <a:pt x="5898" y="963"/>
                    </a:lnTo>
                    <a:lnTo>
                      <a:pt x="5902" y="961"/>
                    </a:lnTo>
                    <a:lnTo>
                      <a:pt x="5906" y="959"/>
                    </a:lnTo>
                    <a:lnTo>
                      <a:pt x="5913" y="958"/>
                    </a:lnTo>
                    <a:lnTo>
                      <a:pt x="5920" y="958"/>
                    </a:lnTo>
                    <a:lnTo>
                      <a:pt x="5911" y="954"/>
                    </a:lnTo>
                    <a:lnTo>
                      <a:pt x="5904" y="950"/>
                    </a:lnTo>
                    <a:lnTo>
                      <a:pt x="5900" y="945"/>
                    </a:lnTo>
                    <a:lnTo>
                      <a:pt x="5897" y="941"/>
                    </a:lnTo>
                    <a:lnTo>
                      <a:pt x="5894" y="935"/>
                    </a:lnTo>
                    <a:lnTo>
                      <a:pt x="5893" y="927"/>
                    </a:lnTo>
                    <a:lnTo>
                      <a:pt x="5893" y="916"/>
                    </a:lnTo>
                    <a:lnTo>
                      <a:pt x="5893" y="902"/>
                    </a:lnTo>
                    <a:lnTo>
                      <a:pt x="5893" y="886"/>
                    </a:lnTo>
                    <a:lnTo>
                      <a:pt x="5894" y="871"/>
                    </a:lnTo>
                    <a:lnTo>
                      <a:pt x="5897" y="858"/>
                    </a:lnTo>
                    <a:lnTo>
                      <a:pt x="5900" y="846"/>
                    </a:lnTo>
                    <a:lnTo>
                      <a:pt x="5902" y="841"/>
                    </a:lnTo>
                    <a:lnTo>
                      <a:pt x="5904" y="835"/>
                    </a:lnTo>
                    <a:lnTo>
                      <a:pt x="5906" y="831"/>
                    </a:lnTo>
                    <a:lnTo>
                      <a:pt x="5910" y="828"/>
                    </a:lnTo>
                    <a:lnTo>
                      <a:pt x="5913" y="825"/>
                    </a:lnTo>
                    <a:lnTo>
                      <a:pt x="5917" y="823"/>
                    </a:lnTo>
                    <a:lnTo>
                      <a:pt x="5922" y="822"/>
                    </a:lnTo>
                    <a:lnTo>
                      <a:pt x="5926" y="822"/>
                    </a:lnTo>
                    <a:lnTo>
                      <a:pt x="5945" y="822"/>
                    </a:lnTo>
                    <a:lnTo>
                      <a:pt x="5974" y="822"/>
                    </a:lnTo>
                    <a:lnTo>
                      <a:pt x="6006" y="822"/>
                    </a:lnTo>
                    <a:lnTo>
                      <a:pt x="6033" y="822"/>
                    </a:lnTo>
                    <a:lnTo>
                      <a:pt x="6037" y="828"/>
                    </a:lnTo>
                    <a:lnTo>
                      <a:pt x="6045" y="838"/>
                    </a:lnTo>
                    <a:lnTo>
                      <a:pt x="6055" y="849"/>
                    </a:lnTo>
                    <a:lnTo>
                      <a:pt x="6066" y="860"/>
                    </a:lnTo>
                    <a:lnTo>
                      <a:pt x="6077" y="871"/>
                    </a:lnTo>
                    <a:lnTo>
                      <a:pt x="6086" y="881"/>
                    </a:lnTo>
                    <a:lnTo>
                      <a:pt x="6094" y="887"/>
                    </a:lnTo>
                    <a:lnTo>
                      <a:pt x="6099" y="889"/>
                    </a:lnTo>
                    <a:lnTo>
                      <a:pt x="6102" y="881"/>
                    </a:lnTo>
                    <a:lnTo>
                      <a:pt x="6105" y="874"/>
                    </a:lnTo>
                    <a:lnTo>
                      <a:pt x="6108" y="867"/>
                    </a:lnTo>
                    <a:lnTo>
                      <a:pt x="6112" y="861"/>
                    </a:lnTo>
                    <a:lnTo>
                      <a:pt x="6116" y="855"/>
                    </a:lnTo>
                    <a:lnTo>
                      <a:pt x="6119" y="848"/>
                    </a:lnTo>
                    <a:lnTo>
                      <a:pt x="6123" y="839"/>
                    </a:lnTo>
                    <a:lnTo>
                      <a:pt x="6125" y="828"/>
                    </a:lnTo>
                    <a:lnTo>
                      <a:pt x="6128" y="830"/>
                    </a:lnTo>
                    <a:lnTo>
                      <a:pt x="6132" y="831"/>
                    </a:lnTo>
                    <a:lnTo>
                      <a:pt x="6135" y="832"/>
                    </a:lnTo>
                    <a:lnTo>
                      <a:pt x="6139" y="832"/>
                    </a:lnTo>
                    <a:lnTo>
                      <a:pt x="6144" y="832"/>
                    </a:lnTo>
                    <a:lnTo>
                      <a:pt x="6149" y="831"/>
                    </a:lnTo>
                    <a:lnTo>
                      <a:pt x="6153" y="830"/>
                    </a:lnTo>
                    <a:lnTo>
                      <a:pt x="6159" y="828"/>
                    </a:lnTo>
                    <a:lnTo>
                      <a:pt x="6148" y="815"/>
                    </a:lnTo>
                    <a:lnTo>
                      <a:pt x="6137" y="803"/>
                    </a:lnTo>
                    <a:lnTo>
                      <a:pt x="6133" y="796"/>
                    </a:lnTo>
                    <a:lnTo>
                      <a:pt x="6128" y="789"/>
                    </a:lnTo>
                    <a:lnTo>
                      <a:pt x="6126" y="782"/>
                    </a:lnTo>
                    <a:lnTo>
                      <a:pt x="6125" y="772"/>
                    </a:lnTo>
                    <a:lnTo>
                      <a:pt x="6126" y="767"/>
                    </a:lnTo>
                    <a:lnTo>
                      <a:pt x="6128" y="764"/>
                    </a:lnTo>
                    <a:lnTo>
                      <a:pt x="6132" y="761"/>
                    </a:lnTo>
                    <a:lnTo>
                      <a:pt x="6135" y="760"/>
                    </a:lnTo>
                    <a:lnTo>
                      <a:pt x="6140" y="759"/>
                    </a:lnTo>
                    <a:lnTo>
                      <a:pt x="6146" y="759"/>
                    </a:lnTo>
                    <a:lnTo>
                      <a:pt x="6152" y="760"/>
                    </a:lnTo>
                    <a:lnTo>
                      <a:pt x="6159" y="762"/>
                    </a:lnTo>
                    <a:lnTo>
                      <a:pt x="6188" y="771"/>
                    </a:lnTo>
                    <a:lnTo>
                      <a:pt x="6212" y="778"/>
                    </a:lnTo>
                    <a:lnTo>
                      <a:pt x="6202" y="779"/>
                    </a:lnTo>
                    <a:lnTo>
                      <a:pt x="6193" y="782"/>
                    </a:lnTo>
                    <a:lnTo>
                      <a:pt x="6184" y="784"/>
                    </a:lnTo>
                    <a:lnTo>
                      <a:pt x="6179" y="785"/>
                    </a:lnTo>
                    <a:lnTo>
                      <a:pt x="6180" y="792"/>
                    </a:lnTo>
                    <a:lnTo>
                      <a:pt x="6183" y="797"/>
                    </a:lnTo>
                    <a:lnTo>
                      <a:pt x="6186" y="802"/>
                    </a:lnTo>
                    <a:lnTo>
                      <a:pt x="6191" y="807"/>
                    </a:lnTo>
                    <a:lnTo>
                      <a:pt x="6201" y="815"/>
                    </a:lnTo>
                    <a:lnTo>
                      <a:pt x="6211" y="822"/>
                    </a:lnTo>
                    <a:lnTo>
                      <a:pt x="6222" y="829"/>
                    </a:lnTo>
                    <a:lnTo>
                      <a:pt x="6230" y="837"/>
                    </a:lnTo>
                    <a:lnTo>
                      <a:pt x="6234" y="842"/>
                    </a:lnTo>
                    <a:lnTo>
                      <a:pt x="6236" y="847"/>
                    </a:lnTo>
                    <a:lnTo>
                      <a:pt x="6238" y="853"/>
                    </a:lnTo>
                    <a:lnTo>
                      <a:pt x="6238" y="859"/>
                    </a:lnTo>
                    <a:lnTo>
                      <a:pt x="6237" y="867"/>
                    </a:lnTo>
                    <a:lnTo>
                      <a:pt x="6231" y="878"/>
                    </a:lnTo>
                    <a:lnTo>
                      <a:pt x="6224" y="893"/>
                    </a:lnTo>
                    <a:lnTo>
                      <a:pt x="6215" y="907"/>
                    </a:lnTo>
                    <a:lnTo>
                      <a:pt x="6206" y="922"/>
                    </a:lnTo>
                    <a:lnTo>
                      <a:pt x="6200" y="937"/>
                    </a:lnTo>
                    <a:lnTo>
                      <a:pt x="6196" y="944"/>
                    </a:lnTo>
                    <a:lnTo>
                      <a:pt x="6194" y="952"/>
                    </a:lnTo>
                    <a:lnTo>
                      <a:pt x="6192" y="958"/>
                    </a:lnTo>
                    <a:lnTo>
                      <a:pt x="6192" y="964"/>
                    </a:lnTo>
                    <a:lnTo>
                      <a:pt x="6193" y="970"/>
                    </a:lnTo>
                    <a:lnTo>
                      <a:pt x="6195" y="974"/>
                    </a:lnTo>
                    <a:lnTo>
                      <a:pt x="6198" y="977"/>
                    </a:lnTo>
                    <a:lnTo>
                      <a:pt x="6202" y="979"/>
                    </a:lnTo>
                    <a:lnTo>
                      <a:pt x="6205" y="981"/>
                    </a:lnTo>
                    <a:lnTo>
                      <a:pt x="6208" y="984"/>
                    </a:lnTo>
                    <a:lnTo>
                      <a:pt x="6211" y="988"/>
                    </a:lnTo>
                    <a:lnTo>
                      <a:pt x="6212" y="994"/>
                    </a:lnTo>
                    <a:lnTo>
                      <a:pt x="6212" y="1001"/>
                    </a:lnTo>
                    <a:lnTo>
                      <a:pt x="6211" y="1010"/>
                    </a:lnTo>
                    <a:lnTo>
                      <a:pt x="6208" y="1018"/>
                    </a:lnTo>
                    <a:lnTo>
                      <a:pt x="6204" y="1026"/>
                    </a:lnTo>
                    <a:lnTo>
                      <a:pt x="6202" y="1030"/>
                    </a:lnTo>
                    <a:lnTo>
                      <a:pt x="6200" y="1033"/>
                    </a:lnTo>
                    <a:lnTo>
                      <a:pt x="6196" y="1036"/>
                    </a:lnTo>
                    <a:lnTo>
                      <a:pt x="6192" y="1039"/>
                    </a:lnTo>
                    <a:lnTo>
                      <a:pt x="6188" y="1041"/>
                    </a:lnTo>
                    <a:lnTo>
                      <a:pt x="6183" y="1042"/>
                    </a:lnTo>
                    <a:lnTo>
                      <a:pt x="6178" y="1043"/>
                    </a:lnTo>
                    <a:lnTo>
                      <a:pt x="6172" y="1043"/>
                    </a:lnTo>
                    <a:lnTo>
                      <a:pt x="6173" y="1062"/>
                    </a:lnTo>
                    <a:lnTo>
                      <a:pt x="6175" y="1079"/>
                    </a:lnTo>
                    <a:lnTo>
                      <a:pt x="6181" y="1095"/>
                    </a:lnTo>
                    <a:lnTo>
                      <a:pt x="6186" y="1111"/>
                    </a:lnTo>
                    <a:lnTo>
                      <a:pt x="6194" y="1126"/>
                    </a:lnTo>
                    <a:lnTo>
                      <a:pt x="6204" y="1140"/>
                    </a:lnTo>
                    <a:lnTo>
                      <a:pt x="6214" y="1153"/>
                    </a:lnTo>
                    <a:lnTo>
                      <a:pt x="6226" y="1166"/>
                    </a:lnTo>
                    <a:lnTo>
                      <a:pt x="6238" y="1179"/>
                    </a:lnTo>
                    <a:lnTo>
                      <a:pt x="6252" y="1190"/>
                    </a:lnTo>
                    <a:lnTo>
                      <a:pt x="6267" y="1201"/>
                    </a:lnTo>
                    <a:lnTo>
                      <a:pt x="6281" y="1211"/>
                    </a:lnTo>
                    <a:lnTo>
                      <a:pt x="6296" y="1220"/>
                    </a:lnTo>
                    <a:lnTo>
                      <a:pt x="6313" y="1230"/>
                    </a:lnTo>
                    <a:lnTo>
                      <a:pt x="6328" y="1239"/>
                    </a:lnTo>
                    <a:lnTo>
                      <a:pt x="6345" y="1247"/>
                    </a:lnTo>
                    <a:lnTo>
                      <a:pt x="6352" y="1251"/>
                    </a:lnTo>
                    <a:lnTo>
                      <a:pt x="6360" y="1256"/>
                    </a:lnTo>
                    <a:lnTo>
                      <a:pt x="6365" y="1261"/>
                    </a:lnTo>
                    <a:lnTo>
                      <a:pt x="6371" y="1267"/>
                    </a:lnTo>
                    <a:lnTo>
                      <a:pt x="6379" y="1282"/>
                    </a:lnTo>
                    <a:lnTo>
                      <a:pt x="6387" y="1297"/>
                    </a:lnTo>
                    <a:lnTo>
                      <a:pt x="6392" y="1304"/>
                    </a:lnTo>
                    <a:lnTo>
                      <a:pt x="6396" y="1311"/>
                    </a:lnTo>
                    <a:lnTo>
                      <a:pt x="6402" y="1318"/>
                    </a:lnTo>
                    <a:lnTo>
                      <a:pt x="6407" y="1325"/>
                    </a:lnTo>
                    <a:lnTo>
                      <a:pt x="6415" y="1331"/>
                    </a:lnTo>
                    <a:lnTo>
                      <a:pt x="6422" y="1337"/>
                    </a:lnTo>
                    <a:lnTo>
                      <a:pt x="6432" y="1342"/>
                    </a:lnTo>
                    <a:lnTo>
                      <a:pt x="6444" y="1346"/>
                    </a:lnTo>
                    <a:lnTo>
                      <a:pt x="6452" y="1347"/>
                    </a:lnTo>
                    <a:lnTo>
                      <a:pt x="6464" y="1351"/>
                    </a:lnTo>
                    <a:lnTo>
                      <a:pt x="6471" y="1353"/>
                    </a:lnTo>
                    <a:lnTo>
                      <a:pt x="6476" y="1356"/>
                    </a:lnTo>
                    <a:lnTo>
                      <a:pt x="6481" y="1360"/>
                    </a:lnTo>
                    <a:lnTo>
                      <a:pt x="6484" y="1364"/>
                    </a:lnTo>
                    <a:lnTo>
                      <a:pt x="6491" y="1374"/>
                    </a:lnTo>
                    <a:lnTo>
                      <a:pt x="6497" y="1384"/>
                    </a:lnTo>
                    <a:lnTo>
                      <a:pt x="6506" y="1395"/>
                    </a:lnTo>
                    <a:lnTo>
                      <a:pt x="6515" y="1404"/>
                    </a:lnTo>
                    <a:lnTo>
                      <a:pt x="6525" y="1413"/>
                    </a:lnTo>
                    <a:lnTo>
                      <a:pt x="6533" y="1420"/>
                    </a:lnTo>
                    <a:lnTo>
                      <a:pt x="6538" y="1422"/>
                    </a:lnTo>
                    <a:lnTo>
                      <a:pt x="6542" y="1424"/>
                    </a:lnTo>
                    <a:lnTo>
                      <a:pt x="6547" y="1425"/>
                    </a:lnTo>
                    <a:lnTo>
                      <a:pt x="6551" y="1426"/>
                    </a:lnTo>
                    <a:lnTo>
                      <a:pt x="6554" y="1425"/>
                    </a:lnTo>
                    <a:lnTo>
                      <a:pt x="6558" y="1425"/>
                    </a:lnTo>
                    <a:lnTo>
                      <a:pt x="6561" y="1423"/>
                    </a:lnTo>
                    <a:lnTo>
                      <a:pt x="6564" y="1421"/>
                    </a:lnTo>
                    <a:lnTo>
                      <a:pt x="6570" y="1416"/>
                    </a:lnTo>
                    <a:lnTo>
                      <a:pt x="6575" y="1410"/>
                    </a:lnTo>
                    <a:lnTo>
                      <a:pt x="6578" y="1402"/>
                    </a:lnTo>
                    <a:lnTo>
                      <a:pt x="6582" y="1391"/>
                    </a:lnTo>
                    <a:lnTo>
                      <a:pt x="6583" y="1381"/>
                    </a:lnTo>
                    <a:lnTo>
                      <a:pt x="6584" y="1370"/>
                    </a:lnTo>
                    <a:lnTo>
                      <a:pt x="6583" y="1366"/>
                    </a:lnTo>
                    <a:lnTo>
                      <a:pt x="6582" y="1362"/>
                    </a:lnTo>
                    <a:lnTo>
                      <a:pt x="6579" y="1359"/>
                    </a:lnTo>
                    <a:lnTo>
                      <a:pt x="6576" y="1356"/>
                    </a:lnTo>
                    <a:lnTo>
                      <a:pt x="6570" y="1350"/>
                    </a:lnTo>
                    <a:lnTo>
                      <a:pt x="6561" y="1345"/>
                    </a:lnTo>
                    <a:lnTo>
                      <a:pt x="6552" y="1340"/>
                    </a:lnTo>
                    <a:lnTo>
                      <a:pt x="6544" y="1333"/>
                    </a:lnTo>
                    <a:lnTo>
                      <a:pt x="6542" y="1329"/>
                    </a:lnTo>
                    <a:lnTo>
                      <a:pt x="6539" y="1325"/>
                    </a:lnTo>
                    <a:lnTo>
                      <a:pt x="6538" y="1320"/>
                    </a:lnTo>
                    <a:lnTo>
                      <a:pt x="6538" y="1315"/>
                    </a:lnTo>
                    <a:lnTo>
                      <a:pt x="6539" y="1313"/>
                    </a:lnTo>
                    <a:lnTo>
                      <a:pt x="6542" y="1310"/>
                    </a:lnTo>
                    <a:lnTo>
                      <a:pt x="6547" y="1308"/>
                    </a:lnTo>
                    <a:lnTo>
                      <a:pt x="6552" y="1306"/>
                    </a:lnTo>
                    <a:lnTo>
                      <a:pt x="6565" y="1301"/>
                    </a:lnTo>
                    <a:lnTo>
                      <a:pt x="6577" y="1297"/>
                    </a:lnTo>
                    <a:lnTo>
                      <a:pt x="6569" y="1280"/>
                    </a:lnTo>
                    <a:lnTo>
                      <a:pt x="6560" y="1268"/>
                    </a:lnTo>
                    <a:lnTo>
                      <a:pt x="6550" y="1256"/>
                    </a:lnTo>
                    <a:lnTo>
                      <a:pt x="6538" y="1241"/>
                    </a:lnTo>
                    <a:lnTo>
                      <a:pt x="6540" y="1239"/>
                    </a:lnTo>
                    <a:lnTo>
                      <a:pt x="6544" y="1238"/>
                    </a:lnTo>
                    <a:lnTo>
                      <a:pt x="6550" y="1237"/>
                    </a:lnTo>
                    <a:lnTo>
                      <a:pt x="6556" y="1236"/>
                    </a:lnTo>
                    <a:lnTo>
                      <a:pt x="6572" y="1235"/>
                    </a:lnTo>
                    <a:lnTo>
                      <a:pt x="6590" y="1235"/>
                    </a:lnTo>
                    <a:lnTo>
                      <a:pt x="6583" y="1229"/>
                    </a:lnTo>
                    <a:lnTo>
                      <a:pt x="6572" y="1219"/>
                    </a:lnTo>
                    <a:lnTo>
                      <a:pt x="6566" y="1214"/>
                    </a:lnTo>
                    <a:lnTo>
                      <a:pt x="6562" y="1210"/>
                    </a:lnTo>
                    <a:lnTo>
                      <a:pt x="6559" y="1207"/>
                    </a:lnTo>
                    <a:lnTo>
                      <a:pt x="6558" y="1204"/>
                    </a:lnTo>
                    <a:lnTo>
                      <a:pt x="6550" y="1199"/>
                    </a:lnTo>
                    <a:lnTo>
                      <a:pt x="6544" y="1194"/>
                    </a:lnTo>
                    <a:lnTo>
                      <a:pt x="6540" y="1187"/>
                    </a:lnTo>
                    <a:lnTo>
                      <a:pt x="6537" y="1180"/>
                    </a:lnTo>
                    <a:lnTo>
                      <a:pt x="6533" y="1173"/>
                    </a:lnTo>
                    <a:lnTo>
                      <a:pt x="6532" y="1163"/>
                    </a:lnTo>
                    <a:lnTo>
                      <a:pt x="6531" y="1153"/>
                    </a:lnTo>
                    <a:lnTo>
                      <a:pt x="6531" y="1142"/>
                    </a:lnTo>
                    <a:lnTo>
                      <a:pt x="6536" y="1142"/>
                    </a:lnTo>
                    <a:lnTo>
                      <a:pt x="6540" y="1140"/>
                    </a:lnTo>
                    <a:lnTo>
                      <a:pt x="6545" y="1138"/>
                    </a:lnTo>
                    <a:lnTo>
                      <a:pt x="6549" y="1136"/>
                    </a:lnTo>
                    <a:lnTo>
                      <a:pt x="6552" y="1133"/>
                    </a:lnTo>
                    <a:lnTo>
                      <a:pt x="6555" y="1130"/>
                    </a:lnTo>
                    <a:lnTo>
                      <a:pt x="6556" y="1127"/>
                    </a:lnTo>
                    <a:lnTo>
                      <a:pt x="6558" y="1124"/>
                    </a:lnTo>
                    <a:lnTo>
                      <a:pt x="6539" y="1118"/>
                    </a:lnTo>
                    <a:lnTo>
                      <a:pt x="6522" y="1110"/>
                    </a:lnTo>
                    <a:lnTo>
                      <a:pt x="6508" y="1103"/>
                    </a:lnTo>
                    <a:lnTo>
                      <a:pt x="6496" y="1095"/>
                    </a:lnTo>
                    <a:lnTo>
                      <a:pt x="6476" y="1078"/>
                    </a:lnTo>
                    <a:lnTo>
                      <a:pt x="6460" y="1063"/>
                    </a:lnTo>
                    <a:lnTo>
                      <a:pt x="6452" y="1055"/>
                    </a:lnTo>
                    <a:lnTo>
                      <a:pt x="6444" y="1048"/>
                    </a:lnTo>
                    <a:lnTo>
                      <a:pt x="6437" y="1043"/>
                    </a:lnTo>
                    <a:lnTo>
                      <a:pt x="6427" y="1039"/>
                    </a:lnTo>
                    <a:lnTo>
                      <a:pt x="6417" y="1036"/>
                    </a:lnTo>
                    <a:lnTo>
                      <a:pt x="6406" y="1035"/>
                    </a:lnTo>
                    <a:lnTo>
                      <a:pt x="6393" y="1035"/>
                    </a:lnTo>
                    <a:lnTo>
                      <a:pt x="6377" y="1037"/>
                    </a:lnTo>
                    <a:lnTo>
                      <a:pt x="6375" y="1038"/>
                    </a:lnTo>
                    <a:lnTo>
                      <a:pt x="6373" y="1037"/>
                    </a:lnTo>
                    <a:lnTo>
                      <a:pt x="6372" y="1036"/>
                    </a:lnTo>
                    <a:lnTo>
                      <a:pt x="6370" y="1035"/>
                    </a:lnTo>
                    <a:lnTo>
                      <a:pt x="6368" y="1031"/>
                    </a:lnTo>
                    <a:lnTo>
                      <a:pt x="6365" y="1025"/>
                    </a:lnTo>
                    <a:lnTo>
                      <a:pt x="6363" y="1009"/>
                    </a:lnTo>
                    <a:lnTo>
                      <a:pt x="6360" y="990"/>
                    </a:lnTo>
                    <a:lnTo>
                      <a:pt x="6358" y="981"/>
                    </a:lnTo>
                    <a:lnTo>
                      <a:pt x="6354" y="972"/>
                    </a:lnTo>
                    <a:lnTo>
                      <a:pt x="6351" y="963"/>
                    </a:lnTo>
                    <a:lnTo>
                      <a:pt x="6346" y="956"/>
                    </a:lnTo>
                    <a:lnTo>
                      <a:pt x="6340" y="949"/>
                    </a:lnTo>
                    <a:lnTo>
                      <a:pt x="6332" y="943"/>
                    </a:lnTo>
                    <a:lnTo>
                      <a:pt x="6328" y="941"/>
                    </a:lnTo>
                    <a:lnTo>
                      <a:pt x="6323" y="940"/>
                    </a:lnTo>
                    <a:lnTo>
                      <a:pt x="6317" y="939"/>
                    </a:lnTo>
                    <a:lnTo>
                      <a:pt x="6312" y="939"/>
                    </a:lnTo>
                    <a:lnTo>
                      <a:pt x="6392" y="889"/>
                    </a:lnTo>
                    <a:lnTo>
                      <a:pt x="6396" y="890"/>
                    </a:lnTo>
                    <a:lnTo>
                      <a:pt x="6399" y="894"/>
                    </a:lnTo>
                    <a:lnTo>
                      <a:pt x="6403" y="898"/>
                    </a:lnTo>
                    <a:lnTo>
                      <a:pt x="6405" y="902"/>
                    </a:lnTo>
                    <a:lnTo>
                      <a:pt x="6408" y="907"/>
                    </a:lnTo>
                    <a:lnTo>
                      <a:pt x="6413" y="911"/>
                    </a:lnTo>
                    <a:lnTo>
                      <a:pt x="6415" y="912"/>
                    </a:lnTo>
                    <a:lnTo>
                      <a:pt x="6418" y="913"/>
                    </a:lnTo>
                    <a:lnTo>
                      <a:pt x="6421" y="914"/>
                    </a:lnTo>
                    <a:lnTo>
                      <a:pt x="6425" y="914"/>
                    </a:lnTo>
                    <a:lnTo>
                      <a:pt x="6435" y="913"/>
                    </a:lnTo>
                    <a:lnTo>
                      <a:pt x="6446" y="910"/>
                    </a:lnTo>
                    <a:lnTo>
                      <a:pt x="6458" y="906"/>
                    </a:lnTo>
                    <a:lnTo>
                      <a:pt x="6470" y="901"/>
                    </a:lnTo>
                    <a:lnTo>
                      <a:pt x="6495" y="888"/>
                    </a:lnTo>
                    <a:lnTo>
                      <a:pt x="6525" y="877"/>
                    </a:lnTo>
                    <a:lnTo>
                      <a:pt x="6544" y="877"/>
                    </a:lnTo>
                    <a:lnTo>
                      <a:pt x="6547" y="885"/>
                    </a:lnTo>
                    <a:lnTo>
                      <a:pt x="6551" y="893"/>
                    </a:lnTo>
                    <a:lnTo>
                      <a:pt x="6556" y="899"/>
                    </a:lnTo>
                    <a:lnTo>
                      <a:pt x="6562" y="905"/>
                    </a:lnTo>
                    <a:lnTo>
                      <a:pt x="6576" y="915"/>
                    </a:lnTo>
                    <a:lnTo>
                      <a:pt x="6590" y="927"/>
                    </a:lnTo>
                    <a:lnTo>
                      <a:pt x="6596" y="906"/>
                    </a:lnTo>
                    <a:lnTo>
                      <a:pt x="6601" y="884"/>
                    </a:lnTo>
                    <a:lnTo>
                      <a:pt x="6605" y="873"/>
                    </a:lnTo>
                    <a:lnTo>
                      <a:pt x="6609" y="863"/>
                    </a:lnTo>
                    <a:lnTo>
                      <a:pt x="6614" y="854"/>
                    </a:lnTo>
                    <a:lnTo>
                      <a:pt x="6619" y="845"/>
                    </a:lnTo>
                    <a:lnTo>
                      <a:pt x="6626" y="835"/>
                    </a:lnTo>
                    <a:lnTo>
                      <a:pt x="6633" y="827"/>
                    </a:lnTo>
                    <a:lnTo>
                      <a:pt x="6642" y="821"/>
                    </a:lnTo>
                    <a:lnTo>
                      <a:pt x="6651" y="815"/>
                    </a:lnTo>
                    <a:lnTo>
                      <a:pt x="6662" y="810"/>
                    </a:lnTo>
                    <a:lnTo>
                      <a:pt x="6674" y="806"/>
                    </a:lnTo>
                    <a:lnTo>
                      <a:pt x="6688" y="804"/>
                    </a:lnTo>
                    <a:lnTo>
                      <a:pt x="6704" y="803"/>
                    </a:lnTo>
                    <a:lnTo>
                      <a:pt x="6701" y="799"/>
                    </a:lnTo>
                    <a:lnTo>
                      <a:pt x="6700" y="794"/>
                    </a:lnTo>
                    <a:lnTo>
                      <a:pt x="6700" y="790"/>
                    </a:lnTo>
                    <a:lnTo>
                      <a:pt x="6701" y="785"/>
                    </a:lnTo>
                    <a:lnTo>
                      <a:pt x="6702" y="775"/>
                    </a:lnTo>
                    <a:lnTo>
                      <a:pt x="6704" y="766"/>
                    </a:lnTo>
                    <a:lnTo>
                      <a:pt x="6709" y="770"/>
                    </a:lnTo>
                    <a:lnTo>
                      <a:pt x="6715" y="773"/>
                    </a:lnTo>
                    <a:lnTo>
                      <a:pt x="6721" y="775"/>
                    </a:lnTo>
                    <a:lnTo>
                      <a:pt x="6729" y="777"/>
                    </a:lnTo>
                    <a:lnTo>
                      <a:pt x="6744" y="778"/>
                    </a:lnTo>
                    <a:lnTo>
                      <a:pt x="6763" y="778"/>
                    </a:lnTo>
                    <a:lnTo>
                      <a:pt x="6774" y="781"/>
                    </a:lnTo>
                    <a:lnTo>
                      <a:pt x="6787" y="784"/>
                    </a:lnTo>
                    <a:lnTo>
                      <a:pt x="6795" y="785"/>
                    </a:lnTo>
                    <a:lnTo>
                      <a:pt x="6801" y="784"/>
                    </a:lnTo>
                    <a:lnTo>
                      <a:pt x="6809" y="783"/>
                    </a:lnTo>
                    <a:lnTo>
                      <a:pt x="6817" y="778"/>
                    </a:lnTo>
                    <a:lnTo>
                      <a:pt x="6813" y="767"/>
                    </a:lnTo>
                    <a:lnTo>
                      <a:pt x="6813" y="762"/>
                    </a:lnTo>
                    <a:lnTo>
                      <a:pt x="6816" y="757"/>
                    </a:lnTo>
                    <a:lnTo>
                      <a:pt x="6817" y="742"/>
                    </a:lnTo>
                    <a:lnTo>
                      <a:pt x="6790" y="738"/>
                    </a:lnTo>
                    <a:lnTo>
                      <a:pt x="6766" y="733"/>
                    </a:lnTo>
                    <a:lnTo>
                      <a:pt x="6743" y="727"/>
                    </a:lnTo>
                    <a:lnTo>
                      <a:pt x="6722" y="720"/>
                    </a:lnTo>
                    <a:lnTo>
                      <a:pt x="6685" y="706"/>
                    </a:lnTo>
                    <a:lnTo>
                      <a:pt x="6650" y="692"/>
                    </a:lnTo>
                    <a:lnTo>
                      <a:pt x="6632" y="685"/>
                    </a:lnTo>
                    <a:lnTo>
                      <a:pt x="6616" y="678"/>
                    </a:lnTo>
                    <a:lnTo>
                      <a:pt x="6598" y="672"/>
                    </a:lnTo>
                    <a:lnTo>
                      <a:pt x="6579" y="666"/>
                    </a:lnTo>
                    <a:lnTo>
                      <a:pt x="6561" y="662"/>
                    </a:lnTo>
                    <a:lnTo>
                      <a:pt x="6541" y="658"/>
                    </a:lnTo>
                    <a:lnTo>
                      <a:pt x="6520" y="656"/>
                    </a:lnTo>
                    <a:lnTo>
                      <a:pt x="6497" y="655"/>
                    </a:lnTo>
                    <a:lnTo>
                      <a:pt x="6543" y="659"/>
                    </a:lnTo>
                    <a:lnTo>
                      <a:pt x="6582" y="663"/>
                    </a:lnTo>
                    <a:lnTo>
                      <a:pt x="6592" y="663"/>
                    </a:lnTo>
                    <a:lnTo>
                      <a:pt x="6600" y="663"/>
                    </a:lnTo>
                    <a:lnTo>
                      <a:pt x="6610" y="662"/>
                    </a:lnTo>
                    <a:lnTo>
                      <a:pt x="6619" y="660"/>
                    </a:lnTo>
                    <a:lnTo>
                      <a:pt x="6628" y="658"/>
                    </a:lnTo>
                    <a:lnTo>
                      <a:pt x="6638" y="654"/>
                    </a:lnTo>
                    <a:lnTo>
                      <a:pt x="6648" y="649"/>
                    </a:lnTo>
                    <a:lnTo>
                      <a:pt x="6657" y="643"/>
                    </a:lnTo>
                    <a:lnTo>
                      <a:pt x="6653" y="637"/>
                    </a:lnTo>
                    <a:lnTo>
                      <a:pt x="6649" y="632"/>
                    </a:lnTo>
                    <a:lnTo>
                      <a:pt x="6644" y="627"/>
                    </a:lnTo>
                    <a:lnTo>
                      <a:pt x="6639" y="624"/>
                    </a:lnTo>
                    <a:lnTo>
                      <a:pt x="6628" y="618"/>
                    </a:lnTo>
                    <a:lnTo>
                      <a:pt x="6616" y="612"/>
                    </a:lnTo>
                    <a:lnTo>
                      <a:pt x="6605" y="607"/>
                    </a:lnTo>
                    <a:lnTo>
                      <a:pt x="6593" y="601"/>
                    </a:lnTo>
                    <a:lnTo>
                      <a:pt x="6587" y="598"/>
                    </a:lnTo>
                    <a:lnTo>
                      <a:pt x="6581" y="593"/>
                    </a:lnTo>
                    <a:lnTo>
                      <a:pt x="6576" y="588"/>
                    </a:lnTo>
                    <a:lnTo>
                      <a:pt x="6571" y="582"/>
                    </a:lnTo>
                    <a:lnTo>
                      <a:pt x="6597" y="582"/>
                    </a:lnTo>
                    <a:lnTo>
                      <a:pt x="6600" y="587"/>
                    </a:lnTo>
                    <a:lnTo>
                      <a:pt x="6605" y="592"/>
                    </a:lnTo>
                    <a:lnTo>
                      <a:pt x="6610" y="599"/>
                    </a:lnTo>
                    <a:lnTo>
                      <a:pt x="6617" y="604"/>
                    </a:lnTo>
                    <a:lnTo>
                      <a:pt x="6626" y="610"/>
                    </a:lnTo>
                    <a:lnTo>
                      <a:pt x="6634" y="615"/>
                    </a:lnTo>
                    <a:lnTo>
                      <a:pt x="6640" y="617"/>
                    </a:lnTo>
                    <a:lnTo>
                      <a:pt x="6645" y="618"/>
                    </a:lnTo>
                    <a:lnTo>
                      <a:pt x="6651" y="619"/>
                    </a:lnTo>
                    <a:lnTo>
                      <a:pt x="6657" y="619"/>
                    </a:lnTo>
                    <a:lnTo>
                      <a:pt x="6665" y="618"/>
                    </a:lnTo>
                    <a:lnTo>
                      <a:pt x="6670" y="617"/>
                    </a:lnTo>
                    <a:lnTo>
                      <a:pt x="6673" y="615"/>
                    </a:lnTo>
                    <a:lnTo>
                      <a:pt x="6675" y="612"/>
                    </a:lnTo>
                    <a:lnTo>
                      <a:pt x="6678" y="610"/>
                    </a:lnTo>
                    <a:lnTo>
                      <a:pt x="6683" y="608"/>
                    </a:lnTo>
                    <a:lnTo>
                      <a:pt x="6691" y="606"/>
                    </a:lnTo>
                    <a:lnTo>
                      <a:pt x="6704" y="606"/>
                    </a:lnTo>
                    <a:lnTo>
                      <a:pt x="6718" y="606"/>
                    </a:lnTo>
                    <a:lnTo>
                      <a:pt x="6730" y="607"/>
                    </a:lnTo>
                    <a:lnTo>
                      <a:pt x="6742" y="609"/>
                    </a:lnTo>
                    <a:lnTo>
                      <a:pt x="6752" y="612"/>
                    </a:lnTo>
                    <a:lnTo>
                      <a:pt x="6762" y="616"/>
                    </a:lnTo>
                    <a:lnTo>
                      <a:pt x="6771" y="619"/>
                    </a:lnTo>
                    <a:lnTo>
                      <a:pt x="6778" y="623"/>
                    </a:lnTo>
                    <a:lnTo>
                      <a:pt x="6786" y="627"/>
                    </a:lnTo>
                    <a:lnTo>
                      <a:pt x="6799" y="636"/>
                    </a:lnTo>
                    <a:lnTo>
                      <a:pt x="6812" y="645"/>
                    </a:lnTo>
                    <a:lnTo>
                      <a:pt x="6827" y="654"/>
                    </a:lnTo>
                    <a:lnTo>
                      <a:pt x="6843" y="661"/>
                    </a:lnTo>
                    <a:lnTo>
                      <a:pt x="6943" y="661"/>
                    </a:lnTo>
                    <a:lnTo>
                      <a:pt x="6945" y="667"/>
                    </a:lnTo>
                    <a:lnTo>
                      <a:pt x="6950" y="673"/>
                    </a:lnTo>
                    <a:lnTo>
                      <a:pt x="6955" y="676"/>
                    </a:lnTo>
                    <a:lnTo>
                      <a:pt x="6961" y="678"/>
                    </a:lnTo>
                    <a:lnTo>
                      <a:pt x="6971" y="680"/>
                    </a:lnTo>
                    <a:lnTo>
                      <a:pt x="6982" y="680"/>
                    </a:lnTo>
                    <a:lnTo>
                      <a:pt x="6989" y="680"/>
                    </a:lnTo>
                    <a:lnTo>
                      <a:pt x="7006" y="680"/>
                    </a:lnTo>
                    <a:lnTo>
                      <a:pt x="7027" y="678"/>
                    </a:lnTo>
                    <a:lnTo>
                      <a:pt x="7049" y="674"/>
                    </a:lnTo>
                    <a:lnTo>
                      <a:pt x="7031" y="668"/>
                    </a:lnTo>
                    <a:lnTo>
                      <a:pt x="7011" y="659"/>
                    </a:lnTo>
                    <a:lnTo>
                      <a:pt x="7002" y="654"/>
                    </a:lnTo>
                    <a:lnTo>
                      <a:pt x="6996" y="647"/>
                    </a:lnTo>
                    <a:lnTo>
                      <a:pt x="6993" y="644"/>
                    </a:lnTo>
                    <a:lnTo>
                      <a:pt x="6991" y="640"/>
                    </a:lnTo>
                    <a:lnTo>
                      <a:pt x="6989" y="636"/>
                    </a:lnTo>
                    <a:lnTo>
                      <a:pt x="6989" y="631"/>
                    </a:lnTo>
                    <a:lnTo>
                      <a:pt x="6990" y="621"/>
                    </a:lnTo>
                    <a:lnTo>
                      <a:pt x="6991" y="614"/>
                    </a:lnTo>
                    <a:lnTo>
                      <a:pt x="6992" y="608"/>
                    </a:lnTo>
                    <a:lnTo>
                      <a:pt x="6992" y="602"/>
                    </a:lnTo>
                    <a:lnTo>
                      <a:pt x="6991" y="593"/>
                    </a:lnTo>
                    <a:lnTo>
                      <a:pt x="6989" y="582"/>
                    </a:lnTo>
                    <a:lnTo>
                      <a:pt x="6975" y="581"/>
                    </a:lnTo>
                    <a:lnTo>
                      <a:pt x="6961" y="579"/>
                    </a:lnTo>
                    <a:lnTo>
                      <a:pt x="6947" y="577"/>
                    </a:lnTo>
                    <a:lnTo>
                      <a:pt x="6934" y="573"/>
                    </a:lnTo>
                    <a:lnTo>
                      <a:pt x="6910" y="564"/>
                    </a:lnTo>
                    <a:lnTo>
                      <a:pt x="6886" y="553"/>
                    </a:lnTo>
                    <a:lnTo>
                      <a:pt x="6861" y="543"/>
                    </a:lnTo>
                    <a:lnTo>
                      <a:pt x="6835" y="535"/>
                    </a:lnTo>
                    <a:lnTo>
                      <a:pt x="6821" y="531"/>
                    </a:lnTo>
                    <a:lnTo>
                      <a:pt x="6807" y="529"/>
                    </a:lnTo>
                    <a:lnTo>
                      <a:pt x="6793" y="527"/>
                    </a:lnTo>
                    <a:lnTo>
                      <a:pt x="6776" y="526"/>
                    </a:lnTo>
                    <a:lnTo>
                      <a:pt x="6769" y="527"/>
                    </a:lnTo>
                    <a:lnTo>
                      <a:pt x="6761" y="531"/>
                    </a:lnTo>
                    <a:lnTo>
                      <a:pt x="6756" y="533"/>
                    </a:lnTo>
                    <a:lnTo>
                      <a:pt x="6753" y="536"/>
                    </a:lnTo>
                    <a:lnTo>
                      <a:pt x="6751" y="540"/>
                    </a:lnTo>
                    <a:lnTo>
                      <a:pt x="6750" y="544"/>
                    </a:lnTo>
                    <a:lnTo>
                      <a:pt x="6751" y="547"/>
                    </a:lnTo>
                    <a:lnTo>
                      <a:pt x="6752" y="548"/>
                    </a:lnTo>
                    <a:lnTo>
                      <a:pt x="6754" y="550"/>
                    </a:lnTo>
                    <a:lnTo>
                      <a:pt x="6757" y="552"/>
                    </a:lnTo>
                    <a:lnTo>
                      <a:pt x="6765" y="555"/>
                    </a:lnTo>
                    <a:lnTo>
                      <a:pt x="6775" y="559"/>
                    </a:lnTo>
                    <a:lnTo>
                      <a:pt x="6785" y="563"/>
                    </a:lnTo>
                    <a:lnTo>
                      <a:pt x="6795" y="567"/>
                    </a:lnTo>
                    <a:lnTo>
                      <a:pt x="6799" y="570"/>
                    </a:lnTo>
                    <a:lnTo>
                      <a:pt x="6803" y="574"/>
                    </a:lnTo>
                    <a:lnTo>
                      <a:pt x="6807" y="577"/>
                    </a:lnTo>
                    <a:lnTo>
                      <a:pt x="6810" y="582"/>
                    </a:lnTo>
                    <a:lnTo>
                      <a:pt x="6778" y="567"/>
                    </a:lnTo>
                    <a:lnTo>
                      <a:pt x="6751" y="552"/>
                    </a:lnTo>
                    <a:lnTo>
                      <a:pt x="6728" y="539"/>
                    </a:lnTo>
                    <a:lnTo>
                      <a:pt x="6706" y="528"/>
                    </a:lnTo>
                    <a:lnTo>
                      <a:pt x="6684" y="517"/>
                    </a:lnTo>
                    <a:lnTo>
                      <a:pt x="6660" y="506"/>
                    </a:lnTo>
                    <a:lnTo>
                      <a:pt x="6631" y="494"/>
                    </a:lnTo>
                    <a:lnTo>
                      <a:pt x="6597" y="483"/>
                    </a:lnTo>
                    <a:lnTo>
                      <a:pt x="6573" y="477"/>
                    </a:lnTo>
                    <a:lnTo>
                      <a:pt x="6548" y="471"/>
                    </a:lnTo>
                    <a:lnTo>
                      <a:pt x="6525" y="466"/>
                    </a:lnTo>
                    <a:lnTo>
                      <a:pt x="6500" y="462"/>
                    </a:lnTo>
                    <a:lnTo>
                      <a:pt x="6454" y="455"/>
                    </a:lnTo>
                    <a:lnTo>
                      <a:pt x="6408" y="450"/>
                    </a:lnTo>
                    <a:lnTo>
                      <a:pt x="6363" y="443"/>
                    </a:lnTo>
                    <a:lnTo>
                      <a:pt x="6318" y="436"/>
                    </a:lnTo>
                    <a:lnTo>
                      <a:pt x="6295" y="432"/>
                    </a:lnTo>
                    <a:lnTo>
                      <a:pt x="6272" y="427"/>
                    </a:lnTo>
                    <a:lnTo>
                      <a:pt x="6249" y="422"/>
                    </a:lnTo>
                    <a:lnTo>
                      <a:pt x="6225" y="415"/>
                    </a:lnTo>
                    <a:lnTo>
                      <a:pt x="6146" y="415"/>
                    </a:lnTo>
                    <a:lnTo>
                      <a:pt x="6133" y="407"/>
                    </a:lnTo>
                    <a:lnTo>
                      <a:pt x="6121" y="402"/>
                    </a:lnTo>
                    <a:lnTo>
                      <a:pt x="6114" y="400"/>
                    </a:lnTo>
                    <a:lnTo>
                      <a:pt x="6106" y="398"/>
                    </a:lnTo>
                    <a:lnTo>
                      <a:pt x="6096" y="397"/>
                    </a:lnTo>
                    <a:lnTo>
                      <a:pt x="6085" y="397"/>
                    </a:lnTo>
                    <a:lnTo>
                      <a:pt x="6071" y="398"/>
                    </a:lnTo>
                    <a:lnTo>
                      <a:pt x="6058" y="400"/>
                    </a:lnTo>
                    <a:lnTo>
                      <a:pt x="6045" y="403"/>
                    </a:lnTo>
                    <a:lnTo>
                      <a:pt x="6033" y="406"/>
                    </a:lnTo>
                    <a:lnTo>
                      <a:pt x="6020" y="410"/>
                    </a:lnTo>
                    <a:lnTo>
                      <a:pt x="6007" y="412"/>
                    </a:lnTo>
                    <a:lnTo>
                      <a:pt x="5993" y="415"/>
                    </a:lnTo>
                    <a:lnTo>
                      <a:pt x="5979" y="415"/>
                    </a:lnTo>
                    <a:lnTo>
                      <a:pt x="5971" y="415"/>
                    </a:lnTo>
                    <a:lnTo>
                      <a:pt x="5960" y="412"/>
                    </a:lnTo>
                    <a:lnTo>
                      <a:pt x="5945" y="409"/>
                    </a:lnTo>
                    <a:lnTo>
                      <a:pt x="5929" y="405"/>
                    </a:lnTo>
                    <a:lnTo>
                      <a:pt x="5913" y="400"/>
                    </a:lnTo>
                    <a:lnTo>
                      <a:pt x="5899" y="395"/>
                    </a:lnTo>
                    <a:lnTo>
                      <a:pt x="5887" y="389"/>
                    </a:lnTo>
                    <a:lnTo>
                      <a:pt x="5880" y="384"/>
                    </a:lnTo>
                    <a:lnTo>
                      <a:pt x="5833" y="384"/>
                    </a:lnTo>
                    <a:lnTo>
                      <a:pt x="5835" y="394"/>
                    </a:lnTo>
                    <a:lnTo>
                      <a:pt x="5838" y="402"/>
                    </a:lnTo>
                    <a:lnTo>
                      <a:pt x="5843" y="410"/>
                    </a:lnTo>
                    <a:lnTo>
                      <a:pt x="5847" y="417"/>
                    </a:lnTo>
                    <a:lnTo>
                      <a:pt x="5853" y="423"/>
                    </a:lnTo>
                    <a:lnTo>
                      <a:pt x="5859" y="429"/>
                    </a:lnTo>
                    <a:lnTo>
                      <a:pt x="5866" y="435"/>
                    </a:lnTo>
                    <a:lnTo>
                      <a:pt x="5872" y="439"/>
                    </a:lnTo>
                    <a:lnTo>
                      <a:pt x="5895" y="454"/>
                    </a:lnTo>
                    <a:lnTo>
                      <a:pt x="5906" y="459"/>
                    </a:lnTo>
                    <a:lnTo>
                      <a:pt x="5883" y="448"/>
                    </a:lnTo>
                    <a:lnTo>
                      <a:pt x="5860" y="435"/>
                    </a:lnTo>
                    <a:lnTo>
                      <a:pt x="5848" y="430"/>
                    </a:lnTo>
                    <a:lnTo>
                      <a:pt x="5834" y="425"/>
                    </a:lnTo>
                    <a:lnTo>
                      <a:pt x="5826" y="424"/>
                    </a:lnTo>
                    <a:lnTo>
                      <a:pt x="5819" y="422"/>
                    </a:lnTo>
                    <a:lnTo>
                      <a:pt x="5810" y="422"/>
                    </a:lnTo>
                    <a:lnTo>
                      <a:pt x="5800" y="421"/>
                    </a:lnTo>
                    <a:lnTo>
                      <a:pt x="5804" y="417"/>
                    </a:lnTo>
                    <a:lnTo>
                      <a:pt x="5807" y="412"/>
                    </a:lnTo>
                    <a:lnTo>
                      <a:pt x="5809" y="405"/>
                    </a:lnTo>
                    <a:lnTo>
                      <a:pt x="5813" y="397"/>
                    </a:lnTo>
                    <a:lnTo>
                      <a:pt x="5796" y="397"/>
                    </a:lnTo>
                    <a:lnTo>
                      <a:pt x="5781" y="396"/>
                    </a:lnTo>
                    <a:lnTo>
                      <a:pt x="5767" y="395"/>
                    </a:lnTo>
                    <a:lnTo>
                      <a:pt x="5754" y="390"/>
                    </a:lnTo>
                    <a:lnTo>
                      <a:pt x="5753" y="395"/>
                    </a:lnTo>
                    <a:lnTo>
                      <a:pt x="5752" y="399"/>
                    </a:lnTo>
                    <a:lnTo>
                      <a:pt x="5751" y="402"/>
                    </a:lnTo>
                    <a:lnTo>
                      <a:pt x="5748" y="405"/>
                    </a:lnTo>
                    <a:lnTo>
                      <a:pt x="5745" y="407"/>
                    </a:lnTo>
                    <a:lnTo>
                      <a:pt x="5742" y="409"/>
                    </a:lnTo>
                    <a:lnTo>
                      <a:pt x="5737" y="411"/>
                    </a:lnTo>
                    <a:lnTo>
                      <a:pt x="5733" y="412"/>
                    </a:lnTo>
                    <a:lnTo>
                      <a:pt x="5724" y="414"/>
                    </a:lnTo>
                    <a:lnTo>
                      <a:pt x="5714" y="415"/>
                    </a:lnTo>
                    <a:lnTo>
                      <a:pt x="5703" y="415"/>
                    </a:lnTo>
                    <a:lnTo>
                      <a:pt x="5693" y="415"/>
                    </a:lnTo>
                    <a:lnTo>
                      <a:pt x="5667" y="415"/>
                    </a:lnTo>
                    <a:lnTo>
                      <a:pt x="5643" y="413"/>
                    </a:lnTo>
                    <a:lnTo>
                      <a:pt x="5621" y="411"/>
                    </a:lnTo>
                    <a:lnTo>
                      <a:pt x="5599" y="409"/>
                    </a:lnTo>
                    <a:lnTo>
                      <a:pt x="5578" y="407"/>
                    </a:lnTo>
                    <a:lnTo>
                      <a:pt x="5557" y="408"/>
                    </a:lnTo>
                    <a:lnTo>
                      <a:pt x="5546" y="409"/>
                    </a:lnTo>
                    <a:lnTo>
                      <a:pt x="5536" y="410"/>
                    </a:lnTo>
                    <a:lnTo>
                      <a:pt x="5525" y="412"/>
                    </a:lnTo>
                    <a:lnTo>
                      <a:pt x="5514" y="415"/>
                    </a:lnTo>
                    <a:lnTo>
                      <a:pt x="5528" y="430"/>
                    </a:lnTo>
                    <a:lnTo>
                      <a:pt x="5539" y="439"/>
                    </a:lnTo>
                    <a:lnTo>
                      <a:pt x="5551" y="450"/>
                    </a:lnTo>
                    <a:lnTo>
                      <a:pt x="5567" y="465"/>
                    </a:lnTo>
                    <a:lnTo>
                      <a:pt x="5531" y="450"/>
                    </a:lnTo>
                    <a:lnTo>
                      <a:pt x="5497" y="437"/>
                    </a:lnTo>
                    <a:lnTo>
                      <a:pt x="5465" y="426"/>
                    </a:lnTo>
                    <a:lnTo>
                      <a:pt x="5433" y="414"/>
                    </a:lnTo>
                    <a:lnTo>
                      <a:pt x="5419" y="407"/>
                    </a:lnTo>
                    <a:lnTo>
                      <a:pt x="5404" y="400"/>
                    </a:lnTo>
                    <a:lnTo>
                      <a:pt x="5388" y="392"/>
                    </a:lnTo>
                    <a:lnTo>
                      <a:pt x="5374" y="383"/>
                    </a:lnTo>
                    <a:lnTo>
                      <a:pt x="5360" y="373"/>
                    </a:lnTo>
                    <a:lnTo>
                      <a:pt x="5344" y="362"/>
                    </a:lnTo>
                    <a:lnTo>
                      <a:pt x="5330" y="350"/>
                    </a:lnTo>
                    <a:lnTo>
                      <a:pt x="5315" y="336"/>
                    </a:lnTo>
                    <a:lnTo>
                      <a:pt x="5109" y="336"/>
                    </a:lnTo>
                    <a:lnTo>
                      <a:pt x="5104" y="337"/>
                    </a:lnTo>
                    <a:lnTo>
                      <a:pt x="5099" y="339"/>
                    </a:lnTo>
                    <a:lnTo>
                      <a:pt x="5094" y="343"/>
                    </a:lnTo>
                    <a:lnTo>
                      <a:pt x="5090" y="348"/>
                    </a:lnTo>
                    <a:lnTo>
                      <a:pt x="5009" y="354"/>
                    </a:lnTo>
                    <a:lnTo>
                      <a:pt x="5003" y="353"/>
                    </a:lnTo>
                    <a:lnTo>
                      <a:pt x="4996" y="353"/>
                    </a:lnTo>
                    <a:lnTo>
                      <a:pt x="4991" y="351"/>
                    </a:lnTo>
                    <a:lnTo>
                      <a:pt x="4986" y="349"/>
                    </a:lnTo>
                    <a:lnTo>
                      <a:pt x="4979" y="344"/>
                    </a:lnTo>
                    <a:lnTo>
                      <a:pt x="4972" y="339"/>
                    </a:lnTo>
                    <a:lnTo>
                      <a:pt x="4964" y="332"/>
                    </a:lnTo>
                    <a:lnTo>
                      <a:pt x="4956" y="327"/>
                    </a:lnTo>
                    <a:lnTo>
                      <a:pt x="4951" y="325"/>
                    </a:lnTo>
                    <a:lnTo>
                      <a:pt x="4945" y="324"/>
                    </a:lnTo>
                    <a:lnTo>
                      <a:pt x="4938" y="323"/>
                    </a:lnTo>
                    <a:lnTo>
                      <a:pt x="4929" y="323"/>
                    </a:lnTo>
                    <a:lnTo>
                      <a:pt x="4924" y="323"/>
                    </a:lnTo>
                    <a:lnTo>
                      <a:pt x="4918" y="324"/>
                    </a:lnTo>
                    <a:lnTo>
                      <a:pt x="4916" y="326"/>
                    </a:lnTo>
                    <a:lnTo>
                      <a:pt x="4913" y="329"/>
                    </a:lnTo>
                    <a:lnTo>
                      <a:pt x="4911" y="331"/>
                    </a:lnTo>
                    <a:lnTo>
                      <a:pt x="4907" y="333"/>
                    </a:lnTo>
                    <a:lnTo>
                      <a:pt x="4903" y="334"/>
                    </a:lnTo>
                    <a:lnTo>
                      <a:pt x="4896" y="336"/>
                    </a:lnTo>
                    <a:lnTo>
                      <a:pt x="4884" y="334"/>
                    </a:lnTo>
                    <a:lnTo>
                      <a:pt x="4873" y="332"/>
                    </a:lnTo>
                    <a:lnTo>
                      <a:pt x="4863" y="328"/>
                    </a:lnTo>
                    <a:lnTo>
                      <a:pt x="4853" y="324"/>
                    </a:lnTo>
                    <a:lnTo>
                      <a:pt x="4836" y="314"/>
                    </a:lnTo>
                    <a:lnTo>
                      <a:pt x="4816" y="304"/>
                    </a:lnTo>
                    <a:lnTo>
                      <a:pt x="4830" y="292"/>
                    </a:lnTo>
                    <a:lnTo>
                      <a:pt x="4826" y="290"/>
                    </a:lnTo>
                    <a:lnTo>
                      <a:pt x="4816" y="286"/>
                    </a:lnTo>
                    <a:lnTo>
                      <a:pt x="4808" y="284"/>
                    </a:lnTo>
                    <a:lnTo>
                      <a:pt x="4799" y="282"/>
                    </a:lnTo>
                    <a:lnTo>
                      <a:pt x="4789" y="281"/>
                    </a:lnTo>
                    <a:lnTo>
                      <a:pt x="4777" y="279"/>
                    </a:lnTo>
                    <a:lnTo>
                      <a:pt x="4766" y="281"/>
                    </a:lnTo>
                    <a:lnTo>
                      <a:pt x="4757" y="281"/>
                    </a:lnTo>
                    <a:lnTo>
                      <a:pt x="4748" y="283"/>
                    </a:lnTo>
                    <a:lnTo>
                      <a:pt x="4740" y="285"/>
                    </a:lnTo>
                    <a:lnTo>
                      <a:pt x="4728" y="290"/>
                    </a:lnTo>
                    <a:lnTo>
                      <a:pt x="4717" y="295"/>
                    </a:lnTo>
                    <a:lnTo>
                      <a:pt x="4710" y="301"/>
                    </a:lnTo>
                    <a:lnTo>
                      <a:pt x="4701" y="306"/>
                    </a:lnTo>
                    <a:lnTo>
                      <a:pt x="4698" y="308"/>
                    </a:lnTo>
                    <a:lnTo>
                      <a:pt x="4693" y="309"/>
                    </a:lnTo>
                    <a:lnTo>
                      <a:pt x="4689" y="310"/>
                    </a:lnTo>
                    <a:lnTo>
                      <a:pt x="4683" y="310"/>
                    </a:lnTo>
                    <a:lnTo>
                      <a:pt x="4670" y="310"/>
                    </a:lnTo>
                    <a:lnTo>
                      <a:pt x="4657" y="310"/>
                    </a:lnTo>
                    <a:lnTo>
                      <a:pt x="4657" y="279"/>
                    </a:lnTo>
                    <a:lnTo>
                      <a:pt x="4650" y="275"/>
                    </a:lnTo>
                    <a:lnTo>
                      <a:pt x="4644" y="272"/>
                    </a:lnTo>
                    <a:lnTo>
                      <a:pt x="4638" y="271"/>
                    </a:lnTo>
                    <a:lnTo>
                      <a:pt x="4633" y="270"/>
                    </a:lnTo>
                    <a:lnTo>
                      <a:pt x="4627" y="271"/>
                    </a:lnTo>
                    <a:lnTo>
                      <a:pt x="4621" y="272"/>
                    </a:lnTo>
                    <a:lnTo>
                      <a:pt x="4613" y="275"/>
                    </a:lnTo>
                    <a:lnTo>
                      <a:pt x="4604" y="279"/>
                    </a:lnTo>
                    <a:lnTo>
                      <a:pt x="4603" y="277"/>
                    </a:lnTo>
                    <a:lnTo>
                      <a:pt x="4601" y="275"/>
                    </a:lnTo>
                    <a:lnTo>
                      <a:pt x="4599" y="273"/>
                    </a:lnTo>
                    <a:lnTo>
                      <a:pt x="4597" y="272"/>
                    </a:lnTo>
                    <a:lnTo>
                      <a:pt x="4589" y="270"/>
                    </a:lnTo>
                    <a:lnTo>
                      <a:pt x="4579" y="268"/>
                    </a:lnTo>
                    <a:lnTo>
                      <a:pt x="4557" y="267"/>
                    </a:lnTo>
                    <a:lnTo>
                      <a:pt x="4532" y="267"/>
                    </a:lnTo>
                    <a:lnTo>
                      <a:pt x="4486" y="271"/>
                    </a:lnTo>
                    <a:lnTo>
                      <a:pt x="4465" y="273"/>
                    </a:lnTo>
                    <a:lnTo>
                      <a:pt x="4398" y="273"/>
                    </a:lnTo>
                    <a:lnTo>
                      <a:pt x="4399" y="276"/>
                    </a:lnTo>
                    <a:lnTo>
                      <a:pt x="4400" y="279"/>
                    </a:lnTo>
                    <a:lnTo>
                      <a:pt x="4402" y="283"/>
                    </a:lnTo>
                    <a:lnTo>
                      <a:pt x="4405" y="285"/>
                    </a:lnTo>
                    <a:lnTo>
                      <a:pt x="4409" y="288"/>
                    </a:lnTo>
                    <a:lnTo>
                      <a:pt x="4412" y="290"/>
                    </a:lnTo>
                    <a:lnTo>
                      <a:pt x="4415" y="292"/>
                    </a:lnTo>
                    <a:lnTo>
                      <a:pt x="4418" y="292"/>
                    </a:lnTo>
                    <a:lnTo>
                      <a:pt x="4420" y="299"/>
                    </a:lnTo>
                    <a:lnTo>
                      <a:pt x="4425" y="307"/>
                    </a:lnTo>
                    <a:lnTo>
                      <a:pt x="4432" y="316"/>
                    </a:lnTo>
                    <a:lnTo>
                      <a:pt x="4438" y="323"/>
                    </a:lnTo>
                    <a:lnTo>
                      <a:pt x="4429" y="323"/>
                    </a:lnTo>
                    <a:lnTo>
                      <a:pt x="4420" y="324"/>
                    </a:lnTo>
                    <a:lnTo>
                      <a:pt x="4412" y="326"/>
                    </a:lnTo>
                    <a:lnTo>
                      <a:pt x="4403" y="329"/>
                    </a:lnTo>
                    <a:lnTo>
                      <a:pt x="4394" y="331"/>
                    </a:lnTo>
                    <a:lnTo>
                      <a:pt x="4383" y="333"/>
                    </a:lnTo>
                    <a:lnTo>
                      <a:pt x="4373" y="334"/>
                    </a:lnTo>
                    <a:lnTo>
                      <a:pt x="4358" y="336"/>
                    </a:lnTo>
                    <a:lnTo>
                      <a:pt x="4337" y="334"/>
                    </a:lnTo>
                    <a:lnTo>
                      <a:pt x="4317" y="331"/>
                    </a:lnTo>
                    <a:lnTo>
                      <a:pt x="4295" y="327"/>
                    </a:lnTo>
                    <a:lnTo>
                      <a:pt x="4272" y="323"/>
                    </a:lnTo>
                    <a:lnTo>
                      <a:pt x="4250" y="318"/>
                    </a:lnTo>
                    <a:lnTo>
                      <a:pt x="4228" y="314"/>
                    </a:lnTo>
                    <a:lnTo>
                      <a:pt x="4206" y="311"/>
                    </a:lnTo>
                    <a:lnTo>
                      <a:pt x="4186" y="310"/>
                    </a:lnTo>
                    <a:lnTo>
                      <a:pt x="4176" y="310"/>
                    </a:lnTo>
                    <a:lnTo>
                      <a:pt x="4166" y="310"/>
                    </a:lnTo>
                    <a:lnTo>
                      <a:pt x="4166" y="348"/>
                    </a:lnTo>
                    <a:lnTo>
                      <a:pt x="4139" y="348"/>
                    </a:lnTo>
                    <a:lnTo>
                      <a:pt x="4131" y="345"/>
                    </a:lnTo>
                    <a:lnTo>
                      <a:pt x="4122" y="342"/>
                    </a:lnTo>
                    <a:lnTo>
                      <a:pt x="4113" y="340"/>
                    </a:lnTo>
                    <a:lnTo>
                      <a:pt x="4102" y="338"/>
                    </a:lnTo>
                    <a:lnTo>
                      <a:pt x="4082" y="333"/>
                    </a:lnTo>
                    <a:lnTo>
                      <a:pt x="4060" y="330"/>
                    </a:lnTo>
                    <a:lnTo>
                      <a:pt x="4039" y="326"/>
                    </a:lnTo>
                    <a:lnTo>
                      <a:pt x="4019" y="321"/>
                    </a:lnTo>
                    <a:lnTo>
                      <a:pt x="4009" y="318"/>
                    </a:lnTo>
                    <a:lnTo>
                      <a:pt x="4000" y="314"/>
                    </a:lnTo>
                    <a:lnTo>
                      <a:pt x="3993" y="310"/>
                    </a:lnTo>
                    <a:lnTo>
                      <a:pt x="3986" y="304"/>
                    </a:lnTo>
                    <a:lnTo>
                      <a:pt x="3946" y="304"/>
                    </a:lnTo>
                    <a:lnTo>
                      <a:pt x="3953" y="317"/>
                    </a:lnTo>
                    <a:lnTo>
                      <a:pt x="3960" y="329"/>
                    </a:lnTo>
                    <a:lnTo>
                      <a:pt x="3941" y="318"/>
                    </a:lnTo>
                    <a:lnTo>
                      <a:pt x="3920" y="305"/>
                    </a:lnTo>
                    <a:lnTo>
                      <a:pt x="3898" y="294"/>
                    </a:lnTo>
                    <a:lnTo>
                      <a:pt x="3880" y="286"/>
                    </a:lnTo>
                    <a:lnTo>
                      <a:pt x="3820" y="286"/>
                    </a:lnTo>
                    <a:lnTo>
                      <a:pt x="3820" y="287"/>
                    </a:lnTo>
                    <a:lnTo>
                      <a:pt x="3819" y="288"/>
                    </a:lnTo>
                    <a:lnTo>
                      <a:pt x="3818" y="288"/>
                    </a:lnTo>
                    <a:lnTo>
                      <a:pt x="3816" y="287"/>
                    </a:lnTo>
                    <a:lnTo>
                      <a:pt x="3809" y="286"/>
                    </a:lnTo>
                    <a:lnTo>
                      <a:pt x="3800" y="283"/>
                    </a:lnTo>
                    <a:lnTo>
                      <a:pt x="3777" y="274"/>
                    </a:lnTo>
                    <a:lnTo>
                      <a:pt x="3752" y="265"/>
                    </a:lnTo>
                    <a:lnTo>
                      <a:pt x="3727" y="256"/>
                    </a:lnTo>
                    <a:lnTo>
                      <a:pt x="3706" y="249"/>
                    </a:lnTo>
                    <a:lnTo>
                      <a:pt x="3698" y="247"/>
                    </a:lnTo>
                    <a:lnTo>
                      <a:pt x="3694" y="246"/>
                    </a:lnTo>
                    <a:lnTo>
                      <a:pt x="3693" y="246"/>
                    </a:lnTo>
                    <a:lnTo>
                      <a:pt x="3692" y="247"/>
                    </a:lnTo>
                    <a:lnTo>
                      <a:pt x="3693" y="248"/>
                    </a:lnTo>
                    <a:lnTo>
                      <a:pt x="3694" y="249"/>
                    </a:lnTo>
                    <a:lnTo>
                      <a:pt x="3677" y="249"/>
                    </a:lnTo>
                    <a:lnTo>
                      <a:pt x="3663" y="251"/>
                    </a:lnTo>
                    <a:lnTo>
                      <a:pt x="3650" y="253"/>
                    </a:lnTo>
                    <a:lnTo>
                      <a:pt x="3637" y="255"/>
                    </a:lnTo>
                    <a:lnTo>
                      <a:pt x="3624" y="257"/>
                    </a:lnTo>
                    <a:lnTo>
                      <a:pt x="3608" y="259"/>
                    </a:lnTo>
                    <a:lnTo>
                      <a:pt x="3593" y="261"/>
                    </a:lnTo>
                    <a:lnTo>
                      <a:pt x="3574" y="261"/>
                    </a:lnTo>
                    <a:lnTo>
                      <a:pt x="3559" y="261"/>
                    </a:lnTo>
                    <a:lnTo>
                      <a:pt x="3544" y="260"/>
                    </a:lnTo>
                    <a:lnTo>
                      <a:pt x="3528" y="258"/>
                    </a:lnTo>
                    <a:lnTo>
                      <a:pt x="3515" y="256"/>
                    </a:lnTo>
                    <a:lnTo>
                      <a:pt x="3488" y="252"/>
                    </a:lnTo>
                    <a:lnTo>
                      <a:pt x="3461" y="246"/>
                    </a:lnTo>
                    <a:lnTo>
                      <a:pt x="3435" y="240"/>
                    </a:lnTo>
                    <a:lnTo>
                      <a:pt x="3408" y="236"/>
                    </a:lnTo>
                    <a:lnTo>
                      <a:pt x="3394" y="234"/>
                    </a:lnTo>
                    <a:lnTo>
                      <a:pt x="3379" y="232"/>
                    </a:lnTo>
                    <a:lnTo>
                      <a:pt x="3365" y="231"/>
                    </a:lnTo>
                    <a:lnTo>
                      <a:pt x="3348" y="231"/>
                    </a:lnTo>
                    <a:lnTo>
                      <a:pt x="3334" y="227"/>
                    </a:lnTo>
                    <a:lnTo>
                      <a:pt x="3313" y="219"/>
                    </a:lnTo>
                    <a:lnTo>
                      <a:pt x="3304" y="216"/>
                    </a:lnTo>
                    <a:lnTo>
                      <a:pt x="3296" y="214"/>
                    </a:lnTo>
                    <a:lnTo>
                      <a:pt x="3293" y="214"/>
                    </a:lnTo>
                    <a:lnTo>
                      <a:pt x="3291" y="215"/>
                    </a:lnTo>
                    <a:lnTo>
                      <a:pt x="3289" y="216"/>
                    </a:lnTo>
                    <a:lnTo>
                      <a:pt x="3289" y="218"/>
                    </a:lnTo>
                    <a:lnTo>
                      <a:pt x="3289" y="221"/>
                    </a:lnTo>
                    <a:lnTo>
                      <a:pt x="3290" y="226"/>
                    </a:lnTo>
                    <a:lnTo>
                      <a:pt x="3292" y="229"/>
                    </a:lnTo>
                    <a:lnTo>
                      <a:pt x="3295" y="233"/>
                    </a:lnTo>
                    <a:lnTo>
                      <a:pt x="3302" y="240"/>
                    </a:lnTo>
                    <a:lnTo>
                      <a:pt x="3310" y="247"/>
                    </a:lnTo>
                    <a:lnTo>
                      <a:pt x="3320" y="252"/>
                    </a:lnTo>
                    <a:lnTo>
                      <a:pt x="3328" y="257"/>
                    </a:lnTo>
                    <a:lnTo>
                      <a:pt x="3336" y="260"/>
                    </a:lnTo>
                    <a:lnTo>
                      <a:pt x="3341" y="261"/>
                    </a:lnTo>
                    <a:lnTo>
                      <a:pt x="3332" y="260"/>
                    </a:lnTo>
                    <a:lnTo>
                      <a:pt x="3323" y="257"/>
                    </a:lnTo>
                    <a:lnTo>
                      <a:pt x="3314" y="255"/>
                    </a:lnTo>
                    <a:lnTo>
                      <a:pt x="3305" y="251"/>
                    </a:lnTo>
                    <a:lnTo>
                      <a:pt x="3290" y="244"/>
                    </a:lnTo>
                    <a:lnTo>
                      <a:pt x="3273" y="235"/>
                    </a:lnTo>
                    <a:lnTo>
                      <a:pt x="3257" y="225"/>
                    </a:lnTo>
                    <a:lnTo>
                      <a:pt x="3239" y="213"/>
                    </a:lnTo>
                    <a:lnTo>
                      <a:pt x="3219" y="203"/>
                    </a:lnTo>
                    <a:lnTo>
                      <a:pt x="3195" y="193"/>
                    </a:lnTo>
                    <a:lnTo>
                      <a:pt x="3198" y="192"/>
                    </a:lnTo>
                    <a:lnTo>
                      <a:pt x="3200" y="190"/>
                    </a:lnTo>
                    <a:lnTo>
                      <a:pt x="3201" y="186"/>
                    </a:lnTo>
                    <a:lnTo>
                      <a:pt x="3201" y="181"/>
                    </a:lnTo>
                    <a:lnTo>
                      <a:pt x="3202" y="173"/>
                    </a:lnTo>
                    <a:lnTo>
                      <a:pt x="3202" y="169"/>
                    </a:lnTo>
                    <a:lnTo>
                      <a:pt x="3169" y="169"/>
                    </a:lnTo>
                    <a:lnTo>
                      <a:pt x="3164" y="170"/>
                    </a:lnTo>
                    <a:lnTo>
                      <a:pt x="3159" y="173"/>
                    </a:lnTo>
                    <a:lnTo>
                      <a:pt x="3154" y="177"/>
                    </a:lnTo>
                    <a:lnTo>
                      <a:pt x="3149" y="181"/>
                    </a:lnTo>
                    <a:lnTo>
                      <a:pt x="3153" y="187"/>
                    </a:lnTo>
                    <a:lnTo>
                      <a:pt x="3156" y="193"/>
                    </a:lnTo>
                    <a:lnTo>
                      <a:pt x="3144" y="196"/>
                    </a:lnTo>
                    <a:lnTo>
                      <a:pt x="3133" y="199"/>
                    </a:lnTo>
                    <a:lnTo>
                      <a:pt x="3122" y="203"/>
                    </a:lnTo>
                    <a:lnTo>
                      <a:pt x="3112" y="206"/>
                    </a:lnTo>
                    <a:lnTo>
                      <a:pt x="3093" y="215"/>
                    </a:lnTo>
                    <a:lnTo>
                      <a:pt x="3076" y="225"/>
                    </a:lnTo>
                    <a:lnTo>
                      <a:pt x="3058" y="235"/>
                    </a:lnTo>
                    <a:lnTo>
                      <a:pt x="3040" y="245"/>
                    </a:lnTo>
                    <a:lnTo>
                      <a:pt x="3030" y="249"/>
                    </a:lnTo>
                    <a:lnTo>
                      <a:pt x="3020" y="253"/>
                    </a:lnTo>
                    <a:lnTo>
                      <a:pt x="3008" y="257"/>
                    </a:lnTo>
                    <a:lnTo>
                      <a:pt x="2997" y="261"/>
                    </a:lnTo>
                    <a:lnTo>
                      <a:pt x="2997" y="257"/>
                    </a:lnTo>
                    <a:lnTo>
                      <a:pt x="2998" y="252"/>
                    </a:lnTo>
                    <a:lnTo>
                      <a:pt x="2999" y="248"/>
                    </a:lnTo>
                    <a:lnTo>
                      <a:pt x="3002" y="243"/>
                    </a:lnTo>
                    <a:lnTo>
                      <a:pt x="3008" y="235"/>
                    </a:lnTo>
                    <a:lnTo>
                      <a:pt x="3016" y="226"/>
                    </a:lnTo>
                    <a:lnTo>
                      <a:pt x="3026" y="217"/>
                    </a:lnTo>
                    <a:lnTo>
                      <a:pt x="3038" y="209"/>
                    </a:lnTo>
                    <a:lnTo>
                      <a:pt x="3052" y="201"/>
                    </a:lnTo>
                    <a:lnTo>
                      <a:pt x="3065" y="193"/>
                    </a:lnTo>
                    <a:lnTo>
                      <a:pt x="3093" y="179"/>
                    </a:lnTo>
                    <a:lnTo>
                      <a:pt x="3122" y="165"/>
                    </a:lnTo>
                    <a:lnTo>
                      <a:pt x="3148" y="154"/>
                    </a:lnTo>
                    <a:lnTo>
                      <a:pt x="3169" y="144"/>
                    </a:lnTo>
                    <a:lnTo>
                      <a:pt x="3157" y="136"/>
                    </a:lnTo>
                    <a:lnTo>
                      <a:pt x="3144" y="129"/>
                    </a:lnTo>
                    <a:lnTo>
                      <a:pt x="3130" y="122"/>
                    </a:lnTo>
                    <a:lnTo>
                      <a:pt x="3114" y="115"/>
                    </a:lnTo>
                    <a:lnTo>
                      <a:pt x="3098" y="107"/>
                    </a:lnTo>
                    <a:lnTo>
                      <a:pt x="3080" y="102"/>
                    </a:lnTo>
                    <a:lnTo>
                      <a:pt x="3063" y="96"/>
                    </a:lnTo>
                    <a:lnTo>
                      <a:pt x="3044" y="91"/>
                    </a:lnTo>
                    <a:lnTo>
                      <a:pt x="3024" y="86"/>
                    </a:lnTo>
                    <a:lnTo>
                      <a:pt x="3004" y="82"/>
                    </a:lnTo>
                    <a:lnTo>
                      <a:pt x="2985" y="79"/>
                    </a:lnTo>
                    <a:lnTo>
                      <a:pt x="2965" y="76"/>
                    </a:lnTo>
                    <a:lnTo>
                      <a:pt x="2944" y="74"/>
                    </a:lnTo>
                    <a:lnTo>
                      <a:pt x="2923" y="72"/>
                    </a:lnTo>
                    <a:lnTo>
                      <a:pt x="2903" y="71"/>
                    </a:lnTo>
                    <a:lnTo>
                      <a:pt x="2884" y="70"/>
                    </a:lnTo>
                    <a:lnTo>
                      <a:pt x="2875" y="71"/>
                    </a:lnTo>
                    <a:lnTo>
                      <a:pt x="2867" y="72"/>
                    </a:lnTo>
                    <a:lnTo>
                      <a:pt x="2862" y="74"/>
                    </a:lnTo>
                    <a:lnTo>
                      <a:pt x="2856" y="76"/>
                    </a:lnTo>
                    <a:lnTo>
                      <a:pt x="2850" y="79"/>
                    </a:lnTo>
                    <a:lnTo>
                      <a:pt x="2843" y="81"/>
                    </a:lnTo>
                    <a:lnTo>
                      <a:pt x="2834" y="82"/>
                    </a:lnTo>
                    <a:lnTo>
                      <a:pt x="2823" y="83"/>
                    </a:lnTo>
                    <a:lnTo>
                      <a:pt x="2723" y="64"/>
                    </a:lnTo>
                    <a:lnTo>
                      <a:pt x="2724" y="58"/>
                    </a:lnTo>
                    <a:lnTo>
                      <a:pt x="2726" y="52"/>
                    </a:lnTo>
                    <a:lnTo>
                      <a:pt x="2729" y="47"/>
                    </a:lnTo>
                    <a:lnTo>
                      <a:pt x="2731" y="42"/>
                    </a:lnTo>
                    <a:lnTo>
                      <a:pt x="2738" y="33"/>
                    </a:lnTo>
                    <a:lnTo>
                      <a:pt x="2744" y="21"/>
                    </a:lnTo>
                    <a:lnTo>
                      <a:pt x="2743" y="19"/>
                    </a:lnTo>
                    <a:lnTo>
                      <a:pt x="2742" y="17"/>
                    </a:lnTo>
                    <a:lnTo>
                      <a:pt x="2739" y="15"/>
                    </a:lnTo>
                    <a:lnTo>
                      <a:pt x="2735" y="13"/>
                    </a:lnTo>
                    <a:lnTo>
                      <a:pt x="2727" y="10"/>
                    </a:lnTo>
                    <a:lnTo>
                      <a:pt x="2717" y="9"/>
                    </a:lnTo>
                    <a:lnTo>
                      <a:pt x="2712" y="5"/>
                    </a:lnTo>
                    <a:lnTo>
                      <a:pt x="2707" y="1"/>
                    </a:lnTo>
                    <a:lnTo>
                      <a:pt x="2701" y="0"/>
                    </a:lnTo>
                    <a:lnTo>
                      <a:pt x="2696" y="0"/>
                    </a:lnTo>
                    <a:lnTo>
                      <a:pt x="2691" y="3"/>
                    </a:lnTo>
                    <a:lnTo>
                      <a:pt x="2687" y="7"/>
                    </a:lnTo>
                    <a:lnTo>
                      <a:pt x="2685" y="13"/>
                    </a:lnTo>
                    <a:lnTo>
                      <a:pt x="2684" y="21"/>
                    </a:lnTo>
                    <a:lnTo>
                      <a:pt x="2667" y="24"/>
                    </a:lnTo>
                    <a:lnTo>
                      <a:pt x="2653" y="29"/>
                    </a:lnTo>
                    <a:lnTo>
                      <a:pt x="2641" y="34"/>
                    </a:lnTo>
                    <a:lnTo>
                      <a:pt x="2630" y="40"/>
                    </a:lnTo>
                    <a:lnTo>
                      <a:pt x="2610" y="53"/>
                    </a:lnTo>
                    <a:lnTo>
                      <a:pt x="2590" y="64"/>
                    </a:lnTo>
                    <a:lnTo>
                      <a:pt x="2618" y="83"/>
                    </a:lnTo>
                    <a:lnTo>
                      <a:pt x="2611" y="83"/>
                    </a:lnTo>
                    <a:lnTo>
                      <a:pt x="2597" y="83"/>
                    </a:lnTo>
                    <a:lnTo>
                      <a:pt x="2575" y="83"/>
                    </a:lnTo>
                    <a:lnTo>
                      <a:pt x="2551" y="83"/>
                    </a:lnTo>
                    <a:lnTo>
                      <a:pt x="2567" y="97"/>
                    </a:lnTo>
                    <a:lnTo>
                      <a:pt x="2587" y="118"/>
                    </a:lnTo>
                    <a:lnTo>
                      <a:pt x="2598" y="128"/>
                    </a:lnTo>
                    <a:lnTo>
                      <a:pt x="2610" y="136"/>
                    </a:lnTo>
                    <a:lnTo>
                      <a:pt x="2617" y="140"/>
                    </a:lnTo>
                    <a:lnTo>
                      <a:pt x="2623" y="142"/>
                    </a:lnTo>
                    <a:lnTo>
                      <a:pt x="2630" y="144"/>
                    </a:lnTo>
                    <a:lnTo>
                      <a:pt x="2638" y="144"/>
                    </a:lnTo>
                    <a:lnTo>
                      <a:pt x="2630" y="144"/>
                    </a:lnTo>
                    <a:lnTo>
                      <a:pt x="2623" y="142"/>
                    </a:lnTo>
                    <a:lnTo>
                      <a:pt x="2618" y="140"/>
                    </a:lnTo>
                    <a:lnTo>
                      <a:pt x="2611" y="137"/>
                    </a:lnTo>
                    <a:lnTo>
                      <a:pt x="2600" y="130"/>
                    </a:lnTo>
                    <a:lnTo>
                      <a:pt x="2590" y="121"/>
                    </a:lnTo>
                    <a:lnTo>
                      <a:pt x="2579" y="110"/>
                    </a:lnTo>
                    <a:lnTo>
                      <a:pt x="2567" y="100"/>
                    </a:lnTo>
                    <a:lnTo>
                      <a:pt x="2561" y="95"/>
                    </a:lnTo>
                    <a:lnTo>
                      <a:pt x="2554" y="90"/>
                    </a:lnTo>
                    <a:lnTo>
                      <a:pt x="2547" y="86"/>
                    </a:lnTo>
                    <a:lnTo>
                      <a:pt x="2538" y="83"/>
                    </a:lnTo>
                    <a:lnTo>
                      <a:pt x="2465" y="114"/>
                    </a:lnTo>
                    <a:lnTo>
                      <a:pt x="2462" y="110"/>
                    </a:lnTo>
                    <a:lnTo>
                      <a:pt x="2455" y="104"/>
                    </a:lnTo>
                    <a:lnTo>
                      <a:pt x="2451" y="100"/>
                    </a:lnTo>
                    <a:lnTo>
                      <a:pt x="2446" y="98"/>
                    </a:lnTo>
                    <a:lnTo>
                      <a:pt x="2439" y="95"/>
                    </a:lnTo>
                    <a:lnTo>
                      <a:pt x="2431" y="95"/>
                    </a:lnTo>
                    <a:lnTo>
                      <a:pt x="2410" y="95"/>
                    </a:lnTo>
                    <a:lnTo>
                      <a:pt x="2391" y="98"/>
                    </a:lnTo>
                    <a:lnTo>
                      <a:pt x="2372" y="101"/>
                    </a:lnTo>
                    <a:lnTo>
                      <a:pt x="2354" y="105"/>
                    </a:lnTo>
                    <a:lnTo>
                      <a:pt x="2319" y="117"/>
                    </a:lnTo>
                    <a:lnTo>
                      <a:pt x="2284" y="129"/>
                    </a:lnTo>
                    <a:lnTo>
                      <a:pt x="2250" y="141"/>
                    </a:lnTo>
                    <a:lnTo>
                      <a:pt x="2214" y="152"/>
                    </a:lnTo>
                    <a:lnTo>
                      <a:pt x="2195" y="156"/>
                    </a:lnTo>
                    <a:lnTo>
                      <a:pt x="2175" y="159"/>
                    </a:lnTo>
                    <a:lnTo>
                      <a:pt x="2155" y="161"/>
                    </a:lnTo>
                    <a:lnTo>
                      <a:pt x="2133" y="162"/>
                    </a:lnTo>
                    <a:lnTo>
                      <a:pt x="2134" y="167"/>
                    </a:lnTo>
                    <a:lnTo>
                      <a:pt x="2137" y="173"/>
                    </a:lnTo>
                    <a:lnTo>
                      <a:pt x="2142" y="178"/>
                    </a:lnTo>
                    <a:lnTo>
                      <a:pt x="2149" y="183"/>
                    </a:lnTo>
                    <a:lnTo>
                      <a:pt x="2157" y="187"/>
                    </a:lnTo>
                    <a:lnTo>
                      <a:pt x="2167" y="190"/>
                    </a:lnTo>
                    <a:lnTo>
                      <a:pt x="2175" y="193"/>
                    </a:lnTo>
                    <a:lnTo>
                      <a:pt x="2185" y="193"/>
                    </a:lnTo>
                    <a:lnTo>
                      <a:pt x="2186" y="198"/>
                    </a:lnTo>
                    <a:lnTo>
                      <a:pt x="2187" y="203"/>
                    </a:lnTo>
                    <a:lnTo>
                      <a:pt x="2190" y="208"/>
                    </a:lnTo>
                    <a:lnTo>
                      <a:pt x="2192" y="213"/>
                    </a:lnTo>
                    <a:lnTo>
                      <a:pt x="2198" y="225"/>
                    </a:lnTo>
                    <a:lnTo>
                      <a:pt x="2207" y="235"/>
                    </a:lnTo>
                    <a:lnTo>
                      <a:pt x="2216" y="244"/>
                    </a:lnTo>
                    <a:lnTo>
                      <a:pt x="2225" y="251"/>
                    </a:lnTo>
                    <a:lnTo>
                      <a:pt x="2233" y="257"/>
                    </a:lnTo>
                    <a:lnTo>
                      <a:pt x="2239" y="261"/>
                    </a:lnTo>
                    <a:lnTo>
                      <a:pt x="2233" y="261"/>
                    </a:lnTo>
                    <a:lnTo>
                      <a:pt x="2227" y="260"/>
                    </a:lnTo>
                    <a:lnTo>
                      <a:pt x="2223" y="259"/>
                    </a:lnTo>
                    <a:lnTo>
                      <a:pt x="2217" y="257"/>
                    </a:lnTo>
                    <a:lnTo>
                      <a:pt x="2214" y="254"/>
                    </a:lnTo>
                    <a:lnTo>
                      <a:pt x="2209" y="251"/>
                    </a:lnTo>
                    <a:lnTo>
                      <a:pt x="2206" y="248"/>
                    </a:lnTo>
                    <a:lnTo>
                      <a:pt x="2203" y="244"/>
                    </a:lnTo>
                    <a:lnTo>
                      <a:pt x="2198" y="236"/>
                    </a:lnTo>
                    <a:lnTo>
                      <a:pt x="2195" y="225"/>
                    </a:lnTo>
                    <a:lnTo>
                      <a:pt x="2193" y="213"/>
                    </a:lnTo>
                    <a:lnTo>
                      <a:pt x="2192" y="200"/>
                    </a:lnTo>
                    <a:lnTo>
                      <a:pt x="2190" y="201"/>
                    </a:lnTo>
                    <a:lnTo>
                      <a:pt x="2186" y="202"/>
                    </a:lnTo>
                    <a:lnTo>
                      <a:pt x="2182" y="202"/>
                    </a:lnTo>
                    <a:lnTo>
                      <a:pt x="2179" y="202"/>
                    </a:lnTo>
                    <a:lnTo>
                      <a:pt x="2169" y="200"/>
                    </a:lnTo>
                    <a:lnTo>
                      <a:pt x="2159" y="200"/>
                    </a:lnTo>
                    <a:lnTo>
                      <a:pt x="2150" y="200"/>
                    </a:lnTo>
                    <a:lnTo>
                      <a:pt x="2141" y="202"/>
                    </a:lnTo>
                    <a:lnTo>
                      <a:pt x="2134" y="205"/>
                    </a:lnTo>
                    <a:lnTo>
                      <a:pt x="2126" y="209"/>
                    </a:lnTo>
                    <a:lnTo>
                      <a:pt x="2118" y="212"/>
                    </a:lnTo>
                    <a:lnTo>
                      <a:pt x="2111" y="215"/>
                    </a:lnTo>
                    <a:lnTo>
                      <a:pt x="2102" y="217"/>
                    </a:lnTo>
                    <a:lnTo>
                      <a:pt x="2093" y="218"/>
                    </a:lnTo>
                    <a:lnTo>
                      <a:pt x="2083" y="217"/>
                    </a:lnTo>
                    <a:lnTo>
                      <a:pt x="2073" y="214"/>
                    </a:lnTo>
                    <a:lnTo>
                      <a:pt x="2066" y="210"/>
                    </a:lnTo>
                    <a:lnTo>
                      <a:pt x="2059" y="206"/>
                    </a:lnTo>
                    <a:lnTo>
                      <a:pt x="2020" y="218"/>
                    </a:lnTo>
                    <a:lnTo>
                      <a:pt x="2013" y="218"/>
                    </a:lnTo>
                    <a:lnTo>
                      <a:pt x="2000" y="219"/>
                    </a:lnTo>
                    <a:lnTo>
                      <a:pt x="1992" y="221"/>
                    </a:lnTo>
                    <a:lnTo>
                      <a:pt x="1985" y="223"/>
                    </a:lnTo>
                    <a:lnTo>
                      <a:pt x="1983" y="225"/>
                    </a:lnTo>
                    <a:lnTo>
                      <a:pt x="1981" y="227"/>
                    </a:lnTo>
                    <a:lnTo>
                      <a:pt x="1980" y="229"/>
                    </a:lnTo>
                    <a:lnTo>
                      <a:pt x="1980" y="231"/>
                    </a:lnTo>
                    <a:lnTo>
                      <a:pt x="1980" y="234"/>
                    </a:lnTo>
                    <a:lnTo>
                      <a:pt x="1982" y="238"/>
                    </a:lnTo>
                    <a:lnTo>
                      <a:pt x="1984" y="242"/>
                    </a:lnTo>
                    <a:lnTo>
                      <a:pt x="1988" y="245"/>
                    </a:lnTo>
                    <a:lnTo>
                      <a:pt x="1996" y="253"/>
                    </a:lnTo>
                    <a:lnTo>
                      <a:pt x="2009" y="261"/>
                    </a:lnTo>
                    <a:lnTo>
                      <a:pt x="2023" y="270"/>
                    </a:lnTo>
                    <a:lnTo>
                      <a:pt x="2038" y="278"/>
                    </a:lnTo>
                    <a:lnTo>
                      <a:pt x="2056" y="287"/>
                    </a:lnTo>
                    <a:lnTo>
                      <a:pt x="2074" y="295"/>
                    </a:lnTo>
                    <a:lnTo>
                      <a:pt x="2112" y="311"/>
                    </a:lnTo>
                    <a:lnTo>
                      <a:pt x="2148" y="324"/>
                    </a:lnTo>
                    <a:lnTo>
                      <a:pt x="2178" y="334"/>
                    </a:lnTo>
                    <a:lnTo>
                      <a:pt x="2198" y="342"/>
                    </a:lnTo>
                    <a:lnTo>
                      <a:pt x="2200" y="352"/>
                    </a:lnTo>
                    <a:lnTo>
                      <a:pt x="2202" y="361"/>
                    </a:lnTo>
                    <a:lnTo>
                      <a:pt x="2204" y="369"/>
                    </a:lnTo>
                    <a:lnTo>
                      <a:pt x="2207" y="376"/>
                    </a:lnTo>
                    <a:lnTo>
                      <a:pt x="2216" y="389"/>
                    </a:lnTo>
                    <a:lnTo>
                      <a:pt x="2226" y="403"/>
                    </a:lnTo>
                    <a:lnTo>
                      <a:pt x="2214" y="405"/>
                    </a:lnTo>
                    <a:lnTo>
                      <a:pt x="2203" y="404"/>
                    </a:lnTo>
                    <a:lnTo>
                      <a:pt x="2193" y="402"/>
                    </a:lnTo>
                    <a:lnTo>
                      <a:pt x="2184" y="399"/>
                    </a:lnTo>
                    <a:lnTo>
                      <a:pt x="2177" y="394"/>
                    </a:lnTo>
                    <a:lnTo>
                      <a:pt x="2169" y="387"/>
                    </a:lnTo>
                    <a:lnTo>
                      <a:pt x="2161" y="381"/>
                    </a:lnTo>
                    <a:lnTo>
                      <a:pt x="2155" y="374"/>
                    </a:lnTo>
                    <a:lnTo>
                      <a:pt x="2142" y="360"/>
                    </a:lnTo>
                    <a:lnTo>
                      <a:pt x="2129" y="345"/>
                    </a:lnTo>
                    <a:lnTo>
                      <a:pt x="2123" y="339"/>
                    </a:lnTo>
                    <a:lnTo>
                      <a:pt x="2115" y="332"/>
                    </a:lnTo>
                    <a:lnTo>
                      <a:pt x="2107" y="327"/>
                    </a:lnTo>
                    <a:lnTo>
                      <a:pt x="2100" y="323"/>
                    </a:lnTo>
                    <a:lnTo>
                      <a:pt x="2065" y="315"/>
                    </a:lnTo>
                    <a:lnTo>
                      <a:pt x="2020" y="305"/>
                    </a:lnTo>
                    <a:lnTo>
                      <a:pt x="2009" y="302"/>
                    </a:lnTo>
                    <a:lnTo>
                      <a:pt x="1999" y="298"/>
                    </a:lnTo>
                    <a:lnTo>
                      <a:pt x="1989" y="293"/>
                    </a:lnTo>
                    <a:lnTo>
                      <a:pt x="1980" y="288"/>
                    </a:lnTo>
                    <a:lnTo>
                      <a:pt x="1972" y="281"/>
                    </a:lnTo>
                    <a:lnTo>
                      <a:pt x="1967" y="273"/>
                    </a:lnTo>
                    <a:lnTo>
                      <a:pt x="1964" y="269"/>
                    </a:lnTo>
                    <a:lnTo>
                      <a:pt x="1962" y="265"/>
                    </a:lnTo>
                    <a:lnTo>
                      <a:pt x="1960" y="260"/>
                    </a:lnTo>
                    <a:lnTo>
                      <a:pt x="1960" y="255"/>
                    </a:lnTo>
                    <a:lnTo>
                      <a:pt x="1947" y="255"/>
                    </a:lnTo>
                    <a:lnTo>
                      <a:pt x="1940" y="255"/>
                    </a:lnTo>
                    <a:lnTo>
                      <a:pt x="1933" y="256"/>
                    </a:lnTo>
                    <a:lnTo>
                      <a:pt x="1927" y="258"/>
                    </a:lnTo>
                    <a:lnTo>
                      <a:pt x="1922" y="261"/>
                    </a:lnTo>
                    <a:lnTo>
                      <a:pt x="1916" y="264"/>
                    </a:lnTo>
                    <a:lnTo>
                      <a:pt x="1910" y="267"/>
                    </a:lnTo>
                    <a:lnTo>
                      <a:pt x="1903" y="270"/>
                    </a:lnTo>
                    <a:lnTo>
                      <a:pt x="1895" y="272"/>
                    </a:lnTo>
                    <a:lnTo>
                      <a:pt x="1887" y="273"/>
                    </a:lnTo>
                    <a:lnTo>
                      <a:pt x="1882" y="287"/>
                    </a:lnTo>
                    <a:lnTo>
                      <a:pt x="1879" y="297"/>
                    </a:lnTo>
                    <a:lnTo>
                      <a:pt x="1877" y="301"/>
                    </a:lnTo>
                    <a:lnTo>
                      <a:pt x="1875" y="305"/>
                    </a:lnTo>
                    <a:lnTo>
                      <a:pt x="1871" y="308"/>
                    </a:lnTo>
                    <a:lnTo>
                      <a:pt x="1867" y="310"/>
                    </a:lnTo>
                    <a:lnTo>
                      <a:pt x="1871" y="316"/>
                    </a:lnTo>
                    <a:lnTo>
                      <a:pt x="1876" y="320"/>
                    </a:lnTo>
                    <a:lnTo>
                      <a:pt x="1882" y="325"/>
                    </a:lnTo>
                    <a:lnTo>
                      <a:pt x="1889" y="328"/>
                    </a:lnTo>
                    <a:lnTo>
                      <a:pt x="1903" y="334"/>
                    </a:lnTo>
                    <a:lnTo>
                      <a:pt x="1921" y="340"/>
                    </a:lnTo>
                    <a:lnTo>
                      <a:pt x="1959" y="349"/>
                    </a:lnTo>
                    <a:lnTo>
                      <a:pt x="2000" y="360"/>
                    </a:lnTo>
                    <a:lnTo>
                      <a:pt x="1954" y="360"/>
                    </a:lnTo>
                    <a:lnTo>
                      <a:pt x="1929" y="354"/>
                    </a:lnTo>
                    <a:lnTo>
                      <a:pt x="1906" y="349"/>
                    </a:lnTo>
                    <a:lnTo>
                      <a:pt x="1886" y="344"/>
                    </a:lnTo>
                    <a:lnTo>
                      <a:pt x="1866" y="338"/>
                    </a:lnTo>
                    <a:lnTo>
                      <a:pt x="1857" y="333"/>
                    </a:lnTo>
                    <a:lnTo>
                      <a:pt x="1849" y="328"/>
                    </a:lnTo>
                    <a:lnTo>
                      <a:pt x="1842" y="322"/>
                    </a:lnTo>
                    <a:lnTo>
                      <a:pt x="1835" y="315"/>
                    </a:lnTo>
                    <a:lnTo>
                      <a:pt x="1828" y="307"/>
                    </a:lnTo>
                    <a:lnTo>
                      <a:pt x="1823" y="298"/>
                    </a:lnTo>
                    <a:lnTo>
                      <a:pt x="1817" y="287"/>
                    </a:lnTo>
                    <a:lnTo>
                      <a:pt x="1814" y="273"/>
                    </a:lnTo>
                    <a:lnTo>
                      <a:pt x="1787" y="273"/>
                    </a:lnTo>
                    <a:lnTo>
                      <a:pt x="1787" y="282"/>
                    </a:lnTo>
                    <a:lnTo>
                      <a:pt x="1786" y="288"/>
                    </a:lnTo>
                    <a:lnTo>
                      <a:pt x="1785" y="293"/>
                    </a:lnTo>
                    <a:lnTo>
                      <a:pt x="1782" y="298"/>
                    </a:lnTo>
                    <a:lnTo>
                      <a:pt x="1776" y="306"/>
                    </a:lnTo>
                    <a:lnTo>
                      <a:pt x="1767" y="316"/>
                    </a:lnTo>
                    <a:lnTo>
                      <a:pt x="1771" y="323"/>
                    </a:lnTo>
                    <a:lnTo>
                      <a:pt x="1775" y="328"/>
                    </a:lnTo>
                    <a:lnTo>
                      <a:pt x="1779" y="332"/>
                    </a:lnTo>
                    <a:lnTo>
                      <a:pt x="1785" y="336"/>
                    </a:lnTo>
                    <a:lnTo>
                      <a:pt x="1793" y="342"/>
                    </a:lnTo>
                    <a:lnTo>
                      <a:pt x="1803" y="346"/>
                    </a:lnTo>
                    <a:lnTo>
                      <a:pt x="1813" y="351"/>
                    </a:lnTo>
                    <a:lnTo>
                      <a:pt x="1823" y="358"/>
                    </a:lnTo>
                    <a:lnTo>
                      <a:pt x="1827" y="363"/>
                    </a:lnTo>
                    <a:lnTo>
                      <a:pt x="1832" y="369"/>
                    </a:lnTo>
                    <a:lnTo>
                      <a:pt x="1836" y="376"/>
                    </a:lnTo>
                    <a:lnTo>
                      <a:pt x="1841" y="384"/>
                    </a:lnTo>
                    <a:lnTo>
                      <a:pt x="1842" y="389"/>
                    </a:lnTo>
                    <a:lnTo>
                      <a:pt x="1843" y="396"/>
                    </a:lnTo>
                    <a:lnTo>
                      <a:pt x="1844" y="402"/>
                    </a:lnTo>
                    <a:lnTo>
                      <a:pt x="1844" y="409"/>
                    </a:lnTo>
                    <a:lnTo>
                      <a:pt x="1844" y="415"/>
                    </a:lnTo>
                    <a:lnTo>
                      <a:pt x="1844" y="420"/>
                    </a:lnTo>
                    <a:lnTo>
                      <a:pt x="1845" y="424"/>
                    </a:lnTo>
                    <a:lnTo>
                      <a:pt x="1847" y="427"/>
                    </a:lnTo>
                    <a:lnTo>
                      <a:pt x="1859" y="436"/>
                    </a:lnTo>
                    <a:lnTo>
                      <a:pt x="1868" y="444"/>
                    </a:lnTo>
                    <a:lnTo>
                      <a:pt x="1872" y="448"/>
                    </a:lnTo>
                    <a:lnTo>
                      <a:pt x="1878" y="451"/>
                    </a:lnTo>
                    <a:lnTo>
                      <a:pt x="1884" y="452"/>
                    </a:lnTo>
                    <a:lnTo>
                      <a:pt x="1893" y="453"/>
                    </a:lnTo>
                    <a:lnTo>
                      <a:pt x="1902" y="452"/>
                    </a:lnTo>
                    <a:lnTo>
                      <a:pt x="1910" y="450"/>
                    </a:lnTo>
                    <a:lnTo>
                      <a:pt x="1917" y="446"/>
                    </a:lnTo>
                    <a:lnTo>
                      <a:pt x="1923" y="443"/>
                    </a:lnTo>
                    <a:lnTo>
                      <a:pt x="1929" y="439"/>
                    </a:lnTo>
                    <a:lnTo>
                      <a:pt x="1936" y="436"/>
                    </a:lnTo>
                    <a:lnTo>
                      <a:pt x="1944" y="434"/>
                    </a:lnTo>
                    <a:lnTo>
                      <a:pt x="1954" y="433"/>
                    </a:lnTo>
                    <a:lnTo>
                      <a:pt x="1961" y="434"/>
                    </a:lnTo>
                    <a:lnTo>
                      <a:pt x="1970" y="435"/>
                    </a:lnTo>
                    <a:lnTo>
                      <a:pt x="1978" y="437"/>
                    </a:lnTo>
                    <a:lnTo>
                      <a:pt x="1985" y="439"/>
                    </a:lnTo>
                    <a:lnTo>
                      <a:pt x="1999" y="445"/>
                    </a:lnTo>
                    <a:lnTo>
                      <a:pt x="2013" y="453"/>
                    </a:lnTo>
                    <a:lnTo>
                      <a:pt x="2027" y="459"/>
                    </a:lnTo>
                    <a:lnTo>
                      <a:pt x="2041" y="465"/>
                    </a:lnTo>
                    <a:lnTo>
                      <a:pt x="2048" y="467"/>
                    </a:lnTo>
                    <a:lnTo>
                      <a:pt x="2056" y="469"/>
                    </a:lnTo>
                    <a:lnTo>
                      <a:pt x="2065" y="470"/>
                    </a:lnTo>
                    <a:lnTo>
                      <a:pt x="2073" y="471"/>
                    </a:lnTo>
                    <a:lnTo>
                      <a:pt x="2076" y="482"/>
                    </a:lnTo>
                    <a:lnTo>
                      <a:pt x="2078" y="492"/>
                    </a:lnTo>
                    <a:lnTo>
                      <a:pt x="2082" y="503"/>
                    </a:lnTo>
                    <a:lnTo>
                      <a:pt x="2086" y="511"/>
                    </a:lnTo>
                    <a:lnTo>
                      <a:pt x="2090" y="515"/>
                    </a:lnTo>
                    <a:lnTo>
                      <a:pt x="2093" y="518"/>
                    </a:lnTo>
                    <a:lnTo>
                      <a:pt x="2097" y="522"/>
                    </a:lnTo>
                    <a:lnTo>
                      <a:pt x="2102" y="525"/>
                    </a:lnTo>
                    <a:lnTo>
                      <a:pt x="2106" y="527"/>
                    </a:lnTo>
                    <a:lnTo>
                      <a:pt x="2113" y="529"/>
                    </a:lnTo>
                    <a:lnTo>
                      <a:pt x="2118" y="531"/>
                    </a:lnTo>
                    <a:lnTo>
                      <a:pt x="2126" y="532"/>
                    </a:lnTo>
                    <a:lnTo>
                      <a:pt x="2111" y="532"/>
                    </a:lnTo>
                    <a:lnTo>
                      <a:pt x="2100" y="532"/>
                    </a:lnTo>
                    <a:lnTo>
                      <a:pt x="2093" y="532"/>
                    </a:lnTo>
                    <a:lnTo>
                      <a:pt x="2086" y="531"/>
                    </a:lnTo>
                    <a:lnTo>
                      <a:pt x="2081" y="530"/>
                    </a:lnTo>
                    <a:lnTo>
                      <a:pt x="2076" y="529"/>
                    </a:lnTo>
                    <a:lnTo>
                      <a:pt x="2067" y="524"/>
                    </a:lnTo>
                    <a:lnTo>
                      <a:pt x="2059" y="519"/>
                    </a:lnTo>
                    <a:lnTo>
                      <a:pt x="2052" y="513"/>
                    </a:lnTo>
                    <a:lnTo>
                      <a:pt x="2046" y="506"/>
                    </a:lnTo>
                    <a:lnTo>
                      <a:pt x="2040" y="497"/>
                    </a:lnTo>
                    <a:lnTo>
                      <a:pt x="2035" y="489"/>
                    </a:lnTo>
                    <a:lnTo>
                      <a:pt x="2030" y="481"/>
                    </a:lnTo>
                    <a:lnTo>
                      <a:pt x="2024" y="473"/>
                    </a:lnTo>
                    <a:lnTo>
                      <a:pt x="2017" y="466"/>
                    </a:lnTo>
                    <a:lnTo>
                      <a:pt x="2011" y="460"/>
                    </a:lnTo>
                    <a:lnTo>
                      <a:pt x="2002" y="454"/>
                    </a:lnTo>
                    <a:lnTo>
                      <a:pt x="1992" y="450"/>
                    </a:lnTo>
                    <a:lnTo>
                      <a:pt x="1980" y="448"/>
                    </a:lnTo>
                    <a:lnTo>
                      <a:pt x="1967" y="446"/>
                    </a:lnTo>
                    <a:lnTo>
                      <a:pt x="1959" y="446"/>
                    </a:lnTo>
                    <a:lnTo>
                      <a:pt x="1953" y="449"/>
                    </a:lnTo>
                    <a:lnTo>
                      <a:pt x="1946" y="451"/>
                    </a:lnTo>
                    <a:lnTo>
                      <a:pt x="1939" y="453"/>
                    </a:lnTo>
                    <a:lnTo>
                      <a:pt x="1927" y="459"/>
                    </a:lnTo>
                    <a:lnTo>
                      <a:pt x="1913" y="465"/>
                    </a:lnTo>
                    <a:lnTo>
                      <a:pt x="1918" y="477"/>
                    </a:lnTo>
                    <a:lnTo>
                      <a:pt x="1932" y="499"/>
                    </a:lnTo>
                    <a:lnTo>
                      <a:pt x="1939" y="512"/>
                    </a:lnTo>
                    <a:lnTo>
                      <a:pt x="1947" y="523"/>
                    </a:lnTo>
                    <a:lnTo>
                      <a:pt x="1954" y="532"/>
                    </a:lnTo>
                    <a:lnTo>
                      <a:pt x="1960" y="538"/>
                    </a:lnTo>
                    <a:lnTo>
                      <a:pt x="1945" y="554"/>
                    </a:lnTo>
                    <a:lnTo>
                      <a:pt x="1929" y="573"/>
                    </a:lnTo>
                    <a:lnTo>
                      <a:pt x="1924" y="578"/>
                    </a:lnTo>
                    <a:lnTo>
                      <a:pt x="1918" y="581"/>
                    </a:lnTo>
                    <a:lnTo>
                      <a:pt x="1913" y="585"/>
                    </a:lnTo>
                    <a:lnTo>
                      <a:pt x="1906" y="588"/>
                    </a:lnTo>
                    <a:lnTo>
                      <a:pt x="1900" y="590"/>
                    </a:lnTo>
                    <a:lnTo>
                      <a:pt x="1892" y="592"/>
                    </a:lnTo>
                    <a:lnTo>
                      <a:pt x="1883" y="593"/>
                    </a:lnTo>
                    <a:lnTo>
                      <a:pt x="1873" y="594"/>
                    </a:lnTo>
                    <a:lnTo>
                      <a:pt x="1855" y="595"/>
                    </a:lnTo>
                    <a:lnTo>
                      <a:pt x="1838" y="597"/>
                    </a:lnTo>
                    <a:lnTo>
                      <a:pt x="1823" y="600"/>
                    </a:lnTo>
                    <a:lnTo>
                      <a:pt x="1810" y="603"/>
                    </a:lnTo>
                    <a:lnTo>
                      <a:pt x="1797" y="604"/>
                    </a:lnTo>
                    <a:lnTo>
                      <a:pt x="1785" y="604"/>
                    </a:lnTo>
                    <a:lnTo>
                      <a:pt x="1779" y="603"/>
                    </a:lnTo>
                    <a:lnTo>
                      <a:pt x="1772" y="601"/>
                    </a:lnTo>
                    <a:lnTo>
                      <a:pt x="1767" y="598"/>
                    </a:lnTo>
                    <a:lnTo>
                      <a:pt x="1760" y="594"/>
                    </a:lnTo>
                    <a:lnTo>
                      <a:pt x="1778" y="593"/>
                    </a:lnTo>
                    <a:lnTo>
                      <a:pt x="1793" y="591"/>
                    </a:lnTo>
                    <a:lnTo>
                      <a:pt x="1806" y="589"/>
                    </a:lnTo>
                    <a:lnTo>
                      <a:pt x="1821" y="588"/>
                    </a:lnTo>
                    <a:lnTo>
                      <a:pt x="1826" y="587"/>
                    </a:lnTo>
                    <a:lnTo>
                      <a:pt x="1832" y="586"/>
                    </a:lnTo>
                    <a:lnTo>
                      <a:pt x="1837" y="585"/>
                    </a:lnTo>
                    <a:lnTo>
                      <a:pt x="1843" y="583"/>
                    </a:lnTo>
                    <a:lnTo>
                      <a:pt x="1847" y="580"/>
                    </a:lnTo>
                    <a:lnTo>
                      <a:pt x="1852" y="577"/>
                    </a:lnTo>
                    <a:lnTo>
                      <a:pt x="1856" y="573"/>
                    </a:lnTo>
                    <a:lnTo>
                      <a:pt x="1859" y="569"/>
                    </a:lnTo>
                    <a:lnTo>
                      <a:pt x="1866" y="560"/>
                    </a:lnTo>
                    <a:lnTo>
                      <a:pt x="1870" y="548"/>
                    </a:lnTo>
                    <a:lnTo>
                      <a:pt x="1872" y="538"/>
                    </a:lnTo>
                    <a:lnTo>
                      <a:pt x="1873" y="526"/>
                    </a:lnTo>
                    <a:lnTo>
                      <a:pt x="1873" y="520"/>
                    </a:lnTo>
                    <a:lnTo>
                      <a:pt x="1873" y="512"/>
                    </a:lnTo>
                    <a:lnTo>
                      <a:pt x="1873" y="499"/>
                    </a:lnTo>
                    <a:lnTo>
                      <a:pt x="1873" y="483"/>
                    </a:lnTo>
                    <a:lnTo>
                      <a:pt x="1860" y="480"/>
                    </a:lnTo>
                    <a:lnTo>
                      <a:pt x="1849" y="476"/>
                    </a:lnTo>
                    <a:lnTo>
                      <a:pt x="1839" y="470"/>
                    </a:lnTo>
                    <a:lnTo>
                      <a:pt x="1832" y="464"/>
                    </a:lnTo>
                    <a:lnTo>
                      <a:pt x="1824" y="457"/>
                    </a:lnTo>
                    <a:lnTo>
                      <a:pt x="1817" y="449"/>
                    </a:lnTo>
                    <a:lnTo>
                      <a:pt x="1812" y="440"/>
                    </a:lnTo>
                    <a:lnTo>
                      <a:pt x="1806" y="431"/>
                    </a:lnTo>
                    <a:lnTo>
                      <a:pt x="1796" y="413"/>
                    </a:lnTo>
                    <a:lnTo>
                      <a:pt x="1785" y="396"/>
                    </a:lnTo>
                    <a:lnTo>
                      <a:pt x="1778" y="387"/>
                    </a:lnTo>
                    <a:lnTo>
                      <a:pt x="1771" y="379"/>
                    </a:lnTo>
                    <a:lnTo>
                      <a:pt x="1764" y="372"/>
                    </a:lnTo>
                    <a:lnTo>
                      <a:pt x="1754" y="366"/>
                    </a:lnTo>
                    <a:lnTo>
                      <a:pt x="1708" y="348"/>
                    </a:lnTo>
                    <a:lnTo>
                      <a:pt x="1705" y="342"/>
                    </a:lnTo>
                    <a:lnTo>
                      <a:pt x="1707" y="333"/>
                    </a:lnTo>
                    <a:lnTo>
                      <a:pt x="1708" y="324"/>
                    </a:lnTo>
                    <a:lnTo>
                      <a:pt x="1709" y="313"/>
                    </a:lnTo>
                    <a:lnTo>
                      <a:pt x="1710" y="303"/>
                    </a:lnTo>
                    <a:lnTo>
                      <a:pt x="1709" y="294"/>
                    </a:lnTo>
                    <a:lnTo>
                      <a:pt x="1708" y="290"/>
                    </a:lnTo>
                    <a:lnTo>
                      <a:pt x="1707" y="286"/>
                    </a:lnTo>
                    <a:lnTo>
                      <a:pt x="1704" y="283"/>
                    </a:lnTo>
                    <a:lnTo>
                      <a:pt x="1701" y="279"/>
                    </a:lnTo>
                    <a:lnTo>
                      <a:pt x="1698" y="276"/>
                    </a:lnTo>
                    <a:lnTo>
                      <a:pt x="1693" y="273"/>
                    </a:lnTo>
                    <a:lnTo>
                      <a:pt x="1689" y="271"/>
                    </a:lnTo>
                    <a:lnTo>
                      <a:pt x="1682" y="269"/>
                    </a:lnTo>
                    <a:lnTo>
                      <a:pt x="1669" y="266"/>
                    </a:lnTo>
                    <a:lnTo>
                      <a:pt x="1654" y="263"/>
                    </a:lnTo>
                    <a:lnTo>
                      <a:pt x="1618" y="261"/>
                    </a:lnTo>
                    <a:lnTo>
                      <a:pt x="1581" y="261"/>
                    </a:lnTo>
                    <a:lnTo>
                      <a:pt x="1596" y="257"/>
                    </a:lnTo>
                    <a:lnTo>
                      <a:pt x="1609" y="253"/>
                    </a:lnTo>
                    <a:lnTo>
                      <a:pt x="1613" y="249"/>
                    </a:lnTo>
                    <a:lnTo>
                      <a:pt x="1618" y="245"/>
                    </a:lnTo>
                    <a:lnTo>
                      <a:pt x="1620" y="239"/>
                    </a:lnTo>
                    <a:lnTo>
                      <a:pt x="1621" y="231"/>
                    </a:lnTo>
                    <a:lnTo>
                      <a:pt x="1608" y="231"/>
                    </a:lnTo>
                    <a:lnTo>
                      <a:pt x="1596" y="231"/>
                    </a:lnTo>
                    <a:lnTo>
                      <a:pt x="1581" y="231"/>
                    </a:lnTo>
                    <a:lnTo>
                      <a:pt x="1562" y="231"/>
                    </a:lnTo>
                    <a:lnTo>
                      <a:pt x="1559" y="246"/>
                    </a:lnTo>
                    <a:lnTo>
                      <a:pt x="1555" y="263"/>
                    </a:lnTo>
                    <a:lnTo>
                      <a:pt x="1550" y="279"/>
                    </a:lnTo>
                    <a:lnTo>
                      <a:pt x="1548" y="292"/>
                    </a:lnTo>
                    <a:lnTo>
                      <a:pt x="1548" y="294"/>
                    </a:lnTo>
                    <a:lnTo>
                      <a:pt x="1550" y="295"/>
                    </a:lnTo>
                    <a:lnTo>
                      <a:pt x="1552" y="295"/>
                    </a:lnTo>
                    <a:lnTo>
                      <a:pt x="1555" y="295"/>
                    </a:lnTo>
                    <a:lnTo>
                      <a:pt x="1559" y="293"/>
                    </a:lnTo>
                    <a:lnTo>
                      <a:pt x="1562" y="292"/>
                    </a:lnTo>
                    <a:lnTo>
                      <a:pt x="1562" y="323"/>
                    </a:lnTo>
                    <a:lnTo>
                      <a:pt x="1552" y="327"/>
                    </a:lnTo>
                    <a:lnTo>
                      <a:pt x="1543" y="331"/>
                    </a:lnTo>
                    <a:lnTo>
                      <a:pt x="1537" y="332"/>
                    </a:lnTo>
                    <a:lnTo>
                      <a:pt x="1531" y="334"/>
                    </a:lnTo>
                    <a:lnTo>
                      <a:pt x="1524" y="334"/>
                    </a:lnTo>
                    <a:lnTo>
                      <a:pt x="1514" y="336"/>
                    </a:lnTo>
                    <a:lnTo>
                      <a:pt x="1514" y="345"/>
                    </a:lnTo>
                    <a:lnTo>
                      <a:pt x="1514" y="354"/>
                    </a:lnTo>
                    <a:lnTo>
                      <a:pt x="1532" y="375"/>
                    </a:lnTo>
                    <a:lnTo>
                      <a:pt x="1555" y="404"/>
                    </a:lnTo>
                    <a:lnTo>
                      <a:pt x="1562" y="411"/>
                    </a:lnTo>
                    <a:lnTo>
                      <a:pt x="1569" y="418"/>
                    </a:lnTo>
                    <a:lnTo>
                      <a:pt x="1577" y="424"/>
                    </a:lnTo>
                    <a:lnTo>
                      <a:pt x="1585" y="429"/>
                    </a:lnTo>
                    <a:lnTo>
                      <a:pt x="1593" y="433"/>
                    </a:lnTo>
                    <a:lnTo>
                      <a:pt x="1602" y="437"/>
                    </a:lnTo>
                    <a:lnTo>
                      <a:pt x="1611" y="439"/>
                    </a:lnTo>
                    <a:lnTo>
                      <a:pt x="1621" y="439"/>
                    </a:lnTo>
                    <a:lnTo>
                      <a:pt x="1622" y="445"/>
                    </a:lnTo>
                    <a:lnTo>
                      <a:pt x="1623" y="451"/>
                    </a:lnTo>
                    <a:lnTo>
                      <a:pt x="1625" y="455"/>
                    </a:lnTo>
                    <a:lnTo>
                      <a:pt x="1629" y="458"/>
                    </a:lnTo>
                    <a:lnTo>
                      <a:pt x="1636" y="465"/>
                    </a:lnTo>
                    <a:lnTo>
                      <a:pt x="1645" y="471"/>
                    </a:lnTo>
                    <a:lnTo>
                      <a:pt x="1654" y="477"/>
                    </a:lnTo>
                    <a:lnTo>
                      <a:pt x="1663" y="483"/>
                    </a:lnTo>
                    <a:lnTo>
                      <a:pt x="1667" y="487"/>
                    </a:lnTo>
                    <a:lnTo>
                      <a:pt x="1670" y="491"/>
                    </a:lnTo>
                    <a:lnTo>
                      <a:pt x="1673" y="496"/>
                    </a:lnTo>
                    <a:lnTo>
                      <a:pt x="1674" y="501"/>
                    </a:lnTo>
                    <a:lnTo>
                      <a:pt x="1667" y="501"/>
                    </a:lnTo>
                    <a:lnTo>
                      <a:pt x="1654" y="501"/>
                    </a:lnTo>
                    <a:lnTo>
                      <a:pt x="1645" y="499"/>
                    </a:lnTo>
                    <a:lnTo>
                      <a:pt x="1625" y="494"/>
                    </a:lnTo>
                    <a:lnTo>
                      <a:pt x="1599" y="487"/>
                    </a:lnTo>
                    <a:lnTo>
                      <a:pt x="1568" y="478"/>
                    </a:lnTo>
                    <a:lnTo>
                      <a:pt x="1539" y="468"/>
                    </a:lnTo>
                    <a:lnTo>
                      <a:pt x="1513" y="458"/>
                    </a:lnTo>
                    <a:lnTo>
                      <a:pt x="1502" y="453"/>
                    </a:lnTo>
                    <a:lnTo>
                      <a:pt x="1495" y="448"/>
                    </a:lnTo>
                    <a:lnTo>
                      <a:pt x="1492" y="445"/>
                    </a:lnTo>
                    <a:lnTo>
                      <a:pt x="1490" y="443"/>
                    </a:lnTo>
                    <a:lnTo>
                      <a:pt x="1488" y="441"/>
                    </a:lnTo>
                    <a:lnTo>
                      <a:pt x="1488" y="439"/>
                    </a:lnTo>
                    <a:lnTo>
                      <a:pt x="1467" y="439"/>
                    </a:lnTo>
                    <a:lnTo>
                      <a:pt x="1432" y="436"/>
                    </a:lnTo>
                    <a:lnTo>
                      <a:pt x="1389" y="432"/>
                    </a:lnTo>
                    <a:lnTo>
                      <a:pt x="1343" y="425"/>
                    </a:lnTo>
                    <a:lnTo>
                      <a:pt x="1320" y="421"/>
                    </a:lnTo>
                    <a:lnTo>
                      <a:pt x="1298" y="417"/>
                    </a:lnTo>
                    <a:lnTo>
                      <a:pt x="1277" y="412"/>
                    </a:lnTo>
                    <a:lnTo>
                      <a:pt x="1260" y="406"/>
                    </a:lnTo>
                    <a:lnTo>
                      <a:pt x="1251" y="403"/>
                    </a:lnTo>
                    <a:lnTo>
                      <a:pt x="1244" y="400"/>
                    </a:lnTo>
                    <a:lnTo>
                      <a:pt x="1238" y="397"/>
                    </a:lnTo>
                    <a:lnTo>
                      <a:pt x="1232" y="394"/>
                    </a:lnTo>
                    <a:lnTo>
                      <a:pt x="1228" y="389"/>
                    </a:lnTo>
                    <a:lnTo>
                      <a:pt x="1225" y="386"/>
                    </a:lnTo>
                    <a:lnTo>
                      <a:pt x="1223" y="382"/>
                    </a:lnTo>
                    <a:lnTo>
                      <a:pt x="1222" y="378"/>
                    </a:lnTo>
                    <a:lnTo>
                      <a:pt x="1210" y="381"/>
                    </a:lnTo>
                    <a:lnTo>
                      <a:pt x="1203" y="384"/>
                    </a:lnTo>
                    <a:lnTo>
                      <a:pt x="1203" y="389"/>
                    </a:lnTo>
                    <a:lnTo>
                      <a:pt x="1204" y="395"/>
                    </a:lnTo>
                    <a:lnTo>
                      <a:pt x="1205" y="399"/>
                    </a:lnTo>
                    <a:lnTo>
                      <a:pt x="1207" y="403"/>
                    </a:lnTo>
                    <a:lnTo>
                      <a:pt x="1211" y="410"/>
                    </a:lnTo>
                    <a:lnTo>
                      <a:pt x="1218" y="416"/>
                    </a:lnTo>
                    <a:lnTo>
                      <a:pt x="1225" y="421"/>
                    </a:lnTo>
                    <a:lnTo>
                      <a:pt x="1233" y="425"/>
                    </a:lnTo>
                    <a:lnTo>
                      <a:pt x="1243" y="429"/>
                    </a:lnTo>
                    <a:lnTo>
                      <a:pt x="1253" y="433"/>
                    </a:lnTo>
                    <a:lnTo>
                      <a:pt x="1274" y="442"/>
                    </a:lnTo>
                    <a:lnTo>
                      <a:pt x="1295" y="452"/>
                    </a:lnTo>
                    <a:lnTo>
                      <a:pt x="1305" y="458"/>
                    </a:lnTo>
                    <a:lnTo>
                      <a:pt x="1313" y="465"/>
                    </a:lnTo>
                    <a:lnTo>
                      <a:pt x="1322" y="473"/>
                    </a:lnTo>
                    <a:lnTo>
                      <a:pt x="1329" y="483"/>
                    </a:lnTo>
                    <a:lnTo>
                      <a:pt x="1319" y="483"/>
                    </a:lnTo>
                    <a:lnTo>
                      <a:pt x="1309" y="483"/>
                    </a:lnTo>
                    <a:lnTo>
                      <a:pt x="1297" y="481"/>
                    </a:lnTo>
                    <a:lnTo>
                      <a:pt x="1281" y="477"/>
                    </a:lnTo>
                    <a:lnTo>
                      <a:pt x="1272" y="475"/>
                    </a:lnTo>
                    <a:lnTo>
                      <a:pt x="1262" y="473"/>
                    </a:lnTo>
                    <a:lnTo>
                      <a:pt x="1252" y="471"/>
                    </a:lnTo>
                    <a:lnTo>
                      <a:pt x="1242" y="471"/>
                    </a:lnTo>
                    <a:lnTo>
                      <a:pt x="1232" y="471"/>
                    </a:lnTo>
                    <a:lnTo>
                      <a:pt x="1221" y="473"/>
                    </a:lnTo>
                    <a:lnTo>
                      <a:pt x="1210" y="475"/>
                    </a:lnTo>
                    <a:lnTo>
                      <a:pt x="1198" y="477"/>
                    </a:lnTo>
                    <a:lnTo>
                      <a:pt x="1174" y="484"/>
                    </a:lnTo>
                    <a:lnTo>
                      <a:pt x="1149" y="492"/>
                    </a:lnTo>
                    <a:lnTo>
                      <a:pt x="1122" y="500"/>
                    </a:lnTo>
                    <a:lnTo>
                      <a:pt x="1097" y="508"/>
                    </a:lnTo>
                    <a:lnTo>
                      <a:pt x="1085" y="510"/>
                    </a:lnTo>
                    <a:lnTo>
                      <a:pt x="1073" y="512"/>
                    </a:lnTo>
                    <a:lnTo>
                      <a:pt x="1061" y="514"/>
                    </a:lnTo>
                    <a:lnTo>
                      <a:pt x="1050" y="514"/>
                    </a:lnTo>
                    <a:lnTo>
                      <a:pt x="1046" y="513"/>
                    </a:lnTo>
                    <a:lnTo>
                      <a:pt x="1042" y="511"/>
                    </a:lnTo>
                    <a:lnTo>
                      <a:pt x="1040" y="507"/>
                    </a:lnTo>
                    <a:lnTo>
                      <a:pt x="1040" y="503"/>
                    </a:lnTo>
                    <a:lnTo>
                      <a:pt x="1040" y="496"/>
                    </a:lnTo>
                    <a:lnTo>
                      <a:pt x="1042" y="490"/>
                    </a:lnTo>
                    <a:lnTo>
                      <a:pt x="1046" y="484"/>
                    </a:lnTo>
                    <a:lnTo>
                      <a:pt x="1050" y="477"/>
                    </a:lnTo>
                    <a:lnTo>
                      <a:pt x="1040" y="473"/>
                    </a:lnTo>
                    <a:lnTo>
                      <a:pt x="1030" y="472"/>
                    </a:lnTo>
                    <a:lnTo>
                      <a:pt x="1019" y="471"/>
                    </a:lnTo>
                    <a:lnTo>
                      <a:pt x="1009" y="471"/>
                    </a:lnTo>
                    <a:lnTo>
                      <a:pt x="1007" y="475"/>
                    </a:lnTo>
                    <a:lnTo>
                      <a:pt x="1004" y="477"/>
                    </a:lnTo>
                    <a:lnTo>
                      <a:pt x="999" y="479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72" y="479"/>
                    </a:lnTo>
                    <a:lnTo>
                      <a:pt x="961" y="477"/>
                    </a:lnTo>
                    <a:lnTo>
                      <a:pt x="949" y="477"/>
                    </a:lnTo>
                    <a:lnTo>
                      <a:pt x="943" y="477"/>
                    </a:lnTo>
                    <a:lnTo>
                      <a:pt x="939" y="478"/>
                    </a:lnTo>
                    <a:lnTo>
                      <a:pt x="934" y="480"/>
                    </a:lnTo>
                    <a:lnTo>
                      <a:pt x="930" y="483"/>
                    </a:lnTo>
                    <a:lnTo>
                      <a:pt x="924" y="489"/>
                    </a:lnTo>
                    <a:lnTo>
                      <a:pt x="916" y="495"/>
                    </a:lnTo>
                    <a:lnTo>
                      <a:pt x="908" y="500"/>
                    </a:lnTo>
                    <a:lnTo>
                      <a:pt x="900" y="505"/>
                    </a:lnTo>
                    <a:lnTo>
                      <a:pt x="882" y="513"/>
                    </a:lnTo>
                    <a:lnTo>
                      <a:pt x="864" y="522"/>
                    </a:lnTo>
                    <a:lnTo>
                      <a:pt x="857" y="526"/>
                    </a:lnTo>
                    <a:lnTo>
                      <a:pt x="849" y="532"/>
                    </a:lnTo>
                    <a:lnTo>
                      <a:pt x="841" y="538"/>
                    </a:lnTo>
                    <a:lnTo>
                      <a:pt x="836" y="545"/>
                    </a:lnTo>
                    <a:lnTo>
                      <a:pt x="830" y="553"/>
                    </a:lnTo>
                    <a:lnTo>
                      <a:pt x="827" y="564"/>
                    </a:lnTo>
                    <a:lnTo>
                      <a:pt x="825" y="575"/>
                    </a:lnTo>
                    <a:lnTo>
                      <a:pt x="824" y="588"/>
                    </a:lnTo>
                    <a:lnTo>
                      <a:pt x="810" y="584"/>
                    </a:lnTo>
                    <a:lnTo>
                      <a:pt x="797" y="581"/>
                    </a:lnTo>
                    <a:lnTo>
                      <a:pt x="791" y="581"/>
                    </a:lnTo>
                    <a:lnTo>
                      <a:pt x="784" y="582"/>
                    </a:lnTo>
                    <a:lnTo>
                      <a:pt x="778" y="584"/>
                    </a:lnTo>
                    <a:lnTo>
                      <a:pt x="771" y="588"/>
                    </a:lnTo>
                    <a:lnTo>
                      <a:pt x="758" y="582"/>
                    </a:lnTo>
                    <a:lnTo>
                      <a:pt x="740" y="575"/>
                    </a:lnTo>
                    <a:lnTo>
                      <a:pt x="732" y="571"/>
                    </a:lnTo>
                    <a:lnTo>
                      <a:pt x="724" y="566"/>
                    </a:lnTo>
                    <a:lnTo>
                      <a:pt x="716" y="562"/>
                    </a:lnTo>
                    <a:lnTo>
                      <a:pt x="711" y="556"/>
                    </a:lnTo>
                    <a:lnTo>
                      <a:pt x="711" y="526"/>
                    </a:lnTo>
                    <a:lnTo>
                      <a:pt x="721" y="526"/>
                    </a:lnTo>
                    <a:lnTo>
                      <a:pt x="730" y="526"/>
                    </a:lnTo>
                    <a:lnTo>
                      <a:pt x="738" y="526"/>
                    </a:lnTo>
                    <a:lnTo>
                      <a:pt x="744" y="526"/>
                    </a:lnTo>
                    <a:lnTo>
                      <a:pt x="740" y="516"/>
                    </a:lnTo>
                    <a:lnTo>
                      <a:pt x="736" y="507"/>
                    </a:lnTo>
                    <a:lnTo>
                      <a:pt x="730" y="499"/>
                    </a:lnTo>
                    <a:lnTo>
                      <a:pt x="723" y="493"/>
                    </a:lnTo>
                    <a:lnTo>
                      <a:pt x="714" y="488"/>
                    </a:lnTo>
                    <a:lnTo>
                      <a:pt x="704" y="485"/>
                    </a:lnTo>
                    <a:lnTo>
                      <a:pt x="692" y="483"/>
                    </a:lnTo>
                    <a:lnTo>
                      <a:pt x="678" y="483"/>
                    </a:lnTo>
                    <a:lnTo>
                      <a:pt x="668" y="483"/>
                    </a:lnTo>
                    <a:lnTo>
                      <a:pt x="656" y="483"/>
                    </a:lnTo>
                    <a:lnTo>
                      <a:pt x="643" y="483"/>
                    </a:lnTo>
                    <a:lnTo>
                      <a:pt x="624" y="483"/>
                    </a:lnTo>
                    <a:lnTo>
                      <a:pt x="627" y="487"/>
                    </a:lnTo>
                    <a:lnTo>
                      <a:pt x="632" y="491"/>
                    </a:lnTo>
                    <a:lnTo>
                      <a:pt x="636" y="495"/>
                    </a:lnTo>
                    <a:lnTo>
                      <a:pt x="640" y="498"/>
                    </a:lnTo>
                    <a:lnTo>
                      <a:pt x="645" y="501"/>
                    </a:lnTo>
                    <a:lnTo>
                      <a:pt x="648" y="506"/>
                    </a:lnTo>
                    <a:lnTo>
                      <a:pt x="650" y="510"/>
                    </a:lnTo>
                    <a:lnTo>
                      <a:pt x="651" y="514"/>
                    </a:lnTo>
                    <a:lnTo>
                      <a:pt x="650" y="519"/>
                    </a:lnTo>
                    <a:lnTo>
                      <a:pt x="649" y="523"/>
                    </a:lnTo>
                    <a:lnTo>
                      <a:pt x="648" y="525"/>
                    </a:lnTo>
                    <a:lnTo>
                      <a:pt x="646" y="528"/>
                    </a:lnTo>
                    <a:lnTo>
                      <a:pt x="643" y="530"/>
                    </a:lnTo>
                    <a:lnTo>
                      <a:pt x="638" y="532"/>
                    </a:lnTo>
                    <a:lnTo>
                      <a:pt x="647" y="541"/>
                    </a:lnTo>
                    <a:lnTo>
                      <a:pt x="656" y="550"/>
                    </a:lnTo>
                    <a:lnTo>
                      <a:pt x="661" y="554"/>
                    </a:lnTo>
                    <a:lnTo>
                      <a:pt x="668" y="557"/>
                    </a:lnTo>
                    <a:lnTo>
                      <a:pt x="676" y="561"/>
                    </a:lnTo>
                    <a:lnTo>
                      <a:pt x="684" y="564"/>
                    </a:lnTo>
                    <a:lnTo>
                      <a:pt x="684" y="619"/>
                    </a:lnTo>
                    <a:lnTo>
                      <a:pt x="677" y="619"/>
                    </a:lnTo>
                    <a:lnTo>
                      <a:pt x="665" y="619"/>
                    </a:lnTo>
                    <a:lnTo>
                      <a:pt x="659" y="610"/>
                    </a:lnTo>
                    <a:lnTo>
                      <a:pt x="654" y="604"/>
                    </a:lnTo>
                    <a:lnTo>
                      <a:pt x="647" y="599"/>
                    </a:lnTo>
                    <a:lnTo>
                      <a:pt x="639" y="595"/>
                    </a:lnTo>
                    <a:lnTo>
                      <a:pt x="623" y="589"/>
                    </a:lnTo>
                    <a:lnTo>
                      <a:pt x="604" y="582"/>
                    </a:lnTo>
                    <a:lnTo>
                      <a:pt x="602" y="585"/>
                    </a:lnTo>
                    <a:lnTo>
                      <a:pt x="599" y="589"/>
                    </a:lnTo>
                    <a:lnTo>
                      <a:pt x="594" y="593"/>
                    </a:lnTo>
                    <a:lnTo>
                      <a:pt x="588" y="597"/>
                    </a:lnTo>
                    <a:lnTo>
                      <a:pt x="575" y="606"/>
                    </a:lnTo>
                    <a:lnTo>
                      <a:pt x="559" y="615"/>
                    </a:lnTo>
                    <a:lnTo>
                      <a:pt x="544" y="624"/>
                    </a:lnTo>
                    <a:lnTo>
                      <a:pt x="531" y="631"/>
                    </a:lnTo>
                    <a:lnTo>
                      <a:pt x="525" y="635"/>
                    </a:lnTo>
                    <a:lnTo>
                      <a:pt x="522" y="638"/>
                    </a:lnTo>
                    <a:lnTo>
                      <a:pt x="519" y="641"/>
                    </a:lnTo>
                    <a:lnTo>
                      <a:pt x="519" y="643"/>
                    </a:lnTo>
                    <a:lnTo>
                      <a:pt x="519" y="647"/>
                    </a:lnTo>
                    <a:lnTo>
                      <a:pt x="520" y="651"/>
                    </a:lnTo>
                    <a:lnTo>
                      <a:pt x="521" y="655"/>
                    </a:lnTo>
                    <a:lnTo>
                      <a:pt x="523" y="658"/>
                    </a:lnTo>
                    <a:lnTo>
                      <a:pt x="528" y="663"/>
                    </a:lnTo>
                    <a:lnTo>
                      <a:pt x="536" y="667"/>
                    </a:lnTo>
                    <a:lnTo>
                      <a:pt x="543" y="673"/>
                    </a:lnTo>
                    <a:lnTo>
                      <a:pt x="549" y="678"/>
                    </a:lnTo>
                    <a:lnTo>
                      <a:pt x="551" y="681"/>
                    </a:lnTo>
                    <a:lnTo>
                      <a:pt x="555" y="685"/>
                    </a:lnTo>
                    <a:lnTo>
                      <a:pt x="557" y="688"/>
                    </a:lnTo>
                    <a:lnTo>
                      <a:pt x="558" y="693"/>
                    </a:lnTo>
                    <a:lnTo>
                      <a:pt x="471" y="693"/>
                    </a:lnTo>
                    <a:lnTo>
                      <a:pt x="467" y="705"/>
                    </a:lnTo>
                    <a:lnTo>
                      <a:pt x="464" y="721"/>
                    </a:lnTo>
                    <a:lnTo>
                      <a:pt x="460" y="730"/>
                    </a:lnTo>
                    <a:lnTo>
                      <a:pt x="457" y="736"/>
                    </a:lnTo>
                    <a:lnTo>
                      <a:pt x="454" y="739"/>
                    </a:lnTo>
                    <a:lnTo>
                      <a:pt x="452" y="740"/>
                    </a:lnTo>
                    <a:lnTo>
                      <a:pt x="448" y="742"/>
                    </a:lnTo>
                    <a:lnTo>
                      <a:pt x="445" y="742"/>
                    </a:lnTo>
                    <a:lnTo>
                      <a:pt x="433" y="742"/>
                    </a:lnTo>
                    <a:lnTo>
                      <a:pt x="420" y="741"/>
                    </a:lnTo>
                    <a:lnTo>
                      <a:pt x="407" y="739"/>
                    </a:lnTo>
                    <a:lnTo>
                      <a:pt x="393" y="736"/>
                    </a:lnTo>
                    <a:lnTo>
                      <a:pt x="380" y="733"/>
                    </a:lnTo>
                    <a:lnTo>
                      <a:pt x="367" y="729"/>
                    </a:lnTo>
                    <a:lnTo>
                      <a:pt x="355" y="723"/>
                    </a:lnTo>
                    <a:lnTo>
                      <a:pt x="344" y="718"/>
                    </a:lnTo>
                    <a:lnTo>
                      <a:pt x="333" y="711"/>
                    </a:lnTo>
                    <a:lnTo>
                      <a:pt x="323" y="704"/>
                    </a:lnTo>
                    <a:lnTo>
                      <a:pt x="314" y="696"/>
                    </a:lnTo>
                    <a:lnTo>
                      <a:pt x="307" y="687"/>
                    </a:lnTo>
                    <a:lnTo>
                      <a:pt x="301" y="678"/>
                    </a:lnTo>
                    <a:lnTo>
                      <a:pt x="296" y="666"/>
                    </a:lnTo>
                    <a:lnTo>
                      <a:pt x="293" y="655"/>
                    </a:lnTo>
                    <a:lnTo>
                      <a:pt x="292" y="643"/>
                    </a:lnTo>
                    <a:lnTo>
                      <a:pt x="289" y="636"/>
                    </a:lnTo>
                    <a:lnTo>
                      <a:pt x="286" y="625"/>
                    </a:lnTo>
                    <a:lnTo>
                      <a:pt x="273" y="622"/>
                    </a:lnTo>
                    <a:lnTo>
                      <a:pt x="254" y="616"/>
                    </a:lnTo>
                    <a:lnTo>
                      <a:pt x="232" y="609"/>
                    </a:lnTo>
                    <a:lnTo>
                      <a:pt x="209" y="601"/>
                    </a:lnTo>
                    <a:lnTo>
                      <a:pt x="188" y="592"/>
                    </a:lnTo>
                    <a:lnTo>
                      <a:pt x="169" y="582"/>
                    </a:lnTo>
                    <a:lnTo>
                      <a:pt x="163" y="578"/>
                    </a:lnTo>
                    <a:lnTo>
                      <a:pt x="157" y="573"/>
                    </a:lnTo>
                    <a:lnTo>
                      <a:pt x="154" y="568"/>
                    </a:lnTo>
                    <a:lnTo>
                      <a:pt x="153" y="564"/>
                    </a:lnTo>
                    <a:lnTo>
                      <a:pt x="162" y="567"/>
                    </a:lnTo>
                    <a:lnTo>
                      <a:pt x="183" y="574"/>
                    </a:lnTo>
                    <a:lnTo>
                      <a:pt x="211" y="582"/>
                    </a:lnTo>
                    <a:lnTo>
                      <a:pt x="244" y="590"/>
                    </a:lnTo>
                    <a:lnTo>
                      <a:pt x="277" y="598"/>
                    </a:lnTo>
                    <a:lnTo>
                      <a:pt x="308" y="605"/>
                    </a:lnTo>
                    <a:lnTo>
                      <a:pt x="332" y="610"/>
                    </a:lnTo>
                    <a:lnTo>
                      <a:pt x="345" y="612"/>
                    </a:lnTo>
                    <a:lnTo>
                      <a:pt x="368" y="612"/>
                    </a:lnTo>
                    <a:lnTo>
                      <a:pt x="390" y="612"/>
                    </a:lnTo>
                    <a:lnTo>
                      <a:pt x="414" y="612"/>
                    </a:lnTo>
                    <a:lnTo>
                      <a:pt x="445" y="612"/>
                    </a:lnTo>
                    <a:lnTo>
                      <a:pt x="454" y="612"/>
                    </a:lnTo>
                    <a:lnTo>
                      <a:pt x="461" y="611"/>
                    </a:lnTo>
                    <a:lnTo>
                      <a:pt x="469" y="609"/>
                    </a:lnTo>
                    <a:lnTo>
                      <a:pt x="477" y="607"/>
                    </a:lnTo>
                    <a:lnTo>
                      <a:pt x="490" y="601"/>
                    </a:lnTo>
                    <a:lnTo>
                      <a:pt x="502" y="594"/>
                    </a:lnTo>
                    <a:lnTo>
                      <a:pt x="514" y="585"/>
                    </a:lnTo>
                    <a:lnTo>
                      <a:pt x="524" y="576"/>
                    </a:lnTo>
                    <a:lnTo>
                      <a:pt x="535" y="567"/>
                    </a:lnTo>
                    <a:lnTo>
                      <a:pt x="545" y="556"/>
                    </a:lnTo>
                    <a:lnTo>
                      <a:pt x="536" y="547"/>
                    </a:lnTo>
                    <a:lnTo>
                      <a:pt x="527" y="536"/>
                    </a:lnTo>
                    <a:lnTo>
                      <a:pt x="523" y="531"/>
                    </a:lnTo>
                    <a:lnTo>
                      <a:pt x="517" y="527"/>
                    </a:lnTo>
                    <a:lnTo>
                      <a:pt x="512" y="523"/>
                    </a:lnTo>
                    <a:lnTo>
                      <a:pt x="505" y="520"/>
                    </a:lnTo>
                    <a:lnTo>
                      <a:pt x="500" y="518"/>
                    </a:lnTo>
                    <a:lnTo>
                      <a:pt x="484" y="511"/>
                    </a:lnTo>
                    <a:lnTo>
                      <a:pt x="459" y="499"/>
                    </a:lnTo>
                    <a:lnTo>
                      <a:pt x="424" y="487"/>
                    </a:lnTo>
                    <a:lnTo>
                      <a:pt x="403" y="481"/>
                    </a:lnTo>
                    <a:lnTo>
                      <a:pt x="379" y="475"/>
                    </a:lnTo>
                    <a:lnTo>
                      <a:pt x="352" y="469"/>
                    </a:lnTo>
                    <a:lnTo>
                      <a:pt x="323" y="463"/>
                    </a:lnTo>
                    <a:lnTo>
                      <a:pt x="291" y="458"/>
                    </a:lnTo>
                    <a:lnTo>
                      <a:pt x="256" y="453"/>
                    </a:lnTo>
                    <a:lnTo>
                      <a:pt x="219" y="449"/>
                    </a:lnTo>
                    <a:lnTo>
                      <a:pt x="179" y="446"/>
                    </a:lnTo>
                    <a:lnTo>
                      <a:pt x="172" y="446"/>
                    </a:lnTo>
                    <a:lnTo>
                      <a:pt x="165" y="445"/>
                    </a:lnTo>
                    <a:lnTo>
                      <a:pt x="158" y="444"/>
                    </a:lnTo>
                    <a:lnTo>
                      <a:pt x="152" y="442"/>
                    </a:lnTo>
                    <a:lnTo>
                      <a:pt x="150" y="440"/>
                    </a:lnTo>
                    <a:lnTo>
                      <a:pt x="146" y="438"/>
                    </a:lnTo>
                    <a:lnTo>
                      <a:pt x="144" y="436"/>
                    </a:lnTo>
                    <a:lnTo>
                      <a:pt x="143" y="433"/>
                    </a:lnTo>
                    <a:lnTo>
                      <a:pt x="141" y="425"/>
                    </a:lnTo>
                    <a:lnTo>
                      <a:pt x="140" y="415"/>
                    </a:lnTo>
                    <a:lnTo>
                      <a:pt x="120" y="420"/>
                    </a:lnTo>
                    <a:lnTo>
                      <a:pt x="99" y="425"/>
                    </a:lnTo>
                    <a:lnTo>
                      <a:pt x="77" y="431"/>
                    </a:lnTo>
                    <a:lnTo>
                      <a:pt x="53" y="439"/>
                    </a:lnTo>
                    <a:lnTo>
                      <a:pt x="50" y="441"/>
                    </a:lnTo>
                    <a:lnTo>
                      <a:pt x="43" y="445"/>
                    </a:lnTo>
                    <a:lnTo>
                      <a:pt x="40" y="446"/>
                    </a:lnTo>
                    <a:lnTo>
                      <a:pt x="37" y="448"/>
                    </a:lnTo>
                    <a:lnTo>
                      <a:pt x="34" y="448"/>
                    </a:lnTo>
                    <a:lnTo>
                      <a:pt x="33" y="446"/>
                    </a:lnTo>
                    <a:lnTo>
                      <a:pt x="0" y="483"/>
                    </a:lnTo>
                    <a:lnTo>
                      <a:pt x="4" y="488"/>
                    </a:lnTo>
                    <a:lnTo>
                      <a:pt x="8" y="493"/>
                    </a:lnTo>
                    <a:lnTo>
                      <a:pt x="13" y="498"/>
                    </a:lnTo>
                    <a:lnTo>
                      <a:pt x="18" y="503"/>
                    </a:lnTo>
                    <a:lnTo>
                      <a:pt x="29" y="509"/>
                    </a:lnTo>
                    <a:lnTo>
                      <a:pt x="40" y="515"/>
                    </a:lnTo>
                    <a:lnTo>
                      <a:pt x="62" y="524"/>
                    </a:lnTo>
                    <a:lnTo>
                      <a:pt x="79" y="532"/>
                    </a:lnTo>
                    <a:lnTo>
                      <a:pt x="77" y="540"/>
                    </a:lnTo>
                    <a:lnTo>
                      <a:pt x="74" y="547"/>
                    </a:lnTo>
                    <a:lnTo>
                      <a:pt x="71" y="552"/>
                    </a:lnTo>
                    <a:lnTo>
                      <a:pt x="67" y="556"/>
                    </a:lnTo>
                    <a:lnTo>
                      <a:pt x="64" y="562"/>
                    </a:lnTo>
                    <a:lnTo>
                      <a:pt x="62" y="567"/>
                    </a:lnTo>
                    <a:lnTo>
                      <a:pt x="61" y="574"/>
                    </a:lnTo>
                    <a:lnTo>
                      <a:pt x="60" y="582"/>
                    </a:lnTo>
                    <a:lnTo>
                      <a:pt x="61" y="589"/>
                    </a:lnTo>
                    <a:lnTo>
                      <a:pt x="65" y="597"/>
                    </a:lnTo>
                    <a:lnTo>
                      <a:pt x="71" y="605"/>
                    </a:lnTo>
                    <a:lnTo>
                      <a:pt x="77" y="614"/>
                    </a:lnTo>
                    <a:lnTo>
                      <a:pt x="84" y="621"/>
                    </a:lnTo>
                    <a:lnTo>
                      <a:pt x="90" y="626"/>
                    </a:lnTo>
                    <a:lnTo>
                      <a:pt x="96" y="630"/>
                    </a:lnTo>
                    <a:lnTo>
                      <a:pt x="99" y="631"/>
                    </a:lnTo>
                    <a:lnTo>
                      <a:pt x="100" y="647"/>
                    </a:lnTo>
                    <a:lnTo>
                      <a:pt x="102" y="662"/>
                    </a:lnTo>
                    <a:lnTo>
                      <a:pt x="106" y="677"/>
                    </a:lnTo>
                    <a:lnTo>
                      <a:pt x="111" y="689"/>
                    </a:lnTo>
                    <a:lnTo>
                      <a:pt x="117" y="700"/>
                    </a:lnTo>
                    <a:lnTo>
                      <a:pt x="123" y="710"/>
                    </a:lnTo>
                    <a:lnTo>
                      <a:pt x="131" y="719"/>
                    </a:lnTo>
                    <a:lnTo>
                      <a:pt x="140" y="728"/>
                    </a:lnTo>
                    <a:lnTo>
                      <a:pt x="149" y="736"/>
                    </a:lnTo>
                    <a:lnTo>
                      <a:pt x="158" y="743"/>
                    </a:lnTo>
                    <a:lnTo>
                      <a:pt x="168" y="750"/>
                    </a:lnTo>
                    <a:lnTo>
                      <a:pt x="178" y="756"/>
                    </a:lnTo>
                    <a:lnTo>
                      <a:pt x="199" y="767"/>
                    </a:lnTo>
                    <a:lnTo>
                      <a:pt x="219" y="778"/>
                    </a:lnTo>
                    <a:lnTo>
                      <a:pt x="184" y="815"/>
                    </a:lnTo>
                    <a:lnTo>
                      <a:pt x="146" y="856"/>
                    </a:lnTo>
                    <a:lnTo>
                      <a:pt x="128" y="875"/>
                    </a:lnTo>
                    <a:lnTo>
                      <a:pt x="109" y="892"/>
                    </a:lnTo>
                    <a:lnTo>
                      <a:pt x="100" y="899"/>
                    </a:lnTo>
                    <a:lnTo>
                      <a:pt x="90" y="905"/>
                    </a:lnTo>
                    <a:lnTo>
                      <a:pt x="82" y="910"/>
                    </a:lnTo>
                    <a:lnTo>
                      <a:pt x="73" y="914"/>
                    </a:lnTo>
                    <a:lnTo>
                      <a:pt x="74" y="917"/>
                    </a:lnTo>
                    <a:lnTo>
                      <a:pt x="75" y="920"/>
                    </a:lnTo>
                    <a:lnTo>
                      <a:pt x="77" y="923"/>
                    </a:lnTo>
                    <a:lnTo>
                      <a:pt x="80" y="926"/>
                    </a:lnTo>
                    <a:lnTo>
                      <a:pt x="88" y="934"/>
                    </a:lnTo>
                    <a:lnTo>
                      <a:pt x="96" y="942"/>
                    </a:lnTo>
                    <a:lnTo>
                      <a:pt x="105" y="951"/>
                    </a:lnTo>
                    <a:lnTo>
                      <a:pt x="112" y="958"/>
                    </a:lnTo>
                    <a:lnTo>
                      <a:pt x="118" y="965"/>
                    </a:lnTo>
                    <a:lnTo>
                      <a:pt x="120" y="970"/>
                    </a:lnTo>
                    <a:lnTo>
                      <a:pt x="116" y="976"/>
                    </a:lnTo>
                    <a:lnTo>
                      <a:pt x="112" y="981"/>
                    </a:lnTo>
                    <a:lnTo>
                      <a:pt x="110" y="987"/>
                    </a:lnTo>
                    <a:lnTo>
                      <a:pt x="109" y="993"/>
                    </a:lnTo>
                    <a:lnTo>
                      <a:pt x="109" y="1005"/>
                    </a:lnTo>
                    <a:lnTo>
                      <a:pt x="111" y="1017"/>
                    </a:lnTo>
                    <a:lnTo>
                      <a:pt x="113" y="1029"/>
                    </a:lnTo>
                    <a:lnTo>
                      <a:pt x="116" y="1042"/>
                    </a:lnTo>
                    <a:lnTo>
                      <a:pt x="117" y="1048"/>
                    </a:lnTo>
                    <a:lnTo>
                      <a:pt x="116" y="1054"/>
                    </a:lnTo>
                    <a:lnTo>
                      <a:pt x="114" y="1062"/>
                    </a:lnTo>
                    <a:lnTo>
                      <a:pt x="113" y="1069"/>
                    </a:lnTo>
                    <a:lnTo>
                      <a:pt x="120" y="1090"/>
                    </a:lnTo>
                    <a:lnTo>
                      <a:pt x="130" y="1115"/>
                    </a:lnTo>
                    <a:lnTo>
                      <a:pt x="142" y="1139"/>
                    </a:lnTo>
                    <a:lnTo>
                      <a:pt x="153" y="1160"/>
                    </a:lnTo>
                    <a:lnTo>
                      <a:pt x="192" y="1180"/>
                    </a:lnTo>
                    <a:lnTo>
                      <a:pt x="232" y="1180"/>
                    </a:lnTo>
                    <a:lnTo>
                      <a:pt x="240" y="1204"/>
                    </a:lnTo>
                    <a:lnTo>
                      <a:pt x="279" y="1192"/>
                    </a:lnTo>
                    <a:lnTo>
                      <a:pt x="312" y="1204"/>
                    </a:lnTo>
                    <a:lnTo>
                      <a:pt x="319" y="1253"/>
                    </a:lnTo>
                    <a:lnTo>
                      <a:pt x="365" y="1291"/>
                    </a:lnTo>
                    <a:lnTo>
                      <a:pt x="399" y="1309"/>
                    </a:lnTo>
                    <a:lnTo>
                      <a:pt x="425" y="1327"/>
                    </a:lnTo>
                    <a:lnTo>
                      <a:pt x="399" y="1346"/>
                    </a:lnTo>
                    <a:lnTo>
                      <a:pt x="352" y="1333"/>
                    </a:lnTo>
                    <a:lnTo>
                      <a:pt x="358" y="1358"/>
                    </a:lnTo>
                    <a:lnTo>
                      <a:pt x="373" y="1370"/>
                    </a:lnTo>
                    <a:lnTo>
                      <a:pt x="373" y="1401"/>
                    </a:lnTo>
                    <a:lnTo>
                      <a:pt x="365" y="1401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" name="Freeform 23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9795143" y="2753885"/>
                <a:ext cx="280987" cy="247650"/>
              </a:xfrm>
              <a:custGeom>
                <a:avLst/>
                <a:gdLst>
                  <a:gd name="T0" fmla="*/ 2147483647 w 647"/>
                  <a:gd name="T1" fmla="*/ 2147483647 h 470"/>
                  <a:gd name="T2" fmla="*/ 2147483647 w 647"/>
                  <a:gd name="T3" fmla="*/ 2147483647 h 470"/>
                  <a:gd name="T4" fmla="*/ 2147483647 w 647"/>
                  <a:gd name="T5" fmla="*/ 2147483647 h 470"/>
                  <a:gd name="T6" fmla="*/ 2147483647 w 647"/>
                  <a:gd name="T7" fmla="*/ 2147483647 h 470"/>
                  <a:gd name="T8" fmla="*/ 2147483647 w 647"/>
                  <a:gd name="T9" fmla="*/ 2147483647 h 470"/>
                  <a:gd name="T10" fmla="*/ 2147483647 w 647"/>
                  <a:gd name="T11" fmla="*/ 2147483647 h 470"/>
                  <a:gd name="T12" fmla="*/ 2147483647 w 647"/>
                  <a:gd name="T13" fmla="*/ 2147483647 h 470"/>
                  <a:gd name="T14" fmla="*/ 2147483647 w 647"/>
                  <a:gd name="T15" fmla="*/ 2147483647 h 470"/>
                  <a:gd name="T16" fmla="*/ 2147483647 w 647"/>
                  <a:gd name="T17" fmla="*/ 2147483647 h 470"/>
                  <a:gd name="T18" fmla="*/ 2147483647 w 647"/>
                  <a:gd name="T19" fmla="*/ 2147483647 h 470"/>
                  <a:gd name="T20" fmla="*/ 2147483647 w 647"/>
                  <a:gd name="T21" fmla="*/ 2147483647 h 470"/>
                  <a:gd name="T22" fmla="*/ 2147483647 w 647"/>
                  <a:gd name="T23" fmla="*/ 2147483647 h 470"/>
                  <a:gd name="T24" fmla="*/ 2147483647 w 647"/>
                  <a:gd name="T25" fmla="*/ 2147483647 h 470"/>
                  <a:gd name="T26" fmla="*/ 2147483647 w 647"/>
                  <a:gd name="T27" fmla="*/ 2147483647 h 470"/>
                  <a:gd name="T28" fmla="*/ 2147483647 w 647"/>
                  <a:gd name="T29" fmla="*/ 2147483647 h 470"/>
                  <a:gd name="T30" fmla="*/ 2147483647 w 647"/>
                  <a:gd name="T31" fmla="*/ 2147483647 h 470"/>
                  <a:gd name="T32" fmla="*/ 2147483647 w 647"/>
                  <a:gd name="T33" fmla="*/ 2147483647 h 470"/>
                  <a:gd name="T34" fmla="*/ 2147483647 w 647"/>
                  <a:gd name="T35" fmla="*/ 2147483647 h 470"/>
                  <a:gd name="T36" fmla="*/ 2147483647 w 647"/>
                  <a:gd name="T37" fmla="*/ 2147483647 h 470"/>
                  <a:gd name="T38" fmla="*/ 2147483647 w 647"/>
                  <a:gd name="T39" fmla="*/ 2147483647 h 470"/>
                  <a:gd name="T40" fmla="*/ 2147483647 w 647"/>
                  <a:gd name="T41" fmla="*/ 2147483647 h 470"/>
                  <a:gd name="T42" fmla="*/ 2147483647 w 647"/>
                  <a:gd name="T43" fmla="*/ 2147483647 h 470"/>
                  <a:gd name="T44" fmla="*/ 2147483647 w 647"/>
                  <a:gd name="T45" fmla="*/ 2147483647 h 470"/>
                  <a:gd name="T46" fmla="*/ 2147483647 w 647"/>
                  <a:gd name="T47" fmla="*/ 2147483647 h 470"/>
                  <a:gd name="T48" fmla="*/ 2147483647 w 647"/>
                  <a:gd name="T49" fmla="*/ 2147483647 h 470"/>
                  <a:gd name="T50" fmla="*/ 2147483647 w 647"/>
                  <a:gd name="T51" fmla="*/ 2147483647 h 470"/>
                  <a:gd name="T52" fmla="*/ 2147483647 w 647"/>
                  <a:gd name="T53" fmla="*/ 2147483647 h 470"/>
                  <a:gd name="T54" fmla="*/ 2147483647 w 647"/>
                  <a:gd name="T55" fmla="*/ 2147483647 h 470"/>
                  <a:gd name="T56" fmla="*/ 2147483647 w 647"/>
                  <a:gd name="T57" fmla="*/ 2147483647 h 470"/>
                  <a:gd name="T58" fmla="*/ 2147483647 w 647"/>
                  <a:gd name="T59" fmla="*/ 2147483647 h 470"/>
                  <a:gd name="T60" fmla="*/ 2147483647 w 647"/>
                  <a:gd name="T61" fmla="*/ 2147483647 h 470"/>
                  <a:gd name="T62" fmla="*/ 2147483647 w 647"/>
                  <a:gd name="T63" fmla="*/ 2147483647 h 470"/>
                  <a:gd name="T64" fmla="*/ 2147483647 w 647"/>
                  <a:gd name="T65" fmla="*/ 2147483647 h 470"/>
                  <a:gd name="T66" fmla="*/ 2147483647 w 647"/>
                  <a:gd name="T67" fmla="*/ 2147483647 h 470"/>
                  <a:gd name="T68" fmla="*/ 2147483647 w 647"/>
                  <a:gd name="T69" fmla="*/ 2147483647 h 470"/>
                  <a:gd name="T70" fmla="*/ 2147483647 w 647"/>
                  <a:gd name="T71" fmla="*/ 2147483647 h 470"/>
                  <a:gd name="T72" fmla="*/ 2147483647 w 647"/>
                  <a:gd name="T73" fmla="*/ 2147483647 h 470"/>
                  <a:gd name="T74" fmla="*/ 2147483647 w 647"/>
                  <a:gd name="T75" fmla="*/ 2147483647 h 470"/>
                  <a:gd name="T76" fmla="*/ 2147483647 w 647"/>
                  <a:gd name="T77" fmla="*/ 2147483647 h 470"/>
                  <a:gd name="T78" fmla="*/ 2147483647 w 647"/>
                  <a:gd name="T79" fmla="*/ 2147483647 h 470"/>
                  <a:gd name="T80" fmla="*/ 2147483647 w 647"/>
                  <a:gd name="T81" fmla="*/ 2147483647 h 470"/>
                  <a:gd name="T82" fmla="*/ 2147483647 w 647"/>
                  <a:gd name="T83" fmla="*/ 2147483647 h 470"/>
                  <a:gd name="T84" fmla="*/ 2147483647 w 647"/>
                  <a:gd name="T85" fmla="*/ 2147483647 h 470"/>
                  <a:gd name="T86" fmla="*/ 2147483647 w 647"/>
                  <a:gd name="T87" fmla="*/ 2147483647 h 470"/>
                  <a:gd name="T88" fmla="*/ 2147483647 w 647"/>
                  <a:gd name="T89" fmla="*/ 2147483647 h 470"/>
                  <a:gd name="T90" fmla="*/ 1392505125 w 647"/>
                  <a:gd name="T91" fmla="*/ 2147483647 h 470"/>
                  <a:gd name="T92" fmla="*/ 0 w 647"/>
                  <a:gd name="T93" fmla="*/ 2147483647 h 470"/>
                  <a:gd name="T94" fmla="*/ 1884021744 w 647"/>
                  <a:gd name="T95" fmla="*/ 2147483647 h 470"/>
                  <a:gd name="T96" fmla="*/ 2147483647 w 647"/>
                  <a:gd name="T97" fmla="*/ 2147483647 h 470"/>
                  <a:gd name="T98" fmla="*/ 2147483647 w 647"/>
                  <a:gd name="T99" fmla="*/ 585263868 h 470"/>
                  <a:gd name="T100" fmla="*/ 2147483647 w 647"/>
                  <a:gd name="T101" fmla="*/ 0 h 470"/>
                  <a:gd name="T102" fmla="*/ 2147483647 w 647"/>
                  <a:gd name="T103" fmla="*/ 1023933690 h 470"/>
                  <a:gd name="T104" fmla="*/ 2147483647 w 647"/>
                  <a:gd name="T105" fmla="*/ 2147483647 h 470"/>
                  <a:gd name="T106" fmla="*/ 2147483647 w 647"/>
                  <a:gd name="T107" fmla="*/ 2147483647 h 470"/>
                  <a:gd name="T108" fmla="*/ 2147483647 w 647"/>
                  <a:gd name="T109" fmla="*/ 2147483647 h 470"/>
                  <a:gd name="T110" fmla="*/ 2147483647 w 647"/>
                  <a:gd name="T111" fmla="*/ 2147483647 h 470"/>
                  <a:gd name="T112" fmla="*/ 2147483647 w 647"/>
                  <a:gd name="T113" fmla="*/ 2147483647 h 4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" name="Freeform 24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2427218" y="3492072"/>
                <a:ext cx="207962" cy="455613"/>
              </a:xfrm>
              <a:custGeom>
                <a:avLst/>
                <a:gdLst>
                  <a:gd name="T0" fmla="*/ 2147483647 w 479"/>
                  <a:gd name="T1" fmla="*/ 2147483647 h 868"/>
                  <a:gd name="T2" fmla="*/ 2147483647 w 479"/>
                  <a:gd name="T3" fmla="*/ 2147483647 h 868"/>
                  <a:gd name="T4" fmla="*/ 2147483647 w 479"/>
                  <a:gd name="T5" fmla="*/ 2147483647 h 868"/>
                  <a:gd name="T6" fmla="*/ 2147483647 w 479"/>
                  <a:gd name="T7" fmla="*/ 2147483647 h 868"/>
                  <a:gd name="T8" fmla="*/ 2147483647 w 479"/>
                  <a:gd name="T9" fmla="*/ 2147483647 h 868"/>
                  <a:gd name="T10" fmla="*/ 2147483647 w 479"/>
                  <a:gd name="T11" fmla="*/ 2147483647 h 868"/>
                  <a:gd name="T12" fmla="*/ 2147483647 w 479"/>
                  <a:gd name="T13" fmla="*/ 2147483647 h 868"/>
                  <a:gd name="T14" fmla="*/ 2147483647 w 479"/>
                  <a:gd name="T15" fmla="*/ 2147483647 h 868"/>
                  <a:gd name="T16" fmla="*/ 2147483647 w 479"/>
                  <a:gd name="T17" fmla="*/ 2147483647 h 868"/>
                  <a:gd name="T18" fmla="*/ 2147483647 w 479"/>
                  <a:gd name="T19" fmla="*/ 2147483647 h 868"/>
                  <a:gd name="T20" fmla="*/ 2147483647 w 479"/>
                  <a:gd name="T21" fmla="*/ 2147483647 h 868"/>
                  <a:gd name="T22" fmla="*/ 2147483647 w 479"/>
                  <a:gd name="T23" fmla="*/ 2147483647 h 868"/>
                  <a:gd name="T24" fmla="*/ 2147483647 w 479"/>
                  <a:gd name="T25" fmla="*/ 2147483647 h 868"/>
                  <a:gd name="T26" fmla="*/ 2147483647 w 479"/>
                  <a:gd name="T27" fmla="*/ 2147483647 h 868"/>
                  <a:gd name="T28" fmla="*/ 2147483647 w 479"/>
                  <a:gd name="T29" fmla="*/ 2147483647 h 868"/>
                  <a:gd name="T30" fmla="*/ 2147483647 w 479"/>
                  <a:gd name="T31" fmla="*/ 2147483647 h 868"/>
                  <a:gd name="T32" fmla="*/ 2147483647 w 479"/>
                  <a:gd name="T33" fmla="*/ 2147483647 h 868"/>
                  <a:gd name="T34" fmla="*/ 2147483647 w 479"/>
                  <a:gd name="T35" fmla="*/ 2147483647 h 868"/>
                  <a:gd name="T36" fmla="*/ 2147483647 w 479"/>
                  <a:gd name="T37" fmla="*/ 2147483647 h 868"/>
                  <a:gd name="T38" fmla="*/ 2147483647 w 479"/>
                  <a:gd name="T39" fmla="*/ 2147483647 h 868"/>
                  <a:gd name="T40" fmla="*/ 2147483647 w 479"/>
                  <a:gd name="T41" fmla="*/ 2147483647 h 868"/>
                  <a:gd name="T42" fmla="*/ 2147483647 w 479"/>
                  <a:gd name="T43" fmla="*/ 2147483647 h 868"/>
                  <a:gd name="T44" fmla="*/ 2147483647 w 479"/>
                  <a:gd name="T45" fmla="*/ 2147483647 h 868"/>
                  <a:gd name="T46" fmla="*/ 2147483647 w 479"/>
                  <a:gd name="T47" fmla="*/ 2147483647 h 868"/>
                  <a:gd name="T48" fmla="*/ 2147483647 w 479"/>
                  <a:gd name="T49" fmla="*/ 2147483647 h 868"/>
                  <a:gd name="T50" fmla="*/ 2147483647 w 479"/>
                  <a:gd name="T51" fmla="*/ 2147483647 h 868"/>
                  <a:gd name="T52" fmla="*/ 2147483647 w 479"/>
                  <a:gd name="T53" fmla="*/ 2147483647 h 868"/>
                  <a:gd name="T54" fmla="*/ 2147483647 w 479"/>
                  <a:gd name="T55" fmla="*/ 2147483647 h 868"/>
                  <a:gd name="T56" fmla="*/ 2147483647 w 479"/>
                  <a:gd name="T57" fmla="*/ 2147483647 h 868"/>
                  <a:gd name="T58" fmla="*/ 2147483647 w 479"/>
                  <a:gd name="T59" fmla="*/ 2147483647 h 868"/>
                  <a:gd name="T60" fmla="*/ 2147483647 w 479"/>
                  <a:gd name="T61" fmla="*/ 2147483647 h 868"/>
                  <a:gd name="T62" fmla="*/ 2147483647 w 479"/>
                  <a:gd name="T63" fmla="*/ 2147483647 h 868"/>
                  <a:gd name="T64" fmla="*/ 2147483647 w 479"/>
                  <a:gd name="T65" fmla="*/ 2147483647 h 868"/>
                  <a:gd name="T66" fmla="*/ 2147483647 w 479"/>
                  <a:gd name="T67" fmla="*/ 2147483647 h 868"/>
                  <a:gd name="T68" fmla="*/ 2147483647 w 479"/>
                  <a:gd name="T69" fmla="*/ 2147483647 h 868"/>
                  <a:gd name="T70" fmla="*/ 2147483647 w 479"/>
                  <a:gd name="T71" fmla="*/ 2147483647 h 868"/>
                  <a:gd name="T72" fmla="*/ 2147483647 w 479"/>
                  <a:gd name="T73" fmla="*/ 2147483647 h 868"/>
                  <a:gd name="T74" fmla="*/ 1882298361 w 479"/>
                  <a:gd name="T75" fmla="*/ 2147483647 h 868"/>
                  <a:gd name="T76" fmla="*/ 81806346 w 479"/>
                  <a:gd name="T77" fmla="*/ 2147483647 h 868"/>
                  <a:gd name="T78" fmla="*/ 900246224 w 479"/>
                  <a:gd name="T79" fmla="*/ 2147483647 h 868"/>
                  <a:gd name="T80" fmla="*/ 2147483647 w 479"/>
                  <a:gd name="T81" fmla="*/ 2147483647 h 868"/>
                  <a:gd name="T82" fmla="*/ 2147483647 w 479"/>
                  <a:gd name="T83" fmla="*/ 0 h 868"/>
                  <a:gd name="T84" fmla="*/ 2147483647 w 479"/>
                  <a:gd name="T85" fmla="*/ 2147483647 h 868"/>
                  <a:gd name="T86" fmla="*/ 2147483647 w 479"/>
                  <a:gd name="T87" fmla="*/ 2147483647 h 868"/>
                  <a:gd name="T88" fmla="*/ 2147483647 w 479"/>
                  <a:gd name="T89" fmla="*/ 2147483647 h 868"/>
                  <a:gd name="T90" fmla="*/ 2147483647 w 479"/>
                  <a:gd name="T91" fmla="*/ 2147483647 h 868"/>
                  <a:gd name="T92" fmla="*/ 2147483647 w 479"/>
                  <a:gd name="T93" fmla="*/ 2147483647 h 868"/>
                  <a:gd name="T94" fmla="*/ 2147483647 w 479"/>
                  <a:gd name="T95" fmla="*/ 2147483647 h 868"/>
                  <a:gd name="T96" fmla="*/ 2147483647 w 479"/>
                  <a:gd name="T97" fmla="*/ 2147483647 h 868"/>
                  <a:gd name="T98" fmla="*/ 2147483647 w 479"/>
                  <a:gd name="T99" fmla="*/ 2147483647 h 868"/>
                  <a:gd name="T100" fmla="*/ 2147483647 w 479"/>
                  <a:gd name="T101" fmla="*/ 2147483647 h 868"/>
                  <a:gd name="T102" fmla="*/ 2147483647 w 479"/>
                  <a:gd name="T103" fmla="*/ 2147483647 h 868"/>
                  <a:gd name="T104" fmla="*/ 2147483647 w 479"/>
                  <a:gd name="T105" fmla="*/ 2147483647 h 868"/>
                  <a:gd name="T106" fmla="*/ 2147483647 w 479"/>
                  <a:gd name="T107" fmla="*/ 2147483647 h 868"/>
                  <a:gd name="T108" fmla="*/ 2147483647 w 479"/>
                  <a:gd name="T109" fmla="*/ 2147483647 h 868"/>
                  <a:gd name="T110" fmla="*/ 2147483647 w 479"/>
                  <a:gd name="T111" fmla="*/ 2147483647 h 86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" name="Freeform 30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1041330" y="2404635"/>
                <a:ext cx="874713" cy="452437"/>
              </a:xfrm>
              <a:custGeom>
                <a:avLst/>
                <a:gdLst>
                  <a:gd name="T0" fmla="*/ 2147483647 w 2006"/>
                  <a:gd name="T1" fmla="*/ 2147483647 h 863"/>
                  <a:gd name="T2" fmla="*/ 2147483647 w 2006"/>
                  <a:gd name="T3" fmla="*/ 2147483647 h 863"/>
                  <a:gd name="T4" fmla="*/ 2147483647 w 2006"/>
                  <a:gd name="T5" fmla="*/ 2147483647 h 863"/>
                  <a:gd name="T6" fmla="*/ 2147483647 w 2006"/>
                  <a:gd name="T7" fmla="*/ 2147483647 h 863"/>
                  <a:gd name="T8" fmla="*/ 2147483647 w 2006"/>
                  <a:gd name="T9" fmla="*/ 2147483647 h 863"/>
                  <a:gd name="T10" fmla="*/ 2147483647 w 2006"/>
                  <a:gd name="T11" fmla="*/ 2147483647 h 863"/>
                  <a:gd name="T12" fmla="*/ 2147483647 w 2006"/>
                  <a:gd name="T13" fmla="*/ 2147483647 h 863"/>
                  <a:gd name="T14" fmla="*/ 2147483647 w 2006"/>
                  <a:gd name="T15" fmla="*/ 2147483647 h 863"/>
                  <a:gd name="T16" fmla="*/ 2147483647 w 2006"/>
                  <a:gd name="T17" fmla="*/ 2147483647 h 863"/>
                  <a:gd name="T18" fmla="*/ 2147483647 w 2006"/>
                  <a:gd name="T19" fmla="*/ 2147483647 h 863"/>
                  <a:gd name="T20" fmla="*/ 2147483647 w 2006"/>
                  <a:gd name="T21" fmla="*/ 2147483647 h 863"/>
                  <a:gd name="T22" fmla="*/ 2147483647 w 2006"/>
                  <a:gd name="T23" fmla="*/ 2147483647 h 863"/>
                  <a:gd name="T24" fmla="*/ 2147483647 w 2006"/>
                  <a:gd name="T25" fmla="*/ 2147483647 h 863"/>
                  <a:gd name="T26" fmla="*/ 2147483647 w 2006"/>
                  <a:gd name="T27" fmla="*/ 2147483647 h 863"/>
                  <a:gd name="T28" fmla="*/ 2147483647 w 2006"/>
                  <a:gd name="T29" fmla="*/ 2147483647 h 863"/>
                  <a:gd name="T30" fmla="*/ 2147483647 w 2006"/>
                  <a:gd name="T31" fmla="*/ 2147483647 h 863"/>
                  <a:gd name="T32" fmla="*/ 2147483647 w 2006"/>
                  <a:gd name="T33" fmla="*/ 2147483647 h 863"/>
                  <a:gd name="T34" fmla="*/ 2147483647 w 2006"/>
                  <a:gd name="T35" fmla="*/ 2147483647 h 863"/>
                  <a:gd name="T36" fmla="*/ 2147483647 w 2006"/>
                  <a:gd name="T37" fmla="*/ 2147483647 h 863"/>
                  <a:gd name="T38" fmla="*/ 1658195091 w 2006"/>
                  <a:gd name="T39" fmla="*/ 2147483647 h 863"/>
                  <a:gd name="T40" fmla="*/ 2147483647 w 2006"/>
                  <a:gd name="T41" fmla="*/ 2147483647 h 863"/>
                  <a:gd name="T42" fmla="*/ 2147483647 w 2006"/>
                  <a:gd name="T43" fmla="*/ 2147483647 h 863"/>
                  <a:gd name="T44" fmla="*/ 2147483647 w 2006"/>
                  <a:gd name="T45" fmla="*/ 2147483647 h 863"/>
                  <a:gd name="T46" fmla="*/ 2147483647 w 2006"/>
                  <a:gd name="T47" fmla="*/ 2147483647 h 863"/>
                  <a:gd name="T48" fmla="*/ 2147483647 w 2006"/>
                  <a:gd name="T49" fmla="*/ 2147483647 h 863"/>
                  <a:gd name="T50" fmla="*/ 2147483647 w 2006"/>
                  <a:gd name="T51" fmla="*/ 2147483647 h 863"/>
                  <a:gd name="T52" fmla="*/ 2147483647 w 2006"/>
                  <a:gd name="T53" fmla="*/ 1873098092 h 863"/>
                  <a:gd name="T54" fmla="*/ 2147483647 w 2006"/>
                  <a:gd name="T55" fmla="*/ 2147483647 h 863"/>
                  <a:gd name="T56" fmla="*/ 2147483647 w 2006"/>
                  <a:gd name="T57" fmla="*/ 2147483647 h 863"/>
                  <a:gd name="T58" fmla="*/ 2147483647 w 2006"/>
                  <a:gd name="T59" fmla="*/ 2147483647 h 863"/>
                  <a:gd name="T60" fmla="*/ 2147483647 w 2006"/>
                  <a:gd name="T61" fmla="*/ 2147483647 h 863"/>
                  <a:gd name="T62" fmla="*/ 2147483647 w 2006"/>
                  <a:gd name="T63" fmla="*/ 2147483647 h 863"/>
                  <a:gd name="T64" fmla="*/ 2147483647 w 2006"/>
                  <a:gd name="T65" fmla="*/ 2147483647 h 863"/>
                  <a:gd name="T66" fmla="*/ 2147483647 w 2006"/>
                  <a:gd name="T67" fmla="*/ 2147483647 h 863"/>
                  <a:gd name="T68" fmla="*/ 2147483647 w 2006"/>
                  <a:gd name="T69" fmla="*/ 2147483647 h 863"/>
                  <a:gd name="T70" fmla="*/ 2147483647 w 2006"/>
                  <a:gd name="T71" fmla="*/ 2147483647 h 863"/>
                  <a:gd name="T72" fmla="*/ 2147483647 w 2006"/>
                  <a:gd name="T73" fmla="*/ 2147483647 h 863"/>
                  <a:gd name="T74" fmla="*/ 2147483647 w 2006"/>
                  <a:gd name="T75" fmla="*/ 2147483647 h 863"/>
                  <a:gd name="T76" fmla="*/ 2147483647 w 2006"/>
                  <a:gd name="T77" fmla="*/ 2147483647 h 863"/>
                  <a:gd name="T78" fmla="*/ 2147483647 w 2006"/>
                  <a:gd name="T79" fmla="*/ 2147483647 h 863"/>
                  <a:gd name="T80" fmla="*/ 2147483647 w 2006"/>
                  <a:gd name="T81" fmla="*/ 2147483647 h 863"/>
                  <a:gd name="T82" fmla="*/ 2147483647 w 2006"/>
                  <a:gd name="T83" fmla="*/ 2147483647 h 863"/>
                  <a:gd name="T84" fmla="*/ 2147483647 w 2006"/>
                  <a:gd name="T85" fmla="*/ 2147483647 h 863"/>
                  <a:gd name="T86" fmla="*/ 2147483647 w 2006"/>
                  <a:gd name="T87" fmla="*/ 2147483647 h 863"/>
                  <a:gd name="T88" fmla="*/ 2147483647 w 2006"/>
                  <a:gd name="T89" fmla="*/ 2147483647 h 863"/>
                  <a:gd name="T90" fmla="*/ 2147483647 w 2006"/>
                  <a:gd name="T91" fmla="*/ 2147483647 h 863"/>
                  <a:gd name="T92" fmla="*/ 2147483647 w 2006"/>
                  <a:gd name="T93" fmla="*/ 2147483647 h 863"/>
                  <a:gd name="T94" fmla="*/ 2147483647 w 2006"/>
                  <a:gd name="T95" fmla="*/ 2147483647 h 863"/>
                  <a:gd name="T96" fmla="*/ 2147483647 w 2006"/>
                  <a:gd name="T97" fmla="*/ 2147483647 h 863"/>
                  <a:gd name="T98" fmla="*/ 2147483647 w 2006"/>
                  <a:gd name="T99" fmla="*/ 2147483647 h 863"/>
                  <a:gd name="T100" fmla="*/ 2147483647 w 2006"/>
                  <a:gd name="T101" fmla="*/ 2147483647 h 863"/>
                  <a:gd name="T102" fmla="*/ 2147483647 w 2006"/>
                  <a:gd name="T103" fmla="*/ 2147483647 h 863"/>
                  <a:gd name="T104" fmla="*/ 2147483647 w 2006"/>
                  <a:gd name="T105" fmla="*/ 2147483647 h 863"/>
                  <a:gd name="T106" fmla="*/ 2147483647 w 2006"/>
                  <a:gd name="T107" fmla="*/ 2147483647 h 863"/>
                  <a:gd name="T108" fmla="*/ 2147483647 w 2006"/>
                  <a:gd name="T109" fmla="*/ 2147483647 h 863"/>
                  <a:gd name="T110" fmla="*/ 2147483647 w 2006"/>
                  <a:gd name="T111" fmla="*/ 2147483647 h 863"/>
                  <a:gd name="T112" fmla="*/ 2147483647 w 2006"/>
                  <a:gd name="T113" fmla="*/ 2147483647 h 863"/>
                  <a:gd name="T114" fmla="*/ 2147483647 w 2006"/>
                  <a:gd name="T115" fmla="*/ 2147483647 h 86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2006" h="863">
                    <a:moveTo>
                      <a:pt x="571" y="826"/>
                    </a:moveTo>
                    <a:lnTo>
                      <a:pt x="538" y="826"/>
                    </a:lnTo>
                    <a:lnTo>
                      <a:pt x="512" y="789"/>
                    </a:lnTo>
                    <a:lnTo>
                      <a:pt x="438" y="764"/>
                    </a:lnTo>
                    <a:lnTo>
                      <a:pt x="433" y="765"/>
                    </a:lnTo>
                    <a:lnTo>
                      <a:pt x="427" y="766"/>
                    </a:lnTo>
                    <a:lnTo>
                      <a:pt x="424" y="767"/>
                    </a:lnTo>
                    <a:lnTo>
                      <a:pt x="421" y="767"/>
                    </a:lnTo>
                    <a:lnTo>
                      <a:pt x="416" y="766"/>
                    </a:lnTo>
                    <a:lnTo>
                      <a:pt x="412" y="764"/>
                    </a:lnTo>
                    <a:lnTo>
                      <a:pt x="405" y="772"/>
                    </a:lnTo>
                    <a:lnTo>
                      <a:pt x="397" y="778"/>
                    </a:lnTo>
                    <a:lnTo>
                      <a:pt x="393" y="782"/>
                    </a:lnTo>
                    <a:lnTo>
                      <a:pt x="391" y="786"/>
                    </a:lnTo>
                    <a:lnTo>
                      <a:pt x="390" y="794"/>
                    </a:lnTo>
                    <a:lnTo>
                      <a:pt x="392" y="802"/>
                    </a:lnTo>
                    <a:lnTo>
                      <a:pt x="386" y="800"/>
                    </a:lnTo>
                    <a:lnTo>
                      <a:pt x="381" y="798"/>
                    </a:lnTo>
                    <a:lnTo>
                      <a:pt x="378" y="795"/>
                    </a:lnTo>
                    <a:lnTo>
                      <a:pt x="375" y="792"/>
                    </a:lnTo>
                    <a:lnTo>
                      <a:pt x="372" y="787"/>
                    </a:lnTo>
                    <a:lnTo>
                      <a:pt x="371" y="783"/>
                    </a:lnTo>
                    <a:lnTo>
                      <a:pt x="370" y="778"/>
                    </a:lnTo>
                    <a:lnTo>
                      <a:pt x="369" y="773"/>
                    </a:lnTo>
                    <a:lnTo>
                      <a:pt x="370" y="751"/>
                    </a:lnTo>
                    <a:lnTo>
                      <a:pt x="372" y="727"/>
                    </a:lnTo>
                    <a:lnTo>
                      <a:pt x="352" y="727"/>
                    </a:lnTo>
                    <a:lnTo>
                      <a:pt x="332" y="726"/>
                    </a:lnTo>
                    <a:lnTo>
                      <a:pt x="327" y="725"/>
                    </a:lnTo>
                    <a:lnTo>
                      <a:pt x="324" y="724"/>
                    </a:lnTo>
                    <a:lnTo>
                      <a:pt x="321" y="722"/>
                    </a:lnTo>
                    <a:lnTo>
                      <a:pt x="318" y="719"/>
                    </a:lnTo>
                    <a:lnTo>
                      <a:pt x="315" y="716"/>
                    </a:lnTo>
                    <a:lnTo>
                      <a:pt x="313" y="712"/>
                    </a:lnTo>
                    <a:lnTo>
                      <a:pt x="312" y="708"/>
                    </a:lnTo>
                    <a:lnTo>
                      <a:pt x="312" y="703"/>
                    </a:lnTo>
                    <a:lnTo>
                      <a:pt x="305" y="702"/>
                    </a:lnTo>
                    <a:lnTo>
                      <a:pt x="299" y="700"/>
                    </a:lnTo>
                    <a:lnTo>
                      <a:pt x="293" y="697"/>
                    </a:lnTo>
                    <a:lnTo>
                      <a:pt x="288" y="692"/>
                    </a:lnTo>
                    <a:lnTo>
                      <a:pt x="280" y="682"/>
                    </a:lnTo>
                    <a:lnTo>
                      <a:pt x="273" y="668"/>
                    </a:lnTo>
                    <a:lnTo>
                      <a:pt x="265" y="656"/>
                    </a:lnTo>
                    <a:lnTo>
                      <a:pt x="256" y="646"/>
                    </a:lnTo>
                    <a:lnTo>
                      <a:pt x="251" y="641"/>
                    </a:lnTo>
                    <a:lnTo>
                      <a:pt x="245" y="638"/>
                    </a:lnTo>
                    <a:lnTo>
                      <a:pt x="240" y="636"/>
                    </a:lnTo>
                    <a:lnTo>
                      <a:pt x="232" y="635"/>
                    </a:lnTo>
                    <a:lnTo>
                      <a:pt x="232" y="623"/>
                    </a:lnTo>
                    <a:lnTo>
                      <a:pt x="232" y="610"/>
                    </a:lnTo>
                    <a:lnTo>
                      <a:pt x="239" y="608"/>
                    </a:lnTo>
                    <a:lnTo>
                      <a:pt x="245" y="604"/>
                    </a:lnTo>
                    <a:lnTo>
                      <a:pt x="251" y="600"/>
                    </a:lnTo>
                    <a:lnTo>
                      <a:pt x="253" y="598"/>
                    </a:lnTo>
                    <a:lnTo>
                      <a:pt x="253" y="594"/>
                    </a:lnTo>
                    <a:lnTo>
                      <a:pt x="254" y="591"/>
                    </a:lnTo>
                    <a:lnTo>
                      <a:pt x="256" y="588"/>
                    </a:lnTo>
                    <a:lnTo>
                      <a:pt x="259" y="585"/>
                    </a:lnTo>
                    <a:lnTo>
                      <a:pt x="268" y="578"/>
                    </a:lnTo>
                    <a:lnTo>
                      <a:pt x="279" y="573"/>
                    </a:lnTo>
                    <a:lnTo>
                      <a:pt x="292" y="568"/>
                    </a:lnTo>
                    <a:lnTo>
                      <a:pt x="309" y="564"/>
                    </a:lnTo>
                    <a:lnTo>
                      <a:pt x="326" y="561"/>
                    </a:lnTo>
                    <a:lnTo>
                      <a:pt x="345" y="561"/>
                    </a:lnTo>
                    <a:lnTo>
                      <a:pt x="338" y="544"/>
                    </a:lnTo>
                    <a:lnTo>
                      <a:pt x="330" y="529"/>
                    </a:lnTo>
                    <a:lnTo>
                      <a:pt x="325" y="520"/>
                    </a:lnTo>
                    <a:lnTo>
                      <a:pt x="322" y="511"/>
                    </a:lnTo>
                    <a:lnTo>
                      <a:pt x="320" y="499"/>
                    </a:lnTo>
                    <a:lnTo>
                      <a:pt x="319" y="487"/>
                    </a:lnTo>
                    <a:lnTo>
                      <a:pt x="307" y="486"/>
                    </a:lnTo>
                    <a:lnTo>
                      <a:pt x="293" y="484"/>
                    </a:lnTo>
                    <a:lnTo>
                      <a:pt x="281" y="481"/>
                    </a:lnTo>
                    <a:lnTo>
                      <a:pt x="269" y="478"/>
                    </a:lnTo>
                    <a:lnTo>
                      <a:pt x="258" y="475"/>
                    </a:lnTo>
                    <a:lnTo>
                      <a:pt x="247" y="472"/>
                    </a:lnTo>
                    <a:lnTo>
                      <a:pt x="236" y="470"/>
                    </a:lnTo>
                    <a:lnTo>
                      <a:pt x="225" y="469"/>
                    </a:lnTo>
                    <a:lnTo>
                      <a:pt x="218" y="469"/>
                    </a:lnTo>
                    <a:lnTo>
                      <a:pt x="209" y="470"/>
                    </a:lnTo>
                    <a:lnTo>
                      <a:pt x="201" y="472"/>
                    </a:lnTo>
                    <a:lnTo>
                      <a:pt x="195" y="474"/>
                    </a:lnTo>
                    <a:lnTo>
                      <a:pt x="180" y="480"/>
                    </a:lnTo>
                    <a:lnTo>
                      <a:pt x="168" y="487"/>
                    </a:lnTo>
                    <a:lnTo>
                      <a:pt x="157" y="495"/>
                    </a:lnTo>
                    <a:lnTo>
                      <a:pt x="146" y="505"/>
                    </a:lnTo>
                    <a:lnTo>
                      <a:pt x="136" y="515"/>
                    </a:lnTo>
                    <a:lnTo>
                      <a:pt x="127" y="524"/>
                    </a:lnTo>
                    <a:lnTo>
                      <a:pt x="133" y="512"/>
                    </a:lnTo>
                    <a:lnTo>
                      <a:pt x="106" y="505"/>
                    </a:lnTo>
                    <a:lnTo>
                      <a:pt x="133" y="487"/>
                    </a:lnTo>
                    <a:lnTo>
                      <a:pt x="106" y="463"/>
                    </a:lnTo>
                    <a:lnTo>
                      <a:pt x="79" y="438"/>
                    </a:lnTo>
                    <a:lnTo>
                      <a:pt x="40" y="438"/>
                    </a:lnTo>
                    <a:lnTo>
                      <a:pt x="27" y="413"/>
                    </a:lnTo>
                    <a:lnTo>
                      <a:pt x="7" y="401"/>
                    </a:lnTo>
                    <a:lnTo>
                      <a:pt x="0" y="370"/>
                    </a:lnTo>
                    <a:lnTo>
                      <a:pt x="0" y="333"/>
                    </a:lnTo>
                    <a:lnTo>
                      <a:pt x="13" y="308"/>
                    </a:lnTo>
                    <a:lnTo>
                      <a:pt x="20" y="283"/>
                    </a:lnTo>
                    <a:lnTo>
                      <a:pt x="53" y="302"/>
                    </a:lnTo>
                    <a:lnTo>
                      <a:pt x="86" y="314"/>
                    </a:lnTo>
                    <a:lnTo>
                      <a:pt x="106" y="308"/>
                    </a:lnTo>
                    <a:lnTo>
                      <a:pt x="79" y="277"/>
                    </a:lnTo>
                    <a:lnTo>
                      <a:pt x="113" y="259"/>
                    </a:lnTo>
                    <a:lnTo>
                      <a:pt x="146" y="228"/>
                    </a:lnTo>
                    <a:lnTo>
                      <a:pt x="179" y="222"/>
                    </a:lnTo>
                    <a:lnTo>
                      <a:pt x="219" y="222"/>
                    </a:lnTo>
                    <a:lnTo>
                      <a:pt x="246" y="210"/>
                    </a:lnTo>
                    <a:lnTo>
                      <a:pt x="292" y="222"/>
                    </a:lnTo>
                    <a:lnTo>
                      <a:pt x="338" y="241"/>
                    </a:lnTo>
                    <a:lnTo>
                      <a:pt x="379" y="277"/>
                    </a:lnTo>
                    <a:lnTo>
                      <a:pt x="425" y="271"/>
                    </a:lnTo>
                    <a:lnTo>
                      <a:pt x="465" y="253"/>
                    </a:lnTo>
                    <a:lnTo>
                      <a:pt x="498" y="253"/>
                    </a:lnTo>
                    <a:lnTo>
                      <a:pt x="538" y="247"/>
                    </a:lnTo>
                    <a:lnTo>
                      <a:pt x="578" y="265"/>
                    </a:lnTo>
                    <a:lnTo>
                      <a:pt x="624" y="277"/>
                    </a:lnTo>
                    <a:lnTo>
                      <a:pt x="671" y="271"/>
                    </a:lnTo>
                    <a:lnTo>
                      <a:pt x="717" y="253"/>
                    </a:lnTo>
                    <a:lnTo>
                      <a:pt x="717" y="228"/>
                    </a:lnTo>
                    <a:lnTo>
                      <a:pt x="684" y="222"/>
                    </a:lnTo>
                    <a:lnTo>
                      <a:pt x="645" y="210"/>
                    </a:lnTo>
                    <a:lnTo>
                      <a:pt x="617" y="198"/>
                    </a:lnTo>
                    <a:lnTo>
                      <a:pt x="658" y="185"/>
                    </a:lnTo>
                    <a:lnTo>
                      <a:pt x="651" y="148"/>
                    </a:lnTo>
                    <a:lnTo>
                      <a:pt x="704" y="142"/>
                    </a:lnTo>
                    <a:lnTo>
                      <a:pt x="638" y="93"/>
                    </a:lnTo>
                    <a:lnTo>
                      <a:pt x="744" y="75"/>
                    </a:lnTo>
                    <a:lnTo>
                      <a:pt x="830" y="68"/>
                    </a:lnTo>
                    <a:lnTo>
                      <a:pt x="844" y="43"/>
                    </a:lnTo>
                    <a:lnTo>
                      <a:pt x="904" y="37"/>
                    </a:lnTo>
                    <a:lnTo>
                      <a:pt x="963" y="25"/>
                    </a:lnTo>
                    <a:lnTo>
                      <a:pt x="983" y="0"/>
                    </a:lnTo>
                    <a:lnTo>
                      <a:pt x="1050" y="13"/>
                    </a:lnTo>
                    <a:lnTo>
                      <a:pt x="1089" y="6"/>
                    </a:lnTo>
                    <a:lnTo>
                      <a:pt x="1116" y="25"/>
                    </a:lnTo>
                    <a:lnTo>
                      <a:pt x="1122" y="75"/>
                    </a:lnTo>
                    <a:lnTo>
                      <a:pt x="1163" y="75"/>
                    </a:lnTo>
                    <a:lnTo>
                      <a:pt x="1176" y="61"/>
                    </a:lnTo>
                    <a:lnTo>
                      <a:pt x="1196" y="75"/>
                    </a:lnTo>
                    <a:lnTo>
                      <a:pt x="1235" y="81"/>
                    </a:lnTo>
                    <a:lnTo>
                      <a:pt x="1255" y="81"/>
                    </a:lnTo>
                    <a:lnTo>
                      <a:pt x="1255" y="117"/>
                    </a:lnTo>
                    <a:lnTo>
                      <a:pt x="1296" y="111"/>
                    </a:lnTo>
                    <a:lnTo>
                      <a:pt x="1335" y="93"/>
                    </a:lnTo>
                    <a:lnTo>
                      <a:pt x="1375" y="61"/>
                    </a:lnTo>
                    <a:lnTo>
                      <a:pt x="1401" y="49"/>
                    </a:lnTo>
                    <a:lnTo>
                      <a:pt x="1401" y="81"/>
                    </a:lnTo>
                    <a:lnTo>
                      <a:pt x="1442" y="99"/>
                    </a:lnTo>
                    <a:lnTo>
                      <a:pt x="1488" y="117"/>
                    </a:lnTo>
                    <a:lnTo>
                      <a:pt x="1528" y="160"/>
                    </a:lnTo>
                    <a:lnTo>
                      <a:pt x="1581" y="204"/>
                    </a:lnTo>
                    <a:lnTo>
                      <a:pt x="1627" y="241"/>
                    </a:lnTo>
                    <a:lnTo>
                      <a:pt x="1647" y="271"/>
                    </a:lnTo>
                    <a:lnTo>
                      <a:pt x="1660" y="241"/>
                    </a:lnTo>
                    <a:lnTo>
                      <a:pt x="1688" y="235"/>
                    </a:lnTo>
                    <a:lnTo>
                      <a:pt x="1708" y="259"/>
                    </a:lnTo>
                    <a:lnTo>
                      <a:pt x="1747" y="271"/>
                    </a:lnTo>
                    <a:lnTo>
                      <a:pt x="1793" y="265"/>
                    </a:lnTo>
                    <a:lnTo>
                      <a:pt x="1821" y="253"/>
                    </a:lnTo>
                    <a:lnTo>
                      <a:pt x="1860" y="283"/>
                    </a:lnTo>
                    <a:lnTo>
                      <a:pt x="1906" y="308"/>
                    </a:lnTo>
                    <a:lnTo>
                      <a:pt x="1947" y="333"/>
                    </a:lnTo>
                    <a:lnTo>
                      <a:pt x="2000" y="339"/>
                    </a:lnTo>
                    <a:lnTo>
                      <a:pt x="2006" y="346"/>
                    </a:lnTo>
                    <a:lnTo>
                      <a:pt x="2005" y="358"/>
                    </a:lnTo>
                    <a:lnTo>
                      <a:pt x="2004" y="373"/>
                    </a:lnTo>
                    <a:lnTo>
                      <a:pt x="2004" y="377"/>
                    </a:lnTo>
                    <a:lnTo>
                      <a:pt x="2002" y="381"/>
                    </a:lnTo>
                    <a:lnTo>
                      <a:pt x="2000" y="385"/>
                    </a:lnTo>
                    <a:lnTo>
                      <a:pt x="1996" y="388"/>
                    </a:lnTo>
                    <a:lnTo>
                      <a:pt x="1993" y="392"/>
                    </a:lnTo>
                    <a:lnTo>
                      <a:pt x="1988" y="395"/>
                    </a:lnTo>
                    <a:lnTo>
                      <a:pt x="1981" y="399"/>
                    </a:lnTo>
                    <a:lnTo>
                      <a:pt x="1973" y="401"/>
                    </a:lnTo>
                    <a:lnTo>
                      <a:pt x="1969" y="401"/>
                    </a:lnTo>
                    <a:lnTo>
                      <a:pt x="1965" y="402"/>
                    </a:lnTo>
                    <a:lnTo>
                      <a:pt x="1962" y="403"/>
                    </a:lnTo>
                    <a:lnTo>
                      <a:pt x="1960" y="404"/>
                    </a:lnTo>
                    <a:lnTo>
                      <a:pt x="1959" y="406"/>
                    </a:lnTo>
                    <a:lnTo>
                      <a:pt x="1958" y="408"/>
                    </a:lnTo>
                    <a:lnTo>
                      <a:pt x="1958" y="410"/>
                    </a:lnTo>
                    <a:lnTo>
                      <a:pt x="1958" y="413"/>
                    </a:lnTo>
                    <a:lnTo>
                      <a:pt x="1963" y="425"/>
                    </a:lnTo>
                    <a:lnTo>
                      <a:pt x="1972" y="438"/>
                    </a:lnTo>
                    <a:lnTo>
                      <a:pt x="1977" y="445"/>
                    </a:lnTo>
                    <a:lnTo>
                      <a:pt x="1981" y="452"/>
                    </a:lnTo>
                    <a:lnTo>
                      <a:pt x="1983" y="460"/>
                    </a:lnTo>
                    <a:lnTo>
                      <a:pt x="1985" y="466"/>
                    </a:lnTo>
                    <a:lnTo>
                      <a:pt x="1985" y="469"/>
                    </a:lnTo>
                    <a:lnTo>
                      <a:pt x="1984" y="471"/>
                    </a:lnTo>
                    <a:lnTo>
                      <a:pt x="1983" y="474"/>
                    </a:lnTo>
                    <a:lnTo>
                      <a:pt x="1982" y="476"/>
                    </a:lnTo>
                    <a:lnTo>
                      <a:pt x="1979" y="478"/>
                    </a:lnTo>
                    <a:lnTo>
                      <a:pt x="1976" y="479"/>
                    </a:lnTo>
                    <a:lnTo>
                      <a:pt x="1971" y="480"/>
                    </a:lnTo>
                    <a:lnTo>
                      <a:pt x="1967" y="481"/>
                    </a:lnTo>
                    <a:lnTo>
                      <a:pt x="1954" y="481"/>
                    </a:lnTo>
                    <a:lnTo>
                      <a:pt x="1939" y="481"/>
                    </a:lnTo>
                    <a:lnTo>
                      <a:pt x="1932" y="481"/>
                    </a:lnTo>
                    <a:lnTo>
                      <a:pt x="1923" y="480"/>
                    </a:lnTo>
                    <a:lnTo>
                      <a:pt x="1913" y="478"/>
                    </a:lnTo>
                    <a:lnTo>
                      <a:pt x="1903" y="476"/>
                    </a:lnTo>
                    <a:lnTo>
                      <a:pt x="1893" y="474"/>
                    </a:lnTo>
                    <a:lnTo>
                      <a:pt x="1883" y="471"/>
                    </a:lnTo>
                    <a:lnTo>
                      <a:pt x="1875" y="467"/>
                    </a:lnTo>
                    <a:lnTo>
                      <a:pt x="1867" y="463"/>
                    </a:lnTo>
                    <a:lnTo>
                      <a:pt x="1865" y="468"/>
                    </a:lnTo>
                    <a:lnTo>
                      <a:pt x="1864" y="474"/>
                    </a:lnTo>
                    <a:lnTo>
                      <a:pt x="1865" y="482"/>
                    </a:lnTo>
                    <a:lnTo>
                      <a:pt x="1865" y="490"/>
                    </a:lnTo>
                    <a:lnTo>
                      <a:pt x="1869" y="508"/>
                    </a:lnTo>
                    <a:lnTo>
                      <a:pt x="1873" y="529"/>
                    </a:lnTo>
                    <a:lnTo>
                      <a:pt x="1878" y="548"/>
                    </a:lnTo>
                    <a:lnTo>
                      <a:pt x="1882" y="564"/>
                    </a:lnTo>
                    <a:lnTo>
                      <a:pt x="1882" y="572"/>
                    </a:lnTo>
                    <a:lnTo>
                      <a:pt x="1882" y="578"/>
                    </a:lnTo>
                    <a:lnTo>
                      <a:pt x="1882" y="583"/>
                    </a:lnTo>
                    <a:lnTo>
                      <a:pt x="1880" y="586"/>
                    </a:lnTo>
                    <a:lnTo>
                      <a:pt x="1854" y="584"/>
                    </a:lnTo>
                    <a:lnTo>
                      <a:pt x="1816" y="584"/>
                    </a:lnTo>
                    <a:lnTo>
                      <a:pt x="1806" y="585"/>
                    </a:lnTo>
                    <a:lnTo>
                      <a:pt x="1798" y="586"/>
                    </a:lnTo>
                    <a:lnTo>
                      <a:pt x="1789" y="588"/>
                    </a:lnTo>
                    <a:lnTo>
                      <a:pt x="1782" y="591"/>
                    </a:lnTo>
                    <a:lnTo>
                      <a:pt x="1776" y="594"/>
                    </a:lnTo>
                    <a:lnTo>
                      <a:pt x="1771" y="598"/>
                    </a:lnTo>
                    <a:lnTo>
                      <a:pt x="1769" y="601"/>
                    </a:lnTo>
                    <a:lnTo>
                      <a:pt x="1768" y="604"/>
                    </a:lnTo>
                    <a:lnTo>
                      <a:pt x="1767" y="607"/>
                    </a:lnTo>
                    <a:lnTo>
                      <a:pt x="1767" y="610"/>
                    </a:lnTo>
                    <a:lnTo>
                      <a:pt x="1778" y="612"/>
                    </a:lnTo>
                    <a:lnTo>
                      <a:pt x="1788" y="615"/>
                    </a:lnTo>
                    <a:lnTo>
                      <a:pt x="1795" y="619"/>
                    </a:lnTo>
                    <a:lnTo>
                      <a:pt x="1801" y="625"/>
                    </a:lnTo>
                    <a:lnTo>
                      <a:pt x="1805" y="631"/>
                    </a:lnTo>
                    <a:lnTo>
                      <a:pt x="1809" y="637"/>
                    </a:lnTo>
                    <a:lnTo>
                      <a:pt x="1812" y="644"/>
                    </a:lnTo>
                    <a:lnTo>
                      <a:pt x="1814" y="650"/>
                    </a:lnTo>
                    <a:lnTo>
                      <a:pt x="1817" y="664"/>
                    </a:lnTo>
                    <a:lnTo>
                      <a:pt x="1822" y="676"/>
                    </a:lnTo>
                    <a:lnTo>
                      <a:pt x="1824" y="682"/>
                    </a:lnTo>
                    <a:lnTo>
                      <a:pt x="1828" y="686"/>
                    </a:lnTo>
                    <a:lnTo>
                      <a:pt x="1834" y="689"/>
                    </a:lnTo>
                    <a:lnTo>
                      <a:pt x="1840" y="691"/>
                    </a:lnTo>
                    <a:lnTo>
                      <a:pt x="1838" y="695"/>
                    </a:lnTo>
                    <a:lnTo>
                      <a:pt x="1837" y="699"/>
                    </a:lnTo>
                    <a:lnTo>
                      <a:pt x="1837" y="702"/>
                    </a:lnTo>
                    <a:lnTo>
                      <a:pt x="1837" y="706"/>
                    </a:lnTo>
                    <a:lnTo>
                      <a:pt x="1839" y="713"/>
                    </a:lnTo>
                    <a:lnTo>
                      <a:pt x="1840" y="721"/>
                    </a:lnTo>
                    <a:lnTo>
                      <a:pt x="1840" y="735"/>
                    </a:lnTo>
                    <a:lnTo>
                      <a:pt x="1838" y="748"/>
                    </a:lnTo>
                    <a:lnTo>
                      <a:pt x="1837" y="754"/>
                    </a:lnTo>
                    <a:lnTo>
                      <a:pt x="1835" y="760"/>
                    </a:lnTo>
                    <a:lnTo>
                      <a:pt x="1832" y="765"/>
                    </a:lnTo>
                    <a:lnTo>
                      <a:pt x="1827" y="770"/>
                    </a:lnTo>
                    <a:lnTo>
                      <a:pt x="1814" y="764"/>
                    </a:lnTo>
                    <a:lnTo>
                      <a:pt x="1741" y="740"/>
                    </a:lnTo>
                    <a:lnTo>
                      <a:pt x="1674" y="740"/>
                    </a:lnTo>
                    <a:lnTo>
                      <a:pt x="1614" y="734"/>
                    </a:lnTo>
                    <a:lnTo>
                      <a:pt x="1534" y="727"/>
                    </a:lnTo>
                    <a:lnTo>
                      <a:pt x="1488" y="715"/>
                    </a:lnTo>
                    <a:lnTo>
                      <a:pt x="1475" y="764"/>
                    </a:lnTo>
                    <a:lnTo>
                      <a:pt x="1414" y="740"/>
                    </a:lnTo>
                    <a:lnTo>
                      <a:pt x="1368" y="734"/>
                    </a:lnTo>
                    <a:lnTo>
                      <a:pt x="1342" y="758"/>
                    </a:lnTo>
                    <a:lnTo>
                      <a:pt x="1342" y="770"/>
                    </a:lnTo>
                    <a:lnTo>
                      <a:pt x="1316" y="795"/>
                    </a:lnTo>
                    <a:lnTo>
                      <a:pt x="1282" y="808"/>
                    </a:lnTo>
                    <a:lnTo>
                      <a:pt x="1255" y="838"/>
                    </a:lnTo>
                    <a:lnTo>
                      <a:pt x="1235" y="863"/>
                    </a:lnTo>
                    <a:lnTo>
                      <a:pt x="1196" y="832"/>
                    </a:lnTo>
                    <a:lnTo>
                      <a:pt x="1142" y="838"/>
                    </a:lnTo>
                    <a:lnTo>
                      <a:pt x="1122" y="808"/>
                    </a:lnTo>
                    <a:lnTo>
                      <a:pt x="1083" y="746"/>
                    </a:lnTo>
                    <a:lnTo>
                      <a:pt x="1050" y="715"/>
                    </a:lnTo>
                    <a:lnTo>
                      <a:pt x="1003" y="685"/>
                    </a:lnTo>
                    <a:lnTo>
                      <a:pt x="963" y="697"/>
                    </a:lnTo>
                    <a:lnTo>
                      <a:pt x="917" y="691"/>
                    </a:lnTo>
                    <a:lnTo>
                      <a:pt x="857" y="697"/>
                    </a:lnTo>
                    <a:lnTo>
                      <a:pt x="730" y="616"/>
                    </a:lnTo>
                    <a:lnTo>
                      <a:pt x="682" y="595"/>
                    </a:lnTo>
                    <a:lnTo>
                      <a:pt x="684" y="586"/>
                    </a:lnTo>
                    <a:lnTo>
                      <a:pt x="638" y="548"/>
                    </a:lnTo>
                    <a:lnTo>
                      <a:pt x="610" y="580"/>
                    </a:lnTo>
                    <a:lnTo>
                      <a:pt x="525" y="604"/>
                    </a:lnTo>
                    <a:lnTo>
                      <a:pt x="565" y="826"/>
                    </a:lnTo>
                    <a:lnTo>
                      <a:pt x="584" y="832"/>
                    </a:lnTo>
                    <a:lnTo>
                      <a:pt x="571" y="82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" name="Freeform 31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1271518" y="2707847"/>
                <a:ext cx="409575" cy="249238"/>
              </a:xfrm>
              <a:custGeom>
                <a:avLst/>
                <a:gdLst>
                  <a:gd name="T0" fmla="*/ 2147483647 w 950"/>
                  <a:gd name="T1" fmla="*/ 2147483647 h 468"/>
                  <a:gd name="T2" fmla="*/ 2147483647 w 950"/>
                  <a:gd name="T3" fmla="*/ 2147483647 h 468"/>
                  <a:gd name="T4" fmla="*/ 2147483647 w 950"/>
                  <a:gd name="T5" fmla="*/ 2147483647 h 468"/>
                  <a:gd name="T6" fmla="*/ 2147483647 w 950"/>
                  <a:gd name="T7" fmla="*/ 2147483647 h 468"/>
                  <a:gd name="T8" fmla="*/ 2147483647 w 950"/>
                  <a:gd name="T9" fmla="*/ 2147483647 h 468"/>
                  <a:gd name="T10" fmla="*/ 2147483647 w 950"/>
                  <a:gd name="T11" fmla="*/ 2147483647 h 468"/>
                  <a:gd name="T12" fmla="*/ 2147483647 w 950"/>
                  <a:gd name="T13" fmla="*/ 2147483647 h 468"/>
                  <a:gd name="T14" fmla="*/ 2147483647 w 950"/>
                  <a:gd name="T15" fmla="*/ 2147483647 h 468"/>
                  <a:gd name="T16" fmla="*/ 2147483647 w 950"/>
                  <a:gd name="T17" fmla="*/ 2147483647 h 468"/>
                  <a:gd name="T18" fmla="*/ 2147483647 w 950"/>
                  <a:gd name="T19" fmla="*/ 2147483647 h 468"/>
                  <a:gd name="T20" fmla="*/ 0 w 950"/>
                  <a:gd name="T21" fmla="*/ 2147483647 h 468"/>
                  <a:gd name="T22" fmla="*/ 2147483647 w 950"/>
                  <a:gd name="T23" fmla="*/ 906165993 h 468"/>
                  <a:gd name="T24" fmla="*/ 2147483647 w 950"/>
                  <a:gd name="T25" fmla="*/ 2147483647 h 468"/>
                  <a:gd name="T26" fmla="*/ 2147483647 w 950"/>
                  <a:gd name="T27" fmla="*/ 2147483647 h 468"/>
                  <a:gd name="T28" fmla="*/ 2147483647 w 950"/>
                  <a:gd name="T29" fmla="*/ 2147483647 h 468"/>
                  <a:gd name="T30" fmla="*/ 2147483647 w 950"/>
                  <a:gd name="T31" fmla="*/ 2147483647 h 468"/>
                  <a:gd name="T32" fmla="*/ 2147483647 w 950"/>
                  <a:gd name="T33" fmla="*/ 2147483647 h 468"/>
                  <a:gd name="T34" fmla="*/ 2147483647 w 950"/>
                  <a:gd name="T35" fmla="*/ 2147483647 h 468"/>
                  <a:gd name="T36" fmla="*/ 2147483647 w 950"/>
                  <a:gd name="T37" fmla="*/ 2147483647 h 468"/>
                  <a:gd name="T38" fmla="*/ 2147483647 w 950"/>
                  <a:gd name="T39" fmla="*/ 2147483647 h 468"/>
                  <a:gd name="T40" fmla="*/ 2147483647 w 950"/>
                  <a:gd name="T41" fmla="*/ 2147483647 h 468"/>
                  <a:gd name="T42" fmla="*/ 2147483647 w 950"/>
                  <a:gd name="T43" fmla="*/ 2147483647 h 468"/>
                  <a:gd name="T44" fmla="*/ 2147483647 w 950"/>
                  <a:gd name="T45" fmla="*/ 2147483647 h 468"/>
                  <a:gd name="T46" fmla="*/ 2147483647 w 950"/>
                  <a:gd name="T47" fmla="*/ 2147483647 h 468"/>
                  <a:gd name="T48" fmla="*/ 2147483647 w 950"/>
                  <a:gd name="T49" fmla="*/ 2147483647 h 468"/>
                  <a:gd name="T50" fmla="*/ 2147483647 w 950"/>
                  <a:gd name="T51" fmla="*/ 2147483647 h 468"/>
                  <a:gd name="T52" fmla="*/ 2147483647 w 950"/>
                  <a:gd name="T53" fmla="*/ 2147483647 h 468"/>
                  <a:gd name="T54" fmla="*/ 2147483647 w 950"/>
                  <a:gd name="T55" fmla="*/ 2147483647 h 468"/>
                  <a:gd name="T56" fmla="*/ 2147483647 w 950"/>
                  <a:gd name="T57" fmla="*/ 2147483647 h 468"/>
                  <a:gd name="T58" fmla="*/ 2147483647 w 950"/>
                  <a:gd name="T59" fmla="*/ 2147483647 h 468"/>
                  <a:gd name="T60" fmla="*/ 2147483647 w 950"/>
                  <a:gd name="T61" fmla="*/ 2147483647 h 468"/>
                  <a:gd name="T62" fmla="*/ 2147483647 w 950"/>
                  <a:gd name="T63" fmla="*/ 2147483647 h 468"/>
                  <a:gd name="T64" fmla="*/ 2147483647 w 950"/>
                  <a:gd name="T65" fmla="*/ 2147483647 h 468"/>
                  <a:gd name="T66" fmla="*/ 2147483647 w 950"/>
                  <a:gd name="T67" fmla="*/ 2147483647 h 468"/>
                  <a:gd name="T68" fmla="*/ 2147483647 w 950"/>
                  <a:gd name="T69" fmla="*/ 2147483647 h 468"/>
                  <a:gd name="T70" fmla="*/ 2147483647 w 950"/>
                  <a:gd name="T71" fmla="*/ 2147483647 h 46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50" h="468">
                    <a:moveTo>
                      <a:pt x="664" y="455"/>
                    </a:moveTo>
                    <a:lnTo>
                      <a:pt x="638" y="443"/>
                    </a:lnTo>
                    <a:lnTo>
                      <a:pt x="604" y="431"/>
                    </a:lnTo>
                    <a:lnTo>
                      <a:pt x="558" y="418"/>
                    </a:lnTo>
                    <a:lnTo>
                      <a:pt x="512" y="388"/>
                    </a:lnTo>
                    <a:lnTo>
                      <a:pt x="471" y="376"/>
                    </a:lnTo>
                    <a:lnTo>
                      <a:pt x="425" y="345"/>
                    </a:lnTo>
                    <a:lnTo>
                      <a:pt x="392" y="307"/>
                    </a:lnTo>
                    <a:lnTo>
                      <a:pt x="345" y="258"/>
                    </a:lnTo>
                    <a:lnTo>
                      <a:pt x="305" y="258"/>
                    </a:lnTo>
                    <a:lnTo>
                      <a:pt x="266" y="246"/>
                    </a:lnTo>
                    <a:lnTo>
                      <a:pt x="253" y="209"/>
                    </a:lnTo>
                    <a:lnTo>
                      <a:pt x="219" y="190"/>
                    </a:lnTo>
                    <a:lnTo>
                      <a:pt x="186" y="172"/>
                    </a:lnTo>
                    <a:lnTo>
                      <a:pt x="153" y="166"/>
                    </a:lnTo>
                    <a:lnTo>
                      <a:pt x="133" y="190"/>
                    </a:lnTo>
                    <a:lnTo>
                      <a:pt x="92" y="209"/>
                    </a:lnTo>
                    <a:lnTo>
                      <a:pt x="99" y="240"/>
                    </a:lnTo>
                    <a:lnTo>
                      <a:pt x="59" y="252"/>
                    </a:lnTo>
                    <a:lnTo>
                      <a:pt x="40" y="246"/>
                    </a:lnTo>
                    <a:lnTo>
                      <a:pt x="46" y="240"/>
                    </a:lnTo>
                    <a:lnTo>
                      <a:pt x="0" y="24"/>
                    </a:lnTo>
                    <a:lnTo>
                      <a:pt x="85" y="0"/>
                    </a:lnTo>
                    <a:lnTo>
                      <a:pt x="79" y="6"/>
                    </a:lnTo>
                    <a:lnTo>
                      <a:pt x="86" y="55"/>
                    </a:lnTo>
                    <a:lnTo>
                      <a:pt x="133" y="55"/>
                    </a:lnTo>
                    <a:lnTo>
                      <a:pt x="153" y="30"/>
                    </a:lnTo>
                    <a:lnTo>
                      <a:pt x="157" y="15"/>
                    </a:lnTo>
                    <a:lnTo>
                      <a:pt x="205" y="36"/>
                    </a:lnTo>
                    <a:lnTo>
                      <a:pt x="332" y="117"/>
                    </a:lnTo>
                    <a:lnTo>
                      <a:pt x="392" y="111"/>
                    </a:lnTo>
                    <a:lnTo>
                      <a:pt x="438" y="117"/>
                    </a:lnTo>
                    <a:lnTo>
                      <a:pt x="478" y="105"/>
                    </a:lnTo>
                    <a:lnTo>
                      <a:pt x="525" y="135"/>
                    </a:lnTo>
                    <a:lnTo>
                      <a:pt x="558" y="166"/>
                    </a:lnTo>
                    <a:lnTo>
                      <a:pt x="597" y="228"/>
                    </a:lnTo>
                    <a:lnTo>
                      <a:pt x="617" y="258"/>
                    </a:lnTo>
                    <a:lnTo>
                      <a:pt x="671" y="252"/>
                    </a:lnTo>
                    <a:lnTo>
                      <a:pt x="710" y="283"/>
                    </a:lnTo>
                    <a:lnTo>
                      <a:pt x="730" y="258"/>
                    </a:lnTo>
                    <a:lnTo>
                      <a:pt x="757" y="228"/>
                    </a:lnTo>
                    <a:lnTo>
                      <a:pt x="791" y="215"/>
                    </a:lnTo>
                    <a:lnTo>
                      <a:pt x="817" y="190"/>
                    </a:lnTo>
                    <a:lnTo>
                      <a:pt x="843" y="196"/>
                    </a:lnTo>
                    <a:lnTo>
                      <a:pt x="810" y="228"/>
                    </a:lnTo>
                    <a:lnTo>
                      <a:pt x="824" y="252"/>
                    </a:lnTo>
                    <a:lnTo>
                      <a:pt x="850" y="258"/>
                    </a:lnTo>
                    <a:lnTo>
                      <a:pt x="870" y="240"/>
                    </a:lnTo>
                    <a:lnTo>
                      <a:pt x="910" y="258"/>
                    </a:lnTo>
                    <a:lnTo>
                      <a:pt x="950" y="283"/>
                    </a:lnTo>
                    <a:lnTo>
                      <a:pt x="917" y="313"/>
                    </a:lnTo>
                    <a:lnTo>
                      <a:pt x="883" y="320"/>
                    </a:lnTo>
                    <a:lnTo>
                      <a:pt x="837" y="313"/>
                    </a:lnTo>
                    <a:lnTo>
                      <a:pt x="824" y="283"/>
                    </a:lnTo>
                    <a:lnTo>
                      <a:pt x="804" y="271"/>
                    </a:lnTo>
                    <a:lnTo>
                      <a:pt x="764" y="277"/>
                    </a:lnTo>
                    <a:lnTo>
                      <a:pt x="757" y="301"/>
                    </a:lnTo>
                    <a:lnTo>
                      <a:pt x="737" y="320"/>
                    </a:lnTo>
                    <a:lnTo>
                      <a:pt x="724" y="351"/>
                    </a:lnTo>
                    <a:lnTo>
                      <a:pt x="684" y="357"/>
                    </a:lnTo>
                    <a:lnTo>
                      <a:pt x="671" y="369"/>
                    </a:lnTo>
                    <a:lnTo>
                      <a:pt x="710" y="388"/>
                    </a:lnTo>
                    <a:lnTo>
                      <a:pt x="730" y="406"/>
                    </a:lnTo>
                    <a:lnTo>
                      <a:pt x="743" y="437"/>
                    </a:lnTo>
                    <a:lnTo>
                      <a:pt x="730" y="468"/>
                    </a:lnTo>
                    <a:lnTo>
                      <a:pt x="717" y="468"/>
                    </a:lnTo>
                    <a:lnTo>
                      <a:pt x="712" y="467"/>
                    </a:lnTo>
                    <a:lnTo>
                      <a:pt x="703" y="465"/>
                    </a:lnTo>
                    <a:lnTo>
                      <a:pt x="694" y="462"/>
                    </a:lnTo>
                    <a:lnTo>
                      <a:pt x="684" y="461"/>
                    </a:lnTo>
                    <a:lnTo>
                      <a:pt x="669" y="461"/>
                    </a:lnTo>
                    <a:lnTo>
                      <a:pt x="658" y="461"/>
                    </a:lnTo>
                    <a:lnTo>
                      <a:pt x="664" y="4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" name="Freeform 32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0079305" y="3711147"/>
                <a:ext cx="296863" cy="288925"/>
              </a:xfrm>
              <a:custGeom>
                <a:avLst/>
                <a:gdLst>
                  <a:gd name="T0" fmla="*/ 519674830 w 671"/>
                  <a:gd name="T1" fmla="*/ 2147483647 h 549"/>
                  <a:gd name="T2" fmla="*/ 692703929 w 671"/>
                  <a:gd name="T3" fmla="*/ 2147483647 h 549"/>
                  <a:gd name="T4" fmla="*/ 1472118399 w 671"/>
                  <a:gd name="T5" fmla="*/ 2147483647 h 549"/>
                  <a:gd name="T6" fmla="*/ 2147483647 w 671"/>
                  <a:gd name="T7" fmla="*/ 2147483647 h 549"/>
                  <a:gd name="T8" fmla="*/ 2147483647 w 671"/>
                  <a:gd name="T9" fmla="*/ 2147483647 h 549"/>
                  <a:gd name="T10" fmla="*/ 2147483647 w 671"/>
                  <a:gd name="T11" fmla="*/ 2147483647 h 549"/>
                  <a:gd name="T12" fmla="*/ 2147483647 w 671"/>
                  <a:gd name="T13" fmla="*/ 2147483647 h 549"/>
                  <a:gd name="T14" fmla="*/ 2147483647 w 671"/>
                  <a:gd name="T15" fmla="*/ 2147483647 h 549"/>
                  <a:gd name="T16" fmla="*/ 2147483647 w 671"/>
                  <a:gd name="T17" fmla="*/ 2147483647 h 549"/>
                  <a:gd name="T18" fmla="*/ 2147483647 w 671"/>
                  <a:gd name="T19" fmla="*/ 2147483647 h 549"/>
                  <a:gd name="T20" fmla="*/ 2147483647 w 671"/>
                  <a:gd name="T21" fmla="*/ 2147483647 h 549"/>
                  <a:gd name="T22" fmla="*/ 2147483647 w 671"/>
                  <a:gd name="T23" fmla="*/ 1020340479 h 549"/>
                  <a:gd name="T24" fmla="*/ 2147483647 w 671"/>
                  <a:gd name="T25" fmla="*/ 0 h 549"/>
                  <a:gd name="T26" fmla="*/ 2147483647 w 671"/>
                  <a:gd name="T27" fmla="*/ 728696216 h 549"/>
                  <a:gd name="T28" fmla="*/ 2147483647 w 671"/>
                  <a:gd name="T29" fmla="*/ 2147483647 h 549"/>
                  <a:gd name="T30" fmla="*/ 2147483647 w 671"/>
                  <a:gd name="T31" fmla="*/ 2147483647 h 549"/>
                  <a:gd name="T32" fmla="*/ 2147483647 w 671"/>
                  <a:gd name="T33" fmla="*/ 2147483647 h 549"/>
                  <a:gd name="T34" fmla="*/ 2147483647 w 671"/>
                  <a:gd name="T35" fmla="*/ 2147483647 h 549"/>
                  <a:gd name="T36" fmla="*/ 2147483647 w 671"/>
                  <a:gd name="T37" fmla="*/ 2147483647 h 549"/>
                  <a:gd name="T38" fmla="*/ 2147483647 w 671"/>
                  <a:gd name="T39" fmla="*/ 2147483647 h 549"/>
                  <a:gd name="T40" fmla="*/ 2147483647 w 671"/>
                  <a:gd name="T41" fmla="*/ 2147483647 h 549"/>
                  <a:gd name="T42" fmla="*/ 2147483647 w 671"/>
                  <a:gd name="T43" fmla="*/ 2147483647 h 549"/>
                  <a:gd name="T44" fmla="*/ 2147483647 w 671"/>
                  <a:gd name="T45" fmla="*/ 2147483647 h 549"/>
                  <a:gd name="T46" fmla="*/ 2147483647 w 671"/>
                  <a:gd name="T47" fmla="*/ 2147483647 h 549"/>
                  <a:gd name="T48" fmla="*/ 2147483647 w 671"/>
                  <a:gd name="T49" fmla="*/ 2147483647 h 549"/>
                  <a:gd name="T50" fmla="*/ 2147483647 w 671"/>
                  <a:gd name="T51" fmla="*/ 2147483647 h 549"/>
                  <a:gd name="T52" fmla="*/ 2147483647 w 671"/>
                  <a:gd name="T53" fmla="*/ 2147483647 h 549"/>
                  <a:gd name="T54" fmla="*/ 2147483647 w 671"/>
                  <a:gd name="T55" fmla="*/ 2147483647 h 549"/>
                  <a:gd name="T56" fmla="*/ 2147483647 w 671"/>
                  <a:gd name="T57" fmla="*/ 2147483647 h 549"/>
                  <a:gd name="T58" fmla="*/ 2147483647 w 671"/>
                  <a:gd name="T59" fmla="*/ 2147483647 h 549"/>
                  <a:gd name="T60" fmla="*/ 2147483647 w 671"/>
                  <a:gd name="T61" fmla="*/ 2147483647 h 549"/>
                  <a:gd name="T62" fmla="*/ 2147483647 w 671"/>
                  <a:gd name="T63" fmla="*/ 2147483647 h 549"/>
                  <a:gd name="T64" fmla="*/ 2147483647 w 671"/>
                  <a:gd name="T65" fmla="*/ 2147483647 h 549"/>
                  <a:gd name="T66" fmla="*/ 2147483647 w 671"/>
                  <a:gd name="T67" fmla="*/ 2147483647 h 549"/>
                  <a:gd name="T68" fmla="*/ 2147483647 w 671"/>
                  <a:gd name="T69" fmla="*/ 2147483647 h 549"/>
                  <a:gd name="T70" fmla="*/ 2147483647 w 671"/>
                  <a:gd name="T71" fmla="*/ 2147483647 h 549"/>
                  <a:gd name="T72" fmla="*/ 2147483647 w 671"/>
                  <a:gd name="T73" fmla="*/ 2147483647 h 549"/>
                  <a:gd name="T74" fmla="*/ 2147483647 w 671"/>
                  <a:gd name="T75" fmla="*/ 2147483647 h 549"/>
                  <a:gd name="T76" fmla="*/ 2147483647 w 671"/>
                  <a:gd name="T77" fmla="*/ 2147483647 h 549"/>
                  <a:gd name="T78" fmla="*/ 2147483647 w 671"/>
                  <a:gd name="T79" fmla="*/ 2147483647 h 549"/>
                  <a:gd name="T80" fmla="*/ 2147483647 w 671"/>
                  <a:gd name="T81" fmla="*/ 2147483647 h 549"/>
                  <a:gd name="T82" fmla="*/ 2147483647 w 671"/>
                  <a:gd name="T83" fmla="*/ 2147483647 h 549"/>
                  <a:gd name="T84" fmla="*/ 2147483647 w 671"/>
                  <a:gd name="T85" fmla="*/ 2147483647 h 549"/>
                  <a:gd name="T86" fmla="*/ 2147483647 w 671"/>
                  <a:gd name="T87" fmla="*/ 2147483647 h 549"/>
                  <a:gd name="T88" fmla="*/ 2147483647 w 671"/>
                  <a:gd name="T89" fmla="*/ 2147483647 h 549"/>
                  <a:gd name="T90" fmla="*/ 2147483647 w 671"/>
                  <a:gd name="T91" fmla="*/ 2147483647 h 549"/>
                  <a:gd name="T92" fmla="*/ 2147483647 w 671"/>
                  <a:gd name="T93" fmla="*/ 2147483647 h 549"/>
                  <a:gd name="T94" fmla="*/ 2147483647 w 671"/>
                  <a:gd name="T95" fmla="*/ 2147483647 h 549"/>
                  <a:gd name="T96" fmla="*/ 2147483647 w 671"/>
                  <a:gd name="T97" fmla="*/ 2147483647 h 549"/>
                  <a:gd name="T98" fmla="*/ 2147483647 w 671"/>
                  <a:gd name="T99" fmla="*/ 2147483647 h 549"/>
                  <a:gd name="T100" fmla="*/ 2147483647 w 671"/>
                  <a:gd name="T101" fmla="*/ 2147483647 h 549"/>
                  <a:gd name="T102" fmla="*/ 2147483647 w 671"/>
                  <a:gd name="T103" fmla="*/ 2147483647 h 549"/>
                  <a:gd name="T104" fmla="*/ 2147483647 w 671"/>
                  <a:gd name="T105" fmla="*/ 2147483647 h 549"/>
                  <a:gd name="T106" fmla="*/ 2147483647 w 671"/>
                  <a:gd name="T107" fmla="*/ 2147483647 h 549"/>
                  <a:gd name="T108" fmla="*/ 2147483647 w 671"/>
                  <a:gd name="T109" fmla="*/ 2147483647 h 549"/>
                  <a:gd name="T110" fmla="*/ 2147483647 w 671"/>
                  <a:gd name="T111" fmla="*/ 2147483647 h 549"/>
                  <a:gd name="T112" fmla="*/ 2147483647 w 671"/>
                  <a:gd name="T113" fmla="*/ 2147483647 h 549"/>
                  <a:gd name="T114" fmla="*/ 2147483647 w 671"/>
                  <a:gd name="T115" fmla="*/ 2147483647 h 549"/>
                  <a:gd name="T116" fmla="*/ 2147483647 w 671"/>
                  <a:gd name="T117" fmla="*/ 2147483647 h 549"/>
                  <a:gd name="T118" fmla="*/ 2147483647 w 671"/>
                  <a:gd name="T119" fmla="*/ 2147483647 h 549"/>
                  <a:gd name="T120" fmla="*/ 2147483647 w 671"/>
                  <a:gd name="T121" fmla="*/ 2147483647 h 549"/>
                  <a:gd name="T122" fmla="*/ 0 w 671"/>
                  <a:gd name="T123" fmla="*/ 2147483647 h 54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" name="Freeform 33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0922268" y="3576210"/>
                <a:ext cx="152400" cy="169862"/>
              </a:xfrm>
              <a:custGeom>
                <a:avLst/>
                <a:gdLst>
                  <a:gd name="T0" fmla="*/ 2147483647 w 358"/>
                  <a:gd name="T1" fmla="*/ 2147483647 h 327"/>
                  <a:gd name="T2" fmla="*/ 2147483647 w 358"/>
                  <a:gd name="T3" fmla="*/ 2147483647 h 327"/>
                  <a:gd name="T4" fmla="*/ 2147483647 w 358"/>
                  <a:gd name="T5" fmla="*/ 2147483647 h 327"/>
                  <a:gd name="T6" fmla="*/ 2147483647 w 358"/>
                  <a:gd name="T7" fmla="*/ 2147483647 h 327"/>
                  <a:gd name="T8" fmla="*/ 2147483647 w 358"/>
                  <a:gd name="T9" fmla="*/ 2147483647 h 327"/>
                  <a:gd name="T10" fmla="*/ 2147483647 w 358"/>
                  <a:gd name="T11" fmla="*/ 2147483647 h 327"/>
                  <a:gd name="T12" fmla="*/ 2147483647 w 358"/>
                  <a:gd name="T13" fmla="*/ 2147483647 h 327"/>
                  <a:gd name="T14" fmla="*/ 2147483647 w 358"/>
                  <a:gd name="T15" fmla="*/ 2147483647 h 327"/>
                  <a:gd name="T16" fmla="*/ 2147483647 w 358"/>
                  <a:gd name="T17" fmla="*/ 2147483647 h 327"/>
                  <a:gd name="T18" fmla="*/ 2147483647 w 358"/>
                  <a:gd name="T19" fmla="*/ 2147483647 h 327"/>
                  <a:gd name="T20" fmla="*/ 2147483647 w 358"/>
                  <a:gd name="T21" fmla="*/ 2147483647 h 327"/>
                  <a:gd name="T22" fmla="*/ 2147483647 w 358"/>
                  <a:gd name="T23" fmla="*/ 2147483647 h 327"/>
                  <a:gd name="T24" fmla="*/ 2147483647 w 358"/>
                  <a:gd name="T25" fmla="*/ 2147483647 h 327"/>
                  <a:gd name="T26" fmla="*/ 2147483647 w 358"/>
                  <a:gd name="T27" fmla="*/ 2147483647 h 327"/>
                  <a:gd name="T28" fmla="*/ 2147483647 w 358"/>
                  <a:gd name="T29" fmla="*/ 2147483647 h 327"/>
                  <a:gd name="T30" fmla="*/ 2147483647 w 358"/>
                  <a:gd name="T31" fmla="*/ 2147483647 h 327"/>
                  <a:gd name="T32" fmla="*/ 2147483647 w 358"/>
                  <a:gd name="T33" fmla="*/ 2147483647 h 327"/>
                  <a:gd name="T34" fmla="*/ 2147483647 w 358"/>
                  <a:gd name="T35" fmla="*/ 2147483647 h 327"/>
                  <a:gd name="T36" fmla="*/ 2147483647 w 358"/>
                  <a:gd name="T37" fmla="*/ 2147483647 h 327"/>
                  <a:gd name="T38" fmla="*/ 2147483647 w 358"/>
                  <a:gd name="T39" fmla="*/ 2147483647 h 327"/>
                  <a:gd name="T40" fmla="*/ 2147483647 w 358"/>
                  <a:gd name="T41" fmla="*/ 2147483647 h 327"/>
                  <a:gd name="T42" fmla="*/ 2147483647 w 358"/>
                  <a:gd name="T43" fmla="*/ 2147483647 h 327"/>
                  <a:gd name="T44" fmla="*/ 2147483647 w 358"/>
                  <a:gd name="T45" fmla="*/ 2147483647 h 327"/>
                  <a:gd name="T46" fmla="*/ 2147483647 w 358"/>
                  <a:gd name="T47" fmla="*/ 2147483647 h 327"/>
                  <a:gd name="T48" fmla="*/ 2147483647 w 358"/>
                  <a:gd name="T49" fmla="*/ 2147483647 h 327"/>
                  <a:gd name="T50" fmla="*/ 2147483647 w 358"/>
                  <a:gd name="T51" fmla="*/ 2147483647 h 327"/>
                  <a:gd name="T52" fmla="*/ 2147483647 w 358"/>
                  <a:gd name="T53" fmla="*/ 0 h 327"/>
                  <a:gd name="T54" fmla="*/ 2147483647 w 358"/>
                  <a:gd name="T55" fmla="*/ 2147483647 h 327"/>
                  <a:gd name="T56" fmla="*/ 2147483647 w 358"/>
                  <a:gd name="T57" fmla="*/ 2147483647 h 327"/>
                  <a:gd name="T58" fmla="*/ 2147483647 w 358"/>
                  <a:gd name="T59" fmla="*/ 2147483647 h 327"/>
                  <a:gd name="T60" fmla="*/ 1620098417 w 358"/>
                  <a:gd name="T61" fmla="*/ 2147483647 h 327"/>
                  <a:gd name="T62" fmla="*/ 1311482457 w 358"/>
                  <a:gd name="T63" fmla="*/ 2147483647 h 327"/>
                  <a:gd name="T64" fmla="*/ 1234282917 w 358"/>
                  <a:gd name="T65" fmla="*/ 2147483647 h 327"/>
                  <a:gd name="T66" fmla="*/ 1542899303 w 358"/>
                  <a:gd name="T67" fmla="*/ 2147483647 h 327"/>
                  <a:gd name="T68" fmla="*/ 1697116609 w 358"/>
                  <a:gd name="T69" fmla="*/ 2147483647 h 327"/>
                  <a:gd name="T70" fmla="*/ 1542899303 w 358"/>
                  <a:gd name="T71" fmla="*/ 2147483647 h 327"/>
                  <a:gd name="T72" fmla="*/ 1157083803 w 358"/>
                  <a:gd name="T73" fmla="*/ 2147483647 h 327"/>
                  <a:gd name="T74" fmla="*/ 540032806 w 358"/>
                  <a:gd name="T75" fmla="*/ 2147483647 h 327"/>
                  <a:gd name="T76" fmla="*/ 0 w 358"/>
                  <a:gd name="T77" fmla="*/ 2147483647 h 327"/>
                  <a:gd name="T78" fmla="*/ 0 w 358"/>
                  <a:gd name="T79" fmla="*/ 2147483647 h 327"/>
                  <a:gd name="T80" fmla="*/ 385634152 w 358"/>
                  <a:gd name="T81" fmla="*/ 2147483647 h 327"/>
                  <a:gd name="T82" fmla="*/ 848648765 w 358"/>
                  <a:gd name="T83" fmla="*/ 2147483647 h 327"/>
                  <a:gd name="T84" fmla="*/ 1542899303 w 358"/>
                  <a:gd name="T85" fmla="*/ 2147483647 h 327"/>
                  <a:gd name="T86" fmla="*/ 2147483647 w 358"/>
                  <a:gd name="T87" fmla="*/ 2147483647 h 327"/>
                  <a:gd name="T88" fmla="*/ 2147483647 w 358"/>
                  <a:gd name="T89" fmla="*/ 2147483647 h 327"/>
                  <a:gd name="T90" fmla="*/ 2147483647 w 358"/>
                  <a:gd name="T91" fmla="*/ 2147483647 h 327"/>
                  <a:gd name="T92" fmla="*/ 2147483647 w 358"/>
                  <a:gd name="T93" fmla="*/ 2147483647 h 327"/>
                  <a:gd name="T94" fmla="*/ 2147483647 w 358"/>
                  <a:gd name="T95" fmla="*/ 2147483647 h 327"/>
                  <a:gd name="T96" fmla="*/ 2147483647 w 358"/>
                  <a:gd name="T97" fmla="*/ 2147483647 h 327"/>
                  <a:gd name="T98" fmla="*/ 2147483647 w 358"/>
                  <a:gd name="T99" fmla="*/ 2147483647 h 327"/>
                  <a:gd name="T100" fmla="*/ 2147483647 w 358"/>
                  <a:gd name="T101" fmla="*/ 2147483647 h 327"/>
                  <a:gd name="T102" fmla="*/ 2147483647 w 358"/>
                  <a:gd name="T103" fmla="*/ 2147483647 h 327"/>
                  <a:gd name="T104" fmla="*/ 2147483647 w 358"/>
                  <a:gd name="T105" fmla="*/ 2147483647 h 327"/>
                  <a:gd name="T106" fmla="*/ 2147483647 w 358"/>
                  <a:gd name="T107" fmla="*/ 2147483647 h 327"/>
                  <a:gd name="T108" fmla="*/ 2147483647 w 358"/>
                  <a:gd name="T109" fmla="*/ 2147483647 h 327"/>
                  <a:gd name="T110" fmla="*/ 2147483647 w 358"/>
                  <a:gd name="T111" fmla="*/ 2147483647 h 327"/>
                  <a:gd name="T112" fmla="*/ 2147483647 w 358"/>
                  <a:gd name="T113" fmla="*/ 2147483647 h 327"/>
                  <a:gd name="T114" fmla="*/ 2147483647 w 358"/>
                  <a:gd name="T115" fmla="*/ 2147483647 h 327"/>
                  <a:gd name="T116" fmla="*/ 2147483647 w 358"/>
                  <a:gd name="T117" fmla="*/ 2147483647 h 327"/>
                  <a:gd name="T118" fmla="*/ 2147483647 w 358"/>
                  <a:gd name="T119" fmla="*/ 2147483647 h 327"/>
                  <a:gd name="T120" fmla="*/ 2147483647 w 358"/>
                  <a:gd name="T121" fmla="*/ 2147483647 h 32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" name="Freeform 34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0384105" y="2580847"/>
                <a:ext cx="125413" cy="57150"/>
              </a:xfrm>
              <a:custGeom>
                <a:avLst/>
                <a:gdLst>
                  <a:gd name="T0" fmla="*/ 2147483647 w 292"/>
                  <a:gd name="T1" fmla="*/ 0 h 99"/>
                  <a:gd name="T2" fmla="*/ 2147483647 w 292"/>
                  <a:gd name="T3" fmla="*/ 0 h 99"/>
                  <a:gd name="T4" fmla="*/ 2147483647 w 292"/>
                  <a:gd name="T5" fmla="*/ 192281464 h 99"/>
                  <a:gd name="T6" fmla="*/ 2147483647 w 292"/>
                  <a:gd name="T7" fmla="*/ 1154356686 h 99"/>
                  <a:gd name="T8" fmla="*/ 2147483647 w 292"/>
                  <a:gd name="T9" fmla="*/ 1346638150 h 99"/>
                  <a:gd name="T10" fmla="*/ 2147483647 w 292"/>
                  <a:gd name="T11" fmla="*/ 2147483647 h 99"/>
                  <a:gd name="T12" fmla="*/ 2147483647 w 292"/>
                  <a:gd name="T13" fmla="*/ 2147483647 h 99"/>
                  <a:gd name="T14" fmla="*/ 2147483647 w 292"/>
                  <a:gd name="T15" fmla="*/ 2147483647 h 99"/>
                  <a:gd name="T16" fmla="*/ 2147483647 w 292"/>
                  <a:gd name="T17" fmla="*/ 2147483647 h 99"/>
                  <a:gd name="T18" fmla="*/ 2147483647 w 292"/>
                  <a:gd name="T19" fmla="*/ 2147483647 h 99"/>
                  <a:gd name="T20" fmla="*/ 2147483647 w 292"/>
                  <a:gd name="T21" fmla="*/ 2147483647 h 99"/>
                  <a:gd name="T22" fmla="*/ 2147483647 w 292"/>
                  <a:gd name="T23" fmla="*/ 2147483647 h 99"/>
                  <a:gd name="T24" fmla="*/ 2147483647 w 292"/>
                  <a:gd name="T25" fmla="*/ 2147483647 h 99"/>
                  <a:gd name="T26" fmla="*/ 2147483647 w 292"/>
                  <a:gd name="T27" fmla="*/ 2147483647 h 99"/>
                  <a:gd name="T28" fmla="*/ 2147483647 w 292"/>
                  <a:gd name="T29" fmla="*/ 2147483647 h 99"/>
                  <a:gd name="T30" fmla="*/ 1584574357 w 292"/>
                  <a:gd name="T31" fmla="*/ 2147483647 h 99"/>
                  <a:gd name="T32" fmla="*/ 554508855 w 292"/>
                  <a:gd name="T33" fmla="*/ 2147483647 h 99"/>
                  <a:gd name="T34" fmla="*/ 79136462 w 292"/>
                  <a:gd name="T35" fmla="*/ 2147483647 h 99"/>
                  <a:gd name="T36" fmla="*/ 0 w 292"/>
                  <a:gd name="T37" fmla="*/ 2147483647 h 99"/>
                  <a:gd name="T38" fmla="*/ 79136462 w 292"/>
                  <a:gd name="T39" fmla="*/ 2147483647 h 99"/>
                  <a:gd name="T40" fmla="*/ 237594070 w 292"/>
                  <a:gd name="T41" fmla="*/ 2147483647 h 99"/>
                  <a:gd name="T42" fmla="*/ 712966033 w 292"/>
                  <a:gd name="T43" fmla="*/ 2147483647 h 99"/>
                  <a:gd name="T44" fmla="*/ 1188338426 w 292"/>
                  <a:gd name="T45" fmla="*/ 2147483647 h 99"/>
                  <a:gd name="T46" fmla="*/ 1980625605 w 292"/>
                  <a:gd name="T47" fmla="*/ 2147483647 h 99"/>
                  <a:gd name="T48" fmla="*/ 2147483647 w 292"/>
                  <a:gd name="T49" fmla="*/ 2147483647 h 99"/>
                  <a:gd name="T50" fmla="*/ 2147483647 w 292"/>
                  <a:gd name="T51" fmla="*/ 2147483647 h 99"/>
                  <a:gd name="T52" fmla="*/ 2147483647 w 292"/>
                  <a:gd name="T53" fmla="*/ 2147483647 h 99"/>
                  <a:gd name="T54" fmla="*/ 2147483647 w 292"/>
                  <a:gd name="T55" fmla="*/ 2147483647 h 99"/>
                  <a:gd name="T56" fmla="*/ 2147483647 w 292"/>
                  <a:gd name="T57" fmla="*/ 2147483647 h 99"/>
                  <a:gd name="T58" fmla="*/ 2147483647 w 292"/>
                  <a:gd name="T59" fmla="*/ 2116098245 h 99"/>
                  <a:gd name="T60" fmla="*/ 2147483647 w 292"/>
                  <a:gd name="T61" fmla="*/ 1154356686 h 99"/>
                  <a:gd name="T62" fmla="*/ 2147483647 w 292"/>
                  <a:gd name="T63" fmla="*/ 192281464 h 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" name="Freeform 3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1247705" y="3301572"/>
                <a:ext cx="19050" cy="57150"/>
              </a:xfrm>
              <a:custGeom>
                <a:avLst/>
                <a:gdLst>
                  <a:gd name="T0" fmla="*/ 2147483647 w 43"/>
                  <a:gd name="T1" fmla="*/ 2147483647 h 93"/>
                  <a:gd name="T2" fmla="*/ 2147483647 w 43"/>
                  <a:gd name="T3" fmla="*/ 2147483647 h 93"/>
                  <a:gd name="T4" fmla="*/ 2147483647 w 43"/>
                  <a:gd name="T5" fmla="*/ 2147483647 h 93"/>
                  <a:gd name="T6" fmla="*/ 1825895983 w 43"/>
                  <a:gd name="T7" fmla="*/ 2147483647 h 93"/>
                  <a:gd name="T8" fmla="*/ 1565053636 w 43"/>
                  <a:gd name="T9" fmla="*/ 2147483647 h 93"/>
                  <a:gd name="T10" fmla="*/ 1304211733 w 43"/>
                  <a:gd name="T11" fmla="*/ 2147483647 h 93"/>
                  <a:gd name="T12" fmla="*/ 1217263988 w 43"/>
                  <a:gd name="T13" fmla="*/ 2147483647 h 93"/>
                  <a:gd name="T14" fmla="*/ 1130316687 w 43"/>
                  <a:gd name="T15" fmla="*/ 2147483647 h 93"/>
                  <a:gd name="T16" fmla="*/ 956421642 w 43"/>
                  <a:gd name="T17" fmla="*/ 2147483647 h 93"/>
                  <a:gd name="T18" fmla="*/ 956421642 w 43"/>
                  <a:gd name="T19" fmla="*/ 2147483647 h 93"/>
                  <a:gd name="T20" fmla="*/ 782527040 w 43"/>
                  <a:gd name="T21" fmla="*/ 2147483647 h 93"/>
                  <a:gd name="T22" fmla="*/ 521684693 w 43"/>
                  <a:gd name="T23" fmla="*/ 2147483647 h 93"/>
                  <a:gd name="T24" fmla="*/ 347789648 w 43"/>
                  <a:gd name="T25" fmla="*/ 2147483647 h 93"/>
                  <a:gd name="T26" fmla="*/ 173895045 w 43"/>
                  <a:gd name="T27" fmla="*/ 2147483647 h 93"/>
                  <a:gd name="T28" fmla="*/ 0 w 43"/>
                  <a:gd name="T29" fmla="*/ 2147483647 h 93"/>
                  <a:gd name="T30" fmla="*/ 173895045 w 43"/>
                  <a:gd name="T31" fmla="*/ 2147483647 h 93"/>
                  <a:gd name="T32" fmla="*/ 434737392 w 43"/>
                  <a:gd name="T33" fmla="*/ 2147483647 h 93"/>
                  <a:gd name="T34" fmla="*/ 521684693 w 43"/>
                  <a:gd name="T35" fmla="*/ 2147483647 h 93"/>
                  <a:gd name="T36" fmla="*/ 608631994 w 43"/>
                  <a:gd name="T37" fmla="*/ 2147483647 h 93"/>
                  <a:gd name="T38" fmla="*/ 695579295 w 43"/>
                  <a:gd name="T39" fmla="*/ 2147483647 h 93"/>
                  <a:gd name="T40" fmla="*/ 782527040 w 43"/>
                  <a:gd name="T41" fmla="*/ 2147483647 h 93"/>
                  <a:gd name="T42" fmla="*/ 956421642 w 43"/>
                  <a:gd name="T43" fmla="*/ 2147483647 h 93"/>
                  <a:gd name="T44" fmla="*/ 1217263988 w 43"/>
                  <a:gd name="T45" fmla="*/ 2147483647 h 93"/>
                  <a:gd name="T46" fmla="*/ 1391159034 w 43"/>
                  <a:gd name="T47" fmla="*/ 2147483647 h 93"/>
                  <a:gd name="T48" fmla="*/ 1738948681 w 43"/>
                  <a:gd name="T49" fmla="*/ 1392322098 h 93"/>
                  <a:gd name="T50" fmla="*/ 1913039986 w 43"/>
                  <a:gd name="T51" fmla="*/ 928214937 h 93"/>
                  <a:gd name="T52" fmla="*/ 2147483647 w 43"/>
                  <a:gd name="T53" fmla="*/ 464107161 h 93"/>
                  <a:gd name="T54" fmla="*/ 2147483647 w 43"/>
                  <a:gd name="T55" fmla="*/ 0 h 93"/>
                  <a:gd name="T56" fmla="*/ 2147483647 w 43"/>
                  <a:gd name="T57" fmla="*/ 0 h 93"/>
                  <a:gd name="T58" fmla="*/ 2147483647 w 43"/>
                  <a:gd name="T59" fmla="*/ 2147483647 h 93"/>
                  <a:gd name="T60" fmla="*/ 2147483647 w 43"/>
                  <a:gd name="T61" fmla="*/ 2147483647 h 93"/>
                  <a:gd name="T62" fmla="*/ 2147483647 w 43"/>
                  <a:gd name="T63" fmla="*/ 2147483647 h 93"/>
                  <a:gd name="T64" fmla="*/ 2147483647 w 43"/>
                  <a:gd name="T65" fmla="*/ 2147483647 h 93"/>
                  <a:gd name="T66" fmla="*/ 2147483647 w 43"/>
                  <a:gd name="T67" fmla="*/ 2147483647 h 93"/>
                  <a:gd name="T68" fmla="*/ 2147483647 w 43"/>
                  <a:gd name="T69" fmla="*/ 2147483647 h 93"/>
                  <a:gd name="T70" fmla="*/ 2147483647 w 43"/>
                  <a:gd name="T71" fmla="*/ 2147483647 h 93"/>
                  <a:gd name="T72" fmla="*/ 2147483647 w 43"/>
                  <a:gd name="T73" fmla="*/ 2147483647 h 93"/>
                  <a:gd name="T74" fmla="*/ 2147483647 w 43"/>
                  <a:gd name="T75" fmla="*/ 2147483647 h 93"/>
                  <a:gd name="T76" fmla="*/ 2147483647 w 43"/>
                  <a:gd name="T77" fmla="*/ 2147483647 h 93"/>
                  <a:gd name="T78" fmla="*/ 2147483647 w 43"/>
                  <a:gd name="T79" fmla="*/ 2147483647 h 93"/>
                  <a:gd name="T80" fmla="*/ 2147483647 w 43"/>
                  <a:gd name="T81" fmla="*/ 2147483647 h 93"/>
                  <a:gd name="T82" fmla="*/ 2147483647 w 43"/>
                  <a:gd name="T83" fmla="*/ 2147483647 h 93"/>
                  <a:gd name="T84" fmla="*/ 2147483647 w 43"/>
                  <a:gd name="T85" fmla="*/ 2147483647 h 93"/>
                  <a:gd name="T86" fmla="*/ 2147483647 w 43"/>
                  <a:gd name="T87" fmla="*/ 2147483647 h 93"/>
                  <a:gd name="T88" fmla="*/ 2147483647 w 43"/>
                  <a:gd name="T89" fmla="*/ 2147483647 h 93"/>
                  <a:gd name="T90" fmla="*/ 2147483647 w 43"/>
                  <a:gd name="T91" fmla="*/ 2147483647 h 93"/>
                  <a:gd name="T92" fmla="*/ 2147483647 w 43"/>
                  <a:gd name="T93" fmla="*/ 2147483647 h 93"/>
                  <a:gd name="T94" fmla="*/ 2147483647 w 43"/>
                  <a:gd name="T95" fmla="*/ 2147483647 h 93"/>
                  <a:gd name="T96" fmla="*/ 2147483647 w 43"/>
                  <a:gd name="T97" fmla="*/ 2147483647 h 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3" h="93">
                    <a:moveTo>
                      <a:pt x="39" y="93"/>
                    </a:moveTo>
                    <a:lnTo>
                      <a:pt x="31" y="91"/>
                    </a:lnTo>
                    <a:lnTo>
                      <a:pt x="26" y="89"/>
                    </a:lnTo>
                    <a:lnTo>
                      <a:pt x="21" y="87"/>
                    </a:lnTo>
                    <a:lnTo>
                      <a:pt x="18" y="84"/>
                    </a:lnTo>
                    <a:lnTo>
                      <a:pt x="15" y="79"/>
                    </a:lnTo>
                    <a:lnTo>
                      <a:pt x="14" y="73"/>
                    </a:lnTo>
                    <a:lnTo>
                      <a:pt x="13" y="65"/>
                    </a:lnTo>
                    <a:lnTo>
                      <a:pt x="11" y="55"/>
                    </a:lnTo>
                    <a:lnTo>
                      <a:pt x="11" y="48"/>
                    </a:lnTo>
                    <a:lnTo>
                      <a:pt x="9" y="42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3" y="10"/>
                    </a:lnTo>
                    <a:lnTo>
                      <a:pt x="33" y="16"/>
                    </a:lnTo>
                    <a:lnTo>
                      <a:pt x="33" y="20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5" y="36"/>
                    </a:lnTo>
                    <a:lnTo>
                      <a:pt x="39" y="43"/>
                    </a:lnTo>
                    <a:lnTo>
                      <a:pt x="38" y="44"/>
                    </a:lnTo>
                    <a:lnTo>
                      <a:pt x="37" y="45"/>
                    </a:lnTo>
                    <a:lnTo>
                      <a:pt x="37" y="48"/>
                    </a:lnTo>
                    <a:lnTo>
                      <a:pt x="38" y="51"/>
                    </a:lnTo>
                    <a:lnTo>
                      <a:pt x="39" y="59"/>
                    </a:lnTo>
                    <a:lnTo>
                      <a:pt x="41" y="68"/>
                    </a:lnTo>
                    <a:lnTo>
                      <a:pt x="42" y="76"/>
                    </a:lnTo>
                    <a:lnTo>
                      <a:pt x="43" y="85"/>
                    </a:lnTo>
                    <a:lnTo>
                      <a:pt x="43" y="88"/>
                    </a:lnTo>
                    <a:lnTo>
                      <a:pt x="42" y="91"/>
                    </a:lnTo>
                    <a:lnTo>
                      <a:pt x="40" y="92"/>
                    </a:lnTo>
                    <a:lnTo>
                      <a:pt x="39" y="9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" name="Freeform 36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1366768" y="3306335"/>
                <a:ext cx="14287" cy="57150"/>
              </a:xfrm>
              <a:custGeom>
                <a:avLst/>
                <a:gdLst>
                  <a:gd name="T0" fmla="*/ 1822649381 w 40"/>
                  <a:gd name="T1" fmla="*/ 2147483647 h 56"/>
                  <a:gd name="T2" fmla="*/ 1685890288 w 40"/>
                  <a:gd name="T3" fmla="*/ 2147483647 h 56"/>
                  <a:gd name="T4" fmla="*/ 1503714608 w 40"/>
                  <a:gd name="T5" fmla="*/ 2147483647 h 56"/>
                  <a:gd name="T6" fmla="*/ 1275867318 w 40"/>
                  <a:gd name="T7" fmla="*/ 2147483647 h 56"/>
                  <a:gd name="T8" fmla="*/ 1048020385 w 40"/>
                  <a:gd name="T9" fmla="*/ 2147483647 h 56"/>
                  <a:gd name="T10" fmla="*/ 501238322 w 40"/>
                  <a:gd name="T11" fmla="*/ 2147483647 h 56"/>
                  <a:gd name="T12" fmla="*/ 0 w 40"/>
                  <a:gd name="T13" fmla="*/ 2147483647 h 56"/>
                  <a:gd name="T14" fmla="*/ 592326162 w 40"/>
                  <a:gd name="T15" fmla="*/ 2147483647 h 56"/>
                  <a:gd name="T16" fmla="*/ 911388446 w 40"/>
                  <a:gd name="T17" fmla="*/ 0 h 56"/>
                  <a:gd name="T18" fmla="*/ 1275867318 w 40"/>
                  <a:gd name="T19" fmla="*/ 2147483647 h 56"/>
                  <a:gd name="T20" fmla="*/ 1594802448 w 40"/>
                  <a:gd name="T21" fmla="*/ 2147483647 h 56"/>
                  <a:gd name="T22" fmla="*/ 1685890288 w 40"/>
                  <a:gd name="T23" fmla="*/ 2147483647 h 56"/>
                  <a:gd name="T24" fmla="*/ 1777105639 w 40"/>
                  <a:gd name="T25" fmla="*/ 2147483647 h 56"/>
                  <a:gd name="T26" fmla="*/ 1777105639 w 40"/>
                  <a:gd name="T27" fmla="*/ 2147483647 h 56"/>
                  <a:gd name="T28" fmla="*/ 1822649381 w 40"/>
                  <a:gd name="T29" fmla="*/ 2147483647 h 56"/>
                  <a:gd name="T30" fmla="*/ 1822649381 w 40"/>
                  <a:gd name="T31" fmla="*/ 2147483647 h 56"/>
                  <a:gd name="T32" fmla="*/ 1822649381 w 40"/>
                  <a:gd name="T33" fmla="*/ 2147483647 h 56"/>
                  <a:gd name="T34" fmla="*/ 1822649381 w 40"/>
                  <a:gd name="T35" fmla="*/ 2147483647 h 56"/>
                  <a:gd name="T36" fmla="*/ 1822649381 w 40"/>
                  <a:gd name="T37" fmla="*/ 2147483647 h 5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0" h="56">
                    <a:moveTo>
                      <a:pt x="40" y="56"/>
                    </a:moveTo>
                    <a:lnTo>
                      <a:pt x="37" y="46"/>
                    </a:lnTo>
                    <a:lnTo>
                      <a:pt x="33" y="38"/>
                    </a:lnTo>
                    <a:lnTo>
                      <a:pt x="28" y="32"/>
                    </a:lnTo>
                    <a:lnTo>
                      <a:pt x="23" y="28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3" y="4"/>
                    </a:lnTo>
                    <a:lnTo>
                      <a:pt x="20" y="0"/>
                    </a:lnTo>
                    <a:lnTo>
                      <a:pt x="28" y="12"/>
                    </a:lnTo>
                    <a:lnTo>
                      <a:pt x="35" y="22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39" y="33"/>
                    </a:lnTo>
                    <a:lnTo>
                      <a:pt x="40" y="37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9"/>
                    </a:lnTo>
                    <a:lnTo>
                      <a:pt x="4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" name="Freeform 37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2854255" y="3966735"/>
                <a:ext cx="44450" cy="57150"/>
              </a:xfrm>
              <a:custGeom>
                <a:avLst/>
                <a:gdLst>
                  <a:gd name="T0" fmla="*/ 0 w 106"/>
                  <a:gd name="T1" fmla="*/ 2147483647 h 71"/>
                  <a:gd name="T2" fmla="*/ 884855667 w 106"/>
                  <a:gd name="T3" fmla="*/ 2147483647 h 71"/>
                  <a:gd name="T4" fmla="*/ 1769711333 w 106"/>
                  <a:gd name="T5" fmla="*/ 2147483647 h 71"/>
                  <a:gd name="T6" fmla="*/ 2147483647 w 106"/>
                  <a:gd name="T7" fmla="*/ 2147483647 h 71"/>
                  <a:gd name="T8" fmla="*/ 2147483647 w 106"/>
                  <a:gd name="T9" fmla="*/ 2147483647 h 71"/>
                  <a:gd name="T10" fmla="*/ 2147483647 w 106"/>
                  <a:gd name="T11" fmla="*/ 2147483647 h 71"/>
                  <a:gd name="T12" fmla="*/ 2147483647 w 106"/>
                  <a:gd name="T13" fmla="*/ 2147483647 h 71"/>
                  <a:gd name="T14" fmla="*/ 2147483647 w 106"/>
                  <a:gd name="T15" fmla="*/ 2147483647 h 71"/>
                  <a:gd name="T16" fmla="*/ 2147483647 w 106"/>
                  <a:gd name="T17" fmla="*/ 0 h 71"/>
                  <a:gd name="T18" fmla="*/ 2147483647 w 106"/>
                  <a:gd name="T19" fmla="*/ 2147483647 h 71"/>
                  <a:gd name="T20" fmla="*/ 2147483647 w 106"/>
                  <a:gd name="T21" fmla="*/ 2147483647 h 71"/>
                  <a:gd name="T22" fmla="*/ 2147483647 w 106"/>
                  <a:gd name="T23" fmla="*/ 2147483647 h 71"/>
                  <a:gd name="T24" fmla="*/ 2147483647 w 106"/>
                  <a:gd name="T25" fmla="*/ 2147483647 h 71"/>
                  <a:gd name="T26" fmla="*/ 2147483647 w 106"/>
                  <a:gd name="T27" fmla="*/ 2147483647 h 71"/>
                  <a:gd name="T28" fmla="*/ 2147483647 w 106"/>
                  <a:gd name="T29" fmla="*/ 2147483647 h 71"/>
                  <a:gd name="T30" fmla="*/ 2147483647 w 106"/>
                  <a:gd name="T31" fmla="*/ 2147483647 h 71"/>
                  <a:gd name="T32" fmla="*/ 2147483647 w 106"/>
                  <a:gd name="T33" fmla="*/ 2147483647 h 71"/>
                  <a:gd name="T34" fmla="*/ 2147483647 w 106"/>
                  <a:gd name="T35" fmla="*/ 2147483647 h 71"/>
                  <a:gd name="T36" fmla="*/ 2147483647 w 106"/>
                  <a:gd name="T37" fmla="*/ 2147483647 h 71"/>
                  <a:gd name="T38" fmla="*/ 2147483647 w 106"/>
                  <a:gd name="T39" fmla="*/ 2147483647 h 71"/>
                  <a:gd name="T40" fmla="*/ 2147483647 w 106"/>
                  <a:gd name="T41" fmla="*/ 2147483647 h 71"/>
                  <a:gd name="T42" fmla="*/ 2147483647 w 106"/>
                  <a:gd name="T43" fmla="*/ 2147483647 h 71"/>
                  <a:gd name="T44" fmla="*/ 2147483647 w 106"/>
                  <a:gd name="T45" fmla="*/ 2147483647 h 71"/>
                  <a:gd name="T46" fmla="*/ 2147483647 w 106"/>
                  <a:gd name="T47" fmla="*/ 2147483647 h 71"/>
                  <a:gd name="T48" fmla="*/ 2147483647 w 106"/>
                  <a:gd name="T49" fmla="*/ 2147483647 h 71"/>
                  <a:gd name="T50" fmla="*/ 2147483647 w 106"/>
                  <a:gd name="T51" fmla="*/ 2147483647 h 71"/>
                  <a:gd name="T52" fmla="*/ 2147483647 w 106"/>
                  <a:gd name="T53" fmla="*/ 2147483647 h 71"/>
                  <a:gd name="T54" fmla="*/ 1990925145 w 106"/>
                  <a:gd name="T55" fmla="*/ 2147483647 h 71"/>
                  <a:gd name="T56" fmla="*/ 1769711333 w 106"/>
                  <a:gd name="T57" fmla="*/ 2147483647 h 71"/>
                  <a:gd name="T58" fmla="*/ 1548497521 w 106"/>
                  <a:gd name="T59" fmla="*/ 2147483647 h 71"/>
                  <a:gd name="T60" fmla="*/ 1474817872 w 106"/>
                  <a:gd name="T61" fmla="*/ 2147483647 h 71"/>
                  <a:gd name="T62" fmla="*/ 1400962939 w 106"/>
                  <a:gd name="T63" fmla="*/ 2147483647 h 71"/>
                  <a:gd name="T64" fmla="*/ 1327283290 w 106"/>
                  <a:gd name="T65" fmla="*/ 2147483647 h 71"/>
                  <a:gd name="T66" fmla="*/ 1327283290 w 106"/>
                  <a:gd name="T67" fmla="*/ 2147483647 h 71"/>
                  <a:gd name="T68" fmla="*/ 1400962939 w 106"/>
                  <a:gd name="T69" fmla="*/ 2147483647 h 71"/>
                  <a:gd name="T70" fmla="*/ 1474817872 w 106"/>
                  <a:gd name="T71" fmla="*/ 2147483647 h 71"/>
                  <a:gd name="T72" fmla="*/ 1548497521 w 106"/>
                  <a:gd name="T73" fmla="*/ 2147483647 h 71"/>
                  <a:gd name="T74" fmla="*/ 1474817872 w 106"/>
                  <a:gd name="T75" fmla="*/ 2147483647 h 71"/>
                  <a:gd name="T76" fmla="*/ 1400962939 w 106"/>
                  <a:gd name="T77" fmla="*/ 2147483647 h 71"/>
                  <a:gd name="T78" fmla="*/ 1400962939 w 106"/>
                  <a:gd name="T79" fmla="*/ 2147483647 h 71"/>
                  <a:gd name="T80" fmla="*/ 1400962939 w 106"/>
                  <a:gd name="T81" fmla="*/ 2147483647 h 71"/>
                  <a:gd name="T82" fmla="*/ 1474817872 w 106"/>
                  <a:gd name="T83" fmla="*/ 2147483647 h 71"/>
                  <a:gd name="T84" fmla="*/ 1548497521 w 106"/>
                  <a:gd name="T85" fmla="*/ 2147483647 h 71"/>
                  <a:gd name="T86" fmla="*/ 1696032103 w 106"/>
                  <a:gd name="T87" fmla="*/ 2147483647 h 71"/>
                  <a:gd name="T88" fmla="*/ 1990925145 w 106"/>
                  <a:gd name="T89" fmla="*/ 2147483647 h 71"/>
                  <a:gd name="T90" fmla="*/ 0 w 106"/>
                  <a:gd name="T91" fmla="*/ 2147483647 h 7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06" h="71">
                    <a:moveTo>
                      <a:pt x="0" y="7"/>
                    </a:moveTo>
                    <a:lnTo>
                      <a:pt x="12" y="10"/>
                    </a:lnTo>
                    <a:lnTo>
                      <a:pt x="24" y="12"/>
                    </a:lnTo>
                    <a:lnTo>
                      <a:pt x="35" y="13"/>
                    </a:lnTo>
                    <a:lnTo>
                      <a:pt x="45" y="13"/>
                    </a:lnTo>
                    <a:lnTo>
                      <a:pt x="54" y="11"/>
                    </a:lnTo>
                    <a:lnTo>
                      <a:pt x="61" y="8"/>
                    </a:lnTo>
                    <a:lnTo>
                      <a:pt x="68" y="5"/>
                    </a:lnTo>
                    <a:lnTo>
                      <a:pt x="74" y="0"/>
                    </a:lnTo>
                    <a:lnTo>
                      <a:pt x="84" y="16"/>
                    </a:lnTo>
                    <a:lnTo>
                      <a:pt x="94" y="30"/>
                    </a:lnTo>
                    <a:lnTo>
                      <a:pt x="101" y="44"/>
                    </a:lnTo>
                    <a:lnTo>
                      <a:pt x="105" y="55"/>
                    </a:lnTo>
                    <a:lnTo>
                      <a:pt x="106" y="60"/>
                    </a:lnTo>
                    <a:lnTo>
                      <a:pt x="106" y="63"/>
                    </a:lnTo>
                    <a:lnTo>
                      <a:pt x="105" y="67"/>
                    </a:lnTo>
                    <a:lnTo>
                      <a:pt x="103" y="69"/>
                    </a:lnTo>
                    <a:lnTo>
                      <a:pt x="101" y="70"/>
                    </a:lnTo>
                    <a:lnTo>
                      <a:pt x="98" y="70"/>
                    </a:lnTo>
                    <a:lnTo>
                      <a:pt x="92" y="70"/>
                    </a:lnTo>
                    <a:lnTo>
                      <a:pt x="87" y="68"/>
                    </a:lnTo>
                    <a:lnTo>
                      <a:pt x="74" y="70"/>
                    </a:lnTo>
                    <a:lnTo>
                      <a:pt x="63" y="71"/>
                    </a:lnTo>
                    <a:lnTo>
                      <a:pt x="53" y="69"/>
                    </a:lnTo>
                    <a:lnTo>
                      <a:pt x="45" y="66"/>
                    </a:lnTo>
                    <a:lnTo>
                      <a:pt x="37" y="62"/>
                    </a:lnTo>
                    <a:lnTo>
                      <a:pt x="32" y="57"/>
                    </a:lnTo>
                    <a:lnTo>
                      <a:pt x="27" y="51"/>
                    </a:lnTo>
                    <a:lnTo>
                      <a:pt x="24" y="45"/>
                    </a:lnTo>
                    <a:lnTo>
                      <a:pt x="21" y="38"/>
                    </a:lnTo>
                    <a:lnTo>
                      <a:pt x="20" y="30"/>
                    </a:lnTo>
                    <a:lnTo>
                      <a:pt x="19" y="24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0" y="10"/>
                    </a:lnTo>
                    <a:lnTo>
                      <a:pt x="19" y="16"/>
                    </a:lnTo>
                    <a:lnTo>
                      <a:pt x="19" y="17"/>
                    </a:lnTo>
                    <a:lnTo>
                      <a:pt x="20" y="17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27" y="7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" name="Freeform 69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3905180" y="4723972"/>
                <a:ext cx="12700" cy="57150"/>
              </a:xfrm>
              <a:custGeom>
                <a:avLst/>
                <a:gdLst>
                  <a:gd name="T0" fmla="*/ 0 w 33"/>
                  <a:gd name="T1" fmla="*/ 2147483647 h 62"/>
                  <a:gd name="T2" fmla="*/ 0 w 33"/>
                  <a:gd name="T3" fmla="*/ 2147483647 h 62"/>
                  <a:gd name="T4" fmla="*/ 0 w 33"/>
                  <a:gd name="T5" fmla="*/ 2147483647 h 62"/>
                  <a:gd name="T6" fmla="*/ 0 w 33"/>
                  <a:gd name="T7" fmla="*/ 2147483647 h 62"/>
                  <a:gd name="T8" fmla="*/ 0 w 33"/>
                  <a:gd name="T9" fmla="*/ 2147483647 h 62"/>
                  <a:gd name="T10" fmla="*/ 0 w 33"/>
                  <a:gd name="T11" fmla="*/ 2147483647 h 62"/>
                  <a:gd name="T12" fmla="*/ 114043306 w 33"/>
                  <a:gd name="T13" fmla="*/ 2147483647 h 62"/>
                  <a:gd name="T14" fmla="*/ 227938830 w 33"/>
                  <a:gd name="T15" fmla="*/ 2147483647 h 62"/>
                  <a:gd name="T16" fmla="*/ 456025442 w 33"/>
                  <a:gd name="T17" fmla="*/ 2147483647 h 62"/>
                  <a:gd name="T18" fmla="*/ 798007964 w 33"/>
                  <a:gd name="T19" fmla="*/ 2147483647 h 62"/>
                  <a:gd name="T20" fmla="*/ 1139990100 w 33"/>
                  <a:gd name="T21" fmla="*/ 0 h 62"/>
                  <a:gd name="T22" fmla="*/ 1481972236 w 33"/>
                  <a:gd name="T23" fmla="*/ 2147483647 h 62"/>
                  <a:gd name="T24" fmla="*/ 1880976218 w 33"/>
                  <a:gd name="T25" fmla="*/ 2147483647 h 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" h="62">
                    <a:moveTo>
                      <a:pt x="0" y="62"/>
                    </a:moveTo>
                    <a:lnTo>
                      <a:pt x="0" y="53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7"/>
                    </a:lnTo>
                    <a:lnTo>
                      <a:pt x="8" y="13"/>
                    </a:lnTo>
                    <a:lnTo>
                      <a:pt x="14" y="6"/>
                    </a:lnTo>
                    <a:lnTo>
                      <a:pt x="20" y="0"/>
                    </a:lnTo>
                    <a:lnTo>
                      <a:pt x="26" y="6"/>
                    </a:lnTo>
                    <a:lnTo>
                      <a:pt x="33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" name="Freeform 70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3914705" y="4814460"/>
                <a:ext cx="9525" cy="58737"/>
              </a:xfrm>
              <a:custGeom>
                <a:avLst/>
                <a:gdLst>
                  <a:gd name="T0" fmla="*/ 0 w 26"/>
                  <a:gd name="T1" fmla="*/ 2147483647 h 18"/>
                  <a:gd name="T2" fmla="*/ 0 w 26"/>
                  <a:gd name="T3" fmla="*/ 0 h 18"/>
                  <a:gd name="T4" fmla="*/ 1278345488 w 26"/>
                  <a:gd name="T5" fmla="*/ 0 h 18"/>
                  <a:gd name="T6" fmla="*/ 294992547 w 26"/>
                  <a:gd name="T7" fmla="*/ 2147483647 h 18"/>
                  <a:gd name="T8" fmla="*/ 294992547 w 26"/>
                  <a:gd name="T9" fmla="*/ 2147483647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0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6" y="12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" name="Freeform 71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4029005" y="4723972"/>
                <a:ext cx="77788" cy="130175"/>
              </a:xfrm>
              <a:custGeom>
                <a:avLst/>
                <a:gdLst>
                  <a:gd name="T0" fmla="*/ 2147483647 w 180"/>
                  <a:gd name="T1" fmla="*/ 2147483647 h 240"/>
                  <a:gd name="T2" fmla="*/ 2147483647 w 180"/>
                  <a:gd name="T3" fmla="*/ 2147483647 h 240"/>
                  <a:gd name="T4" fmla="*/ 2147483647 w 180"/>
                  <a:gd name="T5" fmla="*/ 2147483647 h 240"/>
                  <a:gd name="T6" fmla="*/ 2147483647 w 180"/>
                  <a:gd name="T7" fmla="*/ 2147483647 h 240"/>
                  <a:gd name="T8" fmla="*/ 2147483647 w 180"/>
                  <a:gd name="T9" fmla="*/ 2147483647 h 240"/>
                  <a:gd name="T10" fmla="*/ 2147483647 w 180"/>
                  <a:gd name="T11" fmla="*/ 2147483647 h 240"/>
                  <a:gd name="T12" fmla="*/ 2147483647 w 180"/>
                  <a:gd name="T13" fmla="*/ 2147483647 h 240"/>
                  <a:gd name="T14" fmla="*/ 2147483647 w 180"/>
                  <a:gd name="T15" fmla="*/ 2147483647 h 240"/>
                  <a:gd name="T16" fmla="*/ 2147483647 w 180"/>
                  <a:gd name="T17" fmla="*/ 2147483647 h 240"/>
                  <a:gd name="T18" fmla="*/ 2147483647 w 180"/>
                  <a:gd name="T19" fmla="*/ 2147483647 h 240"/>
                  <a:gd name="T20" fmla="*/ 2147483647 w 180"/>
                  <a:gd name="T21" fmla="*/ 2147483647 h 240"/>
                  <a:gd name="T22" fmla="*/ 2147483647 w 180"/>
                  <a:gd name="T23" fmla="*/ 2147483647 h 240"/>
                  <a:gd name="T24" fmla="*/ 2147483647 w 180"/>
                  <a:gd name="T25" fmla="*/ 2147483647 h 240"/>
                  <a:gd name="T26" fmla="*/ 2147483647 w 180"/>
                  <a:gd name="T27" fmla="*/ 2147483647 h 240"/>
                  <a:gd name="T28" fmla="*/ 2147483647 w 180"/>
                  <a:gd name="T29" fmla="*/ 2147483647 h 240"/>
                  <a:gd name="T30" fmla="*/ 2147483647 w 180"/>
                  <a:gd name="T31" fmla="*/ 2147483647 h 240"/>
                  <a:gd name="T32" fmla="*/ 2147483647 w 180"/>
                  <a:gd name="T33" fmla="*/ 2147483647 h 240"/>
                  <a:gd name="T34" fmla="*/ 2147483647 w 180"/>
                  <a:gd name="T35" fmla="*/ 2147483647 h 240"/>
                  <a:gd name="T36" fmla="*/ 2147483647 w 180"/>
                  <a:gd name="T37" fmla="*/ 2147483647 h 240"/>
                  <a:gd name="T38" fmla="*/ 2147483647 w 180"/>
                  <a:gd name="T39" fmla="*/ 2147483647 h 240"/>
                  <a:gd name="T40" fmla="*/ 2147483647 w 180"/>
                  <a:gd name="T41" fmla="*/ 2147483647 h 240"/>
                  <a:gd name="T42" fmla="*/ 2147483647 w 180"/>
                  <a:gd name="T43" fmla="*/ 2147483647 h 240"/>
                  <a:gd name="T44" fmla="*/ 1694832844 w 180"/>
                  <a:gd name="T45" fmla="*/ 2147483647 h 240"/>
                  <a:gd name="T46" fmla="*/ 1210567971 w 180"/>
                  <a:gd name="T47" fmla="*/ 2147483647 h 240"/>
                  <a:gd name="T48" fmla="*/ 807169775 w 180"/>
                  <a:gd name="T49" fmla="*/ 2147483647 h 240"/>
                  <a:gd name="T50" fmla="*/ 484264440 w 180"/>
                  <a:gd name="T51" fmla="*/ 2147483647 h 240"/>
                  <a:gd name="T52" fmla="*/ 322905335 w 180"/>
                  <a:gd name="T53" fmla="*/ 2147483647 h 240"/>
                  <a:gd name="T54" fmla="*/ 80679553 w 180"/>
                  <a:gd name="T55" fmla="*/ 2147483647 h 240"/>
                  <a:gd name="T56" fmla="*/ 0 w 180"/>
                  <a:gd name="T57" fmla="*/ 2147483647 h 240"/>
                  <a:gd name="T58" fmla="*/ 0 w 180"/>
                  <a:gd name="T59" fmla="*/ 2147483647 h 240"/>
                  <a:gd name="T60" fmla="*/ 0 w 180"/>
                  <a:gd name="T61" fmla="*/ 2147483647 h 240"/>
                  <a:gd name="T62" fmla="*/ 0 w 180"/>
                  <a:gd name="T63" fmla="*/ 2147483647 h 240"/>
                  <a:gd name="T64" fmla="*/ 0 w 180"/>
                  <a:gd name="T65" fmla="*/ 0 h 240"/>
                  <a:gd name="T66" fmla="*/ 807169775 w 180"/>
                  <a:gd name="T67" fmla="*/ 1276504728 h 240"/>
                  <a:gd name="T68" fmla="*/ 1533473306 w 180"/>
                  <a:gd name="T69" fmla="*/ 2147483647 h 240"/>
                  <a:gd name="T70" fmla="*/ 2147483647 w 180"/>
                  <a:gd name="T71" fmla="*/ 2147483647 h 240"/>
                  <a:gd name="T72" fmla="*/ 2147483647 w 180"/>
                  <a:gd name="T73" fmla="*/ 2147483647 h 240"/>
                  <a:gd name="T74" fmla="*/ 2147483647 w 180"/>
                  <a:gd name="T75" fmla="*/ 2147483647 h 240"/>
                  <a:gd name="T76" fmla="*/ 2147483647 w 180"/>
                  <a:gd name="T77" fmla="*/ 2147483647 h 240"/>
                  <a:gd name="T78" fmla="*/ 2147483647 w 180"/>
                  <a:gd name="T79" fmla="*/ 2147483647 h 240"/>
                  <a:gd name="T80" fmla="*/ 2147483647 w 180"/>
                  <a:gd name="T81" fmla="*/ 2147483647 h 240"/>
                  <a:gd name="T82" fmla="*/ 2147483647 w 180"/>
                  <a:gd name="T83" fmla="*/ 2147483647 h 240"/>
                  <a:gd name="T84" fmla="*/ 2147483647 w 180"/>
                  <a:gd name="T85" fmla="*/ 2147483647 h 240"/>
                  <a:gd name="T86" fmla="*/ 2147483647 w 180"/>
                  <a:gd name="T87" fmla="*/ 2147483647 h 240"/>
                  <a:gd name="T88" fmla="*/ 2147483647 w 180"/>
                  <a:gd name="T89" fmla="*/ 2147483647 h 240"/>
                  <a:gd name="T90" fmla="*/ 2147483647 w 180"/>
                  <a:gd name="T91" fmla="*/ 2147483647 h 240"/>
                  <a:gd name="T92" fmla="*/ 2147483647 w 180"/>
                  <a:gd name="T93" fmla="*/ 2147483647 h 240"/>
                  <a:gd name="T94" fmla="*/ 2147483647 w 180"/>
                  <a:gd name="T95" fmla="*/ 2147483647 h 240"/>
                  <a:gd name="T96" fmla="*/ 2147483647 w 180"/>
                  <a:gd name="T97" fmla="*/ 2147483647 h 240"/>
                  <a:gd name="T98" fmla="*/ 2147483647 w 180"/>
                  <a:gd name="T99" fmla="*/ 2147483647 h 240"/>
                  <a:gd name="T100" fmla="*/ 2147483647 w 180"/>
                  <a:gd name="T101" fmla="*/ 2147483647 h 240"/>
                  <a:gd name="T102" fmla="*/ 2147483647 w 180"/>
                  <a:gd name="T103" fmla="*/ 2147483647 h 240"/>
                  <a:gd name="T104" fmla="*/ 2147483647 w 180"/>
                  <a:gd name="T105" fmla="*/ 2147483647 h 2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80" h="240">
                    <a:moveTo>
                      <a:pt x="180" y="222"/>
                    </a:moveTo>
                    <a:lnTo>
                      <a:pt x="175" y="223"/>
                    </a:lnTo>
                    <a:lnTo>
                      <a:pt x="171" y="223"/>
                    </a:lnTo>
                    <a:lnTo>
                      <a:pt x="167" y="225"/>
                    </a:lnTo>
                    <a:lnTo>
                      <a:pt x="164" y="227"/>
                    </a:lnTo>
                    <a:lnTo>
                      <a:pt x="158" y="232"/>
                    </a:lnTo>
                    <a:lnTo>
                      <a:pt x="153" y="240"/>
                    </a:lnTo>
                    <a:lnTo>
                      <a:pt x="140" y="232"/>
                    </a:lnTo>
                    <a:lnTo>
                      <a:pt x="131" y="223"/>
                    </a:lnTo>
                    <a:lnTo>
                      <a:pt x="123" y="214"/>
                    </a:lnTo>
                    <a:lnTo>
                      <a:pt x="118" y="206"/>
                    </a:lnTo>
                    <a:lnTo>
                      <a:pt x="112" y="195"/>
                    </a:lnTo>
                    <a:lnTo>
                      <a:pt x="106" y="185"/>
                    </a:lnTo>
                    <a:lnTo>
                      <a:pt x="98" y="174"/>
                    </a:lnTo>
                    <a:lnTo>
                      <a:pt x="87" y="161"/>
                    </a:lnTo>
                    <a:lnTo>
                      <a:pt x="82" y="153"/>
                    </a:lnTo>
                    <a:lnTo>
                      <a:pt x="75" y="146"/>
                    </a:lnTo>
                    <a:lnTo>
                      <a:pt x="70" y="139"/>
                    </a:lnTo>
                    <a:lnTo>
                      <a:pt x="62" y="133"/>
                    </a:lnTo>
                    <a:lnTo>
                      <a:pt x="48" y="121"/>
                    </a:lnTo>
                    <a:lnTo>
                      <a:pt x="33" y="110"/>
                    </a:lnTo>
                    <a:lnTo>
                      <a:pt x="27" y="104"/>
                    </a:lnTo>
                    <a:lnTo>
                      <a:pt x="21" y="98"/>
                    </a:lnTo>
                    <a:lnTo>
                      <a:pt x="15" y="92"/>
                    </a:lnTo>
                    <a:lnTo>
                      <a:pt x="10" y="84"/>
                    </a:lnTo>
                    <a:lnTo>
                      <a:pt x="6" y="77"/>
                    </a:lnTo>
                    <a:lnTo>
                      <a:pt x="4" y="68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2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17"/>
                    </a:lnTo>
                    <a:lnTo>
                      <a:pt x="27" y="27"/>
                    </a:lnTo>
                    <a:lnTo>
                      <a:pt x="34" y="38"/>
                    </a:lnTo>
                    <a:lnTo>
                      <a:pt x="41" y="48"/>
                    </a:lnTo>
                    <a:lnTo>
                      <a:pt x="46" y="58"/>
                    </a:lnTo>
                    <a:lnTo>
                      <a:pt x="51" y="66"/>
                    </a:lnTo>
                    <a:lnTo>
                      <a:pt x="54" y="74"/>
                    </a:lnTo>
                    <a:lnTo>
                      <a:pt x="60" y="86"/>
                    </a:lnTo>
                    <a:lnTo>
                      <a:pt x="66" y="98"/>
                    </a:lnTo>
                    <a:lnTo>
                      <a:pt x="74" y="107"/>
                    </a:lnTo>
                    <a:lnTo>
                      <a:pt x="82" y="116"/>
                    </a:lnTo>
                    <a:lnTo>
                      <a:pt x="100" y="133"/>
                    </a:lnTo>
                    <a:lnTo>
                      <a:pt x="119" y="149"/>
                    </a:lnTo>
                    <a:lnTo>
                      <a:pt x="139" y="164"/>
                    </a:lnTo>
                    <a:lnTo>
                      <a:pt x="155" y="180"/>
                    </a:lnTo>
                    <a:lnTo>
                      <a:pt x="163" y="189"/>
                    </a:lnTo>
                    <a:lnTo>
                      <a:pt x="169" y="199"/>
                    </a:lnTo>
                    <a:lnTo>
                      <a:pt x="175" y="210"/>
                    </a:lnTo>
                    <a:lnTo>
                      <a:pt x="180" y="22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" name="Freeform 72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4029005" y="4696985"/>
                <a:ext cx="14288" cy="57150"/>
              </a:xfrm>
              <a:custGeom>
                <a:avLst/>
                <a:gdLst>
                  <a:gd name="T0" fmla="*/ 0 w 27"/>
                  <a:gd name="T1" fmla="*/ 0 h 30"/>
                  <a:gd name="T2" fmla="*/ 148139572 w 27"/>
                  <a:gd name="T3" fmla="*/ 2147483647 h 30"/>
                  <a:gd name="T4" fmla="*/ 444698654 w 27"/>
                  <a:gd name="T5" fmla="*/ 2147483647 h 30"/>
                  <a:gd name="T6" fmla="*/ 592838225 w 27"/>
                  <a:gd name="T7" fmla="*/ 2147483647 h 30"/>
                  <a:gd name="T8" fmla="*/ 592838225 w 27"/>
                  <a:gd name="T9" fmla="*/ 2147483647 h 30"/>
                  <a:gd name="T10" fmla="*/ 444698654 w 27"/>
                  <a:gd name="T11" fmla="*/ 2147483647 h 30"/>
                  <a:gd name="T12" fmla="*/ 0 w 27"/>
                  <a:gd name="T13" fmla="*/ 2147483647 h 30"/>
                  <a:gd name="T14" fmla="*/ 2147483647 w 27"/>
                  <a:gd name="T15" fmla="*/ 2147483647 h 30"/>
                  <a:gd name="T16" fmla="*/ 2147483647 w 27"/>
                  <a:gd name="T17" fmla="*/ 2147483647 h 30"/>
                  <a:gd name="T18" fmla="*/ 2147483647 w 27"/>
                  <a:gd name="T19" fmla="*/ 2147483647 h 30"/>
                  <a:gd name="T20" fmla="*/ 2147483647 w 27"/>
                  <a:gd name="T21" fmla="*/ 2147483647 h 30"/>
                  <a:gd name="T22" fmla="*/ 1630095165 w 27"/>
                  <a:gd name="T23" fmla="*/ 2147483647 h 30"/>
                  <a:gd name="T24" fmla="*/ 1037256940 w 27"/>
                  <a:gd name="T25" fmla="*/ 2147483647 h 30"/>
                  <a:gd name="T26" fmla="*/ 592838225 w 27"/>
                  <a:gd name="T27" fmla="*/ 2147483647 h 30"/>
                  <a:gd name="T28" fmla="*/ 0 w 27"/>
                  <a:gd name="T29" fmla="*/ 0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7" h="30">
                    <a:moveTo>
                      <a:pt x="0" y="0"/>
                    </a:moveTo>
                    <a:lnTo>
                      <a:pt x="1" y="5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4" y="19"/>
                    </a:lnTo>
                    <a:lnTo>
                      <a:pt x="3" y="24"/>
                    </a:lnTo>
                    <a:lnTo>
                      <a:pt x="0" y="30"/>
                    </a:lnTo>
                    <a:lnTo>
                      <a:pt x="17" y="27"/>
                    </a:lnTo>
                    <a:lnTo>
                      <a:pt x="27" y="24"/>
                    </a:lnTo>
                    <a:lnTo>
                      <a:pt x="23" y="20"/>
                    </a:lnTo>
                    <a:lnTo>
                      <a:pt x="17" y="12"/>
                    </a:lnTo>
                    <a:lnTo>
                      <a:pt x="11" y="8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30" name="Group 73"/>
              <p:cNvGrpSpPr>
                <a:grpSpLocks/>
              </p:cNvGrpSpPr>
              <p:nvPr>
                <p:custDataLst>
                  <p:tags r:id="rId26"/>
                </p:custDataLst>
              </p:nvPr>
            </p:nvGrpSpPr>
            <p:grpSpPr bwMode="auto">
              <a:xfrm>
                <a:off x="13719443" y="5217685"/>
                <a:ext cx="458787" cy="404812"/>
                <a:chOff x="5372" y="3323"/>
                <a:chExt cx="341" cy="253"/>
              </a:xfrm>
            </p:grpSpPr>
            <p:sp>
              <p:nvSpPr>
                <p:cNvPr id="405" name="Freeform 74"/>
                <p:cNvSpPr>
                  <a:spLocks/>
                </p:cNvSpPr>
                <p:nvPr/>
              </p:nvSpPr>
              <p:spPr bwMode="auto">
                <a:xfrm>
                  <a:off x="5372" y="3565"/>
                  <a:ext cx="16" cy="11"/>
                </a:xfrm>
                <a:custGeom>
                  <a:avLst/>
                  <a:gdLst>
                    <a:gd name="T0" fmla="*/ 0 w 53"/>
                    <a:gd name="T1" fmla="*/ 1 h 33"/>
                    <a:gd name="T2" fmla="*/ 0 w 53"/>
                    <a:gd name="T3" fmla="*/ 1 h 33"/>
                    <a:gd name="T4" fmla="*/ 0 w 53"/>
                    <a:gd name="T5" fmla="*/ 1 h 33"/>
                    <a:gd name="T6" fmla="*/ 1 w 53"/>
                    <a:gd name="T7" fmla="*/ 1 h 33"/>
                    <a:gd name="T8" fmla="*/ 1 w 53"/>
                    <a:gd name="T9" fmla="*/ 0 h 33"/>
                    <a:gd name="T10" fmla="*/ 1 w 53"/>
                    <a:gd name="T11" fmla="*/ 0 h 33"/>
                    <a:gd name="T12" fmla="*/ 1 w 53"/>
                    <a:gd name="T13" fmla="*/ 0 h 33"/>
                    <a:gd name="T14" fmla="*/ 1 w 53"/>
                    <a:gd name="T15" fmla="*/ 0 h 33"/>
                    <a:gd name="T16" fmla="*/ 2 w 53"/>
                    <a:gd name="T17" fmla="*/ 0 h 33"/>
                    <a:gd name="T18" fmla="*/ 2 w 53"/>
                    <a:gd name="T19" fmla="*/ 1 h 33"/>
                    <a:gd name="T20" fmla="*/ 1 w 53"/>
                    <a:gd name="T21" fmla="*/ 1 h 33"/>
                    <a:gd name="T22" fmla="*/ 1 w 53"/>
                    <a:gd name="T23" fmla="*/ 1 h 33"/>
                    <a:gd name="T24" fmla="*/ 1 w 53"/>
                    <a:gd name="T25" fmla="*/ 1 h 33"/>
                    <a:gd name="T26" fmla="*/ 1 w 53"/>
                    <a:gd name="T27" fmla="*/ 1 h 33"/>
                    <a:gd name="T28" fmla="*/ 0 w 53"/>
                    <a:gd name="T29" fmla="*/ 1 h 33"/>
                    <a:gd name="T30" fmla="*/ 0 w 53"/>
                    <a:gd name="T31" fmla="*/ 1 h 3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53" h="33">
                      <a:moveTo>
                        <a:pt x="0" y="31"/>
                      </a:moveTo>
                      <a:lnTo>
                        <a:pt x="4" y="26"/>
                      </a:lnTo>
                      <a:lnTo>
                        <a:pt x="8" y="21"/>
                      </a:lnTo>
                      <a:lnTo>
                        <a:pt x="15" y="16"/>
                      </a:lnTo>
                      <a:lnTo>
                        <a:pt x="21" y="11"/>
                      </a:lnTo>
                      <a:lnTo>
                        <a:pt x="29" y="7"/>
                      </a:lnTo>
                      <a:lnTo>
                        <a:pt x="38" y="3"/>
                      </a:lnTo>
                      <a:lnTo>
                        <a:pt x="45" y="1"/>
                      </a:lnTo>
                      <a:lnTo>
                        <a:pt x="53" y="0"/>
                      </a:lnTo>
                      <a:lnTo>
                        <a:pt x="53" y="18"/>
                      </a:lnTo>
                      <a:lnTo>
                        <a:pt x="38" y="24"/>
                      </a:lnTo>
                      <a:lnTo>
                        <a:pt x="27" y="30"/>
                      </a:lnTo>
                      <a:lnTo>
                        <a:pt x="21" y="32"/>
                      </a:lnTo>
                      <a:lnTo>
                        <a:pt x="16" y="33"/>
                      </a:lnTo>
                      <a:lnTo>
                        <a:pt x="9" y="33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6" name="Freeform 75"/>
                <p:cNvSpPr>
                  <a:spLocks/>
                </p:cNvSpPr>
                <p:nvPr/>
              </p:nvSpPr>
              <p:spPr bwMode="auto">
                <a:xfrm>
                  <a:off x="5379" y="3446"/>
                  <a:ext cx="202" cy="117"/>
                </a:xfrm>
                <a:custGeom>
                  <a:avLst/>
                  <a:gdLst>
                    <a:gd name="T0" fmla="*/ 1 w 631"/>
                    <a:gd name="T1" fmla="*/ 10 h 358"/>
                    <a:gd name="T2" fmla="*/ 2 w 631"/>
                    <a:gd name="T3" fmla="*/ 10 h 358"/>
                    <a:gd name="T4" fmla="*/ 2 w 631"/>
                    <a:gd name="T5" fmla="*/ 10 h 358"/>
                    <a:gd name="T6" fmla="*/ 3 w 631"/>
                    <a:gd name="T7" fmla="*/ 9 h 358"/>
                    <a:gd name="T8" fmla="*/ 3 w 631"/>
                    <a:gd name="T9" fmla="*/ 9 h 358"/>
                    <a:gd name="T10" fmla="*/ 4 w 631"/>
                    <a:gd name="T11" fmla="*/ 9 h 358"/>
                    <a:gd name="T12" fmla="*/ 4 w 631"/>
                    <a:gd name="T13" fmla="*/ 8 h 358"/>
                    <a:gd name="T14" fmla="*/ 5 w 631"/>
                    <a:gd name="T15" fmla="*/ 8 h 358"/>
                    <a:gd name="T16" fmla="*/ 6 w 631"/>
                    <a:gd name="T17" fmla="*/ 7 h 358"/>
                    <a:gd name="T18" fmla="*/ 7 w 631"/>
                    <a:gd name="T19" fmla="*/ 7 h 358"/>
                    <a:gd name="T20" fmla="*/ 9 w 631"/>
                    <a:gd name="T21" fmla="*/ 6 h 358"/>
                    <a:gd name="T22" fmla="*/ 11 w 631"/>
                    <a:gd name="T23" fmla="*/ 5 h 358"/>
                    <a:gd name="T24" fmla="*/ 12 w 631"/>
                    <a:gd name="T25" fmla="*/ 5 h 358"/>
                    <a:gd name="T26" fmla="*/ 13 w 631"/>
                    <a:gd name="T27" fmla="*/ 5 h 358"/>
                    <a:gd name="T28" fmla="*/ 13 w 631"/>
                    <a:gd name="T29" fmla="*/ 5 h 358"/>
                    <a:gd name="T30" fmla="*/ 14 w 631"/>
                    <a:gd name="T31" fmla="*/ 4 h 358"/>
                    <a:gd name="T32" fmla="*/ 15 w 631"/>
                    <a:gd name="T33" fmla="*/ 3 h 358"/>
                    <a:gd name="T34" fmla="*/ 16 w 631"/>
                    <a:gd name="T35" fmla="*/ 2 h 358"/>
                    <a:gd name="T36" fmla="*/ 17 w 631"/>
                    <a:gd name="T37" fmla="*/ 2 h 358"/>
                    <a:gd name="T38" fmla="*/ 18 w 631"/>
                    <a:gd name="T39" fmla="*/ 1 h 358"/>
                    <a:gd name="T40" fmla="*/ 19 w 631"/>
                    <a:gd name="T41" fmla="*/ 0 h 358"/>
                    <a:gd name="T42" fmla="*/ 20 w 631"/>
                    <a:gd name="T43" fmla="*/ 0 h 358"/>
                    <a:gd name="T44" fmla="*/ 20 w 631"/>
                    <a:gd name="T45" fmla="*/ 1 h 358"/>
                    <a:gd name="T46" fmla="*/ 20 w 631"/>
                    <a:gd name="T47" fmla="*/ 1 h 358"/>
                    <a:gd name="T48" fmla="*/ 20 w 631"/>
                    <a:gd name="T49" fmla="*/ 2 h 358"/>
                    <a:gd name="T50" fmla="*/ 20 w 631"/>
                    <a:gd name="T51" fmla="*/ 3 h 358"/>
                    <a:gd name="T52" fmla="*/ 19 w 631"/>
                    <a:gd name="T53" fmla="*/ 4 h 358"/>
                    <a:gd name="T54" fmla="*/ 17 w 631"/>
                    <a:gd name="T55" fmla="*/ 5 h 358"/>
                    <a:gd name="T56" fmla="*/ 16 w 631"/>
                    <a:gd name="T57" fmla="*/ 6 h 358"/>
                    <a:gd name="T58" fmla="*/ 14 w 631"/>
                    <a:gd name="T59" fmla="*/ 6 h 358"/>
                    <a:gd name="T60" fmla="*/ 14 w 631"/>
                    <a:gd name="T61" fmla="*/ 7 h 358"/>
                    <a:gd name="T62" fmla="*/ 14 w 631"/>
                    <a:gd name="T63" fmla="*/ 7 h 358"/>
                    <a:gd name="T64" fmla="*/ 13 w 631"/>
                    <a:gd name="T65" fmla="*/ 7 h 358"/>
                    <a:gd name="T66" fmla="*/ 12 w 631"/>
                    <a:gd name="T67" fmla="*/ 8 h 358"/>
                    <a:gd name="T68" fmla="*/ 12 w 631"/>
                    <a:gd name="T69" fmla="*/ 8 h 358"/>
                    <a:gd name="T70" fmla="*/ 11 w 631"/>
                    <a:gd name="T71" fmla="*/ 7 h 358"/>
                    <a:gd name="T72" fmla="*/ 10 w 631"/>
                    <a:gd name="T73" fmla="*/ 8 h 358"/>
                    <a:gd name="T74" fmla="*/ 9 w 631"/>
                    <a:gd name="T75" fmla="*/ 10 h 358"/>
                    <a:gd name="T76" fmla="*/ 7 w 631"/>
                    <a:gd name="T77" fmla="*/ 11 h 358"/>
                    <a:gd name="T78" fmla="*/ 5 w 631"/>
                    <a:gd name="T79" fmla="*/ 12 h 358"/>
                    <a:gd name="T80" fmla="*/ 4 w 631"/>
                    <a:gd name="T81" fmla="*/ 12 h 358"/>
                    <a:gd name="T82" fmla="*/ 2 w 631"/>
                    <a:gd name="T83" fmla="*/ 12 h 358"/>
                    <a:gd name="T84" fmla="*/ 2 w 631"/>
                    <a:gd name="T85" fmla="*/ 12 h 358"/>
                    <a:gd name="T86" fmla="*/ 1 w 631"/>
                    <a:gd name="T87" fmla="*/ 12 h 35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631" h="358">
                      <a:moveTo>
                        <a:pt x="0" y="327"/>
                      </a:moveTo>
                      <a:lnTo>
                        <a:pt x="7" y="297"/>
                      </a:lnTo>
                      <a:lnTo>
                        <a:pt x="24" y="296"/>
                      </a:lnTo>
                      <a:lnTo>
                        <a:pt x="39" y="293"/>
                      </a:lnTo>
                      <a:lnTo>
                        <a:pt x="44" y="292"/>
                      </a:lnTo>
                      <a:lnTo>
                        <a:pt x="50" y="290"/>
                      </a:lnTo>
                      <a:lnTo>
                        <a:pt x="54" y="287"/>
                      </a:lnTo>
                      <a:lnTo>
                        <a:pt x="58" y="285"/>
                      </a:lnTo>
                      <a:lnTo>
                        <a:pt x="65" y="277"/>
                      </a:lnTo>
                      <a:lnTo>
                        <a:pt x="70" y="270"/>
                      </a:lnTo>
                      <a:lnTo>
                        <a:pt x="75" y="262"/>
                      </a:lnTo>
                      <a:lnTo>
                        <a:pt x="79" y="253"/>
                      </a:lnTo>
                      <a:lnTo>
                        <a:pt x="87" y="255"/>
                      </a:lnTo>
                      <a:lnTo>
                        <a:pt x="93" y="256"/>
                      </a:lnTo>
                      <a:lnTo>
                        <a:pt x="100" y="256"/>
                      </a:lnTo>
                      <a:lnTo>
                        <a:pt x="106" y="256"/>
                      </a:lnTo>
                      <a:lnTo>
                        <a:pt x="116" y="254"/>
                      </a:lnTo>
                      <a:lnTo>
                        <a:pt x="126" y="253"/>
                      </a:lnTo>
                      <a:lnTo>
                        <a:pt x="131" y="252"/>
                      </a:lnTo>
                      <a:lnTo>
                        <a:pt x="136" y="250"/>
                      </a:lnTo>
                      <a:lnTo>
                        <a:pt x="141" y="247"/>
                      </a:lnTo>
                      <a:lnTo>
                        <a:pt x="145" y="244"/>
                      </a:lnTo>
                      <a:lnTo>
                        <a:pt x="153" y="237"/>
                      </a:lnTo>
                      <a:lnTo>
                        <a:pt x="162" y="229"/>
                      </a:lnTo>
                      <a:lnTo>
                        <a:pt x="168" y="220"/>
                      </a:lnTo>
                      <a:lnTo>
                        <a:pt x="175" y="213"/>
                      </a:lnTo>
                      <a:lnTo>
                        <a:pt x="180" y="208"/>
                      </a:lnTo>
                      <a:lnTo>
                        <a:pt x="186" y="204"/>
                      </a:lnTo>
                      <a:lnTo>
                        <a:pt x="199" y="198"/>
                      </a:lnTo>
                      <a:lnTo>
                        <a:pt x="211" y="192"/>
                      </a:lnTo>
                      <a:lnTo>
                        <a:pt x="223" y="187"/>
                      </a:lnTo>
                      <a:lnTo>
                        <a:pt x="235" y="182"/>
                      </a:lnTo>
                      <a:lnTo>
                        <a:pt x="260" y="175"/>
                      </a:lnTo>
                      <a:lnTo>
                        <a:pt x="283" y="167"/>
                      </a:lnTo>
                      <a:lnTo>
                        <a:pt x="308" y="160"/>
                      </a:lnTo>
                      <a:lnTo>
                        <a:pt x="329" y="152"/>
                      </a:lnTo>
                      <a:lnTo>
                        <a:pt x="340" y="147"/>
                      </a:lnTo>
                      <a:lnTo>
                        <a:pt x="351" y="142"/>
                      </a:lnTo>
                      <a:lnTo>
                        <a:pt x="361" y="137"/>
                      </a:lnTo>
                      <a:lnTo>
                        <a:pt x="372" y="130"/>
                      </a:lnTo>
                      <a:lnTo>
                        <a:pt x="382" y="130"/>
                      </a:lnTo>
                      <a:lnTo>
                        <a:pt x="392" y="130"/>
                      </a:lnTo>
                      <a:lnTo>
                        <a:pt x="396" y="130"/>
                      </a:lnTo>
                      <a:lnTo>
                        <a:pt x="401" y="129"/>
                      </a:lnTo>
                      <a:lnTo>
                        <a:pt x="406" y="127"/>
                      </a:lnTo>
                      <a:lnTo>
                        <a:pt x="413" y="124"/>
                      </a:lnTo>
                      <a:lnTo>
                        <a:pt x="426" y="117"/>
                      </a:lnTo>
                      <a:lnTo>
                        <a:pt x="440" y="107"/>
                      </a:lnTo>
                      <a:lnTo>
                        <a:pt x="454" y="97"/>
                      </a:lnTo>
                      <a:lnTo>
                        <a:pt x="465" y="86"/>
                      </a:lnTo>
                      <a:lnTo>
                        <a:pt x="469" y="80"/>
                      </a:lnTo>
                      <a:lnTo>
                        <a:pt x="473" y="74"/>
                      </a:lnTo>
                      <a:lnTo>
                        <a:pt x="477" y="69"/>
                      </a:lnTo>
                      <a:lnTo>
                        <a:pt x="478" y="63"/>
                      </a:lnTo>
                      <a:lnTo>
                        <a:pt x="488" y="62"/>
                      </a:lnTo>
                      <a:lnTo>
                        <a:pt x="496" y="61"/>
                      </a:lnTo>
                      <a:lnTo>
                        <a:pt x="504" y="58"/>
                      </a:lnTo>
                      <a:lnTo>
                        <a:pt x="512" y="54"/>
                      </a:lnTo>
                      <a:lnTo>
                        <a:pt x="525" y="46"/>
                      </a:lnTo>
                      <a:lnTo>
                        <a:pt x="537" y="36"/>
                      </a:lnTo>
                      <a:lnTo>
                        <a:pt x="549" y="26"/>
                      </a:lnTo>
                      <a:lnTo>
                        <a:pt x="561" y="16"/>
                      </a:lnTo>
                      <a:lnTo>
                        <a:pt x="568" y="11"/>
                      </a:lnTo>
                      <a:lnTo>
                        <a:pt x="575" y="7"/>
                      </a:lnTo>
                      <a:lnTo>
                        <a:pt x="583" y="4"/>
                      </a:lnTo>
                      <a:lnTo>
                        <a:pt x="591" y="0"/>
                      </a:lnTo>
                      <a:lnTo>
                        <a:pt x="594" y="10"/>
                      </a:lnTo>
                      <a:lnTo>
                        <a:pt x="597" y="16"/>
                      </a:lnTo>
                      <a:lnTo>
                        <a:pt x="602" y="22"/>
                      </a:lnTo>
                      <a:lnTo>
                        <a:pt x="606" y="25"/>
                      </a:lnTo>
                      <a:lnTo>
                        <a:pt x="612" y="28"/>
                      </a:lnTo>
                      <a:lnTo>
                        <a:pt x="617" y="30"/>
                      </a:lnTo>
                      <a:lnTo>
                        <a:pt x="624" y="31"/>
                      </a:lnTo>
                      <a:lnTo>
                        <a:pt x="631" y="31"/>
                      </a:lnTo>
                      <a:lnTo>
                        <a:pt x="625" y="46"/>
                      </a:lnTo>
                      <a:lnTo>
                        <a:pt x="618" y="61"/>
                      </a:lnTo>
                      <a:lnTo>
                        <a:pt x="611" y="75"/>
                      </a:lnTo>
                      <a:lnTo>
                        <a:pt x="601" y="88"/>
                      </a:lnTo>
                      <a:lnTo>
                        <a:pt x="591" y="101"/>
                      </a:lnTo>
                      <a:lnTo>
                        <a:pt x="580" y="114"/>
                      </a:lnTo>
                      <a:lnTo>
                        <a:pt x="568" y="125"/>
                      </a:lnTo>
                      <a:lnTo>
                        <a:pt x="556" y="136"/>
                      </a:lnTo>
                      <a:lnTo>
                        <a:pt x="543" y="145"/>
                      </a:lnTo>
                      <a:lnTo>
                        <a:pt x="529" y="154"/>
                      </a:lnTo>
                      <a:lnTo>
                        <a:pt x="515" y="161"/>
                      </a:lnTo>
                      <a:lnTo>
                        <a:pt x="501" y="167"/>
                      </a:lnTo>
                      <a:lnTo>
                        <a:pt x="487" y="173"/>
                      </a:lnTo>
                      <a:lnTo>
                        <a:pt x="473" y="177"/>
                      </a:lnTo>
                      <a:lnTo>
                        <a:pt x="459" y="179"/>
                      </a:lnTo>
                      <a:lnTo>
                        <a:pt x="445" y="180"/>
                      </a:lnTo>
                      <a:lnTo>
                        <a:pt x="443" y="189"/>
                      </a:lnTo>
                      <a:lnTo>
                        <a:pt x="439" y="195"/>
                      </a:lnTo>
                      <a:lnTo>
                        <a:pt x="438" y="197"/>
                      </a:lnTo>
                      <a:lnTo>
                        <a:pt x="436" y="199"/>
                      </a:lnTo>
                      <a:lnTo>
                        <a:pt x="435" y="200"/>
                      </a:lnTo>
                      <a:lnTo>
                        <a:pt x="433" y="200"/>
                      </a:lnTo>
                      <a:lnTo>
                        <a:pt x="422" y="199"/>
                      </a:lnTo>
                      <a:lnTo>
                        <a:pt x="405" y="198"/>
                      </a:lnTo>
                      <a:lnTo>
                        <a:pt x="395" y="199"/>
                      </a:lnTo>
                      <a:lnTo>
                        <a:pt x="385" y="202"/>
                      </a:lnTo>
                      <a:lnTo>
                        <a:pt x="376" y="206"/>
                      </a:lnTo>
                      <a:lnTo>
                        <a:pt x="367" y="210"/>
                      </a:lnTo>
                      <a:lnTo>
                        <a:pt x="358" y="213"/>
                      </a:lnTo>
                      <a:lnTo>
                        <a:pt x="351" y="213"/>
                      </a:lnTo>
                      <a:lnTo>
                        <a:pt x="347" y="212"/>
                      </a:lnTo>
                      <a:lnTo>
                        <a:pt x="344" y="211"/>
                      </a:lnTo>
                      <a:lnTo>
                        <a:pt x="342" y="208"/>
                      </a:lnTo>
                      <a:lnTo>
                        <a:pt x="338" y="204"/>
                      </a:lnTo>
                      <a:lnTo>
                        <a:pt x="333" y="216"/>
                      </a:lnTo>
                      <a:lnTo>
                        <a:pt x="324" y="229"/>
                      </a:lnTo>
                      <a:lnTo>
                        <a:pt x="313" y="241"/>
                      </a:lnTo>
                      <a:lnTo>
                        <a:pt x="301" y="254"/>
                      </a:lnTo>
                      <a:lnTo>
                        <a:pt x="288" y="267"/>
                      </a:lnTo>
                      <a:lnTo>
                        <a:pt x="272" y="280"/>
                      </a:lnTo>
                      <a:lnTo>
                        <a:pt x="256" y="293"/>
                      </a:lnTo>
                      <a:lnTo>
                        <a:pt x="238" y="304"/>
                      </a:lnTo>
                      <a:lnTo>
                        <a:pt x="220" y="315"/>
                      </a:lnTo>
                      <a:lnTo>
                        <a:pt x="202" y="325"/>
                      </a:lnTo>
                      <a:lnTo>
                        <a:pt x="182" y="334"/>
                      </a:lnTo>
                      <a:lnTo>
                        <a:pt x="164" y="343"/>
                      </a:lnTo>
                      <a:lnTo>
                        <a:pt x="145" y="349"/>
                      </a:lnTo>
                      <a:lnTo>
                        <a:pt x="127" y="354"/>
                      </a:lnTo>
                      <a:lnTo>
                        <a:pt x="110" y="357"/>
                      </a:lnTo>
                      <a:lnTo>
                        <a:pt x="93" y="358"/>
                      </a:lnTo>
                      <a:lnTo>
                        <a:pt x="80" y="358"/>
                      </a:lnTo>
                      <a:lnTo>
                        <a:pt x="71" y="356"/>
                      </a:lnTo>
                      <a:lnTo>
                        <a:pt x="65" y="354"/>
                      </a:lnTo>
                      <a:lnTo>
                        <a:pt x="60" y="351"/>
                      </a:lnTo>
                      <a:lnTo>
                        <a:pt x="56" y="348"/>
                      </a:lnTo>
                      <a:lnTo>
                        <a:pt x="51" y="345"/>
                      </a:lnTo>
                      <a:lnTo>
                        <a:pt x="44" y="343"/>
                      </a:lnTo>
                      <a:lnTo>
                        <a:pt x="33" y="340"/>
                      </a:lnTo>
                      <a:lnTo>
                        <a:pt x="0" y="327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7" name="Freeform 76"/>
                <p:cNvSpPr>
                  <a:spLocks/>
                </p:cNvSpPr>
                <p:nvPr/>
              </p:nvSpPr>
              <p:spPr bwMode="auto">
                <a:xfrm>
                  <a:off x="5597" y="3323"/>
                  <a:ext cx="116" cy="141"/>
                </a:xfrm>
                <a:custGeom>
                  <a:avLst/>
                  <a:gdLst>
                    <a:gd name="T0" fmla="*/ 2 w 359"/>
                    <a:gd name="T1" fmla="*/ 10 h 431"/>
                    <a:gd name="T2" fmla="*/ 3 w 359"/>
                    <a:gd name="T3" fmla="*/ 9 h 431"/>
                    <a:gd name="T4" fmla="*/ 5 w 359"/>
                    <a:gd name="T5" fmla="*/ 7 h 431"/>
                    <a:gd name="T6" fmla="*/ 6 w 359"/>
                    <a:gd name="T7" fmla="*/ 6 h 431"/>
                    <a:gd name="T8" fmla="*/ 6 w 359"/>
                    <a:gd name="T9" fmla="*/ 5 h 431"/>
                    <a:gd name="T10" fmla="*/ 6 w 359"/>
                    <a:gd name="T11" fmla="*/ 5 h 431"/>
                    <a:gd name="T12" fmla="*/ 6 w 359"/>
                    <a:gd name="T13" fmla="*/ 4 h 431"/>
                    <a:gd name="T14" fmla="*/ 6 w 359"/>
                    <a:gd name="T15" fmla="*/ 3 h 431"/>
                    <a:gd name="T16" fmla="*/ 6 w 359"/>
                    <a:gd name="T17" fmla="*/ 1 h 431"/>
                    <a:gd name="T18" fmla="*/ 6 w 359"/>
                    <a:gd name="T19" fmla="*/ 0 h 431"/>
                    <a:gd name="T20" fmla="*/ 6 w 359"/>
                    <a:gd name="T21" fmla="*/ 0 h 431"/>
                    <a:gd name="T22" fmla="*/ 7 w 359"/>
                    <a:gd name="T23" fmla="*/ 1 h 431"/>
                    <a:gd name="T24" fmla="*/ 8 w 359"/>
                    <a:gd name="T25" fmla="*/ 2 h 431"/>
                    <a:gd name="T26" fmla="*/ 8 w 359"/>
                    <a:gd name="T27" fmla="*/ 3 h 431"/>
                    <a:gd name="T28" fmla="*/ 8 w 359"/>
                    <a:gd name="T29" fmla="*/ 3 h 431"/>
                    <a:gd name="T30" fmla="*/ 8 w 359"/>
                    <a:gd name="T31" fmla="*/ 4 h 431"/>
                    <a:gd name="T32" fmla="*/ 7 w 359"/>
                    <a:gd name="T33" fmla="*/ 4 h 431"/>
                    <a:gd name="T34" fmla="*/ 7 w 359"/>
                    <a:gd name="T35" fmla="*/ 5 h 431"/>
                    <a:gd name="T36" fmla="*/ 7 w 359"/>
                    <a:gd name="T37" fmla="*/ 5 h 431"/>
                    <a:gd name="T38" fmla="*/ 7 w 359"/>
                    <a:gd name="T39" fmla="*/ 6 h 431"/>
                    <a:gd name="T40" fmla="*/ 8 w 359"/>
                    <a:gd name="T41" fmla="*/ 6 h 431"/>
                    <a:gd name="T42" fmla="*/ 8 w 359"/>
                    <a:gd name="T43" fmla="*/ 5 h 431"/>
                    <a:gd name="T44" fmla="*/ 8 w 359"/>
                    <a:gd name="T45" fmla="*/ 5 h 431"/>
                    <a:gd name="T46" fmla="*/ 9 w 359"/>
                    <a:gd name="T47" fmla="*/ 7 h 431"/>
                    <a:gd name="T48" fmla="*/ 9 w 359"/>
                    <a:gd name="T49" fmla="*/ 7 h 431"/>
                    <a:gd name="T50" fmla="*/ 10 w 359"/>
                    <a:gd name="T51" fmla="*/ 8 h 431"/>
                    <a:gd name="T52" fmla="*/ 10 w 359"/>
                    <a:gd name="T53" fmla="*/ 8 h 431"/>
                    <a:gd name="T54" fmla="*/ 11 w 359"/>
                    <a:gd name="T55" fmla="*/ 7 h 431"/>
                    <a:gd name="T56" fmla="*/ 12 w 359"/>
                    <a:gd name="T57" fmla="*/ 7 h 431"/>
                    <a:gd name="T58" fmla="*/ 12 w 359"/>
                    <a:gd name="T59" fmla="*/ 7 h 431"/>
                    <a:gd name="T60" fmla="*/ 12 w 359"/>
                    <a:gd name="T61" fmla="*/ 9 h 431"/>
                    <a:gd name="T62" fmla="*/ 11 w 359"/>
                    <a:gd name="T63" fmla="*/ 9 h 431"/>
                    <a:gd name="T64" fmla="*/ 10 w 359"/>
                    <a:gd name="T65" fmla="*/ 9 h 431"/>
                    <a:gd name="T66" fmla="*/ 8 w 359"/>
                    <a:gd name="T67" fmla="*/ 10 h 431"/>
                    <a:gd name="T68" fmla="*/ 7 w 359"/>
                    <a:gd name="T69" fmla="*/ 10 h 431"/>
                    <a:gd name="T70" fmla="*/ 6 w 359"/>
                    <a:gd name="T71" fmla="*/ 11 h 431"/>
                    <a:gd name="T72" fmla="*/ 6 w 359"/>
                    <a:gd name="T73" fmla="*/ 12 h 431"/>
                    <a:gd name="T74" fmla="*/ 5 w 359"/>
                    <a:gd name="T75" fmla="*/ 12 h 431"/>
                    <a:gd name="T76" fmla="*/ 4 w 359"/>
                    <a:gd name="T77" fmla="*/ 14 h 431"/>
                    <a:gd name="T78" fmla="*/ 2 w 359"/>
                    <a:gd name="T79" fmla="*/ 15 h 431"/>
                    <a:gd name="T80" fmla="*/ 1 w 359"/>
                    <a:gd name="T81" fmla="*/ 15 h 431"/>
                    <a:gd name="T82" fmla="*/ 0 w 359"/>
                    <a:gd name="T83" fmla="*/ 15 h 431"/>
                    <a:gd name="T84" fmla="*/ 0 w 359"/>
                    <a:gd name="T85" fmla="*/ 14 h 431"/>
                    <a:gd name="T86" fmla="*/ 0 w 359"/>
                    <a:gd name="T87" fmla="*/ 14 h 431"/>
                    <a:gd name="T88" fmla="*/ 0 w 359"/>
                    <a:gd name="T89" fmla="*/ 14 h 431"/>
                    <a:gd name="T90" fmla="*/ 2 w 359"/>
                    <a:gd name="T91" fmla="*/ 13 h 431"/>
                    <a:gd name="T92" fmla="*/ 3 w 359"/>
                    <a:gd name="T93" fmla="*/ 12 h 431"/>
                    <a:gd name="T94" fmla="*/ 2 w 359"/>
                    <a:gd name="T95" fmla="*/ 12 h 431"/>
                    <a:gd name="T96" fmla="*/ 2 w 359"/>
                    <a:gd name="T97" fmla="*/ 11 h 431"/>
                    <a:gd name="T98" fmla="*/ 2 w 359"/>
                    <a:gd name="T99" fmla="*/ 11 h 431"/>
                    <a:gd name="T100" fmla="*/ 1 w 359"/>
                    <a:gd name="T101" fmla="*/ 11 h 431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359" h="431">
                      <a:moveTo>
                        <a:pt x="39" y="296"/>
                      </a:moveTo>
                      <a:lnTo>
                        <a:pt x="50" y="292"/>
                      </a:lnTo>
                      <a:lnTo>
                        <a:pt x="60" y="288"/>
                      </a:lnTo>
                      <a:lnTo>
                        <a:pt x="70" y="284"/>
                      </a:lnTo>
                      <a:lnTo>
                        <a:pt x="79" y="279"/>
                      </a:lnTo>
                      <a:lnTo>
                        <a:pt x="95" y="269"/>
                      </a:lnTo>
                      <a:lnTo>
                        <a:pt x="110" y="257"/>
                      </a:lnTo>
                      <a:lnTo>
                        <a:pt x="138" y="233"/>
                      </a:lnTo>
                      <a:lnTo>
                        <a:pt x="165" y="209"/>
                      </a:lnTo>
                      <a:lnTo>
                        <a:pt x="166" y="198"/>
                      </a:lnTo>
                      <a:lnTo>
                        <a:pt x="170" y="175"/>
                      </a:lnTo>
                      <a:lnTo>
                        <a:pt x="172" y="168"/>
                      </a:lnTo>
                      <a:lnTo>
                        <a:pt x="174" y="162"/>
                      </a:lnTo>
                      <a:lnTo>
                        <a:pt x="176" y="156"/>
                      </a:lnTo>
                      <a:lnTo>
                        <a:pt x="180" y="149"/>
                      </a:lnTo>
                      <a:lnTo>
                        <a:pt x="183" y="144"/>
                      </a:lnTo>
                      <a:lnTo>
                        <a:pt x="188" y="140"/>
                      </a:lnTo>
                      <a:lnTo>
                        <a:pt x="193" y="137"/>
                      </a:lnTo>
                      <a:lnTo>
                        <a:pt x="199" y="135"/>
                      </a:lnTo>
                      <a:lnTo>
                        <a:pt x="194" y="131"/>
                      </a:lnTo>
                      <a:lnTo>
                        <a:pt x="190" y="126"/>
                      </a:lnTo>
                      <a:lnTo>
                        <a:pt x="186" y="119"/>
                      </a:lnTo>
                      <a:lnTo>
                        <a:pt x="184" y="112"/>
                      </a:lnTo>
                      <a:lnTo>
                        <a:pt x="179" y="94"/>
                      </a:lnTo>
                      <a:lnTo>
                        <a:pt x="175" y="75"/>
                      </a:lnTo>
                      <a:lnTo>
                        <a:pt x="174" y="54"/>
                      </a:lnTo>
                      <a:lnTo>
                        <a:pt x="173" y="34"/>
                      </a:lnTo>
                      <a:lnTo>
                        <a:pt x="172" y="16"/>
                      </a:lnTo>
                      <a:lnTo>
                        <a:pt x="172" y="0"/>
                      </a:lnTo>
                      <a:lnTo>
                        <a:pt x="182" y="0"/>
                      </a:lnTo>
                      <a:lnTo>
                        <a:pt x="192" y="0"/>
                      </a:lnTo>
                      <a:lnTo>
                        <a:pt x="193" y="6"/>
                      </a:lnTo>
                      <a:lnTo>
                        <a:pt x="194" y="11"/>
                      </a:lnTo>
                      <a:lnTo>
                        <a:pt x="196" y="16"/>
                      </a:lnTo>
                      <a:lnTo>
                        <a:pt x="199" y="20"/>
                      </a:lnTo>
                      <a:lnTo>
                        <a:pt x="207" y="29"/>
                      </a:lnTo>
                      <a:lnTo>
                        <a:pt x="216" y="37"/>
                      </a:lnTo>
                      <a:lnTo>
                        <a:pt x="224" y="47"/>
                      </a:lnTo>
                      <a:lnTo>
                        <a:pt x="231" y="56"/>
                      </a:lnTo>
                      <a:lnTo>
                        <a:pt x="235" y="62"/>
                      </a:lnTo>
                      <a:lnTo>
                        <a:pt x="237" y="67"/>
                      </a:lnTo>
                      <a:lnTo>
                        <a:pt x="238" y="73"/>
                      </a:lnTo>
                      <a:lnTo>
                        <a:pt x="239" y="80"/>
                      </a:lnTo>
                      <a:lnTo>
                        <a:pt x="238" y="84"/>
                      </a:lnTo>
                      <a:lnTo>
                        <a:pt x="237" y="88"/>
                      </a:lnTo>
                      <a:lnTo>
                        <a:pt x="235" y="92"/>
                      </a:lnTo>
                      <a:lnTo>
                        <a:pt x="232" y="95"/>
                      </a:lnTo>
                      <a:lnTo>
                        <a:pt x="226" y="102"/>
                      </a:lnTo>
                      <a:lnTo>
                        <a:pt x="219" y="108"/>
                      </a:lnTo>
                      <a:lnTo>
                        <a:pt x="211" y="114"/>
                      </a:lnTo>
                      <a:lnTo>
                        <a:pt x="205" y="120"/>
                      </a:lnTo>
                      <a:lnTo>
                        <a:pt x="203" y="123"/>
                      </a:lnTo>
                      <a:lnTo>
                        <a:pt x="200" y="127"/>
                      </a:lnTo>
                      <a:lnTo>
                        <a:pt x="199" y="131"/>
                      </a:lnTo>
                      <a:lnTo>
                        <a:pt x="199" y="135"/>
                      </a:lnTo>
                      <a:lnTo>
                        <a:pt x="199" y="143"/>
                      </a:lnTo>
                      <a:lnTo>
                        <a:pt x="199" y="149"/>
                      </a:lnTo>
                      <a:lnTo>
                        <a:pt x="200" y="155"/>
                      </a:lnTo>
                      <a:lnTo>
                        <a:pt x="203" y="157"/>
                      </a:lnTo>
                      <a:lnTo>
                        <a:pt x="205" y="159"/>
                      </a:lnTo>
                      <a:lnTo>
                        <a:pt x="210" y="160"/>
                      </a:lnTo>
                      <a:lnTo>
                        <a:pt x="217" y="160"/>
                      </a:lnTo>
                      <a:lnTo>
                        <a:pt x="226" y="160"/>
                      </a:lnTo>
                      <a:lnTo>
                        <a:pt x="229" y="160"/>
                      </a:lnTo>
                      <a:lnTo>
                        <a:pt x="232" y="158"/>
                      </a:lnTo>
                      <a:lnTo>
                        <a:pt x="233" y="153"/>
                      </a:lnTo>
                      <a:lnTo>
                        <a:pt x="233" y="150"/>
                      </a:lnTo>
                      <a:lnTo>
                        <a:pt x="233" y="142"/>
                      </a:lnTo>
                      <a:lnTo>
                        <a:pt x="232" y="135"/>
                      </a:lnTo>
                      <a:lnTo>
                        <a:pt x="244" y="163"/>
                      </a:lnTo>
                      <a:lnTo>
                        <a:pt x="255" y="188"/>
                      </a:lnTo>
                      <a:lnTo>
                        <a:pt x="259" y="193"/>
                      </a:lnTo>
                      <a:lnTo>
                        <a:pt x="262" y="198"/>
                      </a:lnTo>
                      <a:lnTo>
                        <a:pt x="266" y="203"/>
                      </a:lnTo>
                      <a:lnTo>
                        <a:pt x="271" y="208"/>
                      </a:lnTo>
                      <a:lnTo>
                        <a:pt x="276" y="213"/>
                      </a:lnTo>
                      <a:lnTo>
                        <a:pt x="283" y="216"/>
                      </a:lnTo>
                      <a:lnTo>
                        <a:pt x="291" y="219"/>
                      </a:lnTo>
                      <a:lnTo>
                        <a:pt x="298" y="222"/>
                      </a:lnTo>
                      <a:lnTo>
                        <a:pt x="299" y="220"/>
                      </a:lnTo>
                      <a:lnTo>
                        <a:pt x="300" y="217"/>
                      </a:lnTo>
                      <a:lnTo>
                        <a:pt x="303" y="215"/>
                      </a:lnTo>
                      <a:lnTo>
                        <a:pt x="305" y="212"/>
                      </a:lnTo>
                      <a:lnTo>
                        <a:pt x="312" y="206"/>
                      </a:lnTo>
                      <a:lnTo>
                        <a:pt x="321" y="201"/>
                      </a:lnTo>
                      <a:lnTo>
                        <a:pt x="331" y="197"/>
                      </a:lnTo>
                      <a:lnTo>
                        <a:pt x="341" y="194"/>
                      </a:lnTo>
                      <a:lnTo>
                        <a:pt x="350" y="192"/>
                      </a:lnTo>
                      <a:lnTo>
                        <a:pt x="359" y="191"/>
                      </a:lnTo>
                      <a:lnTo>
                        <a:pt x="355" y="206"/>
                      </a:lnTo>
                      <a:lnTo>
                        <a:pt x="352" y="219"/>
                      </a:lnTo>
                      <a:lnTo>
                        <a:pt x="348" y="231"/>
                      </a:lnTo>
                      <a:lnTo>
                        <a:pt x="342" y="240"/>
                      </a:lnTo>
                      <a:lnTo>
                        <a:pt x="336" y="248"/>
                      </a:lnTo>
                      <a:lnTo>
                        <a:pt x="329" y="255"/>
                      </a:lnTo>
                      <a:lnTo>
                        <a:pt x="321" y="261"/>
                      </a:lnTo>
                      <a:lnTo>
                        <a:pt x="314" y="267"/>
                      </a:lnTo>
                      <a:lnTo>
                        <a:pt x="305" y="271"/>
                      </a:lnTo>
                      <a:lnTo>
                        <a:pt x="295" y="275"/>
                      </a:lnTo>
                      <a:lnTo>
                        <a:pt x="284" y="278"/>
                      </a:lnTo>
                      <a:lnTo>
                        <a:pt x="272" y="281"/>
                      </a:lnTo>
                      <a:lnTo>
                        <a:pt x="247" y="288"/>
                      </a:lnTo>
                      <a:lnTo>
                        <a:pt x="219" y="296"/>
                      </a:lnTo>
                      <a:lnTo>
                        <a:pt x="213" y="297"/>
                      </a:lnTo>
                      <a:lnTo>
                        <a:pt x="208" y="299"/>
                      </a:lnTo>
                      <a:lnTo>
                        <a:pt x="204" y="301"/>
                      </a:lnTo>
                      <a:lnTo>
                        <a:pt x="199" y="303"/>
                      </a:lnTo>
                      <a:lnTo>
                        <a:pt x="193" y="308"/>
                      </a:lnTo>
                      <a:lnTo>
                        <a:pt x="188" y="314"/>
                      </a:lnTo>
                      <a:lnTo>
                        <a:pt x="183" y="328"/>
                      </a:lnTo>
                      <a:lnTo>
                        <a:pt x="179" y="339"/>
                      </a:lnTo>
                      <a:lnTo>
                        <a:pt x="175" y="344"/>
                      </a:lnTo>
                      <a:lnTo>
                        <a:pt x="170" y="350"/>
                      </a:lnTo>
                      <a:lnTo>
                        <a:pt x="163" y="356"/>
                      </a:lnTo>
                      <a:lnTo>
                        <a:pt x="154" y="363"/>
                      </a:lnTo>
                      <a:lnTo>
                        <a:pt x="134" y="379"/>
                      </a:lnTo>
                      <a:lnTo>
                        <a:pt x="109" y="394"/>
                      </a:lnTo>
                      <a:lnTo>
                        <a:pt x="84" y="408"/>
                      </a:lnTo>
                      <a:lnTo>
                        <a:pt x="59" y="420"/>
                      </a:lnTo>
                      <a:lnTo>
                        <a:pt x="48" y="424"/>
                      </a:lnTo>
                      <a:lnTo>
                        <a:pt x="37" y="428"/>
                      </a:lnTo>
                      <a:lnTo>
                        <a:pt x="28" y="430"/>
                      </a:lnTo>
                      <a:lnTo>
                        <a:pt x="19" y="431"/>
                      </a:lnTo>
                      <a:lnTo>
                        <a:pt x="15" y="430"/>
                      </a:lnTo>
                      <a:lnTo>
                        <a:pt x="11" y="429"/>
                      </a:lnTo>
                      <a:lnTo>
                        <a:pt x="7" y="426"/>
                      </a:lnTo>
                      <a:lnTo>
                        <a:pt x="5" y="423"/>
                      </a:lnTo>
                      <a:lnTo>
                        <a:pt x="3" y="420"/>
                      </a:lnTo>
                      <a:lnTo>
                        <a:pt x="1" y="415"/>
                      </a:lnTo>
                      <a:lnTo>
                        <a:pt x="0" y="411"/>
                      </a:lnTo>
                      <a:lnTo>
                        <a:pt x="0" y="406"/>
                      </a:lnTo>
                      <a:lnTo>
                        <a:pt x="1" y="402"/>
                      </a:lnTo>
                      <a:lnTo>
                        <a:pt x="2" y="398"/>
                      </a:lnTo>
                      <a:lnTo>
                        <a:pt x="5" y="395"/>
                      </a:lnTo>
                      <a:lnTo>
                        <a:pt x="9" y="391"/>
                      </a:lnTo>
                      <a:lnTo>
                        <a:pt x="19" y="386"/>
                      </a:lnTo>
                      <a:lnTo>
                        <a:pt x="31" y="382"/>
                      </a:lnTo>
                      <a:lnTo>
                        <a:pt x="56" y="374"/>
                      </a:lnTo>
                      <a:lnTo>
                        <a:pt x="73" y="369"/>
                      </a:lnTo>
                      <a:lnTo>
                        <a:pt x="73" y="360"/>
                      </a:lnTo>
                      <a:lnTo>
                        <a:pt x="73" y="351"/>
                      </a:lnTo>
                      <a:lnTo>
                        <a:pt x="72" y="345"/>
                      </a:lnTo>
                      <a:lnTo>
                        <a:pt x="72" y="339"/>
                      </a:lnTo>
                      <a:lnTo>
                        <a:pt x="71" y="335"/>
                      </a:lnTo>
                      <a:lnTo>
                        <a:pt x="69" y="331"/>
                      </a:lnTo>
                      <a:lnTo>
                        <a:pt x="67" y="328"/>
                      </a:lnTo>
                      <a:lnTo>
                        <a:pt x="64" y="326"/>
                      </a:lnTo>
                      <a:lnTo>
                        <a:pt x="62" y="324"/>
                      </a:lnTo>
                      <a:lnTo>
                        <a:pt x="59" y="322"/>
                      </a:lnTo>
                      <a:lnTo>
                        <a:pt x="51" y="320"/>
                      </a:lnTo>
                      <a:lnTo>
                        <a:pt x="41" y="319"/>
                      </a:lnTo>
                      <a:lnTo>
                        <a:pt x="31" y="320"/>
                      </a:lnTo>
                      <a:lnTo>
                        <a:pt x="19" y="320"/>
                      </a:lnTo>
                      <a:lnTo>
                        <a:pt x="39" y="29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31" name="Freeform 77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3362255" y="3874660"/>
                <a:ext cx="9525" cy="57150"/>
              </a:xfrm>
              <a:custGeom>
                <a:avLst/>
                <a:gdLst>
                  <a:gd name="T0" fmla="*/ 0 w 21"/>
                  <a:gd name="T1" fmla="*/ 2147483647 h 62"/>
                  <a:gd name="T2" fmla="*/ 93399882 w 21"/>
                  <a:gd name="T3" fmla="*/ 2147483647 h 62"/>
                  <a:gd name="T4" fmla="*/ 279994632 w 21"/>
                  <a:gd name="T5" fmla="*/ 2147483647 h 62"/>
                  <a:gd name="T6" fmla="*/ 373189046 w 21"/>
                  <a:gd name="T7" fmla="*/ 2147483647 h 62"/>
                  <a:gd name="T8" fmla="*/ 559783343 w 21"/>
                  <a:gd name="T9" fmla="*/ 2147483647 h 62"/>
                  <a:gd name="T10" fmla="*/ 839777975 w 21"/>
                  <a:gd name="T11" fmla="*/ 2147483647 h 62"/>
                  <a:gd name="T12" fmla="*/ 1399766786 w 21"/>
                  <a:gd name="T13" fmla="*/ 0 h 62"/>
                  <a:gd name="T14" fmla="*/ 1399766786 w 21"/>
                  <a:gd name="T15" fmla="*/ 2147483647 h 62"/>
                  <a:gd name="T16" fmla="*/ 1679555496 w 21"/>
                  <a:gd name="T17" fmla="*/ 2147483647 h 62"/>
                  <a:gd name="T18" fmla="*/ 1866149793 w 21"/>
                  <a:gd name="T19" fmla="*/ 2147483647 h 62"/>
                  <a:gd name="T20" fmla="*/ 1959550129 w 21"/>
                  <a:gd name="T21" fmla="*/ 2147483647 h 62"/>
                  <a:gd name="T22" fmla="*/ 933177857 w 21"/>
                  <a:gd name="T23" fmla="*/ 2147483647 h 62"/>
                  <a:gd name="T24" fmla="*/ 0 w 21"/>
                  <a:gd name="T25" fmla="*/ 2147483647 h 62"/>
                  <a:gd name="T26" fmla="*/ 0 w 21"/>
                  <a:gd name="T27" fmla="*/ 2147483647 h 6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" h="62">
                    <a:moveTo>
                      <a:pt x="0" y="43"/>
                    </a:moveTo>
                    <a:lnTo>
                      <a:pt x="1" y="29"/>
                    </a:lnTo>
                    <a:lnTo>
                      <a:pt x="3" y="17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18" y="31"/>
                    </a:lnTo>
                    <a:lnTo>
                      <a:pt x="20" y="44"/>
                    </a:lnTo>
                    <a:lnTo>
                      <a:pt x="21" y="49"/>
                    </a:lnTo>
                    <a:lnTo>
                      <a:pt x="10" y="55"/>
                    </a:lnTo>
                    <a:lnTo>
                      <a:pt x="0" y="62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2" name="Freeform 78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4089330" y="4776360"/>
                <a:ext cx="14288" cy="57150"/>
              </a:xfrm>
              <a:custGeom>
                <a:avLst/>
                <a:gdLst>
                  <a:gd name="T0" fmla="*/ 0 w 33"/>
                  <a:gd name="T1" fmla="*/ 0 h 24"/>
                  <a:gd name="T2" fmla="*/ 405856702 w 33"/>
                  <a:gd name="T3" fmla="*/ 2147483647 h 24"/>
                  <a:gd name="T4" fmla="*/ 811713836 w 33"/>
                  <a:gd name="T5" fmla="*/ 2147483647 h 24"/>
                  <a:gd name="T6" fmla="*/ 892885263 w 33"/>
                  <a:gd name="T7" fmla="*/ 2147483647 h 24"/>
                  <a:gd name="T8" fmla="*/ 974056690 w 33"/>
                  <a:gd name="T9" fmla="*/ 2147483647 h 24"/>
                  <a:gd name="T10" fmla="*/ 1055227684 w 33"/>
                  <a:gd name="T11" fmla="*/ 2147483647 h 24"/>
                  <a:gd name="T12" fmla="*/ 1055227684 w 33"/>
                  <a:gd name="T13" fmla="*/ 2147483647 h 24"/>
                  <a:gd name="T14" fmla="*/ 2147483647 w 33"/>
                  <a:gd name="T15" fmla="*/ 0 h 24"/>
                  <a:gd name="T16" fmla="*/ 1947925471 w 33"/>
                  <a:gd name="T17" fmla="*/ 0 h 24"/>
                  <a:gd name="T18" fmla="*/ 1298741965 w 33"/>
                  <a:gd name="T19" fmla="*/ 0 h 24"/>
                  <a:gd name="T20" fmla="*/ 730542409 w 33"/>
                  <a:gd name="T21" fmla="*/ 0 h 24"/>
                  <a:gd name="T22" fmla="*/ 0 w 33"/>
                  <a:gd name="T23" fmla="*/ 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3" h="24">
                    <a:moveTo>
                      <a:pt x="0" y="0"/>
                    </a:moveTo>
                    <a:lnTo>
                      <a:pt x="5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12" y="16"/>
                    </a:lnTo>
                    <a:lnTo>
                      <a:pt x="13" y="20"/>
                    </a:lnTo>
                    <a:lnTo>
                      <a:pt x="13" y="24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3" name="Freeform 79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4111555" y="4785885"/>
                <a:ext cx="17463" cy="58737"/>
              </a:xfrm>
              <a:custGeom>
                <a:avLst/>
                <a:gdLst>
                  <a:gd name="T0" fmla="*/ 2147483647 w 33"/>
                  <a:gd name="T1" fmla="*/ 2147483647 h 25"/>
                  <a:gd name="T2" fmla="*/ 2147483647 w 33"/>
                  <a:gd name="T3" fmla="*/ 2147483647 h 25"/>
                  <a:gd name="T4" fmla="*/ 2147483647 w 33"/>
                  <a:gd name="T5" fmla="*/ 2147483647 h 25"/>
                  <a:gd name="T6" fmla="*/ 2147483647 w 33"/>
                  <a:gd name="T7" fmla="*/ 0 h 25"/>
                  <a:gd name="T8" fmla="*/ 2147483647 w 33"/>
                  <a:gd name="T9" fmla="*/ 0 h 25"/>
                  <a:gd name="T10" fmla="*/ 2147483647 w 33"/>
                  <a:gd name="T11" fmla="*/ 0 h 25"/>
                  <a:gd name="T12" fmla="*/ 889105890 w 33"/>
                  <a:gd name="T13" fmla="*/ 0 h 25"/>
                  <a:gd name="T14" fmla="*/ 0 w 33"/>
                  <a:gd name="T15" fmla="*/ 0 h 25"/>
                  <a:gd name="T16" fmla="*/ 2147483647 w 33"/>
                  <a:gd name="T17" fmla="*/ 2147483647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26" y="25"/>
                    </a:moveTo>
                    <a:lnTo>
                      <a:pt x="29" y="22"/>
                    </a:lnTo>
                    <a:lnTo>
                      <a:pt x="33" y="18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6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4" name="Freeform 80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3425755" y="3863547"/>
                <a:ext cx="1588" cy="55563"/>
              </a:xfrm>
              <a:custGeom>
                <a:avLst/>
                <a:gdLst>
                  <a:gd name="T0" fmla="*/ 0 w 7"/>
                  <a:gd name="T1" fmla="*/ 0 h 55563"/>
                  <a:gd name="T2" fmla="*/ 81725059 w 7"/>
                  <a:gd name="T3" fmla="*/ 0 h 55563"/>
                  <a:gd name="T4" fmla="*/ 0 w 7"/>
                  <a:gd name="T5" fmla="*/ 0 h 5556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55563">
                    <a:moveTo>
                      <a:pt x="0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5" name="Freeform 81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3484493" y="3807985"/>
                <a:ext cx="6350" cy="57150"/>
              </a:xfrm>
              <a:custGeom>
                <a:avLst/>
                <a:gdLst>
                  <a:gd name="T0" fmla="*/ 1000186913 w 16"/>
                  <a:gd name="T1" fmla="*/ 0 h 25"/>
                  <a:gd name="T2" fmla="*/ 1000186913 w 16"/>
                  <a:gd name="T3" fmla="*/ 2147483647 h 25"/>
                  <a:gd name="T4" fmla="*/ 875124456 w 16"/>
                  <a:gd name="T5" fmla="*/ 2147483647 h 25"/>
                  <a:gd name="T6" fmla="*/ 812592831 w 16"/>
                  <a:gd name="T7" fmla="*/ 2147483647 h 25"/>
                  <a:gd name="T8" fmla="*/ 687687538 w 16"/>
                  <a:gd name="T9" fmla="*/ 2147483647 h 25"/>
                  <a:gd name="T10" fmla="*/ 437562228 w 16"/>
                  <a:gd name="T11" fmla="*/ 2147483647 h 25"/>
                  <a:gd name="T12" fmla="*/ 187594081 w 16"/>
                  <a:gd name="T13" fmla="*/ 2147483647 h 25"/>
                  <a:gd name="T14" fmla="*/ 62531228 w 16"/>
                  <a:gd name="T15" fmla="*/ 2147483647 h 25"/>
                  <a:gd name="T16" fmla="*/ 0 w 16"/>
                  <a:gd name="T17" fmla="*/ 2147483647 h 25"/>
                  <a:gd name="T18" fmla="*/ 62531228 w 16"/>
                  <a:gd name="T19" fmla="*/ 2147483647 h 25"/>
                  <a:gd name="T20" fmla="*/ 125062853 w 16"/>
                  <a:gd name="T21" fmla="*/ 2147483647 h 25"/>
                  <a:gd name="T22" fmla="*/ 250125706 w 16"/>
                  <a:gd name="T23" fmla="*/ 2147483647 h 25"/>
                  <a:gd name="T24" fmla="*/ 437562228 w 16"/>
                  <a:gd name="T25" fmla="*/ 2147483647 h 25"/>
                  <a:gd name="T26" fmla="*/ 687687538 w 16"/>
                  <a:gd name="T27" fmla="*/ 2147483647 h 25"/>
                  <a:gd name="T28" fmla="*/ 1000186913 w 16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6" h="25">
                    <a:moveTo>
                      <a:pt x="16" y="0"/>
                    </a:moveTo>
                    <a:lnTo>
                      <a:pt x="16" y="6"/>
                    </a:lnTo>
                    <a:lnTo>
                      <a:pt x="14" y="13"/>
                    </a:lnTo>
                    <a:lnTo>
                      <a:pt x="13" y="16"/>
                    </a:lnTo>
                    <a:lnTo>
                      <a:pt x="11" y="20"/>
                    </a:lnTo>
                    <a:lnTo>
                      <a:pt x="7" y="23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1" y="1"/>
                    </a:lnTo>
                    <a:lnTo>
                      <a:pt x="1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6" name="Freeform 82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3597205" y="3696860"/>
                <a:ext cx="4763" cy="57150"/>
              </a:xfrm>
              <a:custGeom>
                <a:avLst/>
                <a:gdLst>
                  <a:gd name="T0" fmla="*/ 0 w 14"/>
                  <a:gd name="T1" fmla="*/ 0 h 18"/>
                  <a:gd name="T2" fmla="*/ 118176494 w 14"/>
                  <a:gd name="T3" fmla="*/ 2147483647 h 18"/>
                  <a:gd name="T4" fmla="*/ 196883708 w 14"/>
                  <a:gd name="T5" fmla="*/ 2147483647 h 18"/>
                  <a:gd name="T6" fmla="*/ 275706255 w 14"/>
                  <a:gd name="T7" fmla="*/ 2147483647 h 18"/>
                  <a:gd name="T8" fmla="*/ 354413469 w 14"/>
                  <a:gd name="T9" fmla="*/ 2147483647 h 18"/>
                  <a:gd name="T10" fmla="*/ 511943570 w 14"/>
                  <a:gd name="T11" fmla="*/ 2147483647 h 18"/>
                  <a:gd name="T12" fmla="*/ 551297177 w 14"/>
                  <a:gd name="T13" fmla="*/ 2147483647 h 18"/>
                  <a:gd name="T14" fmla="*/ 0 w 14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0" y="0"/>
                    </a:moveTo>
                    <a:lnTo>
                      <a:pt x="3" y="1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13" y="13"/>
                    </a:lnTo>
                    <a:lnTo>
                      <a:pt x="14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7" name="Freeform 83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3749605" y="4395360"/>
                <a:ext cx="26988" cy="58737"/>
              </a:xfrm>
              <a:custGeom>
                <a:avLst/>
                <a:gdLst>
                  <a:gd name="T0" fmla="*/ 0 w 67"/>
                  <a:gd name="T1" fmla="*/ 0 h 74"/>
                  <a:gd name="T2" fmla="*/ 65387896 w 67"/>
                  <a:gd name="T3" fmla="*/ 2147483647 h 74"/>
                  <a:gd name="T4" fmla="*/ 196001357 w 67"/>
                  <a:gd name="T5" fmla="*/ 2147483647 h 74"/>
                  <a:gd name="T6" fmla="*/ 457552538 w 67"/>
                  <a:gd name="T7" fmla="*/ 2147483647 h 74"/>
                  <a:gd name="T8" fmla="*/ 784329284 w 67"/>
                  <a:gd name="T9" fmla="*/ 2147483647 h 74"/>
                  <a:gd name="T10" fmla="*/ 1111106030 w 67"/>
                  <a:gd name="T11" fmla="*/ 2147483647 h 74"/>
                  <a:gd name="T12" fmla="*/ 1503270672 w 67"/>
                  <a:gd name="T13" fmla="*/ 2147483647 h 74"/>
                  <a:gd name="T14" fmla="*/ 1830047821 w 67"/>
                  <a:gd name="T15" fmla="*/ 2147483647 h 74"/>
                  <a:gd name="T16" fmla="*/ 2147483647 w 67"/>
                  <a:gd name="T17" fmla="*/ 2147483647 h 74"/>
                  <a:gd name="T18" fmla="*/ 2147483647 w 67"/>
                  <a:gd name="T19" fmla="*/ 2147483647 h 74"/>
                  <a:gd name="T20" fmla="*/ 2147483647 w 67"/>
                  <a:gd name="T21" fmla="*/ 2147483647 h 74"/>
                  <a:gd name="T22" fmla="*/ 2147483647 w 67"/>
                  <a:gd name="T23" fmla="*/ 2147483647 h 74"/>
                  <a:gd name="T24" fmla="*/ 2147483647 w 67"/>
                  <a:gd name="T25" fmla="*/ 2147483647 h 74"/>
                  <a:gd name="T26" fmla="*/ 2147483647 w 67"/>
                  <a:gd name="T27" fmla="*/ 2147483647 h 74"/>
                  <a:gd name="T28" fmla="*/ 2147483647 w 67"/>
                  <a:gd name="T29" fmla="*/ 2147483647 h 74"/>
                  <a:gd name="T30" fmla="*/ 2147483647 w 67"/>
                  <a:gd name="T31" fmla="*/ 2147483647 h 74"/>
                  <a:gd name="T32" fmla="*/ 2147483647 w 67"/>
                  <a:gd name="T33" fmla="*/ 2147483647 h 74"/>
                  <a:gd name="T34" fmla="*/ 2147483647 w 67"/>
                  <a:gd name="T35" fmla="*/ 2147483647 h 74"/>
                  <a:gd name="T36" fmla="*/ 2147483647 w 67"/>
                  <a:gd name="T37" fmla="*/ 0 h 74"/>
                  <a:gd name="T38" fmla="*/ 2147483647 w 67"/>
                  <a:gd name="T39" fmla="*/ 0 h 74"/>
                  <a:gd name="T40" fmla="*/ 2147483647 w 67"/>
                  <a:gd name="T41" fmla="*/ 0 h 74"/>
                  <a:gd name="T42" fmla="*/ 1111106030 w 67"/>
                  <a:gd name="T43" fmla="*/ 0 h 74"/>
                  <a:gd name="T44" fmla="*/ 0 w 67"/>
                  <a:gd name="T45" fmla="*/ 0 h 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7" h="74">
                    <a:moveTo>
                      <a:pt x="0" y="0"/>
                    </a:moveTo>
                    <a:lnTo>
                      <a:pt x="1" y="17"/>
                    </a:lnTo>
                    <a:lnTo>
                      <a:pt x="3" y="30"/>
                    </a:lnTo>
                    <a:lnTo>
                      <a:pt x="7" y="41"/>
                    </a:lnTo>
                    <a:lnTo>
                      <a:pt x="12" y="50"/>
                    </a:lnTo>
                    <a:lnTo>
                      <a:pt x="17" y="58"/>
                    </a:lnTo>
                    <a:lnTo>
                      <a:pt x="23" y="64"/>
                    </a:lnTo>
                    <a:lnTo>
                      <a:pt x="28" y="69"/>
                    </a:lnTo>
                    <a:lnTo>
                      <a:pt x="33" y="74"/>
                    </a:lnTo>
                    <a:lnTo>
                      <a:pt x="44" y="65"/>
                    </a:lnTo>
                    <a:lnTo>
                      <a:pt x="55" y="55"/>
                    </a:lnTo>
                    <a:lnTo>
                      <a:pt x="59" y="49"/>
                    </a:lnTo>
                    <a:lnTo>
                      <a:pt x="63" y="43"/>
                    </a:lnTo>
                    <a:lnTo>
                      <a:pt x="66" y="37"/>
                    </a:lnTo>
                    <a:lnTo>
                      <a:pt x="67" y="30"/>
                    </a:lnTo>
                    <a:lnTo>
                      <a:pt x="67" y="25"/>
                    </a:lnTo>
                    <a:lnTo>
                      <a:pt x="67" y="18"/>
                    </a:lnTo>
                    <a:lnTo>
                      <a:pt x="67" y="9"/>
                    </a:lnTo>
                    <a:lnTo>
                      <a:pt x="67" y="0"/>
                    </a:lnTo>
                    <a:lnTo>
                      <a:pt x="48" y="0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8" name="Freeform 84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3813105" y="4409647"/>
                <a:ext cx="12700" cy="57150"/>
              </a:xfrm>
              <a:custGeom>
                <a:avLst/>
                <a:gdLst>
                  <a:gd name="T0" fmla="*/ 0 w 34"/>
                  <a:gd name="T1" fmla="*/ 0 h 38"/>
                  <a:gd name="T2" fmla="*/ 104224418 w 34"/>
                  <a:gd name="T3" fmla="*/ 2147483647 h 38"/>
                  <a:gd name="T4" fmla="*/ 208449209 w 34"/>
                  <a:gd name="T5" fmla="*/ 2147483647 h 38"/>
                  <a:gd name="T6" fmla="*/ 260631268 w 34"/>
                  <a:gd name="T7" fmla="*/ 2147483647 h 38"/>
                  <a:gd name="T8" fmla="*/ 312673626 w 34"/>
                  <a:gd name="T9" fmla="*/ 2147483647 h 38"/>
                  <a:gd name="T10" fmla="*/ 521122835 w 34"/>
                  <a:gd name="T11" fmla="*/ 2147483647 h 38"/>
                  <a:gd name="T12" fmla="*/ 677529685 w 34"/>
                  <a:gd name="T13" fmla="*/ 2147483647 h 38"/>
                  <a:gd name="T14" fmla="*/ 833796835 w 34"/>
                  <a:gd name="T15" fmla="*/ 2147483647 h 38"/>
                  <a:gd name="T16" fmla="*/ 1042385371 w 34"/>
                  <a:gd name="T17" fmla="*/ 2147483647 h 38"/>
                  <a:gd name="T18" fmla="*/ 1198652521 w 34"/>
                  <a:gd name="T19" fmla="*/ 2147483647 h 38"/>
                  <a:gd name="T20" fmla="*/ 1355059371 w 34"/>
                  <a:gd name="T21" fmla="*/ 2147483647 h 38"/>
                  <a:gd name="T22" fmla="*/ 1459283788 w 34"/>
                  <a:gd name="T23" fmla="*/ 2147483647 h 38"/>
                  <a:gd name="T24" fmla="*/ 1667732997 w 34"/>
                  <a:gd name="T25" fmla="*/ 2147483647 h 38"/>
                  <a:gd name="T26" fmla="*/ 1719775729 w 34"/>
                  <a:gd name="T27" fmla="*/ 2147483647 h 38"/>
                  <a:gd name="T28" fmla="*/ 1771957788 w 34"/>
                  <a:gd name="T29" fmla="*/ 2147483647 h 38"/>
                  <a:gd name="T30" fmla="*/ 1615550938 w 34"/>
                  <a:gd name="T31" fmla="*/ 2147483647 h 38"/>
                  <a:gd name="T32" fmla="*/ 1459283788 w 34"/>
                  <a:gd name="T33" fmla="*/ 2147483647 h 38"/>
                  <a:gd name="T34" fmla="*/ 1355059371 w 34"/>
                  <a:gd name="T35" fmla="*/ 2147483647 h 38"/>
                  <a:gd name="T36" fmla="*/ 1250834579 w 34"/>
                  <a:gd name="T37" fmla="*/ 2147483647 h 38"/>
                  <a:gd name="T38" fmla="*/ 990203312 w 34"/>
                  <a:gd name="T39" fmla="*/ 2147483647 h 38"/>
                  <a:gd name="T40" fmla="*/ 677529685 w 34"/>
                  <a:gd name="T41" fmla="*/ 0 h 38"/>
                  <a:gd name="T42" fmla="*/ 312673626 w 34"/>
                  <a:gd name="T43" fmla="*/ 0 h 38"/>
                  <a:gd name="T44" fmla="*/ 0 w 34"/>
                  <a:gd name="T45" fmla="*/ 0 h 3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4" h="38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10" y="28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20" y="36"/>
                    </a:lnTo>
                    <a:lnTo>
                      <a:pt x="23" y="34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9"/>
                    </a:lnTo>
                    <a:lnTo>
                      <a:pt x="31" y="18"/>
                    </a:lnTo>
                    <a:lnTo>
                      <a:pt x="28" y="17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9" name="Freeform 85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3670230" y="4185810"/>
                <a:ext cx="25400" cy="55562"/>
              </a:xfrm>
              <a:custGeom>
                <a:avLst/>
                <a:gdLst>
                  <a:gd name="T0" fmla="*/ 2147483647 w 53"/>
                  <a:gd name="T1" fmla="*/ 2147483647 h 23"/>
                  <a:gd name="T2" fmla="*/ 2147483647 w 53"/>
                  <a:gd name="T3" fmla="*/ 2147483647 h 23"/>
                  <a:gd name="T4" fmla="*/ 2147483647 w 53"/>
                  <a:gd name="T5" fmla="*/ 2147483647 h 23"/>
                  <a:gd name="T6" fmla="*/ 2147483647 w 53"/>
                  <a:gd name="T7" fmla="*/ 2147483647 h 23"/>
                  <a:gd name="T8" fmla="*/ 2147483647 w 53"/>
                  <a:gd name="T9" fmla="*/ 0 h 23"/>
                  <a:gd name="T10" fmla="*/ 2147483647 w 53"/>
                  <a:gd name="T11" fmla="*/ 0 h 23"/>
                  <a:gd name="T12" fmla="*/ 2147483647 w 53"/>
                  <a:gd name="T13" fmla="*/ 2147483647 h 23"/>
                  <a:gd name="T14" fmla="*/ 2147483647 w 53"/>
                  <a:gd name="T15" fmla="*/ 2147483647 h 23"/>
                  <a:gd name="T16" fmla="*/ 1210852026 w 53"/>
                  <a:gd name="T17" fmla="*/ 2147483647 h 23"/>
                  <a:gd name="T18" fmla="*/ 0 w 53"/>
                  <a:gd name="T19" fmla="*/ 2147483647 h 23"/>
                  <a:gd name="T20" fmla="*/ 2147483647 w 53"/>
                  <a:gd name="T21" fmla="*/ 2147483647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3" h="23">
                    <a:moveTo>
                      <a:pt x="53" y="23"/>
                    </a:moveTo>
                    <a:lnTo>
                      <a:pt x="53" y="4"/>
                    </a:lnTo>
                    <a:lnTo>
                      <a:pt x="49" y="2"/>
                    </a:lnTo>
                    <a:lnTo>
                      <a:pt x="45" y="1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1" y="1"/>
                    </a:lnTo>
                    <a:lnTo>
                      <a:pt x="24" y="4"/>
                    </a:lnTo>
                    <a:lnTo>
                      <a:pt x="11" y="13"/>
                    </a:lnTo>
                    <a:lnTo>
                      <a:pt x="0" y="23"/>
                    </a:lnTo>
                    <a:lnTo>
                      <a:pt x="53" y="2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0" name="Freeform 86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3613080" y="4160410"/>
                <a:ext cx="11113" cy="57150"/>
              </a:xfrm>
              <a:custGeom>
                <a:avLst/>
                <a:gdLst>
                  <a:gd name="T0" fmla="*/ 0 w 26"/>
                  <a:gd name="T1" fmla="*/ 0 h 12"/>
                  <a:gd name="T2" fmla="*/ 312400535 w 26"/>
                  <a:gd name="T3" fmla="*/ 2147483647 h 12"/>
                  <a:gd name="T4" fmla="*/ 859010537 w 26"/>
                  <a:gd name="T5" fmla="*/ 2147483647 h 12"/>
                  <a:gd name="T6" fmla="*/ 1093220004 w 26"/>
                  <a:gd name="T7" fmla="*/ 2147483647 h 12"/>
                  <a:gd name="T8" fmla="*/ 1405620539 w 26"/>
                  <a:gd name="T9" fmla="*/ 2147483647 h 12"/>
                  <a:gd name="T10" fmla="*/ 1717838564 w 26"/>
                  <a:gd name="T11" fmla="*/ 2147483647 h 12"/>
                  <a:gd name="T12" fmla="*/ 2030239527 w 26"/>
                  <a:gd name="T13" fmla="*/ 2147483647 h 12"/>
                  <a:gd name="T14" fmla="*/ 1639830006 w 26"/>
                  <a:gd name="T15" fmla="*/ 2147483647 h 12"/>
                  <a:gd name="T16" fmla="*/ 1015211018 w 26"/>
                  <a:gd name="T17" fmla="*/ 2147483647 h 12"/>
                  <a:gd name="T18" fmla="*/ 390409521 w 26"/>
                  <a:gd name="T19" fmla="*/ 2147483647 h 12"/>
                  <a:gd name="T20" fmla="*/ 0 w 26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12">
                    <a:moveTo>
                      <a:pt x="0" y="0"/>
                    </a:moveTo>
                    <a:lnTo>
                      <a:pt x="4" y="4"/>
                    </a:lnTo>
                    <a:lnTo>
                      <a:pt x="11" y="8"/>
                    </a:lnTo>
                    <a:lnTo>
                      <a:pt x="14" y="9"/>
                    </a:lnTo>
                    <a:lnTo>
                      <a:pt x="18" y="11"/>
                    </a:lnTo>
                    <a:lnTo>
                      <a:pt x="22" y="11"/>
                    </a:lnTo>
                    <a:lnTo>
                      <a:pt x="26" y="12"/>
                    </a:lnTo>
                    <a:lnTo>
                      <a:pt x="21" y="7"/>
                    </a:lnTo>
                    <a:lnTo>
                      <a:pt x="13" y="3"/>
                    </a:lnTo>
                    <a:lnTo>
                      <a:pt x="5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1" name="Freeform 87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3813105" y="4492197"/>
                <a:ext cx="31750" cy="57150"/>
              </a:xfrm>
              <a:custGeom>
                <a:avLst/>
                <a:gdLst>
                  <a:gd name="T0" fmla="*/ 0 w 73"/>
                  <a:gd name="T1" fmla="*/ 0 h 57150"/>
                  <a:gd name="T2" fmla="*/ 1645549873 w 73"/>
                  <a:gd name="T3" fmla="*/ 0 h 57150"/>
                  <a:gd name="T4" fmla="*/ 2147483647 w 73"/>
                  <a:gd name="T5" fmla="*/ 0 h 57150"/>
                  <a:gd name="T6" fmla="*/ 2147483647 w 73"/>
                  <a:gd name="T7" fmla="*/ 0 h 57150"/>
                  <a:gd name="T8" fmla="*/ 2147483647 w 73"/>
                  <a:gd name="T9" fmla="*/ 0 h 57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3" h="57150">
                    <a:moveTo>
                      <a:pt x="0" y="0"/>
                    </a:moveTo>
                    <a:lnTo>
                      <a:pt x="20" y="0"/>
                    </a:lnTo>
                    <a:lnTo>
                      <a:pt x="37" y="0"/>
                    </a:lnTo>
                    <a:lnTo>
                      <a:pt x="55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2" name="Freeform 88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3768655" y="4481085"/>
                <a:ext cx="22225" cy="57150"/>
              </a:xfrm>
              <a:custGeom>
                <a:avLst/>
                <a:gdLst>
                  <a:gd name="T0" fmla="*/ 0 w 53"/>
                  <a:gd name="T1" fmla="*/ 0 h 3"/>
                  <a:gd name="T2" fmla="*/ 1032390249 w 53"/>
                  <a:gd name="T3" fmla="*/ 0 h 3"/>
                  <a:gd name="T4" fmla="*/ 1990925145 w 53"/>
                  <a:gd name="T5" fmla="*/ 2147483647 h 3"/>
                  <a:gd name="T6" fmla="*/ 2147483647 w 53"/>
                  <a:gd name="T7" fmla="*/ 2147483647 h 3"/>
                  <a:gd name="T8" fmla="*/ 2147483647 w 53"/>
                  <a:gd name="T9" fmla="*/ 2147483647 h 3"/>
                  <a:gd name="T10" fmla="*/ 2147483647 w 53"/>
                  <a:gd name="T11" fmla="*/ 2147483647 h 3"/>
                  <a:gd name="T12" fmla="*/ 2147483647 w 5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3" h="3">
                    <a:moveTo>
                      <a:pt x="0" y="0"/>
                    </a:moveTo>
                    <a:lnTo>
                      <a:pt x="14" y="0"/>
                    </a:lnTo>
                    <a:lnTo>
                      <a:pt x="27" y="3"/>
                    </a:lnTo>
                    <a:lnTo>
                      <a:pt x="32" y="3"/>
                    </a:lnTo>
                    <a:lnTo>
                      <a:pt x="39" y="3"/>
                    </a:lnTo>
                    <a:lnTo>
                      <a:pt x="45" y="1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3" name="Line 89"/>
              <p:cNvSpPr>
                <a:spLocks noChangeShapeType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3801993" y="4466797"/>
                <a:ext cx="20637" cy="6350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4" name="Freeform 90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3822630" y="4473147"/>
                <a:ext cx="1588" cy="57150"/>
              </a:xfrm>
              <a:custGeom>
                <a:avLst/>
                <a:gdLst>
                  <a:gd name="T0" fmla="*/ 0 w 1588"/>
                  <a:gd name="T1" fmla="*/ 0 h 13"/>
                  <a:gd name="T2" fmla="*/ 0 w 1588"/>
                  <a:gd name="T3" fmla="*/ 2147483647 h 13"/>
                  <a:gd name="T4" fmla="*/ 0 w 1588"/>
                  <a:gd name="T5" fmla="*/ 2147483647 h 1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88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5" name="Freeform 91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3776593" y="4466797"/>
                <a:ext cx="14287" cy="58738"/>
              </a:xfrm>
              <a:custGeom>
                <a:avLst/>
                <a:gdLst>
                  <a:gd name="T0" fmla="*/ 0 w 26"/>
                  <a:gd name="T1" fmla="*/ 0 h 58738"/>
                  <a:gd name="T2" fmla="*/ 2147483647 w 26"/>
                  <a:gd name="T3" fmla="*/ 0 h 58738"/>
                  <a:gd name="T4" fmla="*/ 2147483647 w 26"/>
                  <a:gd name="T5" fmla="*/ 0 h 5873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6" h="58738">
                    <a:moveTo>
                      <a:pt x="0" y="0"/>
                    </a:moveTo>
                    <a:lnTo>
                      <a:pt x="15" y="0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6" name="Freeform 92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3770243" y="4447747"/>
                <a:ext cx="6350" cy="60325"/>
              </a:xfrm>
              <a:custGeom>
                <a:avLst/>
                <a:gdLst>
                  <a:gd name="T0" fmla="*/ 640119688 w 20"/>
                  <a:gd name="T1" fmla="*/ 0 h 25"/>
                  <a:gd name="T2" fmla="*/ 0 w 20"/>
                  <a:gd name="T3" fmla="*/ 2147483647 h 25"/>
                  <a:gd name="T4" fmla="*/ 128023938 w 20"/>
                  <a:gd name="T5" fmla="*/ 2147483647 h 25"/>
                  <a:gd name="T6" fmla="*/ 320060003 w 20"/>
                  <a:gd name="T7" fmla="*/ 2147483647 h 25"/>
                  <a:gd name="T8" fmla="*/ 448083940 w 20"/>
                  <a:gd name="T9" fmla="*/ 2147483647 h 25"/>
                  <a:gd name="T10" fmla="*/ 640119688 w 20"/>
                  <a:gd name="T11" fmla="*/ 2147483647 h 25"/>
                  <a:gd name="T12" fmla="*/ 640119688 w 20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lnTo>
                      <a:pt x="0" y="13"/>
                    </a:lnTo>
                    <a:lnTo>
                      <a:pt x="4" y="18"/>
                    </a:lnTo>
                    <a:lnTo>
                      <a:pt x="10" y="21"/>
                    </a:lnTo>
                    <a:lnTo>
                      <a:pt x="14" y="24"/>
                    </a:lnTo>
                    <a:lnTo>
                      <a:pt x="20" y="2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47" name="Freeform 93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3851205" y="4174697"/>
                <a:ext cx="1588" cy="57150"/>
              </a:xfrm>
              <a:custGeom>
                <a:avLst/>
                <a:gdLst>
                  <a:gd name="T0" fmla="*/ 0 w 6"/>
                  <a:gd name="T1" fmla="*/ 2147483647 h 24"/>
                  <a:gd name="T2" fmla="*/ 0 w 6"/>
                  <a:gd name="T3" fmla="*/ 0 h 24"/>
                  <a:gd name="T4" fmla="*/ 111237018 w 6"/>
                  <a:gd name="T5" fmla="*/ 2147483647 h 24"/>
                  <a:gd name="T6" fmla="*/ 0 w 6"/>
                  <a:gd name="T7" fmla="*/ 2147483647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0"/>
                    </a:lnTo>
                    <a:lnTo>
                      <a:pt x="6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48" name="Group 94"/>
              <p:cNvGrpSpPr>
                <a:grpSpLocks/>
              </p:cNvGrpSpPr>
              <p:nvPr>
                <p:custDataLst>
                  <p:tags r:id="rId44"/>
                </p:custDataLst>
              </p:nvPr>
            </p:nvGrpSpPr>
            <p:grpSpPr bwMode="auto">
              <a:xfrm>
                <a:off x="13725793" y="3846085"/>
                <a:ext cx="163512" cy="114300"/>
                <a:chOff x="5379" y="2466"/>
                <a:chExt cx="122" cy="71"/>
              </a:xfrm>
            </p:grpSpPr>
            <p:sp>
              <p:nvSpPr>
                <p:cNvPr id="396" name="Freeform 95"/>
                <p:cNvSpPr>
                  <a:spLocks/>
                </p:cNvSpPr>
                <p:nvPr/>
              </p:nvSpPr>
              <p:spPr bwMode="auto">
                <a:xfrm>
                  <a:off x="5428" y="2492"/>
                  <a:ext cx="6" cy="9"/>
                </a:xfrm>
                <a:custGeom>
                  <a:avLst/>
                  <a:gdLst>
                    <a:gd name="T0" fmla="*/ 1 w 19"/>
                    <a:gd name="T1" fmla="*/ 1 h 25"/>
                    <a:gd name="T2" fmla="*/ 1 w 19"/>
                    <a:gd name="T3" fmla="*/ 1 h 25"/>
                    <a:gd name="T4" fmla="*/ 1 w 19"/>
                    <a:gd name="T5" fmla="*/ 0 h 25"/>
                    <a:gd name="T6" fmla="*/ 1 w 19"/>
                    <a:gd name="T7" fmla="*/ 0 h 25"/>
                    <a:gd name="T8" fmla="*/ 1 w 19"/>
                    <a:gd name="T9" fmla="*/ 0 h 25"/>
                    <a:gd name="T10" fmla="*/ 1 w 19"/>
                    <a:gd name="T11" fmla="*/ 0 h 25"/>
                    <a:gd name="T12" fmla="*/ 1 w 19"/>
                    <a:gd name="T13" fmla="*/ 0 h 25"/>
                    <a:gd name="T14" fmla="*/ 0 w 19"/>
                    <a:gd name="T15" fmla="*/ 0 h 25"/>
                    <a:gd name="T16" fmla="*/ 0 w 19"/>
                    <a:gd name="T17" fmla="*/ 0 h 25"/>
                    <a:gd name="T18" fmla="*/ 0 w 19"/>
                    <a:gd name="T19" fmla="*/ 1 h 25"/>
                    <a:gd name="T20" fmla="*/ 0 w 19"/>
                    <a:gd name="T21" fmla="*/ 1 h 25"/>
                    <a:gd name="T22" fmla="*/ 0 w 19"/>
                    <a:gd name="T23" fmla="*/ 1 h 25"/>
                    <a:gd name="T24" fmla="*/ 1 w 19"/>
                    <a:gd name="T25" fmla="*/ 1 h 25"/>
                    <a:gd name="T26" fmla="*/ 1 w 19"/>
                    <a:gd name="T27" fmla="*/ 1 h 2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9" h="25">
                      <a:moveTo>
                        <a:pt x="19" y="25"/>
                      </a:moveTo>
                      <a:lnTo>
                        <a:pt x="18" y="20"/>
                      </a:lnTo>
                      <a:lnTo>
                        <a:pt x="17" y="12"/>
                      </a:lnTo>
                      <a:lnTo>
                        <a:pt x="16" y="9"/>
                      </a:lnTo>
                      <a:lnTo>
                        <a:pt x="17" y="6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" y="7"/>
                      </a:lnTo>
                      <a:lnTo>
                        <a:pt x="5" y="15"/>
                      </a:lnTo>
                      <a:lnTo>
                        <a:pt x="7" y="19"/>
                      </a:lnTo>
                      <a:lnTo>
                        <a:pt x="11" y="23"/>
                      </a:lnTo>
                      <a:lnTo>
                        <a:pt x="15" y="25"/>
                      </a:lnTo>
                      <a:lnTo>
                        <a:pt x="19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7" name="Freeform 96"/>
                <p:cNvSpPr>
                  <a:spLocks/>
                </p:cNvSpPr>
                <p:nvPr/>
              </p:nvSpPr>
              <p:spPr bwMode="auto">
                <a:xfrm>
                  <a:off x="5379" y="2505"/>
                  <a:ext cx="7" cy="6"/>
                </a:xfrm>
                <a:custGeom>
                  <a:avLst/>
                  <a:gdLst>
                    <a:gd name="T0" fmla="*/ 1 w 26"/>
                    <a:gd name="T1" fmla="*/ 1 h 18"/>
                    <a:gd name="T2" fmla="*/ 0 w 26"/>
                    <a:gd name="T3" fmla="*/ 1 h 18"/>
                    <a:gd name="T4" fmla="*/ 0 w 26"/>
                    <a:gd name="T5" fmla="*/ 0 h 18"/>
                    <a:gd name="T6" fmla="*/ 0 w 26"/>
                    <a:gd name="T7" fmla="*/ 0 h 18"/>
                    <a:gd name="T8" fmla="*/ 0 w 26"/>
                    <a:gd name="T9" fmla="*/ 0 h 18"/>
                    <a:gd name="T10" fmla="*/ 0 w 26"/>
                    <a:gd name="T11" fmla="*/ 0 h 18"/>
                    <a:gd name="T12" fmla="*/ 0 w 26"/>
                    <a:gd name="T13" fmla="*/ 0 h 18"/>
                    <a:gd name="T14" fmla="*/ 1 w 26"/>
                    <a:gd name="T15" fmla="*/ 1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6" h="18">
                      <a:moveTo>
                        <a:pt x="26" y="18"/>
                      </a:moveTo>
                      <a:lnTo>
                        <a:pt x="7" y="18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3" y="6"/>
                      </a:lnTo>
                      <a:lnTo>
                        <a:pt x="20" y="12"/>
                      </a:lnTo>
                      <a:lnTo>
                        <a:pt x="26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8" name="Freeform 97"/>
                <p:cNvSpPr>
                  <a:spLocks/>
                </p:cNvSpPr>
                <p:nvPr/>
              </p:nvSpPr>
              <p:spPr bwMode="auto">
                <a:xfrm>
                  <a:off x="5392" y="2466"/>
                  <a:ext cx="5" cy="6"/>
                </a:xfrm>
                <a:custGeom>
                  <a:avLst/>
                  <a:gdLst>
                    <a:gd name="T0" fmla="*/ 0 w 13"/>
                    <a:gd name="T1" fmla="*/ 1 h 18"/>
                    <a:gd name="T2" fmla="*/ 1 w 13"/>
                    <a:gd name="T3" fmla="*/ 0 h 18"/>
                    <a:gd name="T4" fmla="*/ 0 w 13"/>
                    <a:gd name="T5" fmla="*/ 1 h 1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3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9" name="Freeform 98"/>
                <p:cNvSpPr>
                  <a:spLocks/>
                </p:cNvSpPr>
                <p:nvPr/>
              </p:nvSpPr>
              <p:spPr bwMode="auto">
                <a:xfrm>
                  <a:off x="5426" y="2468"/>
                  <a:ext cx="8" cy="8"/>
                </a:xfrm>
                <a:custGeom>
                  <a:avLst/>
                  <a:gdLst>
                    <a:gd name="T0" fmla="*/ 0 w 26"/>
                    <a:gd name="T1" fmla="*/ 1 h 24"/>
                    <a:gd name="T2" fmla="*/ 0 w 26"/>
                    <a:gd name="T3" fmla="*/ 1 h 24"/>
                    <a:gd name="T4" fmla="*/ 0 w 26"/>
                    <a:gd name="T5" fmla="*/ 1 h 24"/>
                    <a:gd name="T6" fmla="*/ 0 w 26"/>
                    <a:gd name="T7" fmla="*/ 1 h 24"/>
                    <a:gd name="T8" fmla="*/ 1 w 26"/>
                    <a:gd name="T9" fmla="*/ 1 h 24"/>
                    <a:gd name="T10" fmla="*/ 1 w 26"/>
                    <a:gd name="T11" fmla="*/ 0 h 24"/>
                    <a:gd name="T12" fmla="*/ 1 w 26"/>
                    <a:gd name="T13" fmla="*/ 0 h 24"/>
                    <a:gd name="T14" fmla="*/ 1 w 26"/>
                    <a:gd name="T15" fmla="*/ 0 h 24"/>
                    <a:gd name="T16" fmla="*/ 1 w 26"/>
                    <a:gd name="T17" fmla="*/ 0 h 24"/>
                    <a:gd name="T18" fmla="*/ 0 w 26"/>
                    <a:gd name="T19" fmla="*/ 1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26" h="24">
                      <a:moveTo>
                        <a:pt x="0" y="24"/>
                      </a:moveTo>
                      <a:lnTo>
                        <a:pt x="3" y="23"/>
                      </a:lnTo>
                      <a:lnTo>
                        <a:pt x="7" y="22"/>
                      </a:lnTo>
                      <a:lnTo>
                        <a:pt x="11" y="19"/>
                      </a:lnTo>
                      <a:lnTo>
                        <a:pt x="16" y="16"/>
                      </a:lnTo>
                      <a:lnTo>
                        <a:pt x="20" y="13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0" name="Freeform 99"/>
                <p:cNvSpPr>
                  <a:spLocks/>
                </p:cNvSpPr>
                <p:nvPr/>
              </p:nvSpPr>
              <p:spPr bwMode="auto">
                <a:xfrm>
                  <a:off x="5490" y="2490"/>
                  <a:ext cx="11" cy="2"/>
                </a:xfrm>
                <a:custGeom>
                  <a:avLst/>
                  <a:gdLst>
                    <a:gd name="T0" fmla="*/ 0 w 34"/>
                    <a:gd name="T1" fmla="*/ 0 h 6"/>
                    <a:gd name="T2" fmla="*/ 0 w 34"/>
                    <a:gd name="T3" fmla="*/ 0 h 6"/>
                    <a:gd name="T4" fmla="*/ 1 w 34"/>
                    <a:gd name="T5" fmla="*/ 0 h 6"/>
                    <a:gd name="T6" fmla="*/ 1 w 34"/>
                    <a:gd name="T7" fmla="*/ 0 h 6"/>
                    <a:gd name="T8" fmla="*/ 1 w 34"/>
                    <a:gd name="T9" fmla="*/ 0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4" h="6">
                      <a:moveTo>
                        <a:pt x="0" y="6"/>
                      </a:moveTo>
                      <a:lnTo>
                        <a:pt x="10" y="6"/>
                      </a:lnTo>
                      <a:lnTo>
                        <a:pt x="17" y="5"/>
                      </a:lnTo>
                      <a:lnTo>
                        <a:pt x="25" y="4"/>
                      </a:lnTo>
                      <a:lnTo>
                        <a:pt x="34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1" name="Line 100"/>
                <p:cNvSpPr>
                  <a:spLocks noChangeShapeType="1"/>
                </p:cNvSpPr>
                <p:nvPr/>
              </p:nvSpPr>
              <p:spPr bwMode="auto">
                <a:xfrm flipH="1">
                  <a:off x="5495" y="2490"/>
                  <a:ext cx="6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2" name="Freeform 101"/>
                <p:cNvSpPr>
                  <a:spLocks/>
                </p:cNvSpPr>
                <p:nvPr/>
              </p:nvSpPr>
              <p:spPr bwMode="auto">
                <a:xfrm>
                  <a:off x="5464" y="2530"/>
                  <a:ext cx="1" cy="7"/>
                </a:xfrm>
                <a:custGeom>
                  <a:avLst/>
                  <a:gdLst>
                    <a:gd name="T0" fmla="*/ 0 w 1"/>
                    <a:gd name="T1" fmla="*/ 1 h 19"/>
                    <a:gd name="T2" fmla="*/ 0 w 1"/>
                    <a:gd name="T3" fmla="*/ 0 h 19"/>
                    <a:gd name="T4" fmla="*/ 0 w 1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" h="19">
                      <a:moveTo>
                        <a:pt x="0" y="19"/>
                      </a:move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3" name="Line 102"/>
                <p:cNvSpPr>
                  <a:spLocks noChangeShapeType="1"/>
                </p:cNvSpPr>
                <p:nvPr/>
              </p:nvSpPr>
              <p:spPr bwMode="auto">
                <a:xfrm>
                  <a:off x="5464" y="2530"/>
                  <a:ext cx="6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404" name="Freeform 103"/>
                <p:cNvSpPr>
                  <a:spLocks/>
                </p:cNvSpPr>
                <p:nvPr/>
              </p:nvSpPr>
              <p:spPr bwMode="auto">
                <a:xfrm>
                  <a:off x="5466" y="2530"/>
                  <a:ext cx="4" cy="2"/>
                </a:xfrm>
                <a:custGeom>
                  <a:avLst/>
                  <a:gdLst>
                    <a:gd name="T0" fmla="*/ 0 w 14"/>
                    <a:gd name="T1" fmla="*/ 0 h 6"/>
                    <a:gd name="T2" fmla="*/ 0 w 14"/>
                    <a:gd name="T3" fmla="*/ 0 h 6"/>
                    <a:gd name="T4" fmla="*/ 0 w 14"/>
                    <a:gd name="T5" fmla="*/ 0 h 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" h="6">
                      <a:moveTo>
                        <a:pt x="14" y="0"/>
                      </a:moveTo>
                      <a:lnTo>
                        <a:pt x="7" y="3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49" name="Freeform 104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2309743" y="3707972"/>
                <a:ext cx="6350" cy="57150"/>
              </a:xfrm>
              <a:custGeom>
                <a:avLst/>
                <a:gdLst>
                  <a:gd name="T0" fmla="*/ 189384598 w 26"/>
                  <a:gd name="T1" fmla="*/ 2147483647 h 111"/>
                  <a:gd name="T2" fmla="*/ 131107717 w 26"/>
                  <a:gd name="T3" fmla="*/ 2147483647 h 111"/>
                  <a:gd name="T4" fmla="*/ 58276637 w 26"/>
                  <a:gd name="T5" fmla="*/ 2147483647 h 111"/>
                  <a:gd name="T6" fmla="*/ 29108644 w 26"/>
                  <a:gd name="T7" fmla="*/ 2147483647 h 111"/>
                  <a:gd name="T8" fmla="*/ 14554200 w 26"/>
                  <a:gd name="T9" fmla="*/ 2147483647 h 111"/>
                  <a:gd name="T10" fmla="*/ 0 w 26"/>
                  <a:gd name="T11" fmla="*/ 2147483647 h 111"/>
                  <a:gd name="T12" fmla="*/ 0 w 26"/>
                  <a:gd name="T13" fmla="*/ 2147483647 h 111"/>
                  <a:gd name="T14" fmla="*/ 0 w 26"/>
                  <a:gd name="T15" fmla="*/ 2147483647 h 111"/>
                  <a:gd name="T16" fmla="*/ 14554200 w 26"/>
                  <a:gd name="T17" fmla="*/ 2147483647 h 111"/>
                  <a:gd name="T18" fmla="*/ 43722437 w 26"/>
                  <a:gd name="T19" fmla="*/ 2147483647 h 111"/>
                  <a:gd name="T20" fmla="*/ 72831081 w 26"/>
                  <a:gd name="T21" fmla="*/ 2147483647 h 111"/>
                  <a:gd name="T22" fmla="*/ 131107717 w 26"/>
                  <a:gd name="T23" fmla="*/ 2147483647 h 111"/>
                  <a:gd name="T24" fmla="*/ 203938798 w 26"/>
                  <a:gd name="T25" fmla="*/ 2147483647 h 111"/>
                  <a:gd name="T26" fmla="*/ 291383671 w 26"/>
                  <a:gd name="T27" fmla="*/ 1228407843 h 111"/>
                  <a:gd name="T28" fmla="*/ 378768952 w 26"/>
                  <a:gd name="T29" fmla="*/ 0 h 111"/>
                  <a:gd name="T30" fmla="*/ 378768952 w 26"/>
                  <a:gd name="T31" fmla="*/ 818850349 h 111"/>
                  <a:gd name="T32" fmla="*/ 378768952 w 26"/>
                  <a:gd name="T33" fmla="*/ 1774219691 h 111"/>
                  <a:gd name="T34" fmla="*/ 378768952 w 26"/>
                  <a:gd name="T35" fmla="*/ 2147483647 h 111"/>
                  <a:gd name="T36" fmla="*/ 378768952 w 26"/>
                  <a:gd name="T37" fmla="*/ 2147483647 h 111"/>
                  <a:gd name="T38" fmla="*/ 364214752 w 26"/>
                  <a:gd name="T39" fmla="*/ 2147483647 h 111"/>
                  <a:gd name="T40" fmla="*/ 320492315 w 26"/>
                  <a:gd name="T41" fmla="*/ 2147483647 h 111"/>
                  <a:gd name="T42" fmla="*/ 262215435 w 26"/>
                  <a:gd name="T43" fmla="*/ 2147483647 h 111"/>
                  <a:gd name="T44" fmla="*/ 189384598 w 26"/>
                  <a:gd name="T45" fmla="*/ 2147483647 h 111"/>
                  <a:gd name="T46" fmla="*/ 189384598 w 26"/>
                  <a:gd name="T47" fmla="*/ 2147483647 h 11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6" h="111">
                    <a:moveTo>
                      <a:pt x="13" y="111"/>
                    </a:moveTo>
                    <a:lnTo>
                      <a:pt x="9" y="103"/>
                    </a:lnTo>
                    <a:lnTo>
                      <a:pt x="4" y="95"/>
                    </a:lnTo>
                    <a:lnTo>
                      <a:pt x="2" y="91"/>
                    </a:lnTo>
                    <a:lnTo>
                      <a:pt x="1" y="87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1"/>
                    </a:lnTo>
                    <a:lnTo>
                      <a:pt x="1" y="51"/>
                    </a:lnTo>
                    <a:lnTo>
                      <a:pt x="3" y="41"/>
                    </a:lnTo>
                    <a:lnTo>
                      <a:pt x="5" y="33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20" y="9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6" y="13"/>
                    </a:lnTo>
                    <a:lnTo>
                      <a:pt x="26" y="22"/>
                    </a:lnTo>
                    <a:lnTo>
                      <a:pt x="26" y="32"/>
                    </a:lnTo>
                    <a:lnTo>
                      <a:pt x="25" y="44"/>
                    </a:lnTo>
                    <a:lnTo>
                      <a:pt x="22" y="56"/>
                    </a:lnTo>
                    <a:lnTo>
                      <a:pt x="18" y="67"/>
                    </a:lnTo>
                    <a:lnTo>
                      <a:pt x="13" y="80"/>
                    </a:lnTo>
                    <a:lnTo>
                      <a:pt x="13" y="11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0" name="Freeform 107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3665468" y="2457022"/>
                <a:ext cx="20637" cy="57150"/>
              </a:xfrm>
              <a:custGeom>
                <a:avLst/>
                <a:gdLst>
                  <a:gd name="T0" fmla="*/ 2147483647 w 46"/>
                  <a:gd name="T1" fmla="*/ 0 h 16"/>
                  <a:gd name="T2" fmla="*/ 2147483647 w 46"/>
                  <a:gd name="T3" fmla="*/ 2147483647 h 16"/>
                  <a:gd name="T4" fmla="*/ 2147483647 w 46"/>
                  <a:gd name="T5" fmla="*/ 2147483647 h 16"/>
                  <a:gd name="T6" fmla="*/ 2147483647 w 46"/>
                  <a:gd name="T7" fmla="*/ 2147483647 h 16"/>
                  <a:gd name="T8" fmla="*/ 2147483647 w 46"/>
                  <a:gd name="T9" fmla="*/ 2147483647 h 16"/>
                  <a:gd name="T10" fmla="*/ 2147483647 w 46"/>
                  <a:gd name="T11" fmla="*/ 2147483647 h 16"/>
                  <a:gd name="T12" fmla="*/ 2076897362 w 46"/>
                  <a:gd name="T13" fmla="*/ 2147483647 h 16"/>
                  <a:gd name="T14" fmla="*/ 1444710682 w 46"/>
                  <a:gd name="T15" fmla="*/ 2147483647 h 16"/>
                  <a:gd name="T16" fmla="*/ 993263745 w 46"/>
                  <a:gd name="T17" fmla="*/ 2147483647 h 16"/>
                  <a:gd name="T18" fmla="*/ 451446937 w 46"/>
                  <a:gd name="T19" fmla="*/ 2147483647 h 16"/>
                  <a:gd name="T20" fmla="*/ 0 w 46"/>
                  <a:gd name="T21" fmla="*/ 0 h 16"/>
                  <a:gd name="T22" fmla="*/ 2147483647 w 46"/>
                  <a:gd name="T23" fmla="*/ 0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6" h="16">
                    <a:moveTo>
                      <a:pt x="46" y="0"/>
                    </a:moveTo>
                    <a:lnTo>
                      <a:pt x="40" y="7"/>
                    </a:lnTo>
                    <a:lnTo>
                      <a:pt x="35" y="13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6" y="16"/>
                    </a:lnTo>
                    <a:lnTo>
                      <a:pt x="23" y="16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1" name="Freeform 108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13841680" y="2490360"/>
                <a:ext cx="15875" cy="57150"/>
              </a:xfrm>
              <a:custGeom>
                <a:avLst/>
                <a:gdLst>
                  <a:gd name="T0" fmla="*/ 2147483647 w 39"/>
                  <a:gd name="T1" fmla="*/ 2147483647 h 26"/>
                  <a:gd name="T2" fmla="*/ 2147483647 w 39"/>
                  <a:gd name="T3" fmla="*/ 2147483647 h 26"/>
                  <a:gd name="T4" fmla="*/ 2147483647 w 39"/>
                  <a:gd name="T5" fmla="*/ 2147483647 h 26"/>
                  <a:gd name="T6" fmla="*/ 1888377247 w 39"/>
                  <a:gd name="T7" fmla="*/ 2147483647 h 26"/>
                  <a:gd name="T8" fmla="*/ 1686069096 w 39"/>
                  <a:gd name="T9" fmla="*/ 2147483647 h 26"/>
                  <a:gd name="T10" fmla="*/ 1214016202 w 39"/>
                  <a:gd name="T11" fmla="*/ 2147483647 h 26"/>
                  <a:gd name="T12" fmla="*/ 809399494 w 39"/>
                  <a:gd name="T13" fmla="*/ 2147483647 h 26"/>
                  <a:gd name="T14" fmla="*/ 472052894 w 39"/>
                  <a:gd name="T15" fmla="*/ 2147483647 h 26"/>
                  <a:gd name="T16" fmla="*/ 202308558 w 39"/>
                  <a:gd name="T17" fmla="*/ 2147483647 h 26"/>
                  <a:gd name="T18" fmla="*/ 67436186 w 39"/>
                  <a:gd name="T19" fmla="*/ 2147483647 h 26"/>
                  <a:gd name="T20" fmla="*/ 0 w 39"/>
                  <a:gd name="T21" fmla="*/ 0 h 26"/>
                  <a:gd name="T22" fmla="*/ 741963308 w 39"/>
                  <a:gd name="T23" fmla="*/ 2147483647 h 26"/>
                  <a:gd name="T24" fmla="*/ 1483760538 w 39"/>
                  <a:gd name="T25" fmla="*/ 2147483647 h 26"/>
                  <a:gd name="T26" fmla="*/ 2147483647 w 39"/>
                  <a:gd name="T27" fmla="*/ 2147483647 h 26"/>
                  <a:gd name="T28" fmla="*/ 2147483647 w 39"/>
                  <a:gd name="T29" fmla="*/ 2147483647 h 2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9" h="26">
                    <a:moveTo>
                      <a:pt x="39" y="25"/>
                    </a:moveTo>
                    <a:lnTo>
                      <a:pt x="36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2" y="18"/>
                    </a:lnTo>
                    <a:lnTo>
                      <a:pt x="7" y="13"/>
                    </a:lnTo>
                    <a:lnTo>
                      <a:pt x="3" y="7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22" y="13"/>
                    </a:lnTo>
                    <a:lnTo>
                      <a:pt x="33" y="20"/>
                    </a:lnTo>
                    <a:lnTo>
                      <a:pt x="3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2" name="Freeform 109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13290818" y="2720547"/>
                <a:ext cx="4762" cy="58738"/>
              </a:xfrm>
              <a:custGeom>
                <a:avLst/>
                <a:gdLst>
                  <a:gd name="T0" fmla="*/ 892447719 w 11"/>
                  <a:gd name="T1" fmla="*/ 0 h 25"/>
                  <a:gd name="T2" fmla="*/ 892447719 w 11"/>
                  <a:gd name="T3" fmla="*/ 2147483647 h 25"/>
                  <a:gd name="T4" fmla="*/ 811298910 w 11"/>
                  <a:gd name="T5" fmla="*/ 2147483647 h 25"/>
                  <a:gd name="T6" fmla="*/ 730150533 w 11"/>
                  <a:gd name="T7" fmla="*/ 2147483647 h 25"/>
                  <a:gd name="T8" fmla="*/ 324594803 w 11"/>
                  <a:gd name="T9" fmla="*/ 2147483647 h 25"/>
                  <a:gd name="T10" fmla="*/ 162297185 w 11"/>
                  <a:gd name="T11" fmla="*/ 2147483647 h 25"/>
                  <a:gd name="T12" fmla="*/ 81148809 w 11"/>
                  <a:gd name="T13" fmla="*/ 2147483647 h 25"/>
                  <a:gd name="T14" fmla="*/ 0 w 11"/>
                  <a:gd name="T15" fmla="*/ 2147483647 h 25"/>
                  <a:gd name="T16" fmla="*/ 0 w 11"/>
                  <a:gd name="T17" fmla="*/ 2147483647 h 25"/>
                  <a:gd name="T18" fmla="*/ 81148809 w 11"/>
                  <a:gd name="T19" fmla="*/ 2147483647 h 25"/>
                  <a:gd name="T20" fmla="*/ 243445994 w 11"/>
                  <a:gd name="T21" fmla="*/ 2147483647 h 25"/>
                  <a:gd name="T22" fmla="*/ 486704539 w 11"/>
                  <a:gd name="T23" fmla="*/ 2147483647 h 25"/>
                  <a:gd name="T24" fmla="*/ 892447719 w 11"/>
                  <a:gd name="T25" fmla="*/ 0 h 2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3" name="Freeform 110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13105080" y="3282522"/>
                <a:ext cx="14288" cy="58738"/>
              </a:xfrm>
              <a:custGeom>
                <a:avLst/>
                <a:gdLst>
                  <a:gd name="T0" fmla="*/ 2147483647 w 20"/>
                  <a:gd name="T1" fmla="*/ 0 h 31"/>
                  <a:gd name="T2" fmla="*/ 2147483647 w 20"/>
                  <a:gd name="T3" fmla="*/ 2147483647 h 31"/>
                  <a:gd name="T4" fmla="*/ 2147483647 w 20"/>
                  <a:gd name="T5" fmla="*/ 2147483647 h 31"/>
                  <a:gd name="T6" fmla="*/ 1823032353 w 20"/>
                  <a:gd name="T7" fmla="*/ 2147483647 h 31"/>
                  <a:gd name="T8" fmla="*/ 0 w 20"/>
                  <a:gd name="T9" fmla="*/ 2147483647 h 31"/>
                  <a:gd name="T10" fmla="*/ 0 w 20"/>
                  <a:gd name="T11" fmla="*/ 2147483647 h 31"/>
                  <a:gd name="T12" fmla="*/ 364402581 w 20"/>
                  <a:gd name="T13" fmla="*/ 2147483647 h 31"/>
                  <a:gd name="T14" fmla="*/ 729315243 w 20"/>
                  <a:gd name="T15" fmla="*/ 2147483647 h 31"/>
                  <a:gd name="T16" fmla="*/ 1823032353 w 20"/>
                  <a:gd name="T17" fmla="*/ 2147483647 h 31"/>
                  <a:gd name="T18" fmla="*/ 2147483647 w 20"/>
                  <a:gd name="T19" fmla="*/ 2147483647 h 31"/>
                  <a:gd name="T20" fmla="*/ 2147483647 w 20"/>
                  <a:gd name="T21" fmla="*/ 2147483647 h 31"/>
                  <a:gd name="T22" fmla="*/ 2147483647 w 20"/>
                  <a:gd name="T23" fmla="*/ 0 h 31"/>
                  <a:gd name="T24" fmla="*/ 2147483647 w 20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4" name="Freeform 111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3122543" y="3217435"/>
                <a:ext cx="15875" cy="57150"/>
              </a:xfrm>
              <a:custGeom>
                <a:avLst/>
                <a:gdLst>
                  <a:gd name="T0" fmla="*/ 2147483647 w 26"/>
                  <a:gd name="T1" fmla="*/ 2147483647 h 37"/>
                  <a:gd name="T2" fmla="*/ 0 w 26"/>
                  <a:gd name="T3" fmla="*/ 2147483647 h 37"/>
                  <a:gd name="T4" fmla="*/ 1365581543 w 26"/>
                  <a:gd name="T5" fmla="*/ 2147483647 h 37"/>
                  <a:gd name="T6" fmla="*/ 2147483647 w 26"/>
                  <a:gd name="T7" fmla="*/ 2147483647 h 37"/>
                  <a:gd name="T8" fmla="*/ 2147483647 w 26"/>
                  <a:gd name="T9" fmla="*/ 2147483647 h 37"/>
                  <a:gd name="T10" fmla="*/ 2147483647 w 26"/>
                  <a:gd name="T11" fmla="*/ 0 h 37"/>
                  <a:gd name="T12" fmla="*/ 2147483647 w 26"/>
                  <a:gd name="T13" fmla="*/ 2147483647 h 37"/>
                  <a:gd name="T14" fmla="*/ 2147483647 w 26"/>
                  <a:gd name="T15" fmla="*/ 2147483647 h 37"/>
                  <a:gd name="T16" fmla="*/ 2147483647 w 26"/>
                  <a:gd name="T17" fmla="*/ 2147483647 h 37"/>
                  <a:gd name="T18" fmla="*/ 2147483647 w 26"/>
                  <a:gd name="T19" fmla="*/ 2147483647 h 37"/>
                  <a:gd name="T20" fmla="*/ 2147483647 w 26"/>
                  <a:gd name="T21" fmla="*/ 2147483647 h 37"/>
                  <a:gd name="T22" fmla="*/ 2147483647 w 26"/>
                  <a:gd name="T23" fmla="*/ 2147483647 h 3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5" name="Freeform 112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13011418" y="3066622"/>
                <a:ext cx="1587" cy="60325"/>
              </a:xfrm>
              <a:custGeom>
                <a:avLst/>
                <a:gdLst>
                  <a:gd name="T0" fmla="*/ 0 w 7"/>
                  <a:gd name="T1" fmla="*/ 2147483647 h 18"/>
                  <a:gd name="T2" fmla="*/ 0 w 7"/>
                  <a:gd name="T3" fmla="*/ 0 h 18"/>
                  <a:gd name="T4" fmla="*/ 81570893 w 7"/>
                  <a:gd name="T5" fmla="*/ 2147483647 h 18"/>
                  <a:gd name="T6" fmla="*/ 0 w 7"/>
                  <a:gd name="T7" fmla="*/ 2147483647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8">
                    <a:moveTo>
                      <a:pt x="0" y="18"/>
                    </a:moveTo>
                    <a:lnTo>
                      <a:pt x="0" y="0"/>
                    </a:lnTo>
                    <a:lnTo>
                      <a:pt x="7" y="12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6" name="Freeform 113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9863405" y="2193497"/>
                <a:ext cx="9525" cy="57150"/>
              </a:xfrm>
              <a:custGeom>
                <a:avLst/>
                <a:gdLst>
                  <a:gd name="T0" fmla="*/ 0 w 33"/>
                  <a:gd name="T1" fmla="*/ 2147483647 h 31"/>
                  <a:gd name="T2" fmla="*/ 456877305 w 33"/>
                  <a:gd name="T3" fmla="*/ 0 h 31"/>
                  <a:gd name="T4" fmla="*/ 577094927 w 33"/>
                  <a:gd name="T5" fmla="*/ 2147483647 h 31"/>
                  <a:gd name="T6" fmla="*/ 673319075 w 33"/>
                  <a:gd name="T7" fmla="*/ 2147483647 h 31"/>
                  <a:gd name="T8" fmla="*/ 769459807 w 33"/>
                  <a:gd name="T9" fmla="*/ 2147483647 h 31"/>
                  <a:gd name="T10" fmla="*/ 793536698 w 33"/>
                  <a:gd name="T11" fmla="*/ 2147483647 h 31"/>
                  <a:gd name="T12" fmla="*/ 649242184 w 33"/>
                  <a:gd name="T13" fmla="*/ 2147483647 h 31"/>
                  <a:gd name="T14" fmla="*/ 529024561 w 33"/>
                  <a:gd name="T15" fmla="*/ 2147483647 h 31"/>
                  <a:gd name="T16" fmla="*/ 384730048 w 33"/>
                  <a:gd name="T17" fmla="*/ 2147483647 h 31"/>
                  <a:gd name="T18" fmla="*/ 264512136 w 33"/>
                  <a:gd name="T19" fmla="*/ 2147483647 h 31"/>
                  <a:gd name="T20" fmla="*/ 72147257 w 33"/>
                  <a:gd name="T21" fmla="*/ 2147483647 h 31"/>
                  <a:gd name="T22" fmla="*/ 0 w 33"/>
                  <a:gd name="T23" fmla="*/ 2147483647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3" h="31">
                    <a:moveTo>
                      <a:pt x="0" y="12"/>
                    </a:moveTo>
                    <a:lnTo>
                      <a:pt x="19" y="0"/>
                    </a:lnTo>
                    <a:lnTo>
                      <a:pt x="24" y="5"/>
                    </a:lnTo>
                    <a:lnTo>
                      <a:pt x="28" y="12"/>
                    </a:lnTo>
                    <a:lnTo>
                      <a:pt x="32" y="22"/>
                    </a:lnTo>
                    <a:lnTo>
                      <a:pt x="33" y="31"/>
                    </a:lnTo>
                    <a:lnTo>
                      <a:pt x="27" y="30"/>
                    </a:lnTo>
                    <a:lnTo>
                      <a:pt x="22" y="28"/>
                    </a:lnTo>
                    <a:lnTo>
                      <a:pt x="16" y="25"/>
                    </a:lnTo>
                    <a:lnTo>
                      <a:pt x="11" y="22"/>
                    </a:lnTo>
                    <a:lnTo>
                      <a:pt x="3" y="15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7" name="Freeform 114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9849118" y="1961722"/>
                <a:ext cx="3175" cy="57150"/>
              </a:xfrm>
              <a:custGeom>
                <a:avLst/>
                <a:gdLst>
                  <a:gd name="T0" fmla="*/ 163295920 w 14"/>
                  <a:gd name="T1" fmla="*/ 0 h 6"/>
                  <a:gd name="T2" fmla="*/ 0 w 14"/>
                  <a:gd name="T3" fmla="*/ 2147483647 h 6"/>
                  <a:gd name="T4" fmla="*/ 163295920 w 14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0" y="6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8" name="Freeform 115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1330255" y="3739722"/>
                <a:ext cx="25400" cy="55563"/>
              </a:xfrm>
              <a:custGeom>
                <a:avLst/>
                <a:gdLst>
                  <a:gd name="T0" fmla="*/ 2147483647 w 59"/>
                  <a:gd name="T1" fmla="*/ 2147483647 h 31"/>
                  <a:gd name="T2" fmla="*/ 2147483647 w 59"/>
                  <a:gd name="T3" fmla="*/ 2147483647 h 31"/>
                  <a:gd name="T4" fmla="*/ 2147483647 w 59"/>
                  <a:gd name="T5" fmla="*/ 2147483647 h 31"/>
                  <a:gd name="T6" fmla="*/ 2147483647 w 59"/>
                  <a:gd name="T7" fmla="*/ 2147483647 h 31"/>
                  <a:gd name="T8" fmla="*/ 2147483647 w 59"/>
                  <a:gd name="T9" fmla="*/ 2147483647 h 31"/>
                  <a:gd name="T10" fmla="*/ 2147483647 w 59"/>
                  <a:gd name="T11" fmla="*/ 2147483647 h 31"/>
                  <a:gd name="T12" fmla="*/ 2147483647 w 59"/>
                  <a:gd name="T13" fmla="*/ 2147483647 h 31"/>
                  <a:gd name="T14" fmla="*/ 2147483647 w 59"/>
                  <a:gd name="T15" fmla="*/ 2147483647 h 31"/>
                  <a:gd name="T16" fmla="*/ 2074483007 w 59"/>
                  <a:gd name="T17" fmla="*/ 2147483647 h 31"/>
                  <a:gd name="T18" fmla="*/ 1675636708 w 59"/>
                  <a:gd name="T19" fmla="*/ 2147483647 h 31"/>
                  <a:gd name="T20" fmla="*/ 1356485708 w 59"/>
                  <a:gd name="T21" fmla="*/ 2147483647 h 31"/>
                  <a:gd name="T22" fmla="*/ 1117029576 w 59"/>
                  <a:gd name="T23" fmla="*/ 2147483647 h 31"/>
                  <a:gd name="T24" fmla="*/ 877758563 w 59"/>
                  <a:gd name="T25" fmla="*/ 2147483647 h 31"/>
                  <a:gd name="T26" fmla="*/ 319151431 w 59"/>
                  <a:gd name="T27" fmla="*/ 2147483647 h 31"/>
                  <a:gd name="T28" fmla="*/ 0 w 59"/>
                  <a:gd name="T29" fmla="*/ 2147483647 h 31"/>
                  <a:gd name="T30" fmla="*/ 79880417 w 59"/>
                  <a:gd name="T31" fmla="*/ 2147483647 h 31"/>
                  <a:gd name="T32" fmla="*/ 239456132 w 59"/>
                  <a:gd name="T33" fmla="*/ 2147483647 h 31"/>
                  <a:gd name="T34" fmla="*/ 399031847 w 59"/>
                  <a:gd name="T35" fmla="*/ 2147483647 h 31"/>
                  <a:gd name="T36" fmla="*/ 638302431 w 59"/>
                  <a:gd name="T37" fmla="*/ 2147483647 h 31"/>
                  <a:gd name="T38" fmla="*/ 1276604861 w 59"/>
                  <a:gd name="T39" fmla="*/ 2147483647 h 31"/>
                  <a:gd name="T40" fmla="*/ 1914907722 w 59"/>
                  <a:gd name="T41" fmla="*/ 0 h 31"/>
                  <a:gd name="T42" fmla="*/ 2147483647 w 59"/>
                  <a:gd name="T43" fmla="*/ 0 h 31"/>
                  <a:gd name="T44" fmla="*/ 2147483647 w 59"/>
                  <a:gd name="T45" fmla="*/ 2147483647 h 31"/>
                  <a:gd name="T46" fmla="*/ 2147483647 w 59"/>
                  <a:gd name="T47" fmla="*/ 2147483647 h 31"/>
                  <a:gd name="T48" fmla="*/ 2147483647 w 59"/>
                  <a:gd name="T49" fmla="*/ 2147483647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59" name="Freeform 116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1033393" y="3601610"/>
                <a:ext cx="19050" cy="58737"/>
              </a:xfrm>
              <a:custGeom>
                <a:avLst/>
                <a:gdLst>
                  <a:gd name="T0" fmla="*/ 932145278 w 47"/>
                  <a:gd name="T1" fmla="*/ 0 h 68"/>
                  <a:gd name="T2" fmla="*/ 532771755 w 47"/>
                  <a:gd name="T3" fmla="*/ 2147483647 h 68"/>
                  <a:gd name="T4" fmla="*/ 266303598 w 47"/>
                  <a:gd name="T5" fmla="*/ 2147483647 h 68"/>
                  <a:gd name="T6" fmla="*/ 133234079 w 47"/>
                  <a:gd name="T7" fmla="*/ 2147483647 h 68"/>
                  <a:gd name="T8" fmla="*/ 0 w 47"/>
                  <a:gd name="T9" fmla="*/ 2147483647 h 68"/>
                  <a:gd name="T10" fmla="*/ 0 w 47"/>
                  <a:gd name="T11" fmla="*/ 2147483647 h 68"/>
                  <a:gd name="T12" fmla="*/ 133234079 w 47"/>
                  <a:gd name="T13" fmla="*/ 2147483647 h 68"/>
                  <a:gd name="T14" fmla="*/ 199768838 w 47"/>
                  <a:gd name="T15" fmla="*/ 2147483647 h 68"/>
                  <a:gd name="T16" fmla="*/ 333002917 w 47"/>
                  <a:gd name="T17" fmla="*/ 2147483647 h 68"/>
                  <a:gd name="T18" fmla="*/ 466072436 w 47"/>
                  <a:gd name="T19" fmla="*/ 2147483647 h 68"/>
                  <a:gd name="T20" fmla="*/ 599306515 w 47"/>
                  <a:gd name="T21" fmla="*/ 2147483647 h 68"/>
                  <a:gd name="T22" fmla="*/ 865610518 w 47"/>
                  <a:gd name="T23" fmla="*/ 2147483647 h 68"/>
                  <a:gd name="T24" fmla="*/ 1065379356 w 47"/>
                  <a:gd name="T25" fmla="*/ 2147483647 h 68"/>
                  <a:gd name="T26" fmla="*/ 1464917033 w 47"/>
                  <a:gd name="T27" fmla="*/ 2147483647 h 68"/>
                  <a:gd name="T28" fmla="*/ 2064223548 w 47"/>
                  <a:gd name="T29" fmla="*/ 2147483647 h 68"/>
                  <a:gd name="T30" fmla="*/ 2147483647 w 47"/>
                  <a:gd name="T31" fmla="*/ 2147483647 h 68"/>
                  <a:gd name="T32" fmla="*/ 2147483647 w 47"/>
                  <a:gd name="T33" fmla="*/ 2147483647 h 68"/>
                  <a:gd name="T34" fmla="*/ 2147483647 w 47"/>
                  <a:gd name="T35" fmla="*/ 2147483647 h 68"/>
                  <a:gd name="T36" fmla="*/ 2147483647 w 47"/>
                  <a:gd name="T37" fmla="*/ 2147483647 h 68"/>
                  <a:gd name="T38" fmla="*/ 2147483647 w 47"/>
                  <a:gd name="T39" fmla="*/ 2147483647 h 68"/>
                  <a:gd name="T40" fmla="*/ 2147483647 w 47"/>
                  <a:gd name="T41" fmla="*/ 2147483647 h 68"/>
                  <a:gd name="T42" fmla="*/ 2147483647 w 47"/>
                  <a:gd name="T43" fmla="*/ 2147483647 h 68"/>
                  <a:gd name="T44" fmla="*/ 2147483647 w 47"/>
                  <a:gd name="T45" fmla="*/ 2147483647 h 68"/>
                  <a:gd name="T46" fmla="*/ 1598151112 w 47"/>
                  <a:gd name="T47" fmla="*/ 2147483647 h 68"/>
                  <a:gd name="T48" fmla="*/ 932145278 w 47"/>
                  <a:gd name="T49" fmla="*/ 0 h 6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7" h="68">
                    <a:moveTo>
                      <a:pt x="14" y="0"/>
                    </a:moveTo>
                    <a:lnTo>
                      <a:pt x="8" y="10"/>
                    </a:lnTo>
                    <a:lnTo>
                      <a:pt x="4" y="19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3" y="62"/>
                    </a:lnTo>
                    <a:lnTo>
                      <a:pt x="16" y="64"/>
                    </a:lnTo>
                    <a:lnTo>
                      <a:pt x="22" y="67"/>
                    </a:lnTo>
                    <a:lnTo>
                      <a:pt x="31" y="68"/>
                    </a:lnTo>
                    <a:lnTo>
                      <a:pt x="39" y="68"/>
                    </a:lnTo>
                    <a:lnTo>
                      <a:pt x="47" y="68"/>
                    </a:lnTo>
                    <a:lnTo>
                      <a:pt x="41" y="58"/>
                    </a:lnTo>
                    <a:lnTo>
                      <a:pt x="38" y="48"/>
                    </a:lnTo>
                    <a:lnTo>
                      <a:pt x="36" y="43"/>
                    </a:lnTo>
                    <a:lnTo>
                      <a:pt x="35" y="38"/>
                    </a:lnTo>
                    <a:lnTo>
                      <a:pt x="33" y="31"/>
                    </a:lnTo>
                    <a:lnTo>
                      <a:pt x="33" y="25"/>
                    </a:lnTo>
                    <a:lnTo>
                      <a:pt x="24" y="13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60" name="Group 117"/>
              <p:cNvGrpSpPr>
                <a:grpSpLocks/>
              </p:cNvGrpSpPr>
              <p:nvPr>
                <p:custDataLst>
                  <p:tags r:id="rId56"/>
                </p:custDataLst>
              </p:nvPr>
            </p:nvGrpSpPr>
            <p:grpSpPr bwMode="auto">
              <a:xfrm>
                <a:off x="11804918" y="3788935"/>
                <a:ext cx="46037" cy="374650"/>
                <a:chOff x="3950" y="2430"/>
                <a:chExt cx="36" cy="234"/>
              </a:xfrm>
            </p:grpSpPr>
            <p:sp>
              <p:nvSpPr>
                <p:cNvPr id="365" name="Freeform 118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1 h 20"/>
                    <a:gd name="T4" fmla="*/ 1 w 19"/>
                    <a:gd name="T5" fmla="*/ 0 h 20"/>
                    <a:gd name="T6" fmla="*/ 0 w 19"/>
                    <a:gd name="T7" fmla="*/ 0 h 20"/>
                    <a:gd name="T8" fmla="*/ 0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6" name="Freeform 119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7" name="Freeform 120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0 w 19"/>
                    <a:gd name="T3" fmla="*/ 0 h 1"/>
                    <a:gd name="T4" fmla="*/ 1 w 19"/>
                    <a:gd name="T5" fmla="*/ 0 h 1"/>
                    <a:gd name="T6" fmla="*/ 0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8" name="Rectangle 121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9" name="Line 122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0" name="Freeform 123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0 w 6"/>
                    <a:gd name="T1" fmla="*/ 0 h 3"/>
                    <a:gd name="T2" fmla="*/ 0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1" name="Freeform 124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 w 14"/>
                    <a:gd name="T1" fmla="*/ 0 h 24"/>
                    <a:gd name="T2" fmla="*/ 1 w 14"/>
                    <a:gd name="T3" fmla="*/ 0 h 24"/>
                    <a:gd name="T4" fmla="*/ 0 w 14"/>
                    <a:gd name="T5" fmla="*/ 0 h 24"/>
                    <a:gd name="T6" fmla="*/ 0 w 14"/>
                    <a:gd name="T7" fmla="*/ 1 h 24"/>
                    <a:gd name="T8" fmla="*/ 0 w 14"/>
                    <a:gd name="T9" fmla="*/ 1 h 24"/>
                    <a:gd name="T10" fmla="*/ 0 w 14"/>
                    <a:gd name="T11" fmla="*/ 1 h 24"/>
                    <a:gd name="T12" fmla="*/ 0 w 1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2" name="Line 125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3" name="Freeform 126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0 w 13"/>
                    <a:gd name="T1" fmla="*/ 0 h 12"/>
                    <a:gd name="T2" fmla="*/ 0 w 13"/>
                    <a:gd name="T3" fmla="*/ 0 h 12"/>
                    <a:gd name="T4" fmla="*/ 0 w 13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4" name="Freeform 127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 h 19"/>
                    <a:gd name="T4" fmla="*/ 0 w 7"/>
                    <a:gd name="T5" fmla="*/ 0 h 19"/>
                    <a:gd name="T6" fmla="*/ 0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5" name="Line 128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6" name="Freeform 129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 h 18"/>
                    <a:gd name="T2" fmla="*/ 0 w 8"/>
                    <a:gd name="T3" fmla="*/ 0 h 18"/>
                    <a:gd name="T4" fmla="*/ 0 w 8"/>
                    <a:gd name="T5" fmla="*/ 0 h 18"/>
                    <a:gd name="T6" fmla="*/ 0 w 8"/>
                    <a:gd name="T7" fmla="*/ 1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7" name="Freeform 130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 h 19"/>
                    <a:gd name="T4" fmla="*/ 0 w 6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8" name="Freeform 131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0 h 19"/>
                    <a:gd name="T4" fmla="*/ 1 w 28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79" name="Freeform 132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 w 15"/>
                    <a:gd name="T1" fmla="*/ 0 h 19"/>
                    <a:gd name="T2" fmla="*/ 0 w 15"/>
                    <a:gd name="T3" fmla="*/ 0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0" name="Freeform 133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1 h 20"/>
                    <a:gd name="T4" fmla="*/ 1 w 19"/>
                    <a:gd name="T5" fmla="*/ 0 h 20"/>
                    <a:gd name="T6" fmla="*/ 0 w 19"/>
                    <a:gd name="T7" fmla="*/ 0 h 20"/>
                    <a:gd name="T8" fmla="*/ 0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1" name="Freeform 134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2" name="Freeform 135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0 w 19"/>
                    <a:gd name="T3" fmla="*/ 0 h 1"/>
                    <a:gd name="T4" fmla="*/ 1 w 19"/>
                    <a:gd name="T5" fmla="*/ 0 h 1"/>
                    <a:gd name="T6" fmla="*/ 0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3" name="Rectangle 136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4" name="Line 137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5" name="Freeform 138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0 w 6"/>
                    <a:gd name="T1" fmla="*/ 0 h 3"/>
                    <a:gd name="T2" fmla="*/ 0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6" name="Freeform 139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 w 14"/>
                    <a:gd name="T1" fmla="*/ 0 h 24"/>
                    <a:gd name="T2" fmla="*/ 1 w 14"/>
                    <a:gd name="T3" fmla="*/ 0 h 24"/>
                    <a:gd name="T4" fmla="*/ 0 w 14"/>
                    <a:gd name="T5" fmla="*/ 0 h 24"/>
                    <a:gd name="T6" fmla="*/ 0 w 14"/>
                    <a:gd name="T7" fmla="*/ 1 h 24"/>
                    <a:gd name="T8" fmla="*/ 0 w 14"/>
                    <a:gd name="T9" fmla="*/ 1 h 24"/>
                    <a:gd name="T10" fmla="*/ 0 w 14"/>
                    <a:gd name="T11" fmla="*/ 1 h 24"/>
                    <a:gd name="T12" fmla="*/ 0 w 1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7" name="Line 140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8" name="Freeform 141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0 w 13"/>
                    <a:gd name="T1" fmla="*/ 0 h 12"/>
                    <a:gd name="T2" fmla="*/ 0 w 13"/>
                    <a:gd name="T3" fmla="*/ 0 h 12"/>
                    <a:gd name="T4" fmla="*/ 0 w 13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89" name="Freeform 142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 h 19"/>
                    <a:gd name="T4" fmla="*/ 0 w 7"/>
                    <a:gd name="T5" fmla="*/ 0 h 19"/>
                    <a:gd name="T6" fmla="*/ 0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0" name="Line 143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1" name="Freeform 144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 h 18"/>
                    <a:gd name="T2" fmla="*/ 0 w 8"/>
                    <a:gd name="T3" fmla="*/ 0 h 18"/>
                    <a:gd name="T4" fmla="*/ 0 w 8"/>
                    <a:gd name="T5" fmla="*/ 0 h 18"/>
                    <a:gd name="T6" fmla="*/ 0 w 8"/>
                    <a:gd name="T7" fmla="*/ 1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2" name="Freeform 145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 h 19"/>
                    <a:gd name="T4" fmla="*/ 0 w 6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3" name="Freeform 146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0 h 19"/>
                    <a:gd name="T4" fmla="*/ 1 w 28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4" name="Freeform 147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 w 15"/>
                    <a:gd name="T1" fmla="*/ 0 h 19"/>
                    <a:gd name="T2" fmla="*/ 0 w 15"/>
                    <a:gd name="T3" fmla="*/ 0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95" name="Freeform 148"/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1 w 20"/>
                    <a:gd name="T1" fmla="*/ 1 h 18"/>
                    <a:gd name="T2" fmla="*/ 1 w 20"/>
                    <a:gd name="T3" fmla="*/ 0 h 18"/>
                    <a:gd name="T4" fmla="*/ 0 w 20"/>
                    <a:gd name="T5" fmla="*/ 0 h 18"/>
                    <a:gd name="T6" fmla="*/ 1 w 20"/>
                    <a:gd name="T7" fmla="*/ 1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grpSp>
            <p:nvGrpSpPr>
              <p:cNvPr id="61" name="Group 149"/>
              <p:cNvGrpSpPr>
                <a:grpSpLocks/>
              </p:cNvGrpSpPr>
              <p:nvPr>
                <p:custDataLst>
                  <p:tags r:id="rId57"/>
                </p:custDataLst>
              </p:nvPr>
            </p:nvGrpSpPr>
            <p:grpSpPr bwMode="auto">
              <a:xfrm>
                <a:off x="13870255" y="4288997"/>
                <a:ext cx="185738" cy="214313"/>
                <a:chOff x="5486" y="2743"/>
                <a:chExt cx="137" cy="132"/>
              </a:xfrm>
            </p:grpSpPr>
            <p:sp>
              <p:nvSpPr>
                <p:cNvPr id="356" name="Freeform 150"/>
                <p:cNvSpPr>
                  <a:spLocks/>
                </p:cNvSpPr>
                <p:nvPr/>
              </p:nvSpPr>
              <p:spPr bwMode="auto">
                <a:xfrm>
                  <a:off x="5595" y="2806"/>
                  <a:ext cx="13" cy="28"/>
                </a:xfrm>
                <a:custGeom>
                  <a:avLst/>
                  <a:gdLst>
                    <a:gd name="T0" fmla="*/ 0 w 40"/>
                    <a:gd name="T1" fmla="*/ 1 h 87"/>
                    <a:gd name="T2" fmla="*/ 0 w 40"/>
                    <a:gd name="T3" fmla="*/ 2 h 87"/>
                    <a:gd name="T4" fmla="*/ 0 w 40"/>
                    <a:gd name="T5" fmla="*/ 2 h 87"/>
                    <a:gd name="T6" fmla="*/ 0 w 40"/>
                    <a:gd name="T7" fmla="*/ 2 h 87"/>
                    <a:gd name="T8" fmla="*/ 0 w 40"/>
                    <a:gd name="T9" fmla="*/ 2 h 87"/>
                    <a:gd name="T10" fmla="*/ 1 w 40"/>
                    <a:gd name="T11" fmla="*/ 2 h 87"/>
                    <a:gd name="T12" fmla="*/ 1 w 40"/>
                    <a:gd name="T13" fmla="*/ 3 h 87"/>
                    <a:gd name="T14" fmla="*/ 1 w 40"/>
                    <a:gd name="T15" fmla="*/ 3 h 87"/>
                    <a:gd name="T16" fmla="*/ 1 w 40"/>
                    <a:gd name="T17" fmla="*/ 3 h 87"/>
                    <a:gd name="T18" fmla="*/ 1 w 40"/>
                    <a:gd name="T19" fmla="*/ 3 h 87"/>
                    <a:gd name="T20" fmla="*/ 1 w 40"/>
                    <a:gd name="T21" fmla="*/ 3 h 87"/>
                    <a:gd name="T22" fmla="*/ 1 w 40"/>
                    <a:gd name="T23" fmla="*/ 2 h 87"/>
                    <a:gd name="T24" fmla="*/ 1 w 40"/>
                    <a:gd name="T25" fmla="*/ 2 h 87"/>
                    <a:gd name="T26" fmla="*/ 1 w 40"/>
                    <a:gd name="T27" fmla="*/ 2 h 87"/>
                    <a:gd name="T28" fmla="*/ 1 w 40"/>
                    <a:gd name="T29" fmla="*/ 1 h 87"/>
                    <a:gd name="T30" fmla="*/ 1 w 40"/>
                    <a:gd name="T31" fmla="*/ 1 h 87"/>
                    <a:gd name="T32" fmla="*/ 0 w 40"/>
                    <a:gd name="T33" fmla="*/ 1 h 87"/>
                    <a:gd name="T34" fmla="*/ 0 w 40"/>
                    <a:gd name="T35" fmla="*/ 0 h 87"/>
                    <a:gd name="T36" fmla="*/ 0 w 40"/>
                    <a:gd name="T37" fmla="*/ 0 h 87"/>
                    <a:gd name="T38" fmla="*/ 0 w 40"/>
                    <a:gd name="T39" fmla="*/ 0 h 87"/>
                    <a:gd name="T40" fmla="*/ 0 w 40"/>
                    <a:gd name="T41" fmla="*/ 0 h 87"/>
                    <a:gd name="T42" fmla="*/ 0 w 40"/>
                    <a:gd name="T43" fmla="*/ 0 h 87"/>
                    <a:gd name="T44" fmla="*/ 0 w 40"/>
                    <a:gd name="T45" fmla="*/ 1 h 87"/>
                    <a:gd name="T46" fmla="*/ 0 w 40"/>
                    <a:gd name="T47" fmla="*/ 1 h 87"/>
                    <a:gd name="T48" fmla="*/ 0 w 40"/>
                    <a:gd name="T49" fmla="*/ 1 h 8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40" h="87">
                      <a:moveTo>
                        <a:pt x="0" y="31"/>
                      </a:moveTo>
                      <a:lnTo>
                        <a:pt x="0" y="42"/>
                      </a:lnTo>
                      <a:lnTo>
                        <a:pt x="2" y="51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5" y="72"/>
                      </a:lnTo>
                      <a:lnTo>
                        <a:pt x="22" y="77"/>
                      </a:lnTo>
                      <a:lnTo>
                        <a:pt x="31" y="82"/>
                      </a:lnTo>
                      <a:lnTo>
                        <a:pt x="40" y="87"/>
                      </a:lnTo>
                      <a:lnTo>
                        <a:pt x="35" y="82"/>
                      </a:lnTo>
                      <a:lnTo>
                        <a:pt x="32" y="77"/>
                      </a:lnTo>
                      <a:lnTo>
                        <a:pt x="29" y="71"/>
                      </a:lnTo>
                      <a:lnTo>
                        <a:pt x="26" y="65"/>
                      </a:lnTo>
                      <a:lnTo>
                        <a:pt x="22" y="52"/>
                      </a:lnTo>
                      <a:lnTo>
                        <a:pt x="20" y="39"/>
                      </a:lnTo>
                      <a:lnTo>
                        <a:pt x="18" y="27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8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7" name="Freeform 151"/>
                <p:cNvSpPr>
                  <a:spLocks/>
                </p:cNvSpPr>
                <p:nvPr/>
              </p:nvSpPr>
              <p:spPr bwMode="auto">
                <a:xfrm>
                  <a:off x="5603" y="2842"/>
                  <a:ext cx="20" cy="12"/>
                </a:xfrm>
                <a:custGeom>
                  <a:avLst/>
                  <a:gdLst>
                    <a:gd name="T0" fmla="*/ 0 w 61"/>
                    <a:gd name="T1" fmla="*/ 1 h 37"/>
                    <a:gd name="T2" fmla="*/ 1 w 61"/>
                    <a:gd name="T3" fmla="*/ 1 h 37"/>
                    <a:gd name="T4" fmla="*/ 1 w 61"/>
                    <a:gd name="T5" fmla="*/ 1 h 37"/>
                    <a:gd name="T6" fmla="*/ 2 w 61"/>
                    <a:gd name="T7" fmla="*/ 1 h 37"/>
                    <a:gd name="T8" fmla="*/ 2 w 61"/>
                    <a:gd name="T9" fmla="*/ 1 h 37"/>
                    <a:gd name="T10" fmla="*/ 2 w 61"/>
                    <a:gd name="T11" fmla="*/ 1 h 37"/>
                    <a:gd name="T12" fmla="*/ 2 w 61"/>
                    <a:gd name="T13" fmla="*/ 1 h 37"/>
                    <a:gd name="T14" fmla="*/ 2 w 61"/>
                    <a:gd name="T15" fmla="*/ 1 h 37"/>
                    <a:gd name="T16" fmla="*/ 1 w 61"/>
                    <a:gd name="T17" fmla="*/ 0 h 37"/>
                    <a:gd name="T18" fmla="*/ 1 w 61"/>
                    <a:gd name="T19" fmla="*/ 0 h 37"/>
                    <a:gd name="T20" fmla="*/ 1 w 61"/>
                    <a:gd name="T21" fmla="*/ 0 h 37"/>
                    <a:gd name="T22" fmla="*/ 0 w 61"/>
                    <a:gd name="T23" fmla="*/ 0 h 37"/>
                    <a:gd name="T24" fmla="*/ 0 w 61"/>
                    <a:gd name="T25" fmla="*/ 0 h 37"/>
                    <a:gd name="T26" fmla="*/ 0 w 61"/>
                    <a:gd name="T27" fmla="*/ 1 h 3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61" h="37">
                      <a:moveTo>
                        <a:pt x="0" y="31"/>
                      </a:moveTo>
                      <a:lnTo>
                        <a:pt x="19" y="32"/>
                      </a:lnTo>
                      <a:lnTo>
                        <a:pt x="35" y="34"/>
                      </a:lnTo>
                      <a:lnTo>
                        <a:pt x="49" y="36"/>
                      </a:lnTo>
                      <a:lnTo>
                        <a:pt x="61" y="37"/>
                      </a:lnTo>
                      <a:lnTo>
                        <a:pt x="55" y="29"/>
                      </a:lnTo>
                      <a:lnTo>
                        <a:pt x="49" y="22"/>
                      </a:lnTo>
                      <a:lnTo>
                        <a:pt x="42" y="17"/>
                      </a:lnTo>
                      <a:lnTo>
                        <a:pt x="35" y="12"/>
                      </a:lnTo>
                      <a:lnTo>
                        <a:pt x="28" y="9"/>
                      </a:lnTo>
                      <a:lnTo>
                        <a:pt x="19" y="5"/>
                      </a:lnTo>
                      <a:lnTo>
                        <a:pt x="10" y="2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8" name="Freeform 152"/>
                <p:cNvSpPr>
                  <a:spLocks/>
                </p:cNvSpPr>
                <p:nvPr/>
              </p:nvSpPr>
              <p:spPr bwMode="auto">
                <a:xfrm>
                  <a:off x="5568" y="2865"/>
                  <a:ext cx="13" cy="10"/>
                </a:xfrm>
                <a:custGeom>
                  <a:avLst/>
                  <a:gdLst>
                    <a:gd name="T0" fmla="*/ 1 w 40"/>
                    <a:gd name="T1" fmla="*/ 1 h 30"/>
                    <a:gd name="T2" fmla="*/ 1 w 40"/>
                    <a:gd name="T3" fmla="*/ 1 h 30"/>
                    <a:gd name="T4" fmla="*/ 1 w 40"/>
                    <a:gd name="T5" fmla="*/ 1 h 30"/>
                    <a:gd name="T6" fmla="*/ 1 w 40"/>
                    <a:gd name="T7" fmla="*/ 1 h 30"/>
                    <a:gd name="T8" fmla="*/ 1 w 40"/>
                    <a:gd name="T9" fmla="*/ 1 h 30"/>
                    <a:gd name="T10" fmla="*/ 0 w 40"/>
                    <a:gd name="T11" fmla="*/ 1 h 30"/>
                    <a:gd name="T12" fmla="*/ 0 w 40"/>
                    <a:gd name="T13" fmla="*/ 0 h 30"/>
                    <a:gd name="T14" fmla="*/ 0 w 40"/>
                    <a:gd name="T15" fmla="*/ 0 h 30"/>
                    <a:gd name="T16" fmla="*/ 0 w 40"/>
                    <a:gd name="T17" fmla="*/ 0 h 30"/>
                    <a:gd name="T18" fmla="*/ 0 w 40"/>
                    <a:gd name="T19" fmla="*/ 0 h 30"/>
                    <a:gd name="T20" fmla="*/ 1 w 40"/>
                    <a:gd name="T21" fmla="*/ 0 h 30"/>
                    <a:gd name="T22" fmla="*/ 1 w 40"/>
                    <a:gd name="T23" fmla="*/ 0 h 30"/>
                    <a:gd name="T24" fmla="*/ 1 w 40"/>
                    <a:gd name="T25" fmla="*/ 1 h 30"/>
                    <a:gd name="T26" fmla="*/ 1 w 40"/>
                    <a:gd name="T27" fmla="*/ 1 h 30"/>
                    <a:gd name="T28" fmla="*/ 1 w 40"/>
                    <a:gd name="T29" fmla="*/ 1 h 30"/>
                    <a:gd name="T30" fmla="*/ 1 w 40"/>
                    <a:gd name="T31" fmla="*/ 1 h 30"/>
                    <a:gd name="T32" fmla="*/ 1 w 40"/>
                    <a:gd name="T33" fmla="*/ 1 h 3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40" h="30">
                      <a:moveTo>
                        <a:pt x="40" y="30"/>
                      </a:moveTo>
                      <a:lnTo>
                        <a:pt x="33" y="28"/>
                      </a:lnTo>
                      <a:lnTo>
                        <a:pt x="26" y="25"/>
                      </a:lnTo>
                      <a:lnTo>
                        <a:pt x="21" y="22"/>
                      </a:lnTo>
                      <a:lnTo>
                        <a:pt x="15" y="19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15" y="6"/>
                      </a:lnTo>
                      <a:lnTo>
                        <a:pt x="22" y="10"/>
                      </a:lnTo>
                      <a:lnTo>
                        <a:pt x="27" y="15"/>
                      </a:lnTo>
                      <a:lnTo>
                        <a:pt x="33" y="19"/>
                      </a:lnTo>
                      <a:lnTo>
                        <a:pt x="36" y="23"/>
                      </a:lnTo>
                      <a:lnTo>
                        <a:pt x="39" y="27"/>
                      </a:lnTo>
                      <a:lnTo>
                        <a:pt x="40" y="3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9" name="Freeform 153"/>
                <p:cNvSpPr>
                  <a:spLocks/>
                </p:cNvSpPr>
                <p:nvPr/>
              </p:nvSpPr>
              <p:spPr bwMode="auto">
                <a:xfrm>
                  <a:off x="5515" y="2789"/>
                  <a:ext cx="24" cy="26"/>
                </a:xfrm>
                <a:custGeom>
                  <a:avLst/>
                  <a:gdLst>
                    <a:gd name="T0" fmla="*/ 3 w 74"/>
                    <a:gd name="T1" fmla="*/ 3 h 80"/>
                    <a:gd name="T2" fmla="*/ 2 w 74"/>
                    <a:gd name="T3" fmla="*/ 3 h 80"/>
                    <a:gd name="T4" fmla="*/ 2 w 74"/>
                    <a:gd name="T5" fmla="*/ 2 h 80"/>
                    <a:gd name="T6" fmla="*/ 2 w 74"/>
                    <a:gd name="T7" fmla="*/ 2 h 80"/>
                    <a:gd name="T8" fmla="*/ 2 w 74"/>
                    <a:gd name="T9" fmla="*/ 2 h 80"/>
                    <a:gd name="T10" fmla="*/ 2 w 74"/>
                    <a:gd name="T11" fmla="*/ 2 h 80"/>
                    <a:gd name="T12" fmla="*/ 2 w 74"/>
                    <a:gd name="T13" fmla="*/ 1 h 80"/>
                    <a:gd name="T14" fmla="*/ 1 w 74"/>
                    <a:gd name="T15" fmla="*/ 1 h 80"/>
                    <a:gd name="T16" fmla="*/ 1 w 74"/>
                    <a:gd name="T17" fmla="*/ 1 h 80"/>
                    <a:gd name="T18" fmla="*/ 1 w 74"/>
                    <a:gd name="T19" fmla="*/ 0 h 80"/>
                    <a:gd name="T20" fmla="*/ 0 w 74"/>
                    <a:gd name="T21" fmla="*/ 0 h 80"/>
                    <a:gd name="T22" fmla="*/ 0 w 74"/>
                    <a:gd name="T23" fmla="*/ 0 h 80"/>
                    <a:gd name="T24" fmla="*/ 0 w 74"/>
                    <a:gd name="T25" fmla="*/ 0 h 80"/>
                    <a:gd name="T26" fmla="*/ 0 w 74"/>
                    <a:gd name="T27" fmla="*/ 1 h 80"/>
                    <a:gd name="T28" fmla="*/ 0 w 74"/>
                    <a:gd name="T29" fmla="*/ 1 h 80"/>
                    <a:gd name="T30" fmla="*/ 0 w 74"/>
                    <a:gd name="T31" fmla="*/ 1 h 80"/>
                    <a:gd name="T32" fmla="*/ 0 w 74"/>
                    <a:gd name="T33" fmla="*/ 1 h 80"/>
                    <a:gd name="T34" fmla="*/ 0 w 74"/>
                    <a:gd name="T35" fmla="*/ 1 h 80"/>
                    <a:gd name="T36" fmla="*/ 0 w 74"/>
                    <a:gd name="T37" fmla="*/ 1 h 80"/>
                    <a:gd name="T38" fmla="*/ 0 w 74"/>
                    <a:gd name="T39" fmla="*/ 2 h 80"/>
                    <a:gd name="T40" fmla="*/ 1 w 74"/>
                    <a:gd name="T41" fmla="*/ 2 h 80"/>
                    <a:gd name="T42" fmla="*/ 1 w 74"/>
                    <a:gd name="T43" fmla="*/ 2 h 80"/>
                    <a:gd name="T44" fmla="*/ 1 w 74"/>
                    <a:gd name="T45" fmla="*/ 2 h 80"/>
                    <a:gd name="T46" fmla="*/ 1 w 74"/>
                    <a:gd name="T47" fmla="*/ 2 h 80"/>
                    <a:gd name="T48" fmla="*/ 1 w 74"/>
                    <a:gd name="T49" fmla="*/ 2 h 80"/>
                    <a:gd name="T50" fmla="*/ 2 w 74"/>
                    <a:gd name="T51" fmla="*/ 2 h 80"/>
                    <a:gd name="T52" fmla="*/ 2 w 74"/>
                    <a:gd name="T53" fmla="*/ 3 h 80"/>
                    <a:gd name="T54" fmla="*/ 2 w 74"/>
                    <a:gd name="T55" fmla="*/ 3 h 80"/>
                    <a:gd name="T56" fmla="*/ 2 w 74"/>
                    <a:gd name="T57" fmla="*/ 3 h 80"/>
                    <a:gd name="T58" fmla="*/ 2 w 74"/>
                    <a:gd name="T59" fmla="*/ 3 h 80"/>
                    <a:gd name="T60" fmla="*/ 3 w 74"/>
                    <a:gd name="T61" fmla="*/ 3 h 8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74" h="80">
                      <a:moveTo>
                        <a:pt x="74" y="80"/>
                      </a:moveTo>
                      <a:lnTo>
                        <a:pt x="72" y="73"/>
                      </a:lnTo>
                      <a:lnTo>
                        <a:pt x="71" y="66"/>
                      </a:lnTo>
                      <a:lnTo>
                        <a:pt x="69" y="60"/>
                      </a:lnTo>
                      <a:lnTo>
                        <a:pt x="66" y="53"/>
                      </a:lnTo>
                      <a:lnTo>
                        <a:pt x="58" y="42"/>
                      </a:lnTo>
                      <a:lnTo>
                        <a:pt x="48" y="33"/>
                      </a:lnTo>
                      <a:lnTo>
                        <a:pt x="38" y="25"/>
                      </a:lnTo>
                      <a:lnTo>
                        <a:pt x="29" y="17"/>
                      </a:lnTo>
                      <a:lnTo>
                        <a:pt x="20" y="9"/>
                      </a:lnTo>
                      <a:lnTo>
                        <a:pt x="13" y="0"/>
                      </a:lnTo>
                      <a:lnTo>
                        <a:pt x="9" y="5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2" y="30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4" y="51"/>
                      </a:lnTo>
                      <a:lnTo>
                        <a:pt x="19" y="56"/>
                      </a:lnTo>
                      <a:lnTo>
                        <a:pt x="24" y="61"/>
                      </a:lnTo>
                      <a:lnTo>
                        <a:pt x="30" y="66"/>
                      </a:lnTo>
                      <a:lnTo>
                        <a:pt x="35" y="69"/>
                      </a:lnTo>
                      <a:lnTo>
                        <a:pt x="42" y="72"/>
                      </a:lnTo>
                      <a:lnTo>
                        <a:pt x="47" y="75"/>
                      </a:lnTo>
                      <a:lnTo>
                        <a:pt x="54" y="77"/>
                      </a:lnTo>
                      <a:lnTo>
                        <a:pt x="60" y="79"/>
                      </a:lnTo>
                      <a:lnTo>
                        <a:pt x="67" y="80"/>
                      </a:lnTo>
                      <a:lnTo>
                        <a:pt x="74" y="8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0" name="Freeform 154"/>
                <p:cNvSpPr>
                  <a:spLocks/>
                </p:cNvSpPr>
                <p:nvPr/>
              </p:nvSpPr>
              <p:spPr bwMode="auto">
                <a:xfrm>
                  <a:off x="5555" y="2785"/>
                  <a:ext cx="26" cy="27"/>
                </a:xfrm>
                <a:custGeom>
                  <a:avLst/>
                  <a:gdLst>
                    <a:gd name="T0" fmla="*/ 2 w 86"/>
                    <a:gd name="T1" fmla="*/ 3 h 80"/>
                    <a:gd name="T2" fmla="*/ 2 w 86"/>
                    <a:gd name="T3" fmla="*/ 3 h 80"/>
                    <a:gd name="T4" fmla="*/ 2 w 86"/>
                    <a:gd name="T5" fmla="*/ 2 h 80"/>
                    <a:gd name="T6" fmla="*/ 2 w 86"/>
                    <a:gd name="T7" fmla="*/ 2 h 80"/>
                    <a:gd name="T8" fmla="*/ 2 w 86"/>
                    <a:gd name="T9" fmla="*/ 2 h 80"/>
                    <a:gd name="T10" fmla="*/ 2 w 86"/>
                    <a:gd name="T11" fmla="*/ 2 h 80"/>
                    <a:gd name="T12" fmla="*/ 2 w 86"/>
                    <a:gd name="T13" fmla="*/ 2 h 80"/>
                    <a:gd name="T14" fmla="*/ 2 w 86"/>
                    <a:gd name="T15" fmla="*/ 2 h 80"/>
                    <a:gd name="T16" fmla="*/ 1 w 86"/>
                    <a:gd name="T17" fmla="*/ 1 h 80"/>
                    <a:gd name="T18" fmla="*/ 1 w 86"/>
                    <a:gd name="T19" fmla="*/ 1 h 80"/>
                    <a:gd name="T20" fmla="*/ 1 w 86"/>
                    <a:gd name="T21" fmla="*/ 1 h 80"/>
                    <a:gd name="T22" fmla="*/ 0 w 86"/>
                    <a:gd name="T23" fmla="*/ 0 h 80"/>
                    <a:gd name="T24" fmla="*/ 0 w 86"/>
                    <a:gd name="T25" fmla="*/ 0 h 80"/>
                    <a:gd name="T26" fmla="*/ 0 w 86"/>
                    <a:gd name="T27" fmla="*/ 0 h 80"/>
                    <a:gd name="T28" fmla="*/ 0 w 86"/>
                    <a:gd name="T29" fmla="*/ 1 h 80"/>
                    <a:gd name="T30" fmla="*/ 0 w 86"/>
                    <a:gd name="T31" fmla="*/ 1 h 80"/>
                    <a:gd name="T32" fmla="*/ 1 w 86"/>
                    <a:gd name="T33" fmla="*/ 2 h 80"/>
                    <a:gd name="T34" fmla="*/ 1 w 86"/>
                    <a:gd name="T35" fmla="*/ 2 h 80"/>
                    <a:gd name="T36" fmla="*/ 1 w 86"/>
                    <a:gd name="T37" fmla="*/ 3 h 80"/>
                    <a:gd name="T38" fmla="*/ 1 w 86"/>
                    <a:gd name="T39" fmla="*/ 3 h 80"/>
                    <a:gd name="T40" fmla="*/ 1 w 86"/>
                    <a:gd name="T41" fmla="*/ 3 h 80"/>
                    <a:gd name="T42" fmla="*/ 2 w 86"/>
                    <a:gd name="T43" fmla="*/ 3 h 80"/>
                    <a:gd name="T44" fmla="*/ 2 w 86"/>
                    <a:gd name="T45" fmla="*/ 3 h 8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86" h="80">
                      <a:moveTo>
                        <a:pt x="52" y="80"/>
                      </a:moveTo>
                      <a:lnTo>
                        <a:pt x="86" y="80"/>
                      </a:lnTo>
                      <a:lnTo>
                        <a:pt x="86" y="61"/>
                      </a:lnTo>
                      <a:lnTo>
                        <a:pt x="79" y="59"/>
                      </a:lnTo>
                      <a:lnTo>
                        <a:pt x="72" y="56"/>
                      </a:lnTo>
                      <a:lnTo>
                        <a:pt x="67" y="53"/>
                      </a:lnTo>
                      <a:lnTo>
                        <a:pt x="61" y="49"/>
                      </a:lnTo>
                      <a:lnTo>
                        <a:pt x="51" y="41"/>
                      </a:lnTo>
                      <a:lnTo>
                        <a:pt x="43" y="33"/>
                      </a:lnTo>
                      <a:lnTo>
                        <a:pt x="34" y="25"/>
                      </a:lnTo>
                      <a:lnTo>
                        <a:pt x="24" y="16"/>
                      </a:lnTo>
                      <a:lnTo>
                        <a:pt x="13" y="7"/>
                      </a:lnTo>
                      <a:lnTo>
                        <a:pt x="0" y="0"/>
                      </a:lnTo>
                      <a:lnTo>
                        <a:pt x="1" y="8"/>
                      </a:lnTo>
                      <a:lnTo>
                        <a:pt x="5" y="20"/>
                      </a:lnTo>
                      <a:lnTo>
                        <a:pt x="11" y="32"/>
                      </a:lnTo>
                      <a:lnTo>
                        <a:pt x="18" y="44"/>
                      </a:lnTo>
                      <a:lnTo>
                        <a:pt x="27" y="57"/>
                      </a:lnTo>
                      <a:lnTo>
                        <a:pt x="36" y="67"/>
                      </a:lnTo>
                      <a:lnTo>
                        <a:pt x="40" y="72"/>
                      </a:lnTo>
                      <a:lnTo>
                        <a:pt x="45" y="76"/>
                      </a:lnTo>
                      <a:lnTo>
                        <a:pt x="49" y="79"/>
                      </a:lnTo>
                      <a:lnTo>
                        <a:pt x="52" y="8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1" name="Freeform 155"/>
                <p:cNvSpPr>
                  <a:spLocks/>
                </p:cNvSpPr>
                <p:nvPr/>
              </p:nvSpPr>
              <p:spPr bwMode="auto">
                <a:xfrm>
                  <a:off x="5570" y="2825"/>
                  <a:ext cx="25" cy="11"/>
                </a:xfrm>
                <a:custGeom>
                  <a:avLst/>
                  <a:gdLst>
                    <a:gd name="T0" fmla="*/ 0 w 74"/>
                    <a:gd name="T1" fmla="*/ 0 h 31"/>
                    <a:gd name="T2" fmla="*/ 0 w 74"/>
                    <a:gd name="T3" fmla="*/ 0 h 31"/>
                    <a:gd name="T4" fmla="*/ 0 w 74"/>
                    <a:gd name="T5" fmla="*/ 1 h 31"/>
                    <a:gd name="T6" fmla="*/ 0 w 74"/>
                    <a:gd name="T7" fmla="*/ 1 h 31"/>
                    <a:gd name="T8" fmla="*/ 1 w 74"/>
                    <a:gd name="T9" fmla="*/ 1 h 31"/>
                    <a:gd name="T10" fmla="*/ 1 w 74"/>
                    <a:gd name="T11" fmla="*/ 1 h 31"/>
                    <a:gd name="T12" fmla="*/ 1 w 74"/>
                    <a:gd name="T13" fmla="*/ 1 h 31"/>
                    <a:gd name="T14" fmla="*/ 1 w 74"/>
                    <a:gd name="T15" fmla="*/ 1 h 31"/>
                    <a:gd name="T16" fmla="*/ 1 w 74"/>
                    <a:gd name="T17" fmla="*/ 1 h 31"/>
                    <a:gd name="T18" fmla="*/ 2 w 74"/>
                    <a:gd name="T19" fmla="*/ 1 h 31"/>
                    <a:gd name="T20" fmla="*/ 2 w 74"/>
                    <a:gd name="T21" fmla="*/ 1 h 31"/>
                    <a:gd name="T22" fmla="*/ 2 w 74"/>
                    <a:gd name="T23" fmla="*/ 1 h 31"/>
                    <a:gd name="T24" fmla="*/ 3 w 74"/>
                    <a:gd name="T25" fmla="*/ 1 h 31"/>
                    <a:gd name="T26" fmla="*/ 3 w 74"/>
                    <a:gd name="T27" fmla="*/ 1 h 31"/>
                    <a:gd name="T28" fmla="*/ 3 w 74"/>
                    <a:gd name="T29" fmla="*/ 1 h 31"/>
                    <a:gd name="T30" fmla="*/ 2 w 74"/>
                    <a:gd name="T31" fmla="*/ 1 h 31"/>
                    <a:gd name="T32" fmla="*/ 2 w 74"/>
                    <a:gd name="T33" fmla="*/ 1 h 31"/>
                    <a:gd name="T34" fmla="*/ 2 w 74"/>
                    <a:gd name="T35" fmla="*/ 0 h 31"/>
                    <a:gd name="T36" fmla="*/ 2 w 74"/>
                    <a:gd name="T37" fmla="*/ 0 h 31"/>
                    <a:gd name="T38" fmla="*/ 2 w 74"/>
                    <a:gd name="T39" fmla="*/ 0 h 31"/>
                    <a:gd name="T40" fmla="*/ 2 w 74"/>
                    <a:gd name="T41" fmla="*/ 0 h 31"/>
                    <a:gd name="T42" fmla="*/ 1 w 74"/>
                    <a:gd name="T43" fmla="*/ 0 h 31"/>
                    <a:gd name="T44" fmla="*/ 1 w 74"/>
                    <a:gd name="T45" fmla="*/ 0 h 31"/>
                    <a:gd name="T46" fmla="*/ 1 w 74"/>
                    <a:gd name="T47" fmla="*/ 0 h 31"/>
                    <a:gd name="T48" fmla="*/ 1 w 74"/>
                    <a:gd name="T49" fmla="*/ 0 h 31"/>
                    <a:gd name="T50" fmla="*/ 1 w 74"/>
                    <a:gd name="T51" fmla="*/ 0 h 31"/>
                    <a:gd name="T52" fmla="*/ 0 w 74"/>
                    <a:gd name="T53" fmla="*/ 0 h 31"/>
                    <a:gd name="T54" fmla="*/ 0 w 74"/>
                    <a:gd name="T55" fmla="*/ 0 h 31"/>
                    <a:gd name="T56" fmla="*/ 0 w 74"/>
                    <a:gd name="T57" fmla="*/ 0 h 31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74" h="31">
                      <a:moveTo>
                        <a:pt x="0" y="7"/>
                      </a:moveTo>
                      <a:lnTo>
                        <a:pt x="3" y="11"/>
                      </a:lnTo>
                      <a:lnTo>
                        <a:pt x="5" y="15"/>
                      </a:lnTo>
                      <a:lnTo>
                        <a:pt x="9" y="18"/>
                      </a:lnTo>
                      <a:lnTo>
                        <a:pt x="14" y="21"/>
                      </a:lnTo>
                      <a:lnTo>
                        <a:pt x="18" y="24"/>
                      </a:lnTo>
                      <a:lnTo>
                        <a:pt x="23" y="26"/>
                      </a:lnTo>
                      <a:lnTo>
                        <a:pt x="29" y="28"/>
                      </a:lnTo>
                      <a:lnTo>
                        <a:pt x="34" y="29"/>
                      </a:lnTo>
                      <a:lnTo>
                        <a:pt x="47" y="31"/>
                      </a:lnTo>
                      <a:lnTo>
                        <a:pt x="58" y="31"/>
                      </a:lnTo>
                      <a:lnTo>
                        <a:pt x="63" y="30"/>
                      </a:lnTo>
                      <a:lnTo>
                        <a:pt x="67" y="29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64" y="18"/>
                      </a:lnTo>
                      <a:lnTo>
                        <a:pt x="55" y="13"/>
                      </a:lnTo>
                      <a:lnTo>
                        <a:pt x="51" y="10"/>
                      </a:lnTo>
                      <a:lnTo>
                        <a:pt x="47" y="8"/>
                      </a:lnTo>
                      <a:lnTo>
                        <a:pt x="43" y="5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8" y="1"/>
                      </a:lnTo>
                      <a:lnTo>
                        <a:pt x="22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2" name="Freeform 156"/>
                <p:cNvSpPr>
                  <a:spLocks/>
                </p:cNvSpPr>
                <p:nvPr/>
              </p:nvSpPr>
              <p:spPr bwMode="auto">
                <a:xfrm>
                  <a:off x="5562" y="2819"/>
                  <a:ext cx="6" cy="1"/>
                </a:xfrm>
                <a:custGeom>
                  <a:avLst/>
                  <a:gdLst>
                    <a:gd name="T0" fmla="*/ 1 w 20"/>
                    <a:gd name="T1" fmla="*/ 0 h 1"/>
                    <a:gd name="T2" fmla="*/ 0 w 20"/>
                    <a:gd name="T3" fmla="*/ 0 h 1"/>
                    <a:gd name="T4" fmla="*/ 0 w 20"/>
                    <a:gd name="T5" fmla="*/ 0 h 1"/>
                    <a:gd name="T6" fmla="*/ 1 w 20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3" name="Freeform 157"/>
                <p:cNvSpPr>
                  <a:spLocks/>
                </p:cNvSpPr>
                <p:nvPr/>
              </p:nvSpPr>
              <p:spPr bwMode="auto">
                <a:xfrm>
                  <a:off x="5509" y="2769"/>
                  <a:ext cx="32" cy="21"/>
                </a:xfrm>
                <a:custGeom>
                  <a:avLst/>
                  <a:gdLst>
                    <a:gd name="T0" fmla="*/ 0 w 100"/>
                    <a:gd name="T1" fmla="*/ 1 h 65"/>
                    <a:gd name="T2" fmla="*/ 1 w 100"/>
                    <a:gd name="T3" fmla="*/ 1 h 65"/>
                    <a:gd name="T4" fmla="*/ 2 w 100"/>
                    <a:gd name="T5" fmla="*/ 2 h 65"/>
                    <a:gd name="T6" fmla="*/ 2 w 100"/>
                    <a:gd name="T7" fmla="*/ 2 h 65"/>
                    <a:gd name="T8" fmla="*/ 3 w 100"/>
                    <a:gd name="T9" fmla="*/ 2 h 65"/>
                    <a:gd name="T10" fmla="*/ 3 w 100"/>
                    <a:gd name="T11" fmla="*/ 2 h 65"/>
                    <a:gd name="T12" fmla="*/ 3 w 100"/>
                    <a:gd name="T13" fmla="*/ 2 h 65"/>
                    <a:gd name="T14" fmla="*/ 3 w 100"/>
                    <a:gd name="T15" fmla="*/ 2 h 65"/>
                    <a:gd name="T16" fmla="*/ 3 w 100"/>
                    <a:gd name="T17" fmla="*/ 2 h 65"/>
                    <a:gd name="T18" fmla="*/ 3 w 100"/>
                    <a:gd name="T19" fmla="*/ 2 h 65"/>
                    <a:gd name="T20" fmla="*/ 3 w 100"/>
                    <a:gd name="T21" fmla="*/ 2 h 65"/>
                    <a:gd name="T22" fmla="*/ 3 w 100"/>
                    <a:gd name="T23" fmla="*/ 2 h 65"/>
                    <a:gd name="T24" fmla="*/ 3 w 100"/>
                    <a:gd name="T25" fmla="*/ 2 h 65"/>
                    <a:gd name="T26" fmla="*/ 2 w 100"/>
                    <a:gd name="T27" fmla="*/ 1 h 65"/>
                    <a:gd name="T28" fmla="*/ 2 w 100"/>
                    <a:gd name="T29" fmla="*/ 1 h 65"/>
                    <a:gd name="T30" fmla="*/ 2 w 100"/>
                    <a:gd name="T31" fmla="*/ 1 h 65"/>
                    <a:gd name="T32" fmla="*/ 2 w 100"/>
                    <a:gd name="T33" fmla="*/ 0 h 65"/>
                    <a:gd name="T34" fmla="*/ 1 w 100"/>
                    <a:gd name="T35" fmla="*/ 0 h 65"/>
                    <a:gd name="T36" fmla="*/ 1 w 100"/>
                    <a:gd name="T37" fmla="*/ 0 h 65"/>
                    <a:gd name="T38" fmla="*/ 1 w 100"/>
                    <a:gd name="T39" fmla="*/ 0 h 65"/>
                    <a:gd name="T40" fmla="*/ 1 w 100"/>
                    <a:gd name="T41" fmla="*/ 0 h 65"/>
                    <a:gd name="T42" fmla="*/ 0 w 100"/>
                    <a:gd name="T43" fmla="*/ 0 h 65"/>
                    <a:gd name="T44" fmla="*/ 0 w 100"/>
                    <a:gd name="T45" fmla="*/ 0 h 65"/>
                    <a:gd name="T46" fmla="*/ 0 w 100"/>
                    <a:gd name="T47" fmla="*/ 1 h 6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100" h="65">
                      <a:moveTo>
                        <a:pt x="7" y="25"/>
                      </a:moveTo>
                      <a:lnTo>
                        <a:pt x="35" y="40"/>
                      </a:lnTo>
                      <a:lnTo>
                        <a:pt x="61" y="55"/>
                      </a:lnTo>
                      <a:lnTo>
                        <a:pt x="72" y="60"/>
                      </a:lnTo>
                      <a:lnTo>
                        <a:pt x="83" y="65"/>
                      </a:lnTo>
                      <a:lnTo>
                        <a:pt x="87" y="65"/>
                      </a:lnTo>
                      <a:lnTo>
                        <a:pt x="91" y="65"/>
                      </a:lnTo>
                      <a:lnTo>
                        <a:pt x="96" y="65"/>
                      </a:lnTo>
                      <a:lnTo>
                        <a:pt x="100" y="62"/>
                      </a:lnTo>
                      <a:lnTo>
                        <a:pt x="94" y="60"/>
                      </a:lnTo>
                      <a:lnTo>
                        <a:pt x="88" y="56"/>
                      </a:lnTo>
                      <a:lnTo>
                        <a:pt x="83" y="52"/>
                      </a:lnTo>
                      <a:lnTo>
                        <a:pt x="78" y="46"/>
                      </a:lnTo>
                      <a:lnTo>
                        <a:pt x="67" y="34"/>
                      </a:lnTo>
                      <a:lnTo>
                        <a:pt x="57" y="21"/>
                      </a:lnTo>
                      <a:lnTo>
                        <a:pt x="52" y="15"/>
                      </a:lnTo>
                      <a:lnTo>
                        <a:pt x="46" y="10"/>
                      </a:lnTo>
                      <a:lnTo>
                        <a:pt x="40" y="4"/>
                      </a:ln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0" y="6"/>
                      </a:lnTo>
                      <a:lnTo>
                        <a:pt x="7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64" name="Freeform 158"/>
                <p:cNvSpPr>
                  <a:spLocks/>
                </p:cNvSpPr>
                <p:nvPr/>
              </p:nvSpPr>
              <p:spPr bwMode="auto">
                <a:xfrm>
                  <a:off x="5486" y="2743"/>
                  <a:ext cx="24" cy="34"/>
                </a:xfrm>
                <a:custGeom>
                  <a:avLst/>
                  <a:gdLst>
                    <a:gd name="T0" fmla="*/ 2 w 79"/>
                    <a:gd name="T1" fmla="*/ 3 h 104"/>
                    <a:gd name="T2" fmla="*/ 2 w 79"/>
                    <a:gd name="T3" fmla="*/ 2 h 104"/>
                    <a:gd name="T4" fmla="*/ 1 w 79"/>
                    <a:gd name="T5" fmla="*/ 1 h 104"/>
                    <a:gd name="T6" fmla="*/ 1 w 79"/>
                    <a:gd name="T7" fmla="*/ 1 h 104"/>
                    <a:gd name="T8" fmla="*/ 0 w 79"/>
                    <a:gd name="T9" fmla="*/ 0 h 104"/>
                    <a:gd name="T10" fmla="*/ 0 w 79"/>
                    <a:gd name="T11" fmla="*/ 1 h 104"/>
                    <a:gd name="T12" fmla="*/ 0 w 79"/>
                    <a:gd name="T13" fmla="*/ 1 h 104"/>
                    <a:gd name="T14" fmla="*/ 0 w 79"/>
                    <a:gd name="T15" fmla="*/ 1 h 104"/>
                    <a:gd name="T16" fmla="*/ 0 w 79"/>
                    <a:gd name="T17" fmla="*/ 2 h 104"/>
                    <a:gd name="T18" fmla="*/ 0 w 79"/>
                    <a:gd name="T19" fmla="*/ 2 h 104"/>
                    <a:gd name="T20" fmla="*/ 0 w 79"/>
                    <a:gd name="T21" fmla="*/ 2 h 104"/>
                    <a:gd name="T22" fmla="*/ 0 w 79"/>
                    <a:gd name="T23" fmla="*/ 2 h 104"/>
                    <a:gd name="T24" fmla="*/ 0 w 79"/>
                    <a:gd name="T25" fmla="*/ 3 h 104"/>
                    <a:gd name="T26" fmla="*/ 0 w 79"/>
                    <a:gd name="T27" fmla="*/ 3 h 104"/>
                    <a:gd name="T28" fmla="*/ 0 w 79"/>
                    <a:gd name="T29" fmla="*/ 3 h 104"/>
                    <a:gd name="T30" fmla="*/ 0 w 79"/>
                    <a:gd name="T31" fmla="*/ 3 h 104"/>
                    <a:gd name="T32" fmla="*/ 1 w 79"/>
                    <a:gd name="T33" fmla="*/ 3 h 104"/>
                    <a:gd name="T34" fmla="*/ 1 w 79"/>
                    <a:gd name="T35" fmla="*/ 3 h 104"/>
                    <a:gd name="T36" fmla="*/ 1 w 79"/>
                    <a:gd name="T37" fmla="*/ 3 h 104"/>
                    <a:gd name="T38" fmla="*/ 1 w 79"/>
                    <a:gd name="T39" fmla="*/ 3 h 104"/>
                    <a:gd name="T40" fmla="*/ 2 w 79"/>
                    <a:gd name="T41" fmla="*/ 3 h 104"/>
                    <a:gd name="T42" fmla="*/ 2 w 79"/>
                    <a:gd name="T43" fmla="*/ 4 h 104"/>
                    <a:gd name="T44" fmla="*/ 2 w 79"/>
                    <a:gd name="T45" fmla="*/ 4 h 104"/>
                    <a:gd name="T46" fmla="*/ 2 w 79"/>
                    <a:gd name="T47" fmla="*/ 3 h 10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79" h="104">
                      <a:moveTo>
                        <a:pt x="72" y="85"/>
                      </a:moveTo>
                      <a:lnTo>
                        <a:pt x="56" y="61"/>
                      </a:lnTo>
                      <a:lnTo>
                        <a:pt x="43" y="41"/>
                      </a:lnTo>
                      <a:lnTo>
                        <a:pt x="29" y="20"/>
                      </a:lnTo>
                      <a:lnTo>
                        <a:pt x="12" y="0"/>
                      </a:lnTo>
                      <a:lnTo>
                        <a:pt x="6" y="16"/>
                      </a:lnTo>
                      <a:lnTo>
                        <a:pt x="2" y="33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0" y="62"/>
                      </a:lnTo>
                      <a:lnTo>
                        <a:pt x="1" y="68"/>
                      </a:lnTo>
                      <a:lnTo>
                        <a:pt x="3" y="74"/>
                      </a:lnTo>
                      <a:lnTo>
                        <a:pt x="6" y="79"/>
                      </a:lnTo>
                      <a:lnTo>
                        <a:pt x="10" y="83"/>
                      </a:lnTo>
                      <a:lnTo>
                        <a:pt x="14" y="88"/>
                      </a:lnTo>
                      <a:lnTo>
                        <a:pt x="20" y="90"/>
                      </a:lnTo>
                      <a:lnTo>
                        <a:pt x="25" y="92"/>
                      </a:lnTo>
                      <a:lnTo>
                        <a:pt x="33" y="92"/>
                      </a:lnTo>
                      <a:lnTo>
                        <a:pt x="43" y="93"/>
                      </a:lnTo>
                      <a:lnTo>
                        <a:pt x="54" y="96"/>
                      </a:lnTo>
                      <a:lnTo>
                        <a:pt x="65" y="100"/>
                      </a:lnTo>
                      <a:lnTo>
                        <a:pt x="79" y="104"/>
                      </a:lnTo>
                      <a:lnTo>
                        <a:pt x="72" y="8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62" name="Freeform 159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10215830" y="4027060"/>
                <a:ext cx="11113" cy="55562"/>
              </a:xfrm>
              <a:custGeom>
                <a:avLst/>
                <a:gdLst>
                  <a:gd name="T0" fmla="*/ 1882636043 w 27"/>
                  <a:gd name="T1" fmla="*/ 0 h 19"/>
                  <a:gd name="T2" fmla="*/ 1882636043 w 27"/>
                  <a:gd name="T3" fmla="*/ 2147483647 h 19"/>
                  <a:gd name="T4" fmla="*/ 1882636043 w 27"/>
                  <a:gd name="T5" fmla="*/ 2147483647 h 19"/>
                  <a:gd name="T6" fmla="*/ 627488960 w 27"/>
                  <a:gd name="T7" fmla="*/ 2147483647 h 19"/>
                  <a:gd name="T8" fmla="*/ 0 w 27"/>
                  <a:gd name="T9" fmla="*/ 2147483647 h 19"/>
                  <a:gd name="T10" fmla="*/ 627488960 w 27"/>
                  <a:gd name="T11" fmla="*/ 2147483647 h 19"/>
                  <a:gd name="T12" fmla="*/ 1882636043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3" name="Freeform 160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139630" y="4166760"/>
                <a:ext cx="14288" cy="57150"/>
              </a:xfrm>
              <a:custGeom>
                <a:avLst/>
                <a:gdLst>
                  <a:gd name="T0" fmla="*/ 0 w 39"/>
                  <a:gd name="T1" fmla="*/ 0 h 35"/>
                  <a:gd name="T2" fmla="*/ 1917719607 w 39"/>
                  <a:gd name="T3" fmla="*/ 0 h 35"/>
                  <a:gd name="T4" fmla="*/ 1770213225 w 39"/>
                  <a:gd name="T5" fmla="*/ 2147483647 h 35"/>
                  <a:gd name="T6" fmla="*/ 1622706478 w 39"/>
                  <a:gd name="T7" fmla="*/ 2147483647 h 35"/>
                  <a:gd name="T8" fmla="*/ 1327693349 w 39"/>
                  <a:gd name="T9" fmla="*/ 2147483647 h 35"/>
                  <a:gd name="T10" fmla="*/ 1081804197 w 39"/>
                  <a:gd name="T11" fmla="*/ 2147483647 h 35"/>
                  <a:gd name="T12" fmla="*/ 934297815 w 39"/>
                  <a:gd name="T13" fmla="*/ 2147483647 h 35"/>
                  <a:gd name="T14" fmla="*/ 786791068 w 39"/>
                  <a:gd name="T15" fmla="*/ 2147483647 h 35"/>
                  <a:gd name="T16" fmla="*/ 639284687 w 39"/>
                  <a:gd name="T17" fmla="*/ 2147483647 h 35"/>
                  <a:gd name="T18" fmla="*/ 540902281 w 39"/>
                  <a:gd name="T19" fmla="*/ 2147483647 h 35"/>
                  <a:gd name="T20" fmla="*/ 344271558 w 39"/>
                  <a:gd name="T21" fmla="*/ 2147483647 h 35"/>
                  <a:gd name="T22" fmla="*/ 245889153 w 39"/>
                  <a:gd name="T23" fmla="*/ 2147483647 h 35"/>
                  <a:gd name="T24" fmla="*/ 98382405 w 39"/>
                  <a:gd name="T25" fmla="*/ 2147483647 h 35"/>
                  <a:gd name="T26" fmla="*/ 0 w 39"/>
                  <a:gd name="T27" fmla="*/ 0 h 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9" h="35">
                    <a:moveTo>
                      <a:pt x="0" y="0"/>
                    </a:moveTo>
                    <a:lnTo>
                      <a:pt x="39" y="0"/>
                    </a:lnTo>
                    <a:lnTo>
                      <a:pt x="36" y="9"/>
                    </a:lnTo>
                    <a:lnTo>
                      <a:pt x="33" y="19"/>
                    </a:lnTo>
                    <a:lnTo>
                      <a:pt x="27" y="28"/>
                    </a:lnTo>
                    <a:lnTo>
                      <a:pt x="22" y="34"/>
                    </a:lnTo>
                    <a:lnTo>
                      <a:pt x="19" y="35"/>
                    </a:lnTo>
                    <a:lnTo>
                      <a:pt x="16" y="35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7" y="26"/>
                    </a:lnTo>
                    <a:lnTo>
                      <a:pt x="5" y="20"/>
                    </a:lnTo>
                    <a:lnTo>
                      <a:pt x="2" y="1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4" name="Freeform 161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1938268" y="2493535"/>
                <a:ext cx="728662" cy="331787"/>
              </a:xfrm>
              <a:custGeom>
                <a:avLst/>
                <a:gdLst>
                  <a:gd name="T0" fmla="*/ 2147483647 w 1688"/>
                  <a:gd name="T1" fmla="*/ 2147483647 h 630"/>
                  <a:gd name="T2" fmla="*/ 2147483647 w 1688"/>
                  <a:gd name="T3" fmla="*/ 2147483647 h 630"/>
                  <a:gd name="T4" fmla="*/ 2147483647 w 1688"/>
                  <a:gd name="T5" fmla="*/ 2147483647 h 630"/>
                  <a:gd name="T6" fmla="*/ 2147483647 w 1688"/>
                  <a:gd name="T7" fmla="*/ 2147483647 h 630"/>
                  <a:gd name="T8" fmla="*/ 2147483647 w 1688"/>
                  <a:gd name="T9" fmla="*/ 2147483647 h 630"/>
                  <a:gd name="T10" fmla="*/ 2147483647 w 1688"/>
                  <a:gd name="T11" fmla="*/ 2147483647 h 630"/>
                  <a:gd name="T12" fmla="*/ 2147483647 w 1688"/>
                  <a:gd name="T13" fmla="*/ 2147483647 h 630"/>
                  <a:gd name="T14" fmla="*/ 2147483647 w 1688"/>
                  <a:gd name="T15" fmla="*/ 2147483647 h 630"/>
                  <a:gd name="T16" fmla="*/ 2147483647 w 1688"/>
                  <a:gd name="T17" fmla="*/ 2147483647 h 630"/>
                  <a:gd name="T18" fmla="*/ 2147483647 w 1688"/>
                  <a:gd name="T19" fmla="*/ 2147483647 h 630"/>
                  <a:gd name="T20" fmla="*/ 2147483647 w 1688"/>
                  <a:gd name="T21" fmla="*/ 2147483647 h 630"/>
                  <a:gd name="T22" fmla="*/ 2147483647 w 1688"/>
                  <a:gd name="T23" fmla="*/ 2147483647 h 630"/>
                  <a:gd name="T24" fmla="*/ 2147483647 w 1688"/>
                  <a:gd name="T25" fmla="*/ 2147483647 h 630"/>
                  <a:gd name="T26" fmla="*/ 2147483647 w 1688"/>
                  <a:gd name="T27" fmla="*/ 2147483647 h 630"/>
                  <a:gd name="T28" fmla="*/ 2147483647 w 1688"/>
                  <a:gd name="T29" fmla="*/ 2147483647 h 630"/>
                  <a:gd name="T30" fmla="*/ 2147483647 w 1688"/>
                  <a:gd name="T31" fmla="*/ 2147483647 h 630"/>
                  <a:gd name="T32" fmla="*/ 2147483647 w 1688"/>
                  <a:gd name="T33" fmla="*/ 2147483647 h 630"/>
                  <a:gd name="T34" fmla="*/ 2147483647 w 1688"/>
                  <a:gd name="T35" fmla="*/ 2147483647 h 630"/>
                  <a:gd name="T36" fmla="*/ 2147483647 w 1688"/>
                  <a:gd name="T37" fmla="*/ 2147483647 h 630"/>
                  <a:gd name="T38" fmla="*/ 2147483647 w 1688"/>
                  <a:gd name="T39" fmla="*/ 2147483647 h 630"/>
                  <a:gd name="T40" fmla="*/ 2147483647 w 1688"/>
                  <a:gd name="T41" fmla="*/ 2147483647 h 630"/>
                  <a:gd name="T42" fmla="*/ 2147483647 w 1688"/>
                  <a:gd name="T43" fmla="*/ 2147483647 h 630"/>
                  <a:gd name="T44" fmla="*/ 2147483647 w 1688"/>
                  <a:gd name="T45" fmla="*/ 2147483647 h 630"/>
                  <a:gd name="T46" fmla="*/ 2147483647 w 1688"/>
                  <a:gd name="T47" fmla="*/ 2147483647 h 630"/>
                  <a:gd name="T48" fmla="*/ 2147483647 w 1688"/>
                  <a:gd name="T49" fmla="*/ 2147483647 h 630"/>
                  <a:gd name="T50" fmla="*/ 2147483647 w 1688"/>
                  <a:gd name="T51" fmla="*/ 2147483647 h 630"/>
                  <a:gd name="T52" fmla="*/ 2147483647 w 1688"/>
                  <a:gd name="T53" fmla="*/ 2147483647 h 630"/>
                  <a:gd name="T54" fmla="*/ 2147483647 w 1688"/>
                  <a:gd name="T55" fmla="*/ 2147483647 h 630"/>
                  <a:gd name="T56" fmla="*/ 2147483647 w 1688"/>
                  <a:gd name="T57" fmla="*/ 2147483647 h 630"/>
                  <a:gd name="T58" fmla="*/ 2147483647 w 1688"/>
                  <a:gd name="T59" fmla="*/ 2147483647 h 630"/>
                  <a:gd name="T60" fmla="*/ 2147483647 w 1688"/>
                  <a:gd name="T61" fmla="*/ 2147483647 h 630"/>
                  <a:gd name="T62" fmla="*/ 2147483647 w 1688"/>
                  <a:gd name="T63" fmla="*/ 2147483647 h 630"/>
                  <a:gd name="T64" fmla="*/ 2147483647 w 1688"/>
                  <a:gd name="T65" fmla="*/ 2147483647 h 630"/>
                  <a:gd name="T66" fmla="*/ 2147483647 w 1688"/>
                  <a:gd name="T67" fmla="*/ 2147483647 h 630"/>
                  <a:gd name="T68" fmla="*/ 2147483647 w 1688"/>
                  <a:gd name="T69" fmla="*/ 2147483647 h 630"/>
                  <a:gd name="T70" fmla="*/ 2147483647 w 1688"/>
                  <a:gd name="T71" fmla="*/ 2147483647 h 630"/>
                  <a:gd name="T72" fmla="*/ 2147483647 w 1688"/>
                  <a:gd name="T73" fmla="*/ 2147483647 h 630"/>
                  <a:gd name="T74" fmla="*/ 2147483647 w 1688"/>
                  <a:gd name="T75" fmla="*/ 2147483647 h 630"/>
                  <a:gd name="T76" fmla="*/ 2147483647 w 1688"/>
                  <a:gd name="T77" fmla="*/ 2147483647 h 630"/>
                  <a:gd name="T78" fmla="*/ 2147483647 w 1688"/>
                  <a:gd name="T79" fmla="*/ 2147483647 h 630"/>
                  <a:gd name="T80" fmla="*/ 2147483647 w 1688"/>
                  <a:gd name="T81" fmla="*/ 2147483647 h 630"/>
                  <a:gd name="T82" fmla="*/ 2147483647 w 1688"/>
                  <a:gd name="T83" fmla="*/ 2147483647 h 630"/>
                  <a:gd name="T84" fmla="*/ 2147483647 w 1688"/>
                  <a:gd name="T85" fmla="*/ 2147483647 h 630"/>
                  <a:gd name="T86" fmla="*/ 2147483647 w 1688"/>
                  <a:gd name="T87" fmla="*/ 2147483647 h 630"/>
                  <a:gd name="T88" fmla="*/ 2147483647 w 1688"/>
                  <a:gd name="T89" fmla="*/ 2147483647 h 630"/>
                  <a:gd name="T90" fmla="*/ 2147483647 w 1688"/>
                  <a:gd name="T91" fmla="*/ 2147483647 h 630"/>
                  <a:gd name="T92" fmla="*/ 2147483647 w 1688"/>
                  <a:gd name="T93" fmla="*/ 2147483647 h 630"/>
                  <a:gd name="T94" fmla="*/ 2147483647 w 1688"/>
                  <a:gd name="T95" fmla="*/ 1022611772 h 630"/>
                  <a:gd name="T96" fmla="*/ 2147483647 w 1688"/>
                  <a:gd name="T97" fmla="*/ 2147483647 h 630"/>
                  <a:gd name="T98" fmla="*/ 2147483647 w 1688"/>
                  <a:gd name="T99" fmla="*/ 2147483647 h 630"/>
                  <a:gd name="T100" fmla="*/ 2147483647 w 1688"/>
                  <a:gd name="T101" fmla="*/ 2147483647 h 630"/>
                  <a:gd name="T102" fmla="*/ 2147483647 w 1688"/>
                  <a:gd name="T103" fmla="*/ 2147483647 h 630"/>
                  <a:gd name="T104" fmla="*/ 2147483647 w 1688"/>
                  <a:gd name="T105" fmla="*/ 2147483647 h 630"/>
                  <a:gd name="T106" fmla="*/ 2147483647 w 1688"/>
                  <a:gd name="T107" fmla="*/ 2147483647 h 630"/>
                  <a:gd name="T108" fmla="*/ 2147483647 w 1688"/>
                  <a:gd name="T109" fmla="*/ 2147483647 h 630"/>
                  <a:gd name="T110" fmla="*/ 2147483647 w 1688"/>
                  <a:gd name="T111" fmla="*/ 2147483647 h 630"/>
                  <a:gd name="T112" fmla="*/ 2147483647 w 1688"/>
                  <a:gd name="T113" fmla="*/ 2147483647 h 630"/>
                  <a:gd name="T114" fmla="*/ 2147483647 w 1688"/>
                  <a:gd name="T115" fmla="*/ 2147483647 h 630"/>
                  <a:gd name="T116" fmla="*/ 321810033 w 1688"/>
                  <a:gd name="T117" fmla="*/ 2147483647 h 63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688" h="630">
                    <a:moveTo>
                      <a:pt x="0" y="180"/>
                    </a:moveTo>
                    <a:lnTo>
                      <a:pt x="7" y="190"/>
                    </a:lnTo>
                    <a:lnTo>
                      <a:pt x="15" y="199"/>
                    </a:lnTo>
                    <a:lnTo>
                      <a:pt x="22" y="208"/>
                    </a:lnTo>
                    <a:lnTo>
                      <a:pt x="32" y="216"/>
                    </a:lnTo>
                    <a:lnTo>
                      <a:pt x="41" y="224"/>
                    </a:lnTo>
                    <a:lnTo>
                      <a:pt x="51" y="232"/>
                    </a:lnTo>
                    <a:lnTo>
                      <a:pt x="62" y="238"/>
                    </a:lnTo>
                    <a:lnTo>
                      <a:pt x="74" y="244"/>
                    </a:lnTo>
                    <a:lnTo>
                      <a:pt x="86" y="249"/>
                    </a:lnTo>
                    <a:lnTo>
                      <a:pt x="99" y="253"/>
                    </a:lnTo>
                    <a:lnTo>
                      <a:pt x="112" y="257"/>
                    </a:lnTo>
                    <a:lnTo>
                      <a:pt x="126" y="260"/>
                    </a:lnTo>
                    <a:lnTo>
                      <a:pt x="140" y="262"/>
                    </a:lnTo>
                    <a:lnTo>
                      <a:pt x="155" y="264"/>
                    </a:lnTo>
                    <a:lnTo>
                      <a:pt x="171" y="265"/>
                    </a:lnTo>
                    <a:lnTo>
                      <a:pt x="187" y="266"/>
                    </a:lnTo>
                    <a:lnTo>
                      <a:pt x="187" y="270"/>
                    </a:lnTo>
                    <a:lnTo>
                      <a:pt x="189" y="276"/>
                    </a:lnTo>
                    <a:lnTo>
                      <a:pt x="191" y="281"/>
                    </a:lnTo>
                    <a:lnTo>
                      <a:pt x="196" y="288"/>
                    </a:lnTo>
                    <a:lnTo>
                      <a:pt x="205" y="300"/>
                    </a:lnTo>
                    <a:lnTo>
                      <a:pt x="215" y="312"/>
                    </a:lnTo>
                    <a:lnTo>
                      <a:pt x="227" y="323"/>
                    </a:lnTo>
                    <a:lnTo>
                      <a:pt x="238" y="331"/>
                    </a:lnTo>
                    <a:lnTo>
                      <a:pt x="242" y="335"/>
                    </a:lnTo>
                    <a:lnTo>
                      <a:pt x="246" y="337"/>
                    </a:lnTo>
                    <a:lnTo>
                      <a:pt x="251" y="340"/>
                    </a:lnTo>
                    <a:lnTo>
                      <a:pt x="253" y="340"/>
                    </a:lnTo>
                    <a:lnTo>
                      <a:pt x="253" y="349"/>
                    </a:lnTo>
                    <a:lnTo>
                      <a:pt x="253" y="358"/>
                    </a:lnTo>
                    <a:lnTo>
                      <a:pt x="253" y="365"/>
                    </a:lnTo>
                    <a:lnTo>
                      <a:pt x="253" y="370"/>
                    </a:lnTo>
                    <a:lnTo>
                      <a:pt x="253" y="379"/>
                    </a:lnTo>
                    <a:lnTo>
                      <a:pt x="254" y="386"/>
                    </a:lnTo>
                    <a:lnTo>
                      <a:pt x="256" y="394"/>
                    </a:lnTo>
                    <a:lnTo>
                      <a:pt x="260" y="402"/>
                    </a:lnTo>
                    <a:lnTo>
                      <a:pt x="262" y="404"/>
                    </a:lnTo>
                    <a:lnTo>
                      <a:pt x="266" y="406"/>
                    </a:lnTo>
                    <a:lnTo>
                      <a:pt x="273" y="408"/>
                    </a:lnTo>
                    <a:lnTo>
                      <a:pt x="280" y="410"/>
                    </a:lnTo>
                    <a:lnTo>
                      <a:pt x="296" y="413"/>
                    </a:lnTo>
                    <a:lnTo>
                      <a:pt x="307" y="414"/>
                    </a:lnTo>
                    <a:lnTo>
                      <a:pt x="323" y="414"/>
                    </a:lnTo>
                    <a:lnTo>
                      <a:pt x="341" y="416"/>
                    </a:lnTo>
                    <a:lnTo>
                      <a:pt x="356" y="419"/>
                    </a:lnTo>
                    <a:lnTo>
                      <a:pt x="373" y="422"/>
                    </a:lnTo>
                    <a:lnTo>
                      <a:pt x="403" y="431"/>
                    </a:lnTo>
                    <a:lnTo>
                      <a:pt x="433" y="441"/>
                    </a:lnTo>
                    <a:lnTo>
                      <a:pt x="463" y="452"/>
                    </a:lnTo>
                    <a:lnTo>
                      <a:pt x="490" y="461"/>
                    </a:lnTo>
                    <a:lnTo>
                      <a:pt x="504" y="464"/>
                    </a:lnTo>
                    <a:lnTo>
                      <a:pt x="518" y="467"/>
                    </a:lnTo>
                    <a:lnTo>
                      <a:pt x="532" y="469"/>
                    </a:lnTo>
                    <a:lnTo>
                      <a:pt x="546" y="469"/>
                    </a:lnTo>
                    <a:lnTo>
                      <a:pt x="548" y="477"/>
                    </a:lnTo>
                    <a:lnTo>
                      <a:pt x="554" y="485"/>
                    </a:lnTo>
                    <a:lnTo>
                      <a:pt x="559" y="493"/>
                    </a:lnTo>
                    <a:lnTo>
                      <a:pt x="566" y="501"/>
                    </a:lnTo>
                    <a:lnTo>
                      <a:pt x="575" y="510"/>
                    </a:lnTo>
                    <a:lnTo>
                      <a:pt x="583" y="517"/>
                    </a:lnTo>
                    <a:lnTo>
                      <a:pt x="592" y="524"/>
                    </a:lnTo>
                    <a:lnTo>
                      <a:pt x="602" y="531"/>
                    </a:lnTo>
                    <a:lnTo>
                      <a:pt x="612" y="537"/>
                    </a:lnTo>
                    <a:lnTo>
                      <a:pt x="622" y="542"/>
                    </a:lnTo>
                    <a:lnTo>
                      <a:pt x="633" y="547"/>
                    </a:lnTo>
                    <a:lnTo>
                      <a:pt x="643" y="550"/>
                    </a:lnTo>
                    <a:lnTo>
                      <a:pt x="653" y="553"/>
                    </a:lnTo>
                    <a:lnTo>
                      <a:pt x="661" y="555"/>
                    </a:lnTo>
                    <a:lnTo>
                      <a:pt x="670" y="555"/>
                    </a:lnTo>
                    <a:lnTo>
                      <a:pt x="679" y="555"/>
                    </a:lnTo>
                    <a:lnTo>
                      <a:pt x="738" y="568"/>
                    </a:lnTo>
                    <a:lnTo>
                      <a:pt x="904" y="568"/>
                    </a:lnTo>
                    <a:lnTo>
                      <a:pt x="910" y="572"/>
                    </a:lnTo>
                    <a:lnTo>
                      <a:pt x="917" y="576"/>
                    </a:lnTo>
                    <a:lnTo>
                      <a:pt x="928" y="580"/>
                    </a:lnTo>
                    <a:lnTo>
                      <a:pt x="940" y="585"/>
                    </a:lnTo>
                    <a:lnTo>
                      <a:pt x="970" y="595"/>
                    </a:lnTo>
                    <a:lnTo>
                      <a:pt x="1003" y="605"/>
                    </a:lnTo>
                    <a:lnTo>
                      <a:pt x="1037" y="614"/>
                    </a:lnTo>
                    <a:lnTo>
                      <a:pt x="1070" y="623"/>
                    </a:lnTo>
                    <a:lnTo>
                      <a:pt x="1084" y="626"/>
                    </a:lnTo>
                    <a:lnTo>
                      <a:pt x="1097" y="628"/>
                    </a:lnTo>
                    <a:lnTo>
                      <a:pt x="1108" y="629"/>
                    </a:lnTo>
                    <a:lnTo>
                      <a:pt x="1117" y="630"/>
                    </a:lnTo>
                    <a:lnTo>
                      <a:pt x="1121" y="629"/>
                    </a:lnTo>
                    <a:lnTo>
                      <a:pt x="1127" y="627"/>
                    </a:lnTo>
                    <a:lnTo>
                      <a:pt x="1134" y="625"/>
                    </a:lnTo>
                    <a:lnTo>
                      <a:pt x="1140" y="622"/>
                    </a:lnTo>
                    <a:lnTo>
                      <a:pt x="1157" y="613"/>
                    </a:lnTo>
                    <a:lnTo>
                      <a:pt x="1174" y="603"/>
                    </a:lnTo>
                    <a:lnTo>
                      <a:pt x="1209" y="583"/>
                    </a:lnTo>
                    <a:lnTo>
                      <a:pt x="1237" y="568"/>
                    </a:lnTo>
                    <a:lnTo>
                      <a:pt x="1337" y="568"/>
                    </a:lnTo>
                    <a:lnTo>
                      <a:pt x="1344" y="564"/>
                    </a:lnTo>
                    <a:lnTo>
                      <a:pt x="1355" y="556"/>
                    </a:lnTo>
                    <a:lnTo>
                      <a:pt x="1366" y="546"/>
                    </a:lnTo>
                    <a:lnTo>
                      <a:pt x="1377" y="534"/>
                    </a:lnTo>
                    <a:lnTo>
                      <a:pt x="1387" y="522"/>
                    </a:lnTo>
                    <a:lnTo>
                      <a:pt x="1395" y="510"/>
                    </a:lnTo>
                    <a:lnTo>
                      <a:pt x="1398" y="503"/>
                    </a:lnTo>
                    <a:lnTo>
                      <a:pt x="1400" y="497"/>
                    </a:lnTo>
                    <a:lnTo>
                      <a:pt x="1403" y="492"/>
                    </a:lnTo>
                    <a:lnTo>
                      <a:pt x="1403" y="487"/>
                    </a:lnTo>
                    <a:lnTo>
                      <a:pt x="1403" y="483"/>
                    </a:lnTo>
                    <a:lnTo>
                      <a:pt x="1401" y="479"/>
                    </a:lnTo>
                    <a:lnTo>
                      <a:pt x="1399" y="475"/>
                    </a:lnTo>
                    <a:lnTo>
                      <a:pt x="1397" y="471"/>
                    </a:lnTo>
                    <a:lnTo>
                      <a:pt x="1392" y="463"/>
                    </a:lnTo>
                    <a:lnTo>
                      <a:pt x="1386" y="455"/>
                    </a:lnTo>
                    <a:lnTo>
                      <a:pt x="1379" y="445"/>
                    </a:lnTo>
                    <a:lnTo>
                      <a:pt x="1374" y="434"/>
                    </a:lnTo>
                    <a:lnTo>
                      <a:pt x="1373" y="429"/>
                    </a:lnTo>
                    <a:lnTo>
                      <a:pt x="1371" y="422"/>
                    </a:lnTo>
                    <a:lnTo>
                      <a:pt x="1370" y="415"/>
                    </a:lnTo>
                    <a:lnTo>
                      <a:pt x="1370" y="408"/>
                    </a:lnTo>
                    <a:lnTo>
                      <a:pt x="1483" y="408"/>
                    </a:lnTo>
                    <a:lnTo>
                      <a:pt x="1486" y="404"/>
                    </a:lnTo>
                    <a:lnTo>
                      <a:pt x="1491" y="399"/>
                    </a:lnTo>
                    <a:lnTo>
                      <a:pt x="1499" y="394"/>
                    </a:lnTo>
                    <a:lnTo>
                      <a:pt x="1508" y="388"/>
                    </a:lnTo>
                    <a:lnTo>
                      <a:pt x="1529" y="376"/>
                    </a:lnTo>
                    <a:lnTo>
                      <a:pt x="1551" y="364"/>
                    </a:lnTo>
                    <a:lnTo>
                      <a:pt x="1574" y="352"/>
                    </a:lnTo>
                    <a:lnTo>
                      <a:pt x="1594" y="343"/>
                    </a:lnTo>
                    <a:lnTo>
                      <a:pt x="1608" y="335"/>
                    </a:lnTo>
                    <a:lnTo>
                      <a:pt x="1616" y="333"/>
                    </a:lnTo>
                    <a:lnTo>
                      <a:pt x="1628" y="332"/>
                    </a:lnTo>
                    <a:lnTo>
                      <a:pt x="1640" y="329"/>
                    </a:lnTo>
                    <a:lnTo>
                      <a:pt x="1651" y="325"/>
                    </a:lnTo>
                    <a:lnTo>
                      <a:pt x="1662" y="319"/>
                    </a:lnTo>
                    <a:lnTo>
                      <a:pt x="1670" y="314"/>
                    </a:lnTo>
                    <a:lnTo>
                      <a:pt x="1679" y="308"/>
                    </a:lnTo>
                    <a:lnTo>
                      <a:pt x="1685" y="302"/>
                    </a:lnTo>
                    <a:lnTo>
                      <a:pt x="1688" y="297"/>
                    </a:lnTo>
                    <a:lnTo>
                      <a:pt x="1680" y="294"/>
                    </a:lnTo>
                    <a:lnTo>
                      <a:pt x="1674" y="291"/>
                    </a:lnTo>
                    <a:lnTo>
                      <a:pt x="1667" y="288"/>
                    </a:lnTo>
                    <a:lnTo>
                      <a:pt x="1661" y="284"/>
                    </a:lnTo>
                    <a:lnTo>
                      <a:pt x="1656" y="279"/>
                    </a:lnTo>
                    <a:lnTo>
                      <a:pt x="1652" y="275"/>
                    </a:lnTo>
                    <a:lnTo>
                      <a:pt x="1650" y="270"/>
                    </a:lnTo>
                    <a:lnTo>
                      <a:pt x="1648" y="266"/>
                    </a:lnTo>
                    <a:lnTo>
                      <a:pt x="1632" y="258"/>
                    </a:lnTo>
                    <a:lnTo>
                      <a:pt x="1619" y="252"/>
                    </a:lnTo>
                    <a:lnTo>
                      <a:pt x="1613" y="250"/>
                    </a:lnTo>
                    <a:lnTo>
                      <a:pt x="1608" y="249"/>
                    </a:lnTo>
                    <a:lnTo>
                      <a:pt x="1602" y="248"/>
                    </a:lnTo>
                    <a:lnTo>
                      <a:pt x="1596" y="247"/>
                    </a:lnTo>
                    <a:lnTo>
                      <a:pt x="1583" y="248"/>
                    </a:lnTo>
                    <a:lnTo>
                      <a:pt x="1574" y="249"/>
                    </a:lnTo>
                    <a:lnTo>
                      <a:pt x="1567" y="251"/>
                    </a:lnTo>
                    <a:lnTo>
                      <a:pt x="1563" y="253"/>
                    </a:lnTo>
                    <a:lnTo>
                      <a:pt x="1558" y="256"/>
                    </a:lnTo>
                    <a:lnTo>
                      <a:pt x="1553" y="258"/>
                    </a:lnTo>
                    <a:lnTo>
                      <a:pt x="1546" y="259"/>
                    </a:lnTo>
                    <a:lnTo>
                      <a:pt x="1535" y="259"/>
                    </a:lnTo>
                    <a:lnTo>
                      <a:pt x="1521" y="259"/>
                    </a:lnTo>
                    <a:lnTo>
                      <a:pt x="1509" y="258"/>
                    </a:lnTo>
                    <a:lnTo>
                      <a:pt x="1497" y="256"/>
                    </a:lnTo>
                    <a:lnTo>
                      <a:pt x="1487" y="253"/>
                    </a:lnTo>
                    <a:lnTo>
                      <a:pt x="1478" y="249"/>
                    </a:lnTo>
                    <a:lnTo>
                      <a:pt x="1471" y="245"/>
                    </a:lnTo>
                    <a:lnTo>
                      <a:pt x="1463" y="240"/>
                    </a:lnTo>
                    <a:lnTo>
                      <a:pt x="1457" y="235"/>
                    </a:lnTo>
                    <a:lnTo>
                      <a:pt x="1452" y="228"/>
                    </a:lnTo>
                    <a:lnTo>
                      <a:pt x="1448" y="220"/>
                    </a:lnTo>
                    <a:lnTo>
                      <a:pt x="1443" y="213"/>
                    </a:lnTo>
                    <a:lnTo>
                      <a:pt x="1440" y="205"/>
                    </a:lnTo>
                    <a:lnTo>
                      <a:pt x="1434" y="187"/>
                    </a:lnTo>
                    <a:lnTo>
                      <a:pt x="1429" y="167"/>
                    </a:lnTo>
                    <a:lnTo>
                      <a:pt x="1422" y="136"/>
                    </a:lnTo>
                    <a:lnTo>
                      <a:pt x="1412" y="134"/>
                    </a:lnTo>
                    <a:lnTo>
                      <a:pt x="1385" y="127"/>
                    </a:lnTo>
                    <a:lnTo>
                      <a:pt x="1367" y="124"/>
                    </a:lnTo>
                    <a:lnTo>
                      <a:pt x="1347" y="121"/>
                    </a:lnTo>
                    <a:lnTo>
                      <a:pt x="1326" y="119"/>
                    </a:lnTo>
                    <a:lnTo>
                      <a:pt x="1303" y="118"/>
                    </a:lnTo>
                    <a:lnTo>
                      <a:pt x="1294" y="119"/>
                    </a:lnTo>
                    <a:lnTo>
                      <a:pt x="1286" y="120"/>
                    </a:lnTo>
                    <a:lnTo>
                      <a:pt x="1281" y="123"/>
                    </a:lnTo>
                    <a:lnTo>
                      <a:pt x="1275" y="126"/>
                    </a:lnTo>
                    <a:lnTo>
                      <a:pt x="1267" y="134"/>
                    </a:lnTo>
                    <a:lnTo>
                      <a:pt x="1262" y="142"/>
                    </a:lnTo>
                    <a:lnTo>
                      <a:pt x="1260" y="147"/>
                    </a:lnTo>
                    <a:lnTo>
                      <a:pt x="1257" y="151"/>
                    </a:lnTo>
                    <a:lnTo>
                      <a:pt x="1252" y="156"/>
                    </a:lnTo>
                    <a:lnTo>
                      <a:pt x="1248" y="159"/>
                    </a:lnTo>
                    <a:lnTo>
                      <a:pt x="1242" y="162"/>
                    </a:lnTo>
                    <a:lnTo>
                      <a:pt x="1236" y="165"/>
                    </a:lnTo>
                    <a:lnTo>
                      <a:pt x="1227" y="166"/>
                    </a:lnTo>
                    <a:lnTo>
                      <a:pt x="1217" y="167"/>
                    </a:lnTo>
                    <a:lnTo>
                      <a:pt x="1199" y="167"/>
                    </a:lnTo>
                    <a:lnTo>
                      <a:pt x="1184" y="167"/>
                    </a:lnTo>
                    <a:lnTo>
                      <a:pt x="1168" y="167"/>
                    </a:lnTo>
                    <a:lnTo>
                      <a:pt x="1150" y="167"/>
                    </a:lnTo>
                    <a:lnTo>
                      <a:pt x="1130" y="167"/>
                    </a:lnTo>
                    <a:lnTo>
                      <a:pt x="1106" y="167"/>
                    </a:lnTo>
                    <a:lnTo>
                      <a:pt x="1078" y="167"/>
                    </a:lnTo>
                    <a:lnTo>
                      <a:pt x="1044" y="167"/>
                    </a:lnTo>
                    <a:lnTo>
                      <a:pt x="1034" y="164"/>
                    </a:lnTo>
                    <a:lnTo>
                      <a:pt x="1025" y="160"/>
                    </a:lnTo>
                    <a:lnTo>
                      <a:pt x="1015" y="156"/>
                    </a:lnTo>
                    <a:lnTo>
                      <a:pt x="1005" y="151"/>
                    </a:lnTo>
                    <a:lnTo>
                      <a:pt x="986" y="140"/>
                    </a:lnTo>
                    <a:lnTo>
                      <a:pt x="967" y="129"/>
                    </a:lnTo>
                    <a:lnTo>
                      <a:pt x="956" y="123"/>
                    </a:lnTo>
                    <a:lnTo>
                      <a:pt x="945" y="118"/>
                    </a:lnTo>
                    <a:lnTo>
                      <a:pt x="934" y="112"/>
                    </a:lnTo>
                    <a:lnTo>
                      <a:pt x="922" y="108"/>
                    </a:lnTo>
                    <a:lnTo>
                      <a:pt x="908" y="104"/>
                    </a:lnTo>
                    <a:lnTo>
                      <a:pt x="895" y="102"/>
                    </a:lnTo>
                    <a:lnTo>
                      <a:pt x="880" y="100"/>
                    </a:lnTo>
                    <a:lnTo>
                      <a:pt x="865" y="99"/>
                    </a:lnTo>
                    <a:lnTo>
                      <a:pt x="852" y="100"/>
                    </a:lnTo>
                    <a:lnTo>
                      <a:pt x="841" y="102"/>
                    </a:lnTo>
                    <a:lnTo>
                      <a:pt x="832" y="105"/>
                    </a:lnTo>
                    <a:lnTo>
                      <a:pt x="822" y="108"/>
                    </a:lnTo>
                    <a:lnTo>
                      <a:pt x="811" y="112"/>
                    </a:lnTo>
                    <a:lnTo>
                      <a:pt x="801" y="114"/>
                    </a:lnTo>
                    <a:lnTo>
                      <a:pt x="790" y="118"/>
                    </a:lnTo>
                    <a:lnTo>
                      <a:pt x="778" y="118"/>
                    </a:lnTo>
                    <a:lnTo>
                      <a:pt x="765" y="118"/>
                    </a:lnTo>
                    <a:lnTo>
                      <a:pt x="753" y="117"/>
                    </a:lnTo>
                    <a:lnTo>
                      <a:pt x="740" y="116"/>
                    </a:lnTo>
                    <a:lnTo>
                      <a:pt x="729" y="114"/>
                    </a:lnTo>
                    <a:lnTo>
                      <a:pt x="720" y="111"/>
                    </a:lnTo>
                    <a:lnTo>
                      <a:pt x="710" y="108"/>
                    </a:lnTo>
                    <a:lnTo>
                      <a:pt x="701" y="105"/>
                    </a:lnTo>
                    <a:lnTo>
                      <a:pt x="692" y="101"/>
                    </a:lnTo>
                    <a:lnTo>
                      <a:pt x="686" y="96"/>
                    </a:lnTo>
                    <a:lnTo>
                      <a:pt x="678" y="90"/>
                    </a:lnTo>
                    <a:lnTo>
                      <a:pt x="672" y="84"/>
                    </a:lnTo>
                    <a:lnTo>
                      <a:pt x="667" y="76"/>
                    </a:lnTo>
                    <a:lnTo>
                      <a:pt x="662" y="68"/>
                    </a:lnTo>
                    <a:lnTo>
                      <a:pt x="658" y="58"/>
                    </a:lnTo>
                    <a:lnTo>
                      <a:pt x="655" y="49"/>
                    </a:lnTo>
                    <a:lnTo>
                      <a:pt x="652" y="38"/>
                    </a:lnTo>
                    <a:lnTo>
                      <a:pt x="459" y="0"/>
                    </a:lnTo>
                    <a:lnTo>
                      <a:pt x="446" y="7"/>
                    </a:lnTo>
                    <a:lnTo>
                      <a:pt x="446" y="16"/>
                    </a:lnTo>
                    <a:lnTo>
                      <a:pt x="446" y="23"/>
                    </a:lnTo>
                    <a:lnTo>
                      <a:pt x="446" y="30"/>
                    </a:lnTo>
                    <a:lnTo>
                      <a:pt x="446" y="38"/>
                    </a:lnTo>
                    <a:lnTo>
                      <a:pt x="446" y="44"/>
                    </a:lnTo>
                    <a:lnTo>
                      <a:pt x="448" y="50"/>
                    </a:lnTo>
                    <a:lnTo>
                      <a:pt x="451" y="55"/>
                    </a:lnTo>
                    <a:lnTo>
                      <a:pt x="454" y="61"/>
                    </a:lnTo>
                    <a:lnTo>
                      <a:pt x="463" y="71"/>
                    </a:lnTo>
                    <a:lnTo>
                      <a:pt x="471" y="79"/>
                    </a:lnTo>
                    <a:lnTo>
                      <a:pt x="476" y="84"/>
                    </a:lnTo>
                    <a:lnTo>
                      <a:pt x="480" y="89"/>
                    </a:lnTo>
                    <a:lnTo>
                      <a:pt x="485" y="94"/>
                    </a:lnTo>
                    <a:lnTo>
                      <a:pt x="488" y="100"/>
                    </a:lnTo>
                    <a:lnTo>
                      <a:pt x="490" y="106"/>
                    </a:lnTo>
                    <a:lnTo>
                      <a:pt x="492" y="113"/>
                    </a:lnTo>
                    <a:lnTo>
                      <a:pt x="493" y="122"/>
                    </a:lnTo>
                    <a:lnTo>
                      <a:pt x="492" y="130"/>
                    </a:lnTo>
                    <a:lnTo>
                      <a:pt x="313" y="130"/>
                    </a:lnTo>
                    <a:lnTo>
                      <a:pt x="307" y="122"/>
                    </a:lnTo>
                    <a:lnTo>
                      <a:pt x="300" y="113"/>
                    </a:lnTo>
                    <a:lnTo>
                      <a:pt x="298" y="108"/>
                    </a:lnTo>
                    <a:lnTo>
                      <a:pt x="296" y="102"/>
                    </a:lnTo>
                    <a:lnTo>
                      <a:pt x="294" y="95"/>
                    </a:lnTo>
                    <a:lnTo>
                      <a:pt x="294" y="87"/>
                    </a:lnTo>
                    <a:lnTo>
                      <a:pt x="279" y="87"/>
                    </a:lnTo>
                    <a:lnTo>
                      <a:pt x="266" y="87"/>
                    </a:lnTo>
                    <a:lnTo>
                      <a:pt x="240" y="99"/>
                    </a:lnTo>
                    <a:lnTo>
                      <a:pt x="233" y="99"/>
                    </a:lnTo>
                    <a:lnTo>
                      <a:pt x="225" y="97"/>
                    </a:lnTo>
                    <a:lnTo>
                      <a:pt x="219" y="95"/>
                    </a:lnTo>
                    <a:lnTo>
                      <a:pt x="211" y="93"/>
                    </a:lnTo>
                    <a:lnTo>
                      <a:pt x="204" y="91"/>
                    </a:lnTo>
                    <a:lnTo>
                      <a:pt x="195" y="89"/>
                    </a:lnTo>
                    <a:lnTo>
                      <a:pt x="185" y="88"/>
                    </a:lnTo>
                    <a:lnTo>
                      <a:pt x="174" y="87"/>
                    </a:lnTo>
                    <a:lnTo>
                      <a:pt x="164" y="88"/>
                    </a:lnTo>
                    <a:lnTo>
                      <a:pt x="155" y="90"/>
                    </a:lnTo>
                    <a:lnTo>
                      <a:pt x="146" y="93"/>
                    </a:lnTo>
                    <a:lnTo>
                      <a:pt x="138" y="97"/>
                    </a:lnTo>
                    <a:lnTo>
                      <a:pt x="122" y="106"/>
                    </a:lnTo>
                    <a:lnTo>
                      <a:pt x="107" y="118"/>
                    </a:lnTo>
                    <a:lnTo>
                      <a:pt x="92" y="129"/>
                    </a:lnTo>
                    <a:lnTo>
                      <a:pt x="76" y="139"/>
                    </a:lnTo>
                    <a:lnTo>
                      <a:pt x="68" y="143"/>
                    </a:lnTo>
                    <a:lnTo>
                      <a:pt x="60" y="146"/>
                    </a:lnTo>
                    <a:lnTo>
                      <a:pt x="50" y="148"/>
                    </a:lnTo>
                    <a:lnTo>
                      <a:pt x="41" y="149"/>
                    </a:lnTo>
                    <a:lnTo>
                      <a:pt x="37" y="149"/>
                    </a:lnTo>
                    <a:lnTo>
                      <a:pt x="31" y="151"/>
                    </a:lnTo>
                    <a:lnTo>
                      <a:pt x="25" y="153"/>
                    </a:lnTo>
                    <a:lnTo>
                      <a:pt x="18" y="157"/>
                    </a:lnTo>
                    <a:lnTo>
                      <a:pt x="11" y="161"/>
                    </a:lnTo>
                    <a:lnTo>
                      <a:pt x="6" y="166"/>
                    </a:lnTo>
                    <a:lnTo>
                      <a:pt x="4" y="169"/>
                    </a:lnTo>
                    <a:lnTo>
                      <a:pt x="3" y="173"/>
                    </a:lnTo>
                    <a:lnTo>
                      <a:pt x="1" y="177"/>
                    </a:lnTo>
                    <a:lnTo>
                      <a:pt x="0" y="1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5" name="Freeform 169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3214618" y="5265310"/>
                <a:ext cx="31750" cy="11112"/>
              </a:xfrm>
              <a:custGeom>
                <a:avLst/>
                <a:gdLst>
                  <a:gd name="T0" fmla="*/ 0 w 79"/>
                  <a:gd name="T1" fmla="*/ 2147483647 h 23"/>
                  <a:gd name="T2" fmla="*/ 1428182921 w 79"/>
                  <a:gd name="T3" fmla="*/ 1466079596 h 23"/>
                  <a:gd name="T4" fmla="*/ 2147483647 w 79"/>
                  <a:gd name="T5" fmla="*/ 451191165 h 23"/>
                  <a:gd name="T6" fmla="*/ 2147483647 w 79"/>
                  <a:gd name="T7" fmla="*/ 112739453 h 23"/>
                  <a:gd name="T8" fmla="*/ 2147483647 w 79"/>
                  <a:gd name="T9" fmla="*/ 0 h 23"/>
                  <a:gd name="T10" fmla="*/ 2147483647 w 79"/>
                  <a:gd name="T11" fmla="*/ 0 h 23"/>
                  <a:gd name="T12" fmla="*/ 2147483647 w 79"/>
                  <a:gd name="T13" fmla="*/ 112739453 h 23"/>
                  <a:gd name="T14" fmla="*/ 2147483647 w 79"/>
                  <a:gd name="T15" fmla="*/ 225478906 h 23"/>
                  <a:gd name="T16" fmla="*/ 2147483647 w 79"/>
                  <a:gd name="T17" fmla="*/ 451191165 h 23"/>
                  <a:gd name="T18" fmla="*/ 2147483647 w 79"/>
                  <a:gd name="T19" fmla="*/ 902148978 h 23"/>
                  <a:gd name="T20" fmla="*/ 2147483647 w 79"/>
                  <a:gd name="T21" fmla="*/ 1466079596 h 23"/>
                  <a:gd name="T22" fmla="*/ 2147483647 w 79"/>
                  <a:gd name="T23" fmla="*/ 1804297955 h 23"/>
                  <a:gd name="T24" fmla="*/ 2147483647 w 79"/>
                  <a:gd name="T25" fmla="*/ 2142516315 h 23"/>
                  <a:gd name="T26" fmla="*/ 2147483647 w 79"/>
                  <a:gd name="T27" fmla="*/ 2147483647 h 23"/>
                  <a:gd name="T28" fmla="*/ 2147483647 w 79"/>
                  <a:gd name="T29" fmla="*/ 2147483647 h 23"/>
                  <a:gd name="T30" fmla="*/ 2147483647 w 79"/>
                  <a:gd name="T31" fmla="*/ 2147483647 h 23"/>
                  <a:gd name="T32" fmla="*/ 2147483647 w 79"/>
                  <a:gd name="T33" fmla="*/ 2147483647 h 23"/>
                  <a:gd name="T34" fmla="*/ 2147483647 w 79"/>
                  <a:gd name="T35" fmla="*/ 2147483647 h 23"/>
                  <a:gd name="T36" fmla="*/ 2077342215 w 79"/>
                  <a:gd name="T37" fmla="*/ 2147483647 h 23"/>
                  <a:gd name="T38" fmla="*/ 1687749620 w 79"/>
                  <a:gd name="T39" fmla="*/ 2147483647 h 23"/>
                  <a:gd name="T40" fmla="*/ 1493114886 w 79"/>
                  <a:gd name="T41" fmla="*/ 2142516315 h 23"/>
                  <a:gd name="T42" fmla="*/ 1233386623 w 79"/>
                  <a:gd name="T43" fmla="*/ 2029776862 h 23"/>
                  <a:gd name="T44" fmla="*/ 908887557 w 79"/>
                  <a:gd name="T45" fmla="*/ 2029776862 h 23"/>
                  <a:gd name="T46" fmla="*/ 584227329 w 79"/>
                  <a:gd name="T47" fmla="*/ 2147483647 h 23"/>
                  <a:gd name="T48" fmla="*/ 0 w 79"/>
                  <a:gd name="T49" fmla="*/ 2147483647 h 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23">
                    <a:moveTo>
                      <a:pt x="0" y="23"/>
                    </a:moveTo>
                    <a:lnTo>
                      <a:pt x="22" y="13"/>
                    </a:lnTo>
                    <a:lnTo>
                      <a:pt x="45" y="4"/>
                    </a:lnTo>
                    <a:lnTo>
                      <a:pt x="56" y="1"/>
                    </a:lnTo>
                    <a:lnTo>
                      <a:pt x="65" y="0"/>
                    </a:lnTo>
                    <a:lnTo>
                      <a:pt x="69" y="0"/>
                    </a:lnTo>
                    <a:lnTo>
                      <a:pt x="74" y="1"/>
                    </a:lnTo>
                    <a:lnTo>
                      <a:pt x="77" y="2"/>
                    </a:lnTo>
                    <a:lnTo>
                      <a:pt x="79" y="4"/>
                    </a:lnTo>
                    <a:lnTo>
                      <a:pt x="77" y="8"/>
                    </a:lnTo>
                    <a:lnTo>
                      <a:pt x="75" y="13"/>
                    </a:lnTo>
                    <a:lnTo>
                      <a:pt x="72" y="16"/>
                    </a:lnTo>
                    <a:lnTo>
                      <a:pt x="68" y="19"/>
                    </a:lnTo>
                    <a:lnTo>
                      <a:pt x="64" y="21"/>
                    </a:lnTo>
                    <a:lnTo>
                      <a:pt x="59" y="22"/>
                    </a:lnTo>
                    <a:lnTo>
                      <a:pt x="53" y="23"/>
                    </a:lnTo>
                    <a:lnTo>
                      <a:pt x="46" y="23"/>
                    </a:lnTo>
                    <a:lnTo>
                      <a:pt x="37" y="23"/>
                    </a:lnTo>
                    <a:lnTo>
                      <a:pt x="32" y="21"/>
                    </a:lnTo>
                    <a:lnTo>
                      <a:pt x="26" y="20"/>
                    </a:lnTo>
                    <a:lnTo>
                      <a:pt x="23" y="19"/>
                    </a:lnTo>
                    <a:lnTo>
                      <a:pt x="19" y="18"/>
                    </a:lnTo>
                    <a:lnTo>
                      <a:pt x="14" y="18"/>
                    </a:lnTo>
                    <a:lnTo>
                      <a:pt x="9" y="20"/>
                    </a:lnTo>
                    <a:lnTo>
                      <a:pt x="0" y="2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6" name="Freeform 170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3330505" y="5398660"/>
                <a:ext cx="1588" cy="4762"/>
              </a:xfrm>
              <a:custGeom>
                <a:avLst/>
                <a:gdLst>
                  <a:gd name="T0" fmla="*/ 0 w 1588"/>
                  <a:gd name="T1" fmla="*/ 0 h 6"/>
                  <a:gd name="T2" fmla="*/ 0 w 1588"/>
                  <a:gd name="T3" fmla="*/ 2147483647 h 6"/>
                  <a:gd name="T4" fmla="*/ 0 w 1588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88"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7" name="Line 171"/>
              <p:cNvSpPr>
                <a:spLocks noChangeShapeType="1"/>
              </p:cNvSpPr>
              <p:nvPr>
                <p:custDataLst>
                  <p:tags r:id="rId63"/>
                </p:custDataLst>
              </p:nvPr>
            </p:nvSpPr>
            <p:spPr bwMode="auto">
              <a:xfrm flipV="1">
                <a:off x="13420993" y="5397072"/>
                <a:ext cx="1587" cy="12700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8" name="Freeform 172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13420993" y="5397072"/>
                <a:ext cx="3175" cy="15875"/>
              </a:xfrm>
              <a:custGeom>
                <a:avLst/>
                <a:gdLst>
                  <a:gd name="T0" fmla="*/ 0 w 5"/>
                  <a:gd name="T1" fmla="*/ 0 h 30"/>
                  <a:gd name="T2" fmla="*/ 512095750 w 5"/>
                  <a:gd name="T3" fmla="*/ 148129096 h 30"/>
                  <a:gd name="T4" fmla="*/ 1024191500 w 5"/>
                  <a:gd name="T5" fmla="*/ 592796842 h 30"/>
                  <a:gd name="T6" fmla="*/ 1280239375 w 5"/>
                  <a:gd name="T7" fmla="*/ 1185313754 h 30"/>
                  <a:gd name="T8" fmla="*/ 1280239375 w 5"/>
                  <a:gd name="T9" fmla="*/ 1926239692 h 30"/>
                  <a:gd name="T10" fmla="*/ 1280239375 w 5"/>
                  <a:gd name="T11" fmla="*/ 2147483647 h 30"/>
                  <a:gd name="T12" fmla="*/ 1024191500 w 5"/>
                  <a:gd name="T13" fmla="*/ 2147483647 h 30"/>
                  <a:gd name="T14" fmla="*/ 512095750 w 5"/>
                  <a:gd name="T15" fmla="*/ 2147483647 h 30"/>
                  <a:gd name="T16" fmla="*/ 0 w 5"/>
                  <a:gd name="T17" fmla="*/ 2147483647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" h="30">
                    <a:moveTo>
                      <a:pt x="0" y="0"/>
                    </a:moveTo>
                    <a:lnTo>
                      <a:pt x="2" y="1"/>
                    </a:lnTo>
                    <a:lnTo>
                      <a:pt x="4" y="4"/>
                    </a:lnTo>
                    <a:lnTo>
                      <a:pt x="5" y="8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4" y="23"/>
                    </a:lnTo>
                    <a:lnTo>
                      <a:pt x="2" y="27"/>
                    </a:lnTo>
                    <a:lnTo>
                      <a:pt x="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69" name="Freeform 173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13719443" y="4866847"/>
                <a:ext cx="22225" cy="28575"/>
              </a:xfrm>
              <a:custGeom>
                <a:avLst/>
                <a:gdLst>
                  <a:gd name="T0" fmla="*/ 0 w 53"/>
                  <a:gd name="T1" fmla="*/ 1682997881 h 55"/>
                  <a:gd name="T2" fmla="*/ 73679230 w 53"/>
                  <a:gd name="T3" fmla="*/ 2147483647 h 55"/>
                  <a:gd name="T4" fmla="*/ 368748394 w 53"/>
                  <a:gd name="T5" fmla="*/ 2147483647 h 55"/>
                  <a:gd name="T6" fmla="*/ 663641855 w 53"/>
                  <a:gd name="T7" fmla="*/ 2147483647 h 55"/>
                  <a:gd name="T8" fmla="*/ 1106069478 w 53"/>
                  <a:gd name="T9" fmla="*/ 2147483647 h 55"/>
                  <a:gd name="T10" fmla="*/ 1917245915 w 53"/>
                  <a:gd name="T11" fmla="*/ 2147483647 h 55"/>
                  <a:gd name="T12" fmla="*/ 2147483647 w 53"/>
                  <a:gd name="T13" fmla="*/ 2147483647 h 55"/>
                  <a:gd name="T14" fmla="*/ 2147483647 w 53"/>
                  <a:gd name="T15" fmla="*/ 2147483647 h 55"/>
                  <a:gd name="T16" fmla="*/ 2147483647 w 53"/>
                  <a:gd name="T17" fmla="*/ 2147483647 h 55"/>
                  <a:gd name="T18" fmla="*/ 2064780497 w 53"/>
                  <a:gd name="T19" fmla="*/ 2147483647 h 55"/>
                  <a:gd name="T20" fmla="*/ 1696032103 w 53"/>
                  <a:gd name="T21" fmla="*/ 2147483647 h 55"/>
                  <a:gd name="T22" fmla="*/ 1400962939 w 53"/>
                  <a:gd name="T23" fmla="*/ 2147483647 h 55"/>
                  <a:gd name="T24" fmla="*/ 1179749127 w 53"/>
                  <a:gd name="T25" fmla="*/ 1121818651 h 55"/>
                  <a:gd name="T26" fmla="*/ 1032390249 w 53"/>
                  <a:gd name="T27" fmla="*/ 0 h 55"/>
                  <a:gd name="T28" fmla="*/ 516107273 w 53"/>
                  <a:gd name="T29" fmla="*/ 841363859 h 55"/>
                  <a:gd name="T30" fmla="*/ 0 w 53"/>
                  <a:gd name="T31" fmla="*/ 1682997881 h 5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55">
                    <a:moveTo>
                      <a:pt x="0" y="12"/>
                    </a:moveTo>
                    <a:lnTo>
                      <a:pt x="1" y="17"/>
                    </a:lnTo>
                    <a:lnTo>
                      <a:pt x="5" y="22"/>
                    </a:lnTo>
                    <a:lnTo>
                      <a:pt x="9" y="27"/>
                    </a:lnTo>
                    <a:lnTo>
                      <a:pt x="15" y="33"/>
                    </a:lnTo>
                    <a:lnTo>
                      <a:pt x="26" y="44"/>
                    </a:lnTo>
                    <a:lnTo>
                      <a:pt x="33" y="55"/>
                    </a:lnTo>
                    <a:lnTo>
                      <a:pt x="53" y="55"/>
                    </a:lnTo>
                    <a:lnTo>
                      <a:pt x="40" y="41"/>
                    </a:lnTo>
                    <a:lnTo>
                      <a:pt x="28" y="29"/>
                    </a:lnTo>
                    <a:lnTo>
                      <a:pt x="23" y="23"/>
                    </a:lnTo>
                    <a:lnTo>
                      <a:pt x="19" y="16"/>
                    </a:lnTo>
                    <a:lnTo>
                      <a:pt x="16" y="8"/>
                    </a:lnTo>
                    <a:lnTo>
                      <a:pt x="14" y="0"/>
                    </a:lnTo>
                    <a:lnTo>
                      <a:pt x="7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0" name="Freeform 174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13725793" y="4793822"/>
                <a:ext cx="26987" cy="39688"/>
              </a:xfrm>
              <a:custGeom>
                <a:avLst/>
                <a:gdLst>
                  <a:gd name="T0" fmla="*/ 0 w 65"/>
                  <a:gd name="T1" fmla="*/ 2147483647 h 75"/>
                  <a:gd name="T2" fmla="*/ 644177614 w 65"/>
                  <a:gd name="T3" fmla="*/ 2147483647 h 75"/>
                  <a:gd name="T4" fmla="*/ 1431429092 w 65"/>
                  <a:gd name="T5" fmla="*/ 2147483647 h 75"/>
                  <a:gd name="T6" fmla="*/ 1860823401 w 65"/>
                  <a:gd name="T7" fmla="*/ 2147483647 h 75"/>
                  <a:gd name="T8" fmla="*/ 2147483647 w 65"/>
                  <a:gd name="T9" fmla="*/ 2147483647 h 75"/>
                  <a:gd name="T10" fmla="*/ 2147483647 w 65"/>
                  <a:gd name="T11" fmla="*/ 2147483647 h 75"/>
                  <a:gd name="T12" fmla="*/ 2147483647 w 65"/>
                  <a:gd name="T13" fmla="*/ 2147483647 h 75"/>
                  <a:gd name="T14" fmla="*/ 2147483647 w 65"/>
                  <a:gd name="T15" fmla="*/ 2147483647 h 75"/>
                  <a:gd name="T16" fmla="*/ 2147483647 w 65"/>
                  <a:gd name="T17" fmla="*/ 2147483647 h 75"/>
                  <a:gd name="T18" fmla="*/ 2147483647 w 65"/>
                  <a:gd name="T19" fmla="*/ 2147483647 h 75"/>
                  <a:gd name="T20" fmla="*/ 2147483647 w 65"/>
                  <a:gd name="T21" fmla="*/ 2147483647 h 75"/>
                  <a:gd name="T22" fmla="*/ 2147483647 w 65"/>
                  <a:gd name="T23" fmla="*/ 2147483647 h 75"/>
                  <a:gd name="T24" fmla="*/ 2147483647 w 65"/>
                  <a:gd name="T25" fmla="*/ 2147483647 h 75"/>
                  <a:gd name="T26" fmla="*/ 2147483647 w 65"/>
                  <a:gd name="T27" fmla="*/ 2147483647 h 75"/>
                  <a:gd name="T28" fmla="*/ 2147483647 w 65"/>
                  <a:gd name="T29" fmla="*/ 2147483647 h 75"/>
                  <a:gd name="T30" fmla="*/ 2147483647 w 65"/>
                  <a:gd name="T31" fmla="*/ 1926287772 h 75"/>
                  <a:gd name="T32" fmla="*/ 2147483647 w 65"/>
                  <a:gd name="T33" fmla="*/ 1481889065 h 75"/>
                  <a:gd name="T34" fmla="*/ 2147483647 w 65"/>
                  <a:gd name="T35" fmla="*/ 740944797 h 75"/>
                  <a:gd name="T36" fmla="*/ 2147483647 w 65"/>
                  <a:gd name="T37" fmla="*/ 0 h 75"/>
                  <a:gd name="T38" fmla="*/ 2147483647 w 65"/>
                  <a:gd name="T39" fmla="*/ 0 h 75"/>
                  <a:gd name="T40" fmla="*/ 1860823401 w 65"/>
                  <a:gd name="T41" fmla="*/ 0 h 75"/>
                  <a:gd name="T42" fmla="*/ 1789286261 w 65"/>
                  <a:gd name="T43" fmla="*/ 296265628 h 75"/>
                  <a:gd name="T44" fmla="*/ 1717577235 w 65"/>
                  <a:gd name="T45" fmla="*/ 1037210425 h 75"/>
                  <a:gd name="T46" fmla="*/ 1646040096 w 65"/>
                  <a:gd name="T47" fmla="*/ 1333756516 h 75"/>
                  <a:gd name="T48" fmla="*/ 1646040096 w 65"/>
                  <a:gd name="T49" fmla="*/ 1630022144 h 75"/>
                  <a:gd name="T50" fmla="*/ 1717577235 w 65"/>
                  <a:gd name="T51" fmla="*/ 1778155223 h 75"/>
                  <a:gd name="T52" fmla="*/ 1860823401 w 65"/>
                  <a:gd name="T53" fmla="*/ 1926287772 h 7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65" h="75">
                    <a:moveTo>
                      <a:pt x="0" y="32"/>
                    </a:moveTo>
                    <a:lnTo>
                      <a:pt x="9" y="43"/>
                    </a:lnTo>
                    <a:lnTo>
                      <a:pt x="20" y="55"/>
                    </a:lnTo>
                    <a:lnTo>
                      <a:pt x="26" y="61"/>
                    </a:lnTo>
                    <a:lnTo>
                      <a:pt x="32" y="67"/>
                    </a:lnTo>
                    <a:lnTo>
                      <a:pt x="39" y="71"/>
                    </a:lnTo>
                    <a:lnTo>
                      <a:pt x="46" y="75"/>
                    </a:lnTo>
                    <a:lnTo>
                      <a:pt x="51" y="61"/>
                    </a:lnTo>
                    <a:lnTo>
                      <a:pt x="58" y="48"/>
                    </a:lnTo>
                    <a:lnTo>
                      <a:pt x="61" y="42"/>
                    </a:lnTo>
                    <a:lnTo>
                      <a:pt x="63" y="36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3" y="18"/>
                    </a:lnTo>
                    <a:lnTo>
                      <a:pt x="61" y="13"/>
                    </a:lnTo>
                    <a:lnTo>
                      <a:pt x="58" y="10"/>
                    </a:lnTo>
                    <a:lnTo>
                      <a:pt x="51" y="5"/>
                    </a:lnTo>
                    <a:lnTo>
                      <a:pt x="46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5" y="2"/>
                    </a:lnTo>
                    <a:lnTo>
                      <a:pt x="24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1" name="Freeform 175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13701980" y="4770010"/>
                <a:ext cx="17463" cy="30162"/>
              </a:xfrm>
              <a:custGeom>
                <a:avLst/>
                <a:gdLst>
                  <a:gd name="T0" fmla="*/ 0 w 40"/>
                  <a:gd name="T1" fmla="*/ 2147483647 h 62"/>
                  <a:gd name="T2" fmla="*/ 249682918 w 40"/>
                  <a:gd name="T3" fmla="*/ 2147483647 h 62"/>
                  <a:gd name="T4" fmla="*/ 582466577 w 40"/>
                  <a:gd name="T5" fmla="*/ 2147483647 h 62"/>
                  <a:gd name="T6" fmla="*/ 998541325 w 40"/>
                  <a:gd name="T7" fmla="*/ 2147483647 h 62"/>
                  <a:gd name="T8" fmla="*/ 1414616510 w 40"/>
                  <a:gd name="T9" fmla="*/ 2147483647 h 62"/>
                  <a:gd name="T10" fmla="*/ 1913791999 w 40"/>
                  <a:gd name="T11" fmla="*/ 1957232612 h 62"/>
                  <a:gd name="T12" fmla="*/ 2147483647 w 40"/>
                  <a:gd name="T13" fmla="*/ 1036125997 h 62"/>
                  <a:gd name="T14" fmla="*/ 2147483647 w 40"/>
                  <a:gd name="T15" fmla="*/ 345296522 h 62"/>
                  <a:gd name="T16" fmla="*/ 2147483647 w 40"/>
                  <a:gd name="T17" fmla="*/ 0 h 6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0" h="62">
                    <a:moveTo>
                      <a:pt x="0" y="62"/>
                    </a:moveTo>
                    <a:lnTo>
                      <a:pt x="3" y="52"/>
                    </a:lnTo>
                    <a:lnTo>
                      <a:pt x="7" y="43"/>
                    </a:lnTo>
                    <a:lnTo>
                      <a:pt x="12" y="33"/>
                    </a:lnTo>
                    <a:lnTo>
                      <a:pt x="17" y="25"/>
                    </a:lnTo>
                    <a:lnTo>
                      <a:pt x="23" y="17"/>
                    </a:lnTo>
                    <a:lnTo>
                      <a:pt x="29" y="9"/>
                    </a:lnTo>
                    <a:lnTo>
                      <a:pt x="35" y="3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2" name="Freeform 176"/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13621018" y="4647772"/>
                <a:ext cx="68262" cy="138113"/>
              </a:xfrm>
              <a:custGeom>
                <a:avLst/>
                <a:gdLst>
                  <a:gd name="T0" fmla="*/ 2147483647 w 159"/>
                  <a:gd name="T1" fmla="*/ 2147483647 h 259"/>
                  <a:gd name="T2" fmla="*/ 2147483647 w 159"/>
                  <a:gd name="T3" fmla="*/ 2147483647 h 259"/>
                  <a:gd name="T4" fmla="*/ 2147483647 w 159"/>
                  <a:gd name="T5" fmla="*/ 2147483647 h 259"/>
                  <a:gd name="T6" fmla="*/ 2147483647 w 159"/>
                  <a:gd name="T7" fmla="*/ 2147483647 h 259"/>
                  <a:gd name="T8" fmla="*/ 2147483647 w 159"/>
                  <a:gd name="T9" fmla="*/ 2147483647 h 259"/>
                  <a:gd name="T10" fmla="*/ 2147483647 w 159"/>
                  <a:gd name="T11" fmla="*/ 2147483647 h 259"/>
                  <a:gd name="T12" fmla="*/ 2147483647 w 159"/>
                  <a:gd name="T13" fmla="*/ 2147483647 h 259"/>
                  <a:gd name="T14" fmla="*/ 2147483647 w 159"/>
                  <a:gd name="T15" fmla="*/ 2147483647 h 259"/>
                  <a:gd name="T16" fmla="*/ 2147483647 w 159"/>
                  <a:gd name="T17" fmla="*/ 2147483647 h 259"/>
                  <a:gd name="T18" fmla="*/ 2147483647 w 159"/>
                  <a:gd name="T19" fmla="*/ 2147483647 h 259"/>
                  <a:gd name="T20" fmla="*/ 2147483647 w 159"/>
                  <a:gd name="T21" fmla="*/ 2147483647 h 259"/>
                  <a:gd name="T22" fmla="*/ 2147483647 w 159"/>
                  <a:gd name="T23" fmla="*/ 2147483647 h 259"/>
                  <a:gd name="T24" fmla="*/ 2147483647 w 159"/>
                  <a:gd name="T25" fmla="*/ 2147483647 h 259"/>
                  <a:gd name="T26" fmla="*/ 2147483647 w 159"/>
                  <a:gd name="T27" fmla="*/ 2147483647 h 259"/>
                  <a:gd name="T28" fmla="*/ 2147483647 w 159"/>
                  <a:gd name="T29" fmla="*/ 2147483647 h 259"/>
                  <a:gd name="T30" fmla="*/ 2147483647 w 159"/>
                  <a:gd name="T31" fmla="*/ 2147483647 h 259"/>
                  <a:gd name="T32" fmla="*/ 2147483647 w 159"/>
                  <a:gd name="T33" fmla="*/ 2147483647 h 259"/>
                  <a:gd name="T34" fmla="*/ 2147483647 w 159"/>
                  <a:gd name="T35" fmla="*/ 2147483647 h 259"/>
                  <a:gd name="T36" fmla="*/ 2147483647 w 159"/>
                  <a:gd name="T37" fmla="*/ 2147483647 h 259"/>
                  <a:gd name="T38" fmla="*/ 2147483647 w 159"/>
                  <a:gd name="T39" fmla="*/ 2147483647 h 259"/>
                  <a:gd name="T40" fmla="*/ 2147483647 w 159"/>
                  <a:gd name="T41" fmla="*/ 2147483647 h 259"/>
                  <a:gd name="T42" fmla="*/ 2147483647 w 159"/>
                  <a:gd name="T43" fmla="*/ 2147483647 h 259"/>
                  <a:gd name="T44" fmla="*/ 2147483647 w 159"/>
                  <a:gd name="T45" fmla="*/ 2147483647 h 259"/>
                  <a:gd name="T46" fmla="*/ 2147483647 w 159"/>
                  <a:gd name="T47" fmla="*/ 2147483647 h 259"/>
                  <a:gd name="T48" fmla="*/ 2147483647 w 159"/>
                  <a:gd name="T49" fmla="*/ 2147483647 h 259"/>
                  <a:gd name="T50" fmla="*/ 2147483647 w 159"/>
                  <a:gd name="T51" fmla="*/ 2147483647 h 259"/>
                  <a:gd name="T52" fmla="*/ 2147483647 w 159"/>
                  <a:gd name="T53" fmla="*/ 2147483647 h 259"/>
                  <a:gd name="T54" fmla="*/ 2147483647 w 159"/>
                  <a:gd name="T55" fmla="*/ 2147483647 h 259"/>
                  <a:gd name="T56" fmla="*/ 1899195238 w 159"/>
                  <a:gd name="T57" fmla="*/ 2147483647 h 259"/>
                  <a:gd name="T58" fmla="*/ 1424396536 w 159"/>
                  <a:gd name="T59" fmla="*/ 2147483647 h 259"/>
                  <a:gd name="T60" fmla="*/ 1028669272 w 159"/>
                  <a:gd name="T61" fmla="*/ 2147483647 h 259"/>
                  <a:gd name="T62" fmla="*/ 712198053 w 159"/>
                  <a:gd name="T63" fmla="*/ 2147483647 h 259"/>
                  <a:gd name="T64" fmla="*/ 553870570 w 159"/>
                  <a:gd name="T65" fmla="*/ 2147483647 h 259"/>
                  <a:gd name="T66" fmla="*/ 395727264 w 159"/>
                  <a:gd name="T67" fmla="*/ 2147483647 h 259"/>
                  <a:gd name="T68" fmla="*/ 158327913 w 159"/>
                  <a:gd name="T69" fmla="*/ 2147483647 h 259"/>
                  <a:gd name="T70" fmla="*/ 0 w 159"/>
                  <a:gd name="T71" fmla="*/ 2147483647 h 259"/>
                  <a:gd name="T72" fmla="*/ 0 w 159"/>
                  <a:gd name="T73" fmla="*/ 0 h 25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59" h="259">
                    <a:moveTo>
                      <a:pt x="159" y="259"/>
                    </a:moveTo>
                    <a:lnTo>
                      <a:pt x="159" y="251"/>
                    </a:lnTo>
                    <a:lnTo>
                      <a:pt x="159" y="244"/>
                    </a:lnTo>
                    <a:lnTo>
                      <a:pt x="159" y="236"/>
                    </a:lnTo>
                    <a:lnTo>
                      <a:pt x="159" y="228"/>
                    </a:lnTo>
                    <a:lnTo>
                      <a:pt x="159" y="224"/>
                    </a:lnTo>
                    <a:lnTo>
                      <a:pt x="158" y="219"/>
                    </a:lnTo>
                    <a:lnTo>
                      <a:pt x="156" y="215"/>
                    </a:lnTo>
                    <a:lnTo>
                      <a:pt x="153" y="210"/>
                    </a:lnTo>
                    <a:lnTo>
                      <a:pt x="145" y="202"/>
                    </a:lnTo>
                    <a:lnTo>
                      <a:pt x="135" y="195"/>
                    </a:lnTo>
                    <a:lnTo>
                      <a:pt x="124" y="189"/>
                    </a:lnTo>
                    <a:lnTo>
                      <a:pt x="112" y="184"/>
                    </a:lnTo>
                    <a:lnTo>
                      <a:pt x="99" y="180"/>
                    </a:lnTo>
                    <a:lnTo>
                      <a:pt x="87" y="179"/>
                    </a:lnTo>
                    <a:lnTo>
                      <a:pt x="85" y="178"/>
                    </a:lnTo>
                    <a:lnTo>
                      <a:pt x="82" y="177"/>
                    </a:lnTo>
                    <a:lnTo>
                      <a:pt x="81" y="175"/>
                    </a:lnTo>
                    <a:lnTo>
                      <a:pt x="80" y="173"/>
                    </a:lnTo>
                    <a:lnTo>
                      <a:pt x="80" y="167"/>
                    </a:lnTo>
                    <a:lnTo>
                      <a:pt x="81" y="161"/>
                    </a:lnTo>
                    <a:lnTo>
                      <a:pt x="85" y="148"/>
                    </a:lnTo>
                    <a:lnTo>
                      <a:pt x="87" y="142"/>
                    </a:lnTo>
                    <a:lnTo>
                      <a:pt x="73" y="141"/>
                    </a:lnTo>
                    <a:lnTo>
                      <a:pt x="59" y="139"/>
                    </a:lnTo>
                    <a:lnTo>
                      <a:pt x="48" y="135"/>
                    </a:lnTo>
                    <a:lnTo>
                      <a:pt x="40" y="129"/>
                    </a:lnTo>
                    <a:lnTo>
                      <a:pt x="31" y="121"/>
                    </a:lnTo>
                    <a:lnTo>
                      <a:pt x="24" y="113"/>
                    </a:lnTo>
                    <a:lnTo>
                      <a:pt x="18" y="104"/>
                    </a:lnTo>
                    <a:lnTo>
                      <a:pt x="13" y="94"/>
                    </a:lnTo>
                    <a:lnTo>
                      <a:pt x="9" y="84"/>
                    </a:lnTo>
                    <a:lnTo>
                      <a:pt x="7" y="73"/>
                    </a:lnTo>
                    <a:lnTo>
                      <a:pt x="5" y="60"/>
                    </a:lnTo>
                    <a:lnTo>
                      <a:pt x="2" y="48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3" name="Line 177"/>
              <p:cNvSpPr>
                <a:spLocks noChangeShapeType="1"/>
              </p:cNvSpPr>
              <p:nvPr>
                <p:custDataLst>
                  <p:tags r:id="rId69"/>
                </p:custDataLst>
              </p:nvPr>
            </p:nvSpPr>
            <p:spPr bwMode="auto">
              <a:xfrm flipH="1" flipV="1">
                <a:off x="13614668" y="4614435"/>
                <a:ext cx="6350" cy="33337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4" name="Freeform 178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13614668" y="4598560"/>
                <a:ext cx="6350" cy="15875"/>
              </a:xfrm>
              <a:custGeom>
                <a:avLst/>
                <a:gdLst>
                  <a:gd name="T0" fmla="*/ 0 w 13"/>
                  <a:gd name="T1" fmla="*/ 2147483647 h 25"/>
                  <a:gd name="T2" fmla="*/ 116434088 w 13"/>
                  <a:gd name="T3" fmla="*/ 2147483647 h 25"/>
                  <a:gd name="T4" fmla="*/ 466214069 w 13"/>
                  <a:gd name="T5" fmla="*/ 2147483647 h 25"/>
                  <a:gd name="T6" fmla="*/ 932428138 w 13"/>
                  <a:gd name="T7" fmla="*/ 1536287250 h 25"/>
                  <a:gd name="T8" fmla="*/ 1515076296 w 13"/>
                  <a:gd name="T9" fmla="*/ 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25">
                    <a:moveTo>
                      <a:pt x="0" y="25"/>
                    </a:moveTo>
                    <a:lnTo>
                      <a:pt x="1" y="19"/>
                    </a:lnTo>
                    <a:lnTo>
                      <a:pt x="4" y="13"/>
                    </a:lnTo>
                    <a:lnTo>
                      <a:pt x="8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5" name="Line 179"/>
              <p:cNvSpPr>
                <a:spLocks noChangeShapeType="1"/>
              </p:cNvSpPr>
              <p:nvPr>
                <p:custDataLst>
                  <p:tags r:id="rId71"/>
                </p:custDataLst>
              </p:nvPr>
            </p:nvSpPr>
            <p:spPr bwMode="auto">
              <a:xfrm flipV="1">
                <a:off x="13621018" y="4585860"/>
                <a:ext cx="0" cy="12700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6" name="Freeform 180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13574980" y="4519185"/>
                <a:ext cx="46038" cy="66675"/>
              </a:xfrm>
              <a:custGeom>
                <a:avLst/>
                <a:gdLst>
                  <a:gd name="T0" fmla="*/ 2147483647 w 100"/>
                  <a:gd name="T1" fmla="*/ 2147483647 h 123"/>
                  <a:gd name="T2" fmla="*/ 2147483647 w 100"/>
                  <a:gd name="T3" fmla="*/ 2147483647 h 123"/>
                  <a:gd name="T4" fmla="*/ 2147483647 w 100"/>
                  <a:gd name="T5" fmla="*/ 2147483647 h 123"/>
                  <a:gd name="T6" fmla="*/ 2147483647 w 100"/>
                  <a:gd name="T7" fmla="*/ 2147483647 h 123"/>
                  <a:gd name="T8" fmla="*/ 2147483647 w 100"/>
                  <a:gd name="T9" fmla="*/ 2147483647 h 123"/>
                  <a:gd name="T10" fmla="*/ 2147483647 w 100"/>
                  <a:gd name="T11" fmla="*/ 2147483647 h 123"/>
                  <a:gd name="T12" fmla="*/ 2147483647 w 100"/>
                  <a:gd name="T13" fmla="*/ 2147483647 h 123"/>
                  <a:gd name="T14" fmla="*/ 1951633228 w 100"/>
                  <a:gd name="T15" fmla="*/ 2147483647 h 123"/>
                  <a:gd name="T16" fmla="*/ 1268519082 w 100"/>
                  <a:gd name="T17" fmla="*/ 2147483647 h 123"/>
                  <a:gd name="T18" fmla="*/ 780611120 w 100"/>
                  <a:gd name="T19" fmla="*/ 2147483647 h 123"/>
                  <a:gd name="T20" fmla="*/ 390411448 w 100"/>
                  <a:gd name="T21" fmla="*/ 2147483647 h 123"/>
                  <a:gd name="T22" fmla="*/ 97496975 w 100"/>
                  <a:gd name="T23" fmla="*/ 2147483647 h 123"/>
                  <a:gd name="T24" fmla="*/ 0 w 100"/>
                  <a:gd name="T25" fmla="*/ 2147483647 h 123"/>
                  <a:gd name="T26" fmla="*/ 195205724 w 100"/>
                  <a:gd name="T27" fmla="*/ 2147483647 h 123"/>
                  <a:gd name="T28" fmla="*/ 683114146 w 100"/>
                  <a:gd name="T29" fmla="*/ 2147483647 h 123"/>
                  <a:gd name="T30" fmla="*/ 1073313358 w 100"/>
                  <a:gd name="T31" fmla="*/ 2147483647 h 123"/>
                  <a:gd name="T32" fmla="*/ 1268519082 w 100"/>
                  <a:gd name="T33" fmla="*/ 0 h 1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00" h="123">
                    <a:moveTo>
                      <a:pt x="100" y="123"/>
                    </a:moveTo>
                    <a:lnTo>
                      <a:pt x="90" y="122"/>
                    </a:lnTo>
                    <a:lnTo>
                      <a:pt x="76" y="119"/>
                    </a:lnTo>
                    <a:lnTo>
                      <a:pt x="60" y="114"/>
                    </a:lnTo>
                    <a:lnTo>
                      <a:pt x="43" y="107"/>
                    </a:lnTo>
                    <a:lnTo>
                      <a:pt x="34" y="103"/>
                    </a:lnTo>
                    <a:lnTo>
                      <a:pt x="27" y="99"/>
                    </a:lnTo>
                    <a:lnTo>
                      <a:pt x="20" y="94"/>
                    </a:lnTo>
                    <a:lnTo>
                      <a:pt x="13" y="89"/>
                    </a:lnTo>
                    <a:lnTo>
                      <a:pt x="8" y="84"/>
                    </a:lnTo>
                    <a:lnTo>
                      <a:pt x="4" y="79"/>
                    </a:lnTo>
                    <a:lnTo>
                      <a:pt x="1" y="73"/>
                    </a:lnTo>
                    <a:lnTo>
                      <a:pt x="0" y="68"/>
                    </a:lnTo>
                    <a:lnTo>
                      <a:pt x="2" y="55"/>
                    </a:lnTo>
                    <a:lnTo>
                      <a:pt x="7" y="36"/>
                    </a:lnTo>
                    <a:lnTo>
                      <a:pt x="11" y="17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7" name="Freeform 181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13589268" y="4462035"/>
                <a:ext cx="1587" cy="50800"/>
              </a:xfrm>
              <a:custGeom>
                <a:avLst/>
                <a:gdLst>
                  <a:gd name="T0" fmla="*/ 159878824 w 5"/>
                  <a:gd name="T1" fmla="*/ 0 h 99"/>
                  <a:gd name="T2" fmla="*/ 127943305 w 5"/>
                  <a:gd name="T3" fmla="*/ 2147483647 h 99"/>
                  <a:gd name="T4" fmla="*/ 31935518 w 5"/>
                  <a:gd name="T5" fmla="*/ 2147483647 h 99"/>
                  <a:gd name="T6" fmla="*/ 0 w 5"/>
                  <a:gd name="T7" fmla="*/ 2147483647 h 99"/>
                  <a:gd name="T8" fmla="*/ 0 w 5"/>
                  <a:gd name="T9" fmla="*/ 2147483647 h 99"/>
                  <a:gd name="T10" fmla="*/ 63971653 w 5"/>
                  <a:gd name="T11" fmla="*/ 2147483647 h 99"/>
                  <a:gd name="T12" fmla="*/ 159878824 w 5"/>
                  <a:gd name="T13" fmla="*/ 2147483647 h 9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" h="99">
                    <a:moveTo>
                      <a:pt x="5" y="0"/>
                    </a:moveTo>
                    <a:lnTo>
                      <a:pt x="4" y="34"/>
                    </a:lnTo>
                    <a:lnTo>
                      <a:pt x="1" y="59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2" y="87"/>
                    </a:lnTo>
                    <a:lnTo>
                      <a:pt x="5" y="9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8" name="Freeform 182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13595618" y="4455685"/>
                <a:ext cx="7937" cy="36512"/>
              </a:xfrm>
              <a:custGeom>
                <a:avLst/>
                <a:gdLst>
                  <a:gd name="T0" fmla="*/ 2147483647 w 14"/>
                  <a:gd name="T1" fmla="*/ 0 h 68"/>
                  <a:gd name="T2" fmla="*/ 1457585263 w 14"/>
                  <a:gd name="T3" fmla="*/ 2147483647 h 68"/>
                  <a:gd name="T4" fmla="*/ 728953356 w 14"/>
                  <a:gd name="T5" fmla="*/ 2147483647 h 68"/>
                  <a:gd name="T6" fmla="*/ 364476678 w 14"/>
                  <a:gd name="T7" fmla="*/ 2147483647 h 68"/>
                  <a:gd name="T8" fmla="*/ 0 w 14"/>
                  <a:gd name="T9" fmla="*/ 2147483647 h 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" h="68">
                    <a:moveTo>
                      <a:pt x="14" y="0"/>
                    </a:moveTo>
                    <a:lnTo>
                      <a:pt x="8" y="16"/>
                    </a:lnTo>
                    <a:lnTo>
                      <a:pt x="4" y="33"/>
                    </a:lnTo>
                    <a:lnTo>
                      <a:pt x="2" y="52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79" name="Freeform 183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13611493" y="4436635"/>
                <a:ext cx="1587" cy="22225"/>
              </a:xfrm>
              <a:custGeom>
                <a:avLst/>
                <a:gdLst>
                  <a:gd name="T0" fmla="*/ 0 w 1587"/>
                  <a:gd name="T1" fmla="*/ 0 h 43"/>
                  <a:gd name="T2" fmla="*/ 0 w 1587"/>
                  <a:gd name="T3" fmla="*/ 1794945270 h 43"/>
                  <a:gd name="T4" fmla="*/ 0 w 1587"/>
                  <a:gd name="T5" fmla="*/ 2147483647 h 43"/>
                  <a:gd name="T6" fmla="*/ 0 w 1587"/>
                  <a:gd name="T7" fmla="*/ 2147483647 h 43"/>
                  <a:gd name="T8" fmla="*/ 0 w 1587"/>
                  <a:gd name="T9" fmla="*/ 2147483647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7" h="43">
                    <a:moveTo>
                      <a:pt x="0" y="0"/>
                    </a:moveTo>
                    <a:lnTo>
                      <a:pt x="0" y="13"/>
                    </a:lnTo>
                    <a:lnTo>
                      <a:pt x="0" y="26"/>
                    </a:lnTo>
                    <a:lnTo>
                      <a:pt x="0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0" name="Line 184"/>
              <p:cNvSpPr>
                <a:spLocks noChangeShapeType="1"/>
              </p:cNvSpPr>
              <p:nvPr>
                <p:custDataLst>
                  <p:tags r:id="rId76"/>
                </p:custDataLst>
              </p:nvPr>
            </p:nvSpPr>
            <p:spPr bwMode="auto">
              <a:xfrm flipV="1">
                <a:off x="13611493" y="4455685"/>
                <a:ext cx="1587" cy="3175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1" name="Freeform 185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13595618" y="4439810"/>
                <a:ext cx="1587" cy="15875"/>
              </a:xfrm>
              <a:custGeom>
                <a:avLst/>
                <a:gdLst>
                  <a:gd name="T0" fmla="*/ 0 w 1587"/>
                  <a:gd name="T1" fmla="*/ 2147483647 h 31"/>
                  <a:gd name="T2" fmla="*/ 0 w 1587"/>
                  <a:gd name="T3" fmla="*/ 2147483647 h 31"/>
                  <a:gd name="T4" fmla="*/ 0 w 1587"/>
                  <a:gd name="T5" fmla="*/ 2014289133 h 31"/>
                  <a:gd name="T6" fmla="*/ 0 w 1587"/>
                  <a:gd name="T7" fmla="*/ 1074409758 h 31"/>
                  <a:gd name="T8" fmla="*/ 0 w 158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7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2" name="Freeform 186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13316218" y="5428822"/>
                <a:ext cx="96837" cy="87313"/>
              </a:xfrm>
              <a:custGeom>
                <a:avLst/>
                <a:gdLst>
                  <a:gd name="T0" fmla="*/ 1514647745 w 225"/>
                  <a:gd name="T1" fmla="*/ 2147483647 h 167"/>
                  <a:gd name="T2" fmla="*/ 558106062 w 225"/>
                  <a:gd name="T3" fmla="*/ 2147483647 h 167"/>
                  <a:gd name="T4" fmla="*/ 0 w 225"/>
                  <a:gd name="T5" fmla="*/ 2147483647 h 167"/>
                  <a:gd name="T6" fmla="*/ 79649939 w 225"/>
                  <a:gd name="T7" fmla="*/ 2147483647 h 167"/>
                  <a:gd name="T8" fmla="*/ 876891314 w 225"/>
                  <a:gd name="T9" fmla="*/ 2147483647 h 167"/>
                  <a:gd name="T10" fmla="*/ 1913268433 w 225"/>
                  <a:gd name="T11" fmla="*/ 2147483647 h 167"/>
                  <a:gd name="T12" fmla="*/ 2147483647 w 225"/>
                  <a:gd name="T13" fmla="*/ 2147483647 h 167"/>
                  <a:gd name="T14" fmla="*/ 2147483647 w 225"/>
                  <a:gd name="T15" fmla="*/ 1286128855 h 167"/>
                  <a:gd name="T16" fmla="*/ 2147483647 w 225"/>
                  <a:gd name="T17" fmla="*/ 142963797 h 167"/>
                  <a:gd name="T18" fmla="*/ 2147483647 w 225"/>
                  <a:gd name="T19" fmla="*/ 142963797 h 167"/>
                  <a:gd name="T20" fmla="*/ 2147483647 w 225"/>
                  <a:gd name="T21" fmla="*/ 428618471 h 167"/>
                  <a:gd name="T22" fmla="*/ 2147483647 w 225"/>
                  <a:gd name="T23" fmla="*/ 1143438500 h 167"/>
                  <a:gd name="T24" fmla="*/ 2147483647 w 225"/>
                  <a:gd name="T25" fmla="*/ 2147483647 h 167"/>
                  <a:gd name="T26" fmla="*/ 2147483647 w 225"/>
                  <a:gd name="T27" fmla="*/ 2147483647 h 167"/>
                  <a:gd name="T28" fmla="*/ 2147483647 w 225"/>
                  <a:gd name="T29" fmla="*/ 2147483647 h 167"/>
                  <a:gd name="T30" fmla="*/ 2147483647 w 225"/>
                  <a:gd name="T31" fmla="*/ 2147483647 h 167"/>
                  <a:gd name="T32" fmla="*/ 2147483647 w 225"/>
                  <a:gd name="T33" fmla="*/ 1000474181 h 167"/>
                  <a:gd name="T34" fmla="*/ 2147483647 w 225"/>
                  <a:gd name="T35" fmla="*/ 0 h 167"/>
                  <a:gd name="T36" fmla="*/ 2147483647 w 225"/>
                  <a:gd name="T37" fmla="*/ 2147483647 h 167"/>
                  <a:gd name="T38" fmla="*/ 2147483647 w 225"/>
                  <a:gd name="T39" fmla="*/ 2147483647 h 167"/>
                  <a:gd name="T40" fmla="*/ 2147483647 w 225"/>
                  <a:gd name="T41" fmla="*/ 2147483647 h 167"/>
                  <a:gd name="T42" fmla="*/ 2147483647 w 225"/>
                  <a:gd name="T43" fmla="*/ 2147483647 h 167"/>
                  <a:gd name="T44" fmla="*/ 2147483647 w 225"/>
                  <a:gd name="T45" fmla="*/ 2147483647 h 167"/>
                  <a:gd name="T46" fmla="*/ 2147483647 w 225"/>
                  <a:gd name="T47" fmla="*/ 2147483647 h 167"/>
                  <a:gd name="T48" fmla="*/ 2147483647 w 225"/>
                  <a:gd name="T49" fmla="*/ 2147483647 h 167"/>
                  <a:gd name="T50" fmla="*/ 2147483647 w 225"/>
                  <a:gd name="T51" fmla="*/ 2147483647 h 167"/>
                  <a:gd name="T52" fmla="*/ 2147483647 w 225"/>
                  <a:gd name="T53" fmla="*/ 2147483647 h 167"/>
                  <a:gd name="T54" fmla="*/ 2147483647 w 225"/>
                  <a:gd name="T55" fmla="*/ 2147483647 h 167"/>
                  <a:gd name="T56" fmla="*/ 2147483647 w 225"/>
                  <a:gd name="T57" fmla="*/ 2147483647 h 167"/>
                  <a:gd name="T58" fmla="*/ 2147483647 w 225"/>
                  <a:gd name="T59" fmla="*/ 2147483647 h 167"/>
                  <a:gd name="T60" fmla="*/ 2147483647 w 225"/>
                  <a:gd name="T61" fmla="*/ 2147483647 h 167"/>
                  <a:gd name="T62" fmla="*/ 2147483647 w 225"/>
                  <a:gd name="T63" fmla="*/ 2147483647 h 167"/>
                  <a:gd name="T64" fmla="*/ 2072753807 w 225"/>
                  <a:gd name="T65" fmla="*/ 2147483647 h 16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25" h="167">
                    <a:moveTo>
                      <a:pt x="26" y="167"/>
                    </a:moveTo>
                    <a:lnTo>
                      <a:pt x="19" y="158"/>
                    </a:lnTo>
                    <a:lnTo>
                      <a:pt x="10" y="148"/>
                    </a:lnTo>
                    <a:lnTo>
                      <a:pt x="7" y="142"/>
                    </a:lnTo>
                    <a:lnTo>
                      <a:pt x="3" y="136"/>
                    </a:lnTo>
                    <a:lnTo>
                      <a:pt x="0" y="130"/>
                    </a:lnTo>
                    <a:lnTo>
                      <a:pt x="0" y="123"/>
                    </a:lnTo>
                    <a:lnTo>
                      <a:pt x="1" y="108"/>
                    </a:lnTo>
                    <a:lnTo>
                      <a:pt x="5" y="89"/>
                    </a:lnTo>
                    <a:lnTo>
                      <a:pt x="11" y="68"/>
                    </a:lnTo>
                    <a:lnTo>
                      <a:pt x="20" y="48"/>
                    </a:lnTo>
                    <a:lnTo>
                      <a:pt x="24" y="39"/>
                    </a:lnTo>
                    <a:lnTo>
                      <a:pt x="28" y="29"/>
                    </a:lnTo>
                    <a:lnTo>
                      <a:pt x="34" y="21"/>
                    </a:lnTo>
                    <a:lnTo>
                      <a:pt x="38" y="14"/>
                    </a:lnTo>
                    <a:lnTo>
                      <a:pt x="44" y="9"/>
                    </a:lnTo>
                    <a:lnTo>
                      <a:pt x="49" y="4"/>
                    </a:lnTo>
                    <a:lnTo>
                      <a:pt x="54" y="1"/>
                    </a:lnTo>
                    <a:lnTo>
                      <a:pt x="59" y="0"/>
                    </a:lnTo>
                    <a:lnTo>
                      <a:pt x="65" y="1"/>
                    </a:lnTo>
                    <a:lnTo>
                      <a:pt x="70" y="1"/>
                    </a:lnTo>
                    <a:lnTo>
                      <a:pt x="76" y="3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94" y="13"/>
                    </a:lnTo>
                    <a:lnTo>
                      <a:pt x="100" y="17"/>
                    </a:lnTo>
                    <a:lnTo>
                      <a:pt x="106" y="21"/>
                    </a:lnTo>
                    <a:lnTo>
                      <a:pt x="112" y="24"/>
                    </a:lnTo>
                    <a:lnTo>
                      <a:pt x="120" y="25"/>
                    </a:lnTo>
                    <a:lnTo>
                      <a:pt x="128" y="24"/>
                    </a:lnTo>
                    <a:lnTo>
                      <a:pt x="137" y="22"/>
                    </a:lnTo>
                    <a:lnTo>
                      <a:pt x="145" y="19"/>
                    </a:lnTo>
                    <a:lnTo>
                      <a:pt x="151" y="15"/>
                    </a:lnTo>
                    <a:lnTo>
                      <a:pt x="165" y="7"/>
                    </a:lnTo>
                    <a:lnTo>
                      <a:pt x="179" y="0"/>
                    </a:lnTo>
                    <a:lnTo>
                      <a:pt x="225" y="0"/>
                    </a:lnTo>
                    <a:lnTo>
                      <a:pt x="221" y="11"/>
                    </a:lnTo>
                    <a:lnTo>
                      <a:pt x="215" y="22"/>
                    </a:lnTo>
                    <a:lnTo>
                      <a:pt x="209" y="31"/>
                    </a:lnTo>
                    <a:lnTo>
                      <a:pt x="201" y="41"/>
                    </a:lnTo>
                    <a:lnTo>
                      <a:pt x="185" y="57"/>
                    </a:lnTo>
                    <a:lnTo>
                      <a:pt x="168" y="72"/>
                    </a:lnTo>
                    <a:lnTo>
                      <a:pt x="151" y="86"/>
                    </a:lnTo>
                    <a:lnTo>
                      <a:pt x="138" y="100"/>
                    </a:lnTo>
                    <a:lnTo>
                      <a:pt x="133" y="107"/>
                    </a:lnTo>
                    <a:lnTo>
                      <a:pt x="129" y="114"/>
                    </a:lnTo>
                    <a:lnTo>
                      <a:pt x="126" y="122"/>
                    </a:lnTo>
                    <a:lnTo>
                      <a:pt x="126" y="130"/>
                    </a:lnTo>
                    <a:lnTo>
                      <a:pt x="125" y="129"/>
                    </a:lnTo>
                    <a:lnTo>
                      <a:pt x="123" y="126"/>
                    </a:lnTo>
                    <a:lnTo>
                      <a:pt x="120" y="122"/>
                    </a:lnTo>
                    <a:lnTo>
                      <a:pt x="120" y="117"/>
                    </a:lnTo>
                    <a:lnTo>
                      <a:pt x="112" y="119"/>
                    </a:lnTo>
                    <a:lnTo>
                      <a:pt x="106" y="121"/>
                    </a:lnTo>
                    <a:lnTo>
                      <a:pt x="101" y="124"/>
                    </a:lnTo>
                    <a:lnTo>
                      <a:pt x="97" y="128"/>
                    </a:lnTo>
                    <a:lnTo>
                      <a:pt x="88" y="135"/>
                    </a:lnTo>
                    <a:lnTo>
                      <a:pt x="80" y="145"/>
                    </a:lnTo>
                    <a:lnTo>
                      <a:pt x="76" y="149"/>
                    </a:lnTo>
                    <a:lnTo>
                      <a:pt x="71" y="153"/>
                    </a:lnTo>
                    <a:lnTo>
                      <a:pt x="66" y="157"/>
                    </a:lnTo>
                    <a:lnTo>
                      <a:pt x="60" y="160"/>
                    </a:lnTo>
                    <a:lnTo>
                      <a:pt x="54" y="163"/>
                    </a:lnTo>
                    <a:lnTo>
                      <a:pt x="46" y="165"/>
                    </a:lnTo>
                    <a:lnTo>
                      <a:pt x="36" y="166"/>
                    </a:lnTo>
                    <a:lnTo>
                      <a:pt x="26" y="16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3" name="Freeform 187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13454330" y="4647772"/>
                <a:ext cx="3175" cy="17463"/>
              </a:xfrm>
              <a:custGeom>
                <a:avLst/>
                <a:gdLst>
                  <a:gd name="T0" fmla="*/ 0 w 7"/>
                  <a:gd name="T1" fmla="*/ 2147483647 h 31"/>
                  <a:gd name="T2" fmla="*/ 466588929 w 7"/>
                  <a:gd name="T3" fmla="*/ 2147483647 h 31"/>
                  <a:gd name="T4" fmla="*/ 559783343 w 7"/>
                  <a:gd name="T5" fmla="*/ 2147483647 h 31"/>
                  <a:gd name="T6" fmla="*/ 653183225 w 7"/>
                  <a:gd name="T7" fmla="*/ 1072583093 h 31"/>
                  <a:gd name="T8" fmla="*/ 653183225 w 7"/>
                  <a:gd name="T9" fmla="*/ 0 h 31"/>
                  <a:gd name="T10" fmla="*/ 559783343 w 7"/>
                  <a:gd name="T11" fmla="*/ 1072583093 h 31"/>
                  <a:gd name="T12" fmla="*/ 373189046 w 7"/>
                  <a:gd name="T13" fmla="*/ 2147483647 h 31"/>
                  <a:gd name="T14" fmla="*/ 93399882 w 7"/>
                  <a:gd name="T15" fmla="*/ 2147483647 h 31"/>
                  <a:gd name="T16" fmla="*/ 0 w 7"/>
                  <a:gd name="T17" fmla="*/ 2147483647 h 3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" h="31">
                    <a:moveTo>
                      <a:pt x="0" y="31"/>
                    </a:moveTo>
                    <a:lnTo>
                      <a:pt x="5" y="22"/>
                    </a:lnTo>
                    <a:lnTo>
                      <a:pt x="6" y="13"/>
                    </a:lnTo>
                    <a:lnTo>
                      <a:pt x="7" y="6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4" y="13"/>
                    </a:lnTo>
                    <a:lnTo>
                      <a:pt x="1" y="22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4" name="Freeform 188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13387655" y="4569985"/>
                <a:ext cx="15875" cy="15875"/>
              </a:xfrm>
              <a:custGeom>
                <a:avLst/>
                <a:gdLst>
                  <a:gd name="T0" fmla="*/ 2147483647 w 33"/>
                  <a:gd name="T1" fmla="*/ 2147483647 h 31"/>
                  <a:gd name="T2" fmla="*/ 2147483647 w 33"/>
                  <a:gd name="T3" fmla="*/ 0 h 31"/>
                  <a:gd name="T4" fmla="*/ 2147483647 w 33"/>
                  <a:gd name="T5" fmla="*/ 0 h 31"/>
                  <a:gd name="T6" fmla="*/ 2147483647 w 33"/>
                  <a:gd name="T7" fmla="*/ 268536891 h 31"/>
                  <a:gd name="T8" fmla="*/ 1781234170 w 33"/>
                  <a:gd name="T9" fmla="*/ 671342484 h 31"/>
                  <a:gd name="T10" fmla="*/ 1224671102 w 33"/>
                  <a:gd name="T11" fmla="*/ 1074409758 h 31"/>
                  <a:gd name="T12" fmla="*/ 667876163 w 33"/>
                  <a:gd name="T13" fmla="*/ 1611484052 h 31"/>
                  <a:gd name="T14" fmla="*/ 333937841 w 33"/>
                  <a:gd name="T15" fmla="*/ 2147483647 h 31"/>
                  <a:gd name="T16" fmla="*/ 111312614 w 33"/>
                  <a:gd name="T17" fmla="*/ 2147483647 h 31"/>
                  <a:gd name="T18" fmla="*/ 0 w 33"/>
                  <a:gd name="T19" fmla="*/ 2147483647 h 31"/>
                  <a:gd name="T20" fmla="*/ 111312614 w 33"/>
                  <a:gd name="T21" fmla="*/ 2147483647 h 31"/>
                  <a:gd name="T22" fmla="*/ 333937841 w 33"/>
                  <a:gd name="T23" fmla="*/ 2147483647 h 31"/>
                  <a:gd name="T24" fmla="*/ 667876163 w 33"/>
                  <a:gd name="T25" fmla="*/ 2147483647 h 31"/>
                  <a:gd name="T26" fmla="*/ 1224671102 w 33"/>
                  <a:gd name="T27" fmla="*/ 2147483647 h 31"/>
                  <a:gd name="T28" fmla="*/ 2147483647 w 33"/>
                  <a:gd name="T29" fmla="*/ 2147483647 h 31"/>
                  <a:gd name="T30" fmla="*/ 2147483647 w 33"/>
                  <a:gd name="T31" fmla="*/ 2147483647 h 3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33" y="31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2"/>
                    </a:lnTo>
                    <a:lnTo>
                      <a:pt x="16" y="5"/>
                    </a:lnTo>
                    <a:lnTo>
                      <a:pt x="11" y="8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2" y="31"/>
                    </a:lnTo>
                    <a:lnTo>
                      <a:pt x="33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5" name="Freeform 189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13403530" y="4482672"/>
                <a:ext cx="3175" cy="9525"/>
              </a:xfrm>
              <a:custGeom>
                <a:avLst/>
                <a:gdLst>
                  <a:gd name="T0" fmla="*/ 0 w 13"/>
                  <a:gd name="T1" fmla="*/ 2147483647 h 19"/>
                  <a:gd name="T2" fmla="*/ 29108644 w 13"/>
                  <a:gd name="T3" fmla="*/ 2147483647 h 19"/>
                  <a:gd name="T4" fmla="*/ 72831081 w 13"/>
                  <a:gd name="T5" fmla="*/ 2141727833 h 19"/>
                  <a:gd name="T6" fmla="*/ 101999317 w 13"/>
                  <a:gd name="T7" fmla="*/ 1889907888 h 19"/>
                  <a:gd name="T8" fmla="*/ 116553517 w 13"/>
                  <a:gd name="T9" fmla="*/ 1511926311 h 19"/>
                  <a:gd name="T10" fmla="*/ 174830154 w 13"/>
                  <a:gd name="T11" fmla="*/ 755963155 h 19"/>
                  <a:gd name="T12" fmla="*/ 189384598 w 13"/>
                  <a:gd name="T13" fmla="*/ 0 h 19"/>
                  <a:gd name="T14" fmla="*/ 0 w 1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lnTo>
                      <a:pt x="2" y="18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8" y="12"/>
                    </a:lnTo>
                    <a:lnTo>
                      <a:pt x="12" y="6"/>
                    </a:lnTo>
                    <a:lnTo>
                      <a:pt x="13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6" name="Freeform 190"/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13243193" y="4485847"/>
                <a:ext cx="36512" cy="22225"/>
              </a:xfrm>
              <a:custGeom>
                <a:avLst/>
                <a:gdLst>
                  <a:gd name="T0" fmla="*/ 2147483647 w 87"/>
                  <a:gd name="T1" fmla="*/ 2147483647 h 42"/>
                  <a:gd name="T2" fmla="*/ 2147483647 w 87"/>
                  <a:gd name="T3" fmla="*/ 2147483647 h 42"/>
                  <a:gd name="T4" fmla="*/ 2147483647 w 87"/>
                  <a:gd name="T5" fmla="*/ 2147483647 h 42"/>
                  <a:gd name="T6" fmla="*/ 2147483647 w 87"/>
                  <a:gd name="T7" fmla="*/ 2147483647 h 42"/>
                  <a:gd name="T8" fmla="*/ 2147483647 w 87"/>
                  <a:gd name="T9" fmla="*/ 2147483647 h 42"/>
                  <a:gd name="T10" fmla="*/ 2147483647 w 87"/>
                  <a:gd name="T11" fmla="*/ 2147483647 h 42"/>
                  <a:gd name="T12" fmla="*/ 2147483647 w 87"/>
                  <a:gd name="T13" fmla="*/ 2147483647 h 42"/>
                  <a:gd name="T14" fmla="*/ 2147483647 w 87"/>
                  <a:gd name="T15" fmla="*/ 2147483647 h 42"/>
                  <a:gd name="T16" fmla="*/ 2147483647 w 87"/>
                  <a:gd name="T17" fmla="*/ 2147483647 h 42"/>
                  <a:gd name="T18" fmla="*/ 2147483647 w 87"/>
                  <a:gd name="T19" fmla="*/ 1629980971 h 42"/>
                  <a:gd name="T20" fmla="*/ 2147483647 w 87"/>
                  <a:gd name="T21" fmla="*/ 889055033 h 42"/>
                  <a:gd name="T22" fmla="*/ 2147483647 w 87"/>
                  <a:gd name="T23" fmla="*/ 296258192 h 42"/>
                  <a:gd name="T24" fmla="*/ 2147483647 w 87"/>
                  <a:gd name="T25" fmla="*/ 0 h 42"/>
                  <a:gd name="T26" fmla="*/ 2147483647 w 87"/>
                  <a:gd name="T27" fmla="*/ 0 h 42"/>
                  <a:gd name="T28" fmla="*/ 2147483647 w 87"/>
                  <a:gd name="T29" fmla="*/ 0 h 42"/>
                  <a:gd name="T30" fmla="*/ 2147483647 w 87"/>
                  <a:gd name="T31" fmla="*/ 0 h 42"/>
                  <a:gd name="T32" fmla="*/ 2147483647 w 87"/>
                  <a:gd name="T33" fmla="*/ 296258192 h 42"/>
                  <a:gd name="T34" fmla="*/ 1847953318 w 87"/>
                  <a:gd name="T35" fmla="*/ 592796842 h 42"/>
                  <a:gd name="T36" fmla="*/ 1404458841 w 87"/>
                  <a:gd name="T37" fmla="*/ 889055033 h 42"/>
                  <a:gd name="T38" fmla="*/ 591267774 w 87"/>
                  <a:gd name="T39" fmla="*/ 1778110067 h 42"/>
                  <a:gd name="T40" fmla="*/ 0 w 87"/>
                  <a:gd name="T41" fmla="*/ 2147483647 h 42"/>
                  <a:gd name="T42" fmla="*/ 813014802 w 87"/>
                  <a:gd name="T43" fmla="*/ 2147483647 h 42"/>
                  <a:gd name="T44" fmla="*/ 1995726195 w 87"/>
                  <a:gd name="T45" fmla="*/ 2147483647 h 42"/>
                  <a:gd name="T46" fmla="*/ 2147483647 w 87"/>
                  <a:gd name="T47" fmla="*/ 2147483647 h 42"/>
                  <a:gd name="T48" fmla="*/ 2147483647 w 87"/>
                  <a:gd name="T49" fmla="*/ 2147483647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87" h="42">
                    <a:moveTo>
                      <a:pt x="54" y="42"/>
                    </a:moveTo>
                    <a:lnTo>
                      <a:pt x="59" y="42"/>
                    </a:lnTo>
                    <a:lnTo>
                      <a:pt x="64" y="41"/>
                    </a:lnTo>
                    <a:lnTo>
                      <a:pt x="68" y="40"/>
                    </a:lnTo>
                    <a:lnTo>
                      <a:pt x="71" y="38"/>
                    </a:lnTo>
                    <a:lnTo>
                      <a:pt x="75" y="34"/>
                    </a:lnTo>
                    <a:lnTo>
                      <a:pt x="78" y="28"/>
                    </a:lnTo>
                    <a:lnTo>
                      <a:pt x="79" y="22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7" y="6"/>
                    </a:lnTo>
                    <a:lnTo>
                      <a:pt x="77" y="2"/>
                    </a:lnTo>
                    <a:lnTo>
                      <a:pt x="67" y="0"/>
                    </a:lnTo>
                    <a:lnTo>
                      <a:pt x="57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8" y="12"/>
                    </a:lnTo>
                    <a:lnTo>
                      <a:pt x="0" y="18"/>
                    </a:lnTo>
                    <a:lnTo>
                      <a:pt x="11" y="24"/>
                    </a:lnTo>
                    <a:lnTo>
                      <a:pt x="27" y="32"/>
                    </a:lnTo>
                    <a:lnTo>
                      <a:pt x="43" y="39"/>
                    </a:lnTo>
                    <a:lnTo>
                      <a:pt x="54" y="4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7" name="Freeform 191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13487668" y="4949397"/>
                <a:ext cx="1587" cy="14288"/>
              </a:xfrm>
              <a:custGeom>
                <a:avLst/>
                <a:gdLst>
                  <a:gd name="T0" fmla="*/ 0 w 7"/>
                  <a:gd name="T1" fmla="*/ 0 h 31"/>
                  <a:gd name="T2" fmla="*/ 81570893 w 7"/>
                  <a:gd name="T3" fmla="*/ 0 h 31"/>
                  <a:gd name="T4" fmla="*/ 81570893 w 7"/>
                  <a:gd name="T5" fmla="*/ 1762334002 h 31"/>
                  <a:gd name="T6" fmla="*/ 0 w 7"/>
                  <a:gd name="T7" fmla="*/ 2147483647 h 31"/>
                  <a:gd name="T8" fmla="*/ 0 w 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31">
                    <a:moveTo>
                      <a:pt x="0" y="0"/>
                    </a:moveTo>
                    <a:lnTo>
                      <a:pt x="7" y="0"/>
                    </a:lnTo>
                    <a:lnTo>
                      <a:pt x="7" y="18"/>
                    </a:lnTo>
                    <a:lnTo>
                      <a:pt x="0" y="3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8" name="Freeform 192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12724080" y="4455685"/>
                <a:ext cx="1019175" cy="908050"/>
              </a:xfrm>
              <a:custGeom>
                <a:avLst/>
                <a:gdLst>
                  <a:gd name="T0" fmla="*/ 2147483647 w 2332"/>
                  <a:gd name="T1" fmla="*/ 2147483647 h 1731"/>
                  <a:gd name="T2" fmla="*/ 2147483647 w 2332"/>
                  <a:gd name="T3" fmla="*/ 2147483647 h 1731"/>
                  <a:gd name="T4" fmla="*/ 2147483647 w 2332"/>
                  <a:gd name="T5" fmla="*/ 2147483647 h 1731"/>
                  <a:gd name="T6" fmla="*/ 2147483647 w 2332"/>
                  <a:gd name="T7" fmla="*/ 2147483647 h 1731"/>
                  <a:gd name="T8" fmla="*/ 2147483647 w 2332"/>
                  <a:gd name="T9" fmla="*/ 2147483647 h 1731"/>
                  <a:gd name="T10" fmla="*/ 2147483647 w 2332"/>
                  <a:gd name="T11" fmla="*/ 2147483647 h 1731"/>
                  <a:gd name="T12" fmla="*/ 2147483647 w 2332"/>
                  <a:gd name="T13" fmla="*/ 2147483647 h 1731"/>
                  <a:gd name="T14" fmla="*/ 2147483647 w 2332"/>
                  <a:gd name="T15" fmla="*/ 2147483647 h 1731"/>
                  <a:gd name="T16" fmla="*/ 2147483647 w 2332"/>
                  <a:gd name="T17" fmla="*/ 2147483647 h 1731"/>
                  <a:gd name="T18" fmla="*/ 2147483647 w 2332"/>
                  <a:gd name="T19" fmla="*/ 2147483647 h 1731"/>
                  <a:gd name="T20" fmla="*/ 2147483647 w 2332"/>
                  <a:gd name="T21" fmla="*/ 2147483647 h 1731"/>
                  <a:gd name="T22" fmla="*/ 2147483647 w 2332"/>
                  <a:gd name="T23" fmla="*/ 2147483647 h 1731"/>
                  <a:gd name="T24" fmla="*/ 2147483647 w 2332"/>
                  <a:gd name="T25" fmla="*/ 2147483647 h 1731"/>
                  <a:gd name="T26" fmla="*/ 2147483647 w 2332"/>
                  <a:gd name="T27" fmla="*/ 2147483647 h 1731"/>
                  <a:gd name="T28" fmla="*/ 2147483647 w 2332"/>
                  <a:gd name="T29" fmla="*/ 2147483647 h 1731"/>
                  <a:gd name="T30" fmla="*/ 2147483647 w 2332"/>
                  <a:gd name="T31" fmla="*/ 2147483647 h 1731"/>
                  <a:gd name="T32" fmla="*/ 2147483647 w 2332"/>
                  <a:gd name="T33" fmla="*/ 2147483647 h 1731"/>
                  <a:gd name="T34" fmla="*/ 2147483647 w 2332"/>
                  <a:gd name="T35" fmla="*/ 2147483647 h 1731"/>
                  <a:gd name="T36" fmla="*/ 2147483647 w 2332"/>
                  <a:gd name="T37" fmla="*/ 2147483647 h 1731"/>
                  <a:gd name="T38" fmla="*/ 2147483647 w 2332"/>
                  <a:gd name="T39" fmla="*/ 2147483647 h 1731"/>
                  <a:gd name="T40" fmla="*/ 2147483647 w 2332"/>
                  <a:gd name="T41" fmla="*/ 2147483647 h 1731"/>
                  <a:gd name="T42" fmla="*/ 2147483647 w 2332"/>
                  <a:gd name="T43" fmla="*/ 2147483647 h 1731"/>
                  <a:gd name="T44" fmla="*/ 2147483647 w 2332"/>
                  <a:gd name="T45" fmla="*/ 2147483647 h 1731"/>
                  <a:gd name="T46" fmla="*/ 2147483647 w 2332"/>
                  <a:gd name="T47" fmla="*/ 1443622716 h 1731"/>
                  <a:gd name="T48" fmla="*/ 2147483647 w 2332"/>
                  <a:gd name="T49" fmla="*/ 2147483647 h 1731"/>
                  <a:gd name="T50" fmla="*/ 2147483647 w 2332"/>
                  <a:gd name="T51" fmla="*/ 2147483647 h 1731"/>
                  <a:gd name="T52" fmla="*/ 2147483647 w 2332"/>
                  <a:gd name="T53" fmla="*/ 2147483647 h 1731"/>
                  <a:gd name="T54" fmla="*/ 2147483647 w 2332"/>
                  <a:gd name="T55" fmla="*/ 2147483647 h 1731"/>
                  <a:gd name="T56" fmla="*/ 2147483647 w 2332"/>
                  <a:gd name="T57" fmla="*/ 2147483647 h 1731"/>
                  <a:gd name="T58" fmla="*/ 2147483647 w 2332"/>
                  <a:gd name="T59" fmla="*/ 2147483647 h 1731"/>
                  <a:gd name="T60" fmla="*/ 2147483647 w 2332"/>
                  <a:gd name="T61" fmla="*/ 2147483647 h 1731"/>
                  <a:gd name="T62" fmla="*/ 2147483647 w 2332"/>
                  <a:gd name="T63" fmla="*/ 2147483647 h 1731"/>
                  <a:gd name="T64" fmla="*/ 2147483647 w 2332"/>
                  <a:gd name="T65" fmla="*/ 2147483647 h 1731"/>
                  <a:gd name="T66" fmla="*/ 2147483647 w 2332"/>
                  <a:gd name="T67" fmla="*/ 2147483647 h 1731"/>
                  <a:gd name="T68" fmla="*/ 2147483647 w 2332"/>
                  <a:gd name="T69" fmla="*/ 2147483647 h 1731"/>
                  <a:gd name="T70" fmla="*/ 2147483647 w 2332"/>
                  <a:gd name="T71" fmla="*/ 2147483647 h 1731"/>
                  <a:gd name="T72" fmla="*/ 2147483647 w 2332"/>
                  <a:gd name="T73" fmla="*/ 2147483647 h 1731"/>
                  <a:gd name="T74" fmla="*/ 2147483647 w 2332"/>
                  <a:gd name="T75" fmla="*/ 2147483647 h 1731"/>
                  <a:gd name="T76" fmla="*/ 2147483647 w 2332"/>
                  <a:gd name="T77" fmla="*/ 2147483647 h 1731"/>
                  <a:gd name="T78" fmla="*/ 2147483647 w 2332"/>
                  <a:gd name="T79" fmla="*/ 2147483647 h 1731"/>
                  <a:gd name="T80" fmla="*/ 2147483647 w 2332"/>
                  <a:gd name="T81" fmla="*/ 2147483647 h 1731"/>
                  <a:gd name="T82" fmla="*/ 2147483647 w 2332"/>
                  <a:gd name="T83" fmla="*/ 2147483647 h 1731"/>
                  <a:gd name="T84" fmla="*/ 2147483647 w 2332"/>
                  <a:gd name="T85" fmla="*/ 2147483647 h 1731"/>
                  <a:gd name="T86" fmla="*/ 2147483647 w 2332"/>
                  <a:gd name="T87" fmla="*/ 2147483647 h 1731"/>
                  <a:gd name="T88" fmla="*/ 2147483647 w 2332"/>
                  <a:gd name="T89" fmla="*/ 2147483647 h 1731"/>
                  <a:gd name="T90" fmla="*/ 2147483647 w 2332"/>
                  <a:gd name="T91" fmla="*/ 2147483647 h 1731"/>
                  <a:gd name="T92" fmla="*/ 2147483647 w 2332"/>
                  <a:gd name="T93" fmla="*/ 2147483647 h 1731"/>
                  <a:gd name="T94" fmla="*/ 2147483647 w 2332"/>
                  <a:gd name="T95" fmla="*/ 2147483647 h 1731"/>
                  <a:gd name="T96" fmla="*/ 2147483647 w 2332"/>
                  <a:gd name="T97" fmla="*/ 2147483647 h 1731"/>
                  <a:gd name="T98" fmla="*/ 2147483647 w 2332"/>
                  <a:gd name="T99" fmla="*/ 2147483647 h 1731"/>
                  <a:gd name="T100" fmla="*/ 2147483647 w 2332"/>
                  <a:gd name="T101" fmla="*/ 2147483647 h 1731"/>
                  <a:gd name="T102" fmla="*/ 166936669 w 2332"/>
                  <a:gd name="T103" fmla="*/ 2147483647 h 1731"/>
                  <a:gd name="T104" fmla="*/ 2147483647 w 2332"/>
                  <a:gd name="T105" fmla="*/ 2147483647 h 1731"/>
                  <a:gd name="T106" fmla="*/ 2147483647 w 2332"/>
                  <a:gd name="T107" fmla="*/ 2147483647 h 1731"/>
                  <a:gd name="T108" fmla="*/ 2147483647 w 2332"/>
                  <a:gd name="T109" fmla="*/ 2147483647 h 1731"/>
                  <a:gd name="T110" fmla="*/ 2147483647 w 2332"/>
                  <a:gd name="T111" fmla="*/ 2147483647 h 1731"/>
                  <a:gd name="T112" fmla="*/ 2147483647 w 2332"/>
                  <a:gd name="T113" fmla="*/ 2147483647 h 1731"/>
                  <a:gd name="T114" fmla="*/ 2147483647 w 2332"/>
                  <a:gd name="T115" fmla="*/ 2147483647 h 1731"/>
                  <a:gd name="T116" fmla="*/ 2147483647 w 2332"/>
                  <a:gd name="T117" fmla="*/ 2147483647 h 173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332" h="1731">
                    <a:moveTo>
                      <a:pt x="153" y="721"/>
                    </a:moveTo>
                    <a:lnTo>
                      <a:pt x="156" y="727"/>
                    </a:lnTo>
                    <a:lnTo>
                      <a:pt x="159" y="732"/>
                    </a:lnTo>
                    <a:lnTo>
                      <a:pt x="162" y="735"/>
                    </a:lnTo>
                    <a:lnTo>
                      <a:pt x="167" y="738"/>
                    </a:lnTo>
                    <a:lnTo>
                      <a:pt x="173" y="744"/>
                    </a:lnTo>
                    <a:lnTo>
                      <a:pt x="180" y="751"/>
                    </a:lnTo>
                    <a:lnTo>
                      <a:pt x="189" y="744"/>
                    </a:lnTo>
                    <a:lnTo>
                      <a:pt x="195" y="737"/>
                    </a:lnTo>
                    <a:lnTo>
                      <a:pt x="201" y="729"/>
                    </a:lnTo>
                    <a:lnTo>
                      <a:pt x="205" y="722"/>
                    </a:lnTo>
                    <a:lnTo>
                      <a:pt x="210" y="714"/>
                    </a:lnTo>
                    <a:lnTo>
                      <a:pt x="214" y="707"/>
                    </a:lnTo>
                    <a:lnTo>
                      <a:pt x="219" y="701"/>
                    </a:lnTo>
                    <a:lnTo>
                      <a:pt x="226" y="696"/>
                    </a:lnTo>
                    <a:lnTo>
                      <a:pt x="234" y="690"/>
                    </a:lnTo>
                    <a:lnTo>
                      <a:pt x="241" y="685"/>
                    </a:lnTo>
                    <a:lnTo>
                      <a:pt x="249" y="680"/>
                    </a:lnTo>
                    <a:lnTo>
                      <a:pt x="258" y="677"/>
                    </a:lnTo>
                    <a:lnTo>
                      <a:pt x="274" y="672"/>
                    </a:lnTo>
                    <a:lnTo>
                      <a:pt x="290" y="667"/>
                    </a:lnTo>
                    <a:lnTo>
                      <a:pt x="297" y="665"/>
                    </a:lnTo>
                    <a:lnTo>
                      <a:pt x="305" y="661"/>
                    </a:lnTo>
                    <a:lnTo>
                      <a:pt x="312" y="658"/>
                    </a:lnTo>
                    <a:lnTo>
                      <a:pt x="318" y="654"/>
                    </a:lnTo>
                    <a:lnTo>
                      <a:pt x="325" y="649"/>
                    </a:lnTo>
                    <a:lnTo>
                      <a:pt x="330" y="644"/>
                    </a:lnTo>
                    <a:lnTo>
                      <a:pt x="335" y="637"/>
                    </a:lnTo>
                    <a:lnTo>
                      <a:pt x="339" y="628"/>
                    </a:lnTo>
                    <a:lnTo>
                      <a:pt x="360" y="631"/>
                    </a:lnTo>
                    <a:lnTo>
                      <a:pt x="370" y="631"/>
                    </a:lnTo>
                    <a:lnTo>
                      <a:pt x="375" y="629"/>
                    </a:lnTo>
                    <a:lnTo>
                      <a:pt x="385" y="628"/>
                    </a:lnTo>
                    <a:lnTo>
                      <a:pt x="393" y="628"/>
                    </a:lnTo>
                    <a:lnTo>
                      <a:pt x="400" y="627"/>
                    </a:lnTo>
                    <a:lnTo>
                      <a:pt x="405" y="624"/>
                    </a:lnTo>
                    <a:lnTo>
                      <a:pt x="412" y="622"/>
                    </a:lnTo>
                    <a:lnTo>
                      <a:pt x="423" y="615"/>
                    </a:lnTo>
                    <a:lnTo>
                      <a:pt x="435" y="606"/>
                    </a:lnTo>
                    <a:lnTo>
                      <a:pt x="447" y="598"/>
                    </a:lnTo>
                    <a:lnTo>
                      <a:pt x="461" y="592"/>
                    </a:lnTo>
                    <a:lnTo>
                      <a:pt x="469" y="589"/>
                    </a:lnTo>
                    <a:lnTo>
                      <a:pt x="478" y="587"/>
                    </a:lnTo>
                    <a:lnTo>
                      <a:pt x="487" y="585"/>
                    </a:lnTo>
                    <a:lnTo>
                      <a:pt x="498" y="585"/>
                    </a:lnTo>
                    <a:lnTo>
                      <a:pt x="520" y="585"/>
                    </a:lnTo>
                    <a:lnTo>
                      <a:pt x="544" y="584"/>
                    </a:lnTo>
                    <a:lnTo>
                      <a:pt x="558" y="584"/>
                    </a:lnTo>
                    <a:lnTo>
                      <a:pt x="570" y="582"/>
                    </a:lnTo>
                    <a:lnTo>
                      <a:pt x="581" y="581"/>
                    </a:lnTo>
                    <a:lnTo>
                      <a:pt x="592" y="579"/>
                    </a:lnTo>
                    <a:lnTo>
                      <a:pt x="605" y="570"/>
                    </a:lnTo>
                    <a:lnTo>
                      <a:pt x="619" y="558"/>
                    </a:lnTo>
                    <a:lnTo>
                      <a:pt x="635" y="542"/>
                    </a:lnTo>
                    <a:lnTo>
                      <a:pt x="650" y="525"/>
                    </a:lnTo>
                    <a:lnTo>
                      <a:pt x="664" y="508"/>
                    </a:lnTo>
                    <a:lnTo>
                      <a:pt x="677" y="490"/>
                    </a:lnTo>
                    <a:lnTo>
                      <a:pt x="688" y="475"/>
                    </a:lnTo>
                    <a:lnTo>
                      <a:pt x="698" y="462"/>
                    </a:lnTo>
                    <a:lnTo>
                      <a:pt x="695" y="461"/>
                    </a:lnTo>
                    <a:lnTo>
                      <a:pt x="693" y="459"/>
                    </a:lnTo>
                    <a:lnTo>
                      <a:pt x="691" y="456"/>
                    </a:lnTo>
                    <a:lnTo>
                      <a:pt x="688" y="452"/>
                    </a:lnTo>
                    <a:lnTo>
                      <a:pt x="683" y="444"/>
                    </a:lnTo>
                    <a:lnTo>
                      <a:pt x="677" y="437"/>
                    </a:lnTo>
                    <a:lnTo>
                      <a:pt x="688" y="432"/>
                    </a:lnTo>
                    <a:lnTo>
                      <a:pt x="697" y="426"/>
                    </a:lnTo>
                    <a:lnTo>
                      <a:pt x="705" y="419"/>
                    </a:lnTo>
                    <a:lnTo>
                      <a:pt x="710" y="413"/>
                    </a:lnTo>
                    <a:lnTo>
                      <a:pt x="716" y="406"/>
                    </a:lnTo>
                    <a:lnTo>
                      <a:pt x="721" y="399"/>
                    </a:lnTo>
                    <a:lnTo>
                      <a:pt x="729" y="393"/>
                    </a:lnTo>
                    <a:lnTo>
                      <a:pt x="738" y="388"/>
                    </a:lnTo>
                    <a:lnTo>
                      <a:pt x="739" y="399"/>
                    </a:lnTo>
                    <a:lnTo>
                      <a:pt x="741" y="409"/>
                    </a:lnTo>
                    <a:lnTo>
                      <a:pt x="744" y="418"/>
                    </a:lnTo>
                    <a:lnTo>
                      <a:pt x="749" y="425"/>
                    </a:lnTo>
                    <a:lnTo>
                      <a:pt x="758" y="439"/>
                    </a:lnTo>
                    <a:lnTo>
                      <a:pt x="764" y="450"/>
                    </a:lnTo>
                    <a:lnTo>
                      <a:pt x="768" y="437"/>
                    </a:lnTo>
                    <a:lnTo>
                      <a:pt x="770" y="428"/>
                    </a:lnTo>
                    <a:lnTo>
                      <a:pt x="771" y="418"/>
                    </a:lnTo>
                    <a:lnTo>
                      <a:pt x="771" y="406"/>
                    </a:lnTo>
                    <a:lnTo>
                      <a:pt x="775" y="402"/>
                    </a:lnTo>
                    <a:lnTo>
                      <a:pt x="776" y="397"/>
                    </a:lnTo>
                    <a:lnTo>
                      <a:pt x="777" y="391"/>
                    </a:lnTo>
                    <a:lnTo>
                      <a:pt x="777" y="385"/>
                    </a:lnTo>
                    <a:lnTo>
                      <a:pt x="777" y="379"/>
                    </a:lnTo>
                    <a:lnTo>
                      <a:pt x="778" y="373"/>
                    </a:lnTo>
                    <a:lnTo>
                      <a:pt x="781" y="368"/>
                    </a:lnTo>
                    <a:lnTo>
                      <a:pt x="784" y="363"/>
                    </a:lnTo>
                    <a:lnTo>
                      <a:pt x="787" y="370"/>
                    </a:lnTo>
                    <a:lnTo>
                      <a:pt x="790" y="381"/>
                    </a:lnTo>
                    <a:lnTo>
                      <a:pt x="838" y="381"/>
                    </a:lnTo>
                    <a:lnTo>
                      <a:pt x="833" y="369"/>
                    </a:lnTo>
                    <a:lnTo>
                      <a:pt x="832" y="358"/>
                    </a:lnTo>
                    <a:lnTo>
                      <a:pt x="831" y="349"/>
                    </a:lnTo>
                    <a:lnTo>
                      <a:pt x="832" y="341"/>
                    </a:lnTo>
                    <a:lnTo>
                      <a:pt x="835" y="327"/>
                    </a:lnTo>
                    <a:lnTo>
                      <a:pt x="838" y="314"/>
                    </a:lnTo>
                    <a:lnTo>
                      <a:pt x="852" y="315"/>
                    </a:lnTo>
                    <a:lnTo>
                      <a:pt x="860" y="316"/>
                    </a:lnTo>
                    <a:lnTo>
                      <a:pt x="863" y="316"/>
                    </a:lnTo>
                    <a:lnTo>
                      <a:pt x="866" y="316"/>
                    </a:lnTo>
                    <a:lnTo>
                      <a:pt x="871" y="315"/>
                    </a:lnTo>
                    <a:lnTo>
                      <a:pt x="877" y="314"/>
                    </a:lnTo>
                    <a:lnTo>
                      <a:pt x="885" y="295"/>
                    </a:lnTo>
                    <a:lnTo>
                      <a:pt x="891" y="281"/>
                    </a:lnTo>
                    <a:lnTo>
                      <a:pt x="898" y="268"/>
                    </a:lnTo>
                    <a:lnTo>
                      <a:pt x="910" y="252"/>
                    </a:lnTo>
                    <a:lnTo>
                      <a:pt x="916" y="255"/>
                    </a:lnTo>
                    <a:lnTo>
                      <a:pt x="921" y="256"/>
                    </a:lnTo>
                    <a:lnTo>
                      <a:pt x="925" y="256"/>
                    </a:lnTo>
                    <a:lnTo>
                      <a:pt x="930" y="255"/>
                    </a:lnTo>
                    <a:lnTo>
                      <a:pt x="933" y="253"/>
                    </a:lnTo>
                    <a:lnTo>
                      <a:pt x="935" y="250"/>
                    </a:lnTo>
                    <a:lnTo>
                      <a:pt x="939" y="246"/>
                    </a:lnTo>
                    <a:lnTo>
                      <a:pt x="940" y="242"/>
                    </a:lnTo>
                    <a:lnTo>
                      <a:pt x="946" y="224"/>
                    </a:lnTo>
                    <a:lnTo>
                      <a:pt x="951" y="209"/>
                    </a:lnTo>
                    <a:lnTo>
                      <a:pt x="957" y="212"/>
                    </a:lnTo>
                    <a:lnTo>
                      <a:pt x="965" y="214"/>
                    </a:lnTo>
                    <a:lnTo>
                      <a:pt x="973" y="215"/>
                    </a:lnTo>
                    <a:lnTo>
                      <a:pt x="980" y="214"/>
                    </a:lnTo>
                    <a:lnTo>
                      <a:pt x="989" y="214"/>
                    </a:lnTo>
                    <a:lnTo>
                      <a:pt x="998" y="213"/>
                    </a:lnTo>
                    <a:lnTo>
                      <a:pt x="1007" y="213"/>
                    </a:lnTo>
                    <a:lnTo>
                      <a:pt x="1017" y="215"/>
                    </a:lnTo>
                    <a:lnTo>
                      <a:pt x="1022" y="219"/>
                    </a:lnTo>
                    <a:lnTo>
                      <a:pt x="1027" y="223"/>
                    </a:lnTo>
                    <a:lnTo>
                      <a:pt x="1031" y="227"/>
                    </a:lnTo>
                    <a:lnTo>
                      <a:pt x="1033" y="232"/>
                    </a:lnTo>
                    <a:lnTo>
                      <a:pt x="1037" y="244"/>
                    </a:lnTo>
                    <a:lnTo>
                      <a:pt x="1040" y="257"/>
                    </a:lnTo>
                    <a:lnTo>
                      <a:pt x="1043" y="269"/>
                    </a:lnTo>
                    <a:lnTo>
                      <a:pt x="1046" y="280"/>
                    </a:lnTo>
                    <a:lnTo>
                      <a:pt x="1050" y="284"/>
                    </a:lnTo>
                    <a:lnTo>
                      <a:pt x="1053" y="287"/>
                    </a:lnTo>
                    <a:lnTo>
                      <a:pt x="1057" y="289"/>
                    </a:lnTo>
                    <a:lnTo>
                      <a:pt x="1063" y="290"/>
                    </a:lnTo>
                    <a:lnTo>
                      <a:pt x="1069" y="289"/>
                    </a:lnTo>
                    <a:lnTo>
                      <a:pt x="1076" y="286"/>
                    </a:lnTo>
                    <a:lnTo>
                      <a:pt x="1078" y="284"/>
                    </a:lnTo>
                    <a:lnTo>
                      <a:pt x="1081" y="282"/>
                    </a:lnTo>
                    <a:lnTo>
                      <a:pt x="1083" y="280"/>
                    </a:lnTo>
                    <a:lnTo>
                      <a:pt x="1084" y="277"/>
                    </a:lnTo>
                    <a:lnTo>
                      <a:pt x="1088" y="279"/>
                    </a:lnTo>
                    <a:lnTo>
                      <a:pt x="1092" y="280"/>
                    </a:lnTo>
                    <a:lnTo>
                      <a:pt x="1096" y="280"/>
                    </a:lnTo>
                    <a:lnTo>
                      <a:pt x="1099" y="280"/>
                    </a:lnTo>
                    <a:lnTo>
                      <a:pt x="1104" y="278"/>
                    </a:lnTo>
                    <a:lnTo>
                      <a:pt x="1110" y="277"/>
                    </a:lnTo>
                    <a:lnTo>
                      <a:pt x="1120" y="277"/>
                    </a:lnTo>
                    <a:lnTo>
                      <a:pt x="1128" y="276"/>
                    </a:lnTo>
                    <a:lnTo>
                      <a:pt x="1133" y="274"/>
                    </a:lnTo>
                    <a:lnTo>
                      <a:pt x="1135" y="270"/>
                    </a:lnTo>
                    <a:lnTo>
                      <a:pt x="1136" y="261"/>
                    </a:lnTo>
                    <a:lnTo>
                      <a:pt x="1136" y="246"/>
                    </a:lnTo>
                    <a:lnTo>
                      <a:pt x="1136" y="240"/>
                    </a:lnTo>
                    <a:lnTo>
                      <a:pt x="1137" y="234"/>
                    </a:lnTo>
                    <a:lnTo>
                      <a:pt x="1140" y="228"/>
                    </a:lnTo>
                    <a:lnTo>
                      <a:pt x="1143" y="223"/>
                    </a:lnTo>
                    <a:lnTo>
                      <a:pt x="1148" y="212"/>
                    </a:lnTo>
                    <a:lnTo>
                      <a:pt x="1156" y="204"/>
                    </a:lnTo>
                    <a:lnTo>
                      <a:pt x="1164" y="195"/>
                    </a:lnTo>
                    <a:lnTo>
                      <a:pt x="1170" y="186"/>
                    </a:lnTo>
                    <a:lnTo>
                      <a:pt x="1173" y="182"/>
                    </a:lnTo>
                    <a:lnTo>
                      <a:pt x="1175" y="177"/>
                    </a:lnTo>
                    <a:lnTo>
                      <a:pt x="1176" y="172"/>
                    </a:lnTo>
                    <a:lnTo>
                      <a:pt x="1176" y="167"/>
                    </a:lnTo>
                    <a:lnTo>
                      <a:pt x="1189" y="154"/>
                    </a:lnTo>
                    <a:lnTo>
                      <a:pt x="1201" y="146"/>
                    </a:lnTo>
                    <a:lnTo>
                      <a:pt x="1213" y="139"/>
                    </a:lnTo>
                    <a:lnTo>
                      <a:pt x="1225" y="134"/>
                    </a:lnTo>
                    <a:lnTo>
                      <a:pt x="1237" y="131"/>
                    </a:lnTo>
                    <a:lnTo>
                      <a:pt x="1248" y="128"/>
                    </a:lnTo>
                    <a:lnTo>
                      <a:pt x="1259" y="127"/>
                    </a:lnTo>
                    <a:lnTo>
                      <a:pt x="1270" y="126"/>
                    </a:lnTo>
                    <a:lnTo>
                      <a:pt x="1289" y="125"/>
                    </a:lnTo>
                    <a:lnTo>
                      <a:pt x="1305" y="123"/>
                    </a:lnTo>
                    <a:lnTo>
                      <a:pt x="1313" y="121"/>
                    </a:lnTo>
                    <a:lnTo>
                      <a:pt x="1320" y="117"/>
                    </a:lnTo>
                    <a:lnTo>
                      <a:pt x="1324" y="112"/>
                    </a:lnTo>
                    <a:lnTo>
                      <a:pt x="1328" y="104"/>
                    </a:lnTo>
                    <a:lnTo>
                      <a:pt x="1322" y="94"/>
                    </a:lnTo>
                    <a:lnTo>
                      <a:pt x="1314" y="86"/>
                    </a:lnTo>
                    <a:lnTo>
                      <a:pt x="1308" y="80"/>
                    </a:lnTo>
                    <a:lnTo>
                      <a:pt x="1301" y="75"/>
                    </a:lnTo>
                    <a:lnTo>
                      <a:pt x="1297" y="69"/>
                    </a:lnTo>
                    <a:lnTo>
                      <a:pt x="1292" y="64"/>
                    </a:lnTo>
                    <a:lnTo>
                      <a:pt x="1290" y="58"/>
                    </a:lnTo>
                    <a:lnTo>
                      <a:pt x="1289" y="49"/>
                    </a:lnTo>
                    <a:lnTo>
                      <a:pt x="1305" y="48"/>
                    </a:lnTo>
                    <a:lnTo>
                      <a:pt x="1322" y="45"/>
                    </a:lnTo>
                    <a:lnTo>
                      <a:pt x="1336" y="41"/>
                    </a:lnTo>
                    <a:lnTo>
                      <a:pt x="1349" y="36"/>
                    </a:lnTo>
                    <a:lnTo>
                      <a:pt x="1352" y="46"/>
                    </a:lnTo>
                    <a:lnTo>
                      <a:pt x="1356" y="56"/>
                    </a:lnTo>
                    <a:lnTo>
                      <a:pt x="1360" y="64"/>
                    </a:lnTo>
                    <a:lnTo>
                      <a:pt x="1366" y="72"/>
                    </a:lnTo>
                    <a:lnTo>
                      <a:pt x="1372" y="78"/>
                    </a:lnTo>
                    <a:lnTo>
                      <a:pt x="1379" y="84"/>
                    </a:lnTo>
                    <a:lnTo>
                      <a:pt x="1387" y="90"/>
                    </a:lnTo>
                    <a:lnTo>
                      <a:pt x="1394" y="94"/>
                    </a:lnTo>
                    <a:lnTo>
                      <a:pt x="1403" y="98"/>
                    </a:lnTo>
                    <a:lnTo>
                      <a:pt x="1412" y="101"/>
                    </a:lnTo>
                    <a:lnTo>
                      <a:pt x="1422" y="104"/>
                    </a:lnTo>
                    <a:lnTo>
                      <a:pt x="1432" y="107"/>
                    </a:lnTo>
                    <a:lnTo>
                      <a:pt x="1443" y="109"/>
                    </a:lnTo>
                    <a:lnTo>
                      <a:pt x="1453" y="110"/>
                    </a:lnTo>
                    <a:lnTo>
                      <a:pt x="1464" y="111"/>
                    </a:lnTo>
                    <a:lnTo>
                      <a:pt x="1476" y="111"/>
                    </a:lnTo>
                    <a:lnTo>
                      <a:pt x="1481" y="110"/>
                    </a:lnTo>
                    <a:lnTo>
                      <a:pt x="1489" y="108"/>
                    </a:lnTo>
                    <a:lnTo>
                      <a:pt x="1499" y="105"/>
                    </a:lnTo>
                    <a:lnTo>
                      <a:pt x="1509" y="104"/>
                    </a:lnTo>
                    <a:lnTo>
                      <a:pt x="1514" y="109"/>
                    </a:lnTo>
                    <a:lnTo>
                      <a:pt x="1523" y="113"/>
                    </a:lnTo>
                    <a:lnTo>
                      <a:pt x="1532" y="116"/>
                    </a:lnTo>
                    <a:lnTo>
                      <a:pt x="1541" y="117"/>
                    </a:lnTo>
                    <a:lnTo>
                      <a:pt x="1544" y="117"/>
                    </a:lnTo>
                    <a:lnTo>
                      <a:pt x="1547" y="115"/>
                    </a:lnTo>
                    <a:lnTo>
                      <a:pt x="1549" y="113"/>
                    </a:lnTo>
                    <a:lnTo>
                      <a:pt x="1551" y="110"/>
                    </a:lnTo>
                    <a:lnTo>
                      <a:pt x="1557" y="103"/>
                    </a:lnTo>
                    <a:lnTo>
                      <a:pt x="1561" y="98"/>
                    </a:lnTo>
                    <a:lnTo>
                      <a:pt x="1561" y="135"/>
                    </a:lnTo>
                    <a:lnTo>
                      <a:pt x="1556" y="146"/>
                    </a:lnTo>
                    <a:lnTo>
                      <a:pt x="1545" y="163"/>
                    </a:lnTo>
                    <a:lnTo>
                      <a:pt x="1530" y="183"/>
                    </a:lnTo>
                    <a:lnTo>
                      <a:pt x="1513" y="205"/>
                    </a:lnTo>
                    <a:lnTo>
                      <a:pt x="1495" y="228"/>
                    </a:lnTo>
                    <a:lnTo>
                      <a:pt x="1479" y="247"/>
                    </a:lnTo>
                    <a:lnTo>
                      <a:pt x="1465" y="262"/>
                    </a:lnTo>
                    <a:lnTo>
                      <a:pt x="1455" y="270"/>
                    </a:lnTo>
                    <a:lnTo>
                      <a:pt x="1464" y="275"/>
                    </a:lnTo>
                    <a:lnTo>
                      <a:pt x="1470" y="278"/>
                    </a:lnTo>
                    <a:lnTo>
                      <a:pt x="1474" y="282"/>
                    </a:lnTo>
                    <a:lnTo>
                      <a:pt x="1479" y="286"/>
                    </a:lnTo>
                    <a:lnTo>
                      <a:pt x="1485" y="294"/>
                    </a:lnTo>
                    <a:lnTo>
                      <a:pt x="1489" y="302"/>
                    </a:lnTo>
                    <a:lnTo>
                      <a:pt x="1492" y="310"/>
                    </a:lnTo>
                    <a:lnTo>
                      <a:pt x="1495" y="317"/>
                    </a:lnTo>
                    <a:lnTo>
                      <a:pt x="1498" y="321"/>
                    </a:lnTo>
                    <a:lnTo>
                      <a:pt x="1500" y="325"/>
                    </a:lnTo>
                    <a:lnTo>
                      <a:pt x="1504" y="328"/>
                    </a:lnTo>
                    <a:lnTo>
                      <a:pt x="1509" y="333"/>
                    </a:lnTo>
                    <a:lnTo>
                      <a:pt x="1514" y="336"/>
                    </a:lnTo>
                    <a:lnTo>
                      <a:pt x="1520" y="338"/>
                    </a:lnTo>
                    <a:lnTo>
                      <a:pt x="1525" y="339"/>
                    </a:lnTo>
                    <a:lnTo>
                      <a:pt x="1532" y="338"/>
                    </a:lnTo>
                    <a:lnTo>
                      <a:pt x="1538" y="338"/>
                    </a:lnTo>
                    <a:lnTo>
                      <a:pt x="1544" y="337"/>
                    </a:lnTo>
                    <a:lnTo>
                      <a:pt x="1549" y="337"/>
                    </a:lnTo>
                    <a:lnTo>
                      <a:pt x="1555" y="339"/>
                    </a:lnTo>
                    <a:lnTo>
                      <a:pt x="1560" y="340"/>
                    </a:lnTo>
                    <a:lnTo>
                      <a:pt x="1566" y="342"/>
                    </a:lnTo>
                    <a:lnTo>
                      <a:pt x="1570" y="345"/>
                    </a:lnTo>
                    <a:lnTo>
                      <a:pt x="1574" y="347"/>
                    </a:lnTo>
                    <a:lnTo>
                      <a:pt x="1582" y="354"/>
                    </a:lnTo>
                    <a:lnTo>
                      <a:pt x="1588" y="361"/>
                    </a:lnTo>
                    <a:lnTo>
                      <a:pt x="1594" y="368"/>
                    </a:lnTo>
                    <a:lnTo>
                      <a:pt x="1602" y="376"/>
                    </a:lnTo>
                    <a:lnTo>
                      <a:pt x="1605" y="379"/>
                    </a:lnTo>
                    <a:lnTo>
                      <a:pt x="1611" y="382"/>
                    </a:lnTo>
                    <a:lnTo>
                      <a:pt x="1615" y="386"/>
                    </a:lnTo>
                    <a:lnTo>
                      <a:pt x="1622" y="388"/>
                    </a:lnTo>
                    <a:lnTo>
                      <a:pt x="1629" y="391"/>
                    </a:lnTo>
                    <a:lnTo>
                      <a:pt x="1637" y="394"/>
                    </a:lnTo>
                    <a:lnTo>
                      <a:pt x="1644" y="398"/>
                    </a:lnTo>
                    <a:lnTo>
                      <a:pt x="1649" y="403"/>
                    </a:lnTo>
                    <a:lnTo>
                      <a:pt x="1659" y="413"/>
                    </a:lnTo>
                    <a:lnTo>
                      <a:pt x="1668" y="423"/>
                    </a:lnTo>
                    <a:lnTo>
                      <a:pt x="1677" y="433"/>
                    </a:lnTo>
                    <a:lnTo>
                      <a:pt x="1686" y="442"/>
                    </a:lnTo>
                    <a:lnTo>
                      <a:pt x="1692" y="445"/>
                    </a:lnTo>
                    <a:lnTo>
                      <a:pt x="1698" y="448"/>
                    </a:lnTo>
                    <a:lnTo>
                      <a:pt x="1706" y="449"/>
                    </a:lnTo>
                    <a:lnTo>
                      <a:pt x="1714" y="450"/>
                    </a:lnTo>
                    <a:lnTo>
                      <a:pt x="1719" y="449"/>
                    </a:lnTo>
                    <a:lnTo>
                      <a:pt x="1724" y="448"/>
                    </a:lnTo>
                    <a:lnTo>
                      <a:pt x="1729" y="446"/>
                    </a:lnTo>
                    <a:lnTo>
                      <a:pt x="1735" y="444"/>
                    </a:lnTo>
                    <a:lnTo>
                      <a:pt x="1745" y="435"/>
                    </a:lnTo>
                    <a:lnTo>
                      <a:pt x="1754" y="425"/>
                    </a:lnTo>
                    <a:lnTo>
                      <a:pt x="1764" y="413"/>
                    </a:lnTo>
                    <a:lnTo>
                      <a:pt x="1773" y="400"/>
                    </a:lnTo>
                    <a:lnTo>
                      <a:pt x="1782" y="385"/>
                    </a:lnTo>
                    <a:lnTo>
                      <a:pt x="1791" y="368"/>
                    </a:lnTo>
                    <a:lnTo>
                      <a:pt x="1798" y="351"/>
                    </a:lnTo>
                    <a:lnTo>
                      <a:pt x="1805" y="334"/>
                    </a:lnTo>
                    <a:lnTo>
                      <a:pt x="1812" y="316"/>
                    </a:lnTo>
                    <a:lnTo>
                      <a:pt x="1817" y="299"/>
                    </a:lnTo>
                    <a:lnTo>
                      <a:pt x="1821" y="283"/>
                    </a:lnTo>
                    <a:lnTo>
                      <a:pt x="1825" y="266"/>
                    </a:lnTo>
                    <a:lnTo>
                      <a:pt x="1827" y="252"/>
                    </a:lnTo>
                    <a:lnTo>
                      <a:pt x="1827" y="240"/>
                    </a:lnTo>
                    <a:lnTo>
                      <a:pt x="1828" y="223"/>
                    </a:lnTo>
                    <a:lnTo>
                      <a:pt x="1830" y="205"/>
                    </a:lnTo>
                    <a:lnTo>
                      <a:pt x="1834" y="189"/>
                    </a:lnTo>
                    <a:lnTo>
                      <a:pt x="1839" y="174"/>
                    </a:lnTo>
                    <a:lnTo>
                      <a:pt x="1845" y="159"/>
                    </a:lnTo>
                    <a:lnTo>
                      <a:pt x="1850" y="145"/>
                    </a:lnTo>
                    <a:lnTo>
                      <a:pt x="1857" y="131"/>
                    </a:lnTo>
                    <a:lnTo>
                      <a:pt x="1863" y="118"/>
                    </a:lnTo>
                    <a:lnTo>
                      <a:pt x="1877" y="90"/>
                    </a:lnTo>
                    <a:lnTo>
                      <a:pt x="1888" y="63"/>
                    </a:lnTo>
                    <a:lnTo>
                      <a:pt x="1894" y="47"/>
                    </a:lnTo>
                    <a:lnTo>
                      <a:pt x="1897" y="32"/>
                    </a:lnTo>
                    <a:lnTo>
                      <a:pt x="1899" y="17"/>
                    </a:lnTo>
                    <a:lnTo>
                      <a:pt x="1901" y="0"/>
                    </a:lnTo>
                    <a:lnTo>
                      <a:pt x="1904" y="10"/>
                    </a:lnTo>
                    <a:lnTo>
                      <a:pt x="1909" y="21"/>
                    </a:lnTo>
                    <a:lnTo>
                      <a:pt x="1917" y="32"/>
                    </a:lnTo>
                    <a:lnTo>
                      <a:pt x="1925" y="43"/>
                    </a:lnTo>
                    <a:lnTo>
                      <a:pt x="1932" y="55"/>
                    </a:lnTo>
                    <a:lnTo>
                      <a:pt x="1940" y="63"/>
                    </a:lnTo>
                    <a:lnTo>
                      <a:pt x="1948" y="70"/>
                    </a:lnTo>
                    <a:lnTo>
                      <a:pt x="1953" y="74"/>
                    </a:lnTo>
                    <a:lnTo>
                      <a:pt x="1952" y="76"/>
                    </a:lnTo>
                    <a:lnTo>
                      <a:pt x="1950" y="77"/>
                    </a:lnTo>
                    <a:lnTo>
                      <a:pt x="1947" y="78"/>
                    </a:lnTo>
                    <a:lnTo>
                      <a:pt x="1943" y="79"/>
                    </a:lnTo>
                    <a:lnTo>
                      <a:pt x="1937" y="80"/>
                    </a:lnTo>
                    <a:lnTo>
                      <a:pt x="1933" y="80"/>
                    </a:lnTo>
                    <a:lnTo>
                      <a:pt x="1935" y="90"/>
                    </a:lnTo>
                    <a:lnTo>
                      <a:pt x="1937" y="98"/>
                    </a:lnTo>
                    <a:lnTo>
                      <a:pt x="1940" y="104"/>
                    </a:lnTo>
                    <a:lnTo>
                      <a:pt x="1943" y="110"/>
                    </a:lnTo>
                    <a:lnTo>
                      <a:pt x="1947" y="115"/>
                    </a:lnTo>
                    <a:lnTo>
                      <a:pt x="1950" y="121"/>
                    </a:lnTo>
                    <a:lnTo>
                      <a:pt x="1952" y="127"/>
                    </a:lnTo>
                    <a:lnTo>
                      <a:pt x="1953" y="135"/>
                    </a:lnTo>
                    <a:lnTo>
                      <a:pt x="1953" y="144"/>
                    </a:lnTo>
                    <a:lnTo>
                      <a:pt x="1951" y="152"/>
                    </a:lnTo>
                    <a:lnTo>
                      <a:pt x="1949" y="160"/>
                    </a:lnTo>
                    <a:lnTo>
                      <a:pt x="1947" y="169"/>
                    </a:lnTo>
                    <a:lnTo>
                      <a:pt x="1944" y="176"/>
                    </a:lnTo>
                    <a:lnTo>
                      <a:pt x="1942" y="183"/>
                    </a:lnTo>
                    <a:lnTo>
                      <a:pt x="1941" y="190"/>
                    </a:lnTo>
                    <a:lnTo>
                      <a:pt x="1940" y="197"/>
                    </a:lnTo>
                    <a:lnTo>
                      <a:pt x="1940" y="201"/>
                    </a:lnTo>
                    <a:lnTo>
                      <a:pt x="1941" y="206"/>
                    </a:lnTo>
                    <a:lnTo>
                      <a:pt x="1942" y="210"/>
                    </a:lnTo>
                    <a:lnTo>
                      <a:pt x="1944" y="214"/>
                    </a:lnTo>
                    <a:lnTo>
                      <a:pt x="1950" y="222"/>
                    </a:lnTo>
                    <a:lnTo>
                      <a:pt x="1955" y="228"/>
                    </a:lnTo>
                    <a:lnTo>
                      <a:pt x="1963" y="233"/>
                    </a:lnTo>
                    <a:lnTo>
                      <a:pt x="1971" y="237"/>
                    </a:lnTo>
                    <a:lnTo>
                      <a:pt x="1978" y="239"/>
                    </a:lnTo>
                    <a:lnTo>
                      <a:pt x="1986" y="240"/>
                    </a:lnTo>
                    <a:lnTo>
                      <a:pt x="1987" y="244"/>
                    </a:lnTo>
                    <a:lnTo>
                      <a:pt x="1989" y="248"/>
                    </a:lnTo>
                    <a:lnTo>
                      <a:pt x="1993" y="251"/>
                    </a:lnTo>
                    <a:lnTo>
                      <a:pt x="1997" y="254"/>
                    </a:lnTo>
                    <a:lnTo>
                      <a:pt x="2006" y="257"/>
                    </a:lnTo>
                    <a:lnTo>
                      <a:pt x="2014" y="258"/>
                    </a:lnTo>
                    <a:lnTo>
                      <a:pt x="2014" y="278"/>
                    </a:lnTo>
                    <a:lnTo>
                      <a:pt x="2015" y="297"/>
                    </a:lnTo>
                    <a:lnTo>
                      <a:pt x="2017" y="314"/>
                    </a:lnTo>
                    <a:lnTo>
                      <a:pt x="2019" y="332"/>
                    </a:lnTo>
                    <a:lnTo>
                      <a:pt x="2026" y="365"/>
                    </a:lnTo>
                    <a:lnTo>
                      <a:pt x="2033" y="398"/>
                    </a:lnTo>
                    <a:lnTo>
                      <a:pt x="2040" y="429"/>
                    </a:lnTo>
                    <a:lnTo>
                      <a:pt x="2047" y="461"/>
                    </a:lnTo>
                    <a:lnTo>
                      <a:pt x="2050" y="476"/>
                    </a:lnTo>
                    <a:lnTo>
                      <a:pt x="2051" y="491"/>
                    </a:lnTo>
                    <a:lnTo>
                      <a:pt x="2053" y="508"/>
                    </a:lnTo>
                    <a:lnTo>
                      <a:pt x="2053" y="523"/>
                    </a:lnTo>
                    <a:lnTo>
                      <a:pt x="2053" y="526"/>
                    </a:lnTo>
                    <a:lnTo>
                      <a:pt x="2054" y="528"/>
                    </a:lnTo>
                    <a:lnTo>
                      <a:pt x="2056" y="529"/>
                    </a:lnTo>
                    <a:lnTo>
                      <a:pt x="2060" y="531"/>
                    </a:lnTo>
                    <a:lnTo>
                      <a:pt x="2066" y="533"/>
                    </a:lnTo>
                    <a:lnTo>
                      <a:pt x="2074" y="536"/>
                    </a:lnTo>
                    <a:lnTo>
                      <a:pt x="2082" y="538"/>
                    </a:lnTo>
                    <a:lnTo>
                      <a:pt x="2089" y="540"/>
                    </a:lnTo>
                    <a:lnTo>
                      <a:pt x="2096" y="544"/>
                    </a:lnTo>
                    <a:lnTo>
                      <a:pt x="2099" y="548"/>
                    </a:lnTo>
                    <a:lnTo>
                      <a:pt x="2108" y="562"/>
                    </a:lnTo>
                    <a:lnTo>
                      <a:pt x="2116" y="574"/>
                    </a:lnTo>
                    <a:lnTo>
                      <a:pt x="2120" y="578"/>
                    </a:lnTo>
                    <a:lnTo>
                      <a:pt x="2123" y="582"/>
                    </a:lnTo>
                    <a:lnTo>
                      <a:pt x="2128" y="584"/>
                    </a:lnTo>
                    <a:lnTo>
                      <a:pt x="2133" y="585"/>
                    </a:lnTo>
                    <a:lnTo>
                      <a:pt x="2134" y="596"/>
                    </a:lnTo>
                    <a:lnTo>
                      <a:pt x="2139" y="615"/>
                    </a:lnTo>
                    <a:lnTo>
                      <a:pt x="2146" y="637"/>
                    </a:lnTo>
                    <a:lnTo>
                      <a:pt x="2154" y="661"/>
                    </a:lnTo>
                    <a:lnTo>
                      <a:pt x="2163" y="686"/>
                    </a:lnTo>
                    <a:lnTo>
                      <a:pt x="2172" y="707"/>
                    </a:lnTo>
                    <a:lnTo>
                      <a:pt x="2179" y="724"/>
                    </a:lnTo>
                    <a:lnTo>
                      <a:pt x="2186" y="733"/>
                    </a:lnTo>
                    <a:lnTo>
                      <a:pt x="2188" y="735"/>
                    </a:lnTo>
                    <a:lnTo>
                      <a:pt x="2194" y="737"/>
                    </a:lnTo>
                    <a:lnTo>
                      <a:pt x="2201" y="738"/>
                    </a:lnTo>
                    <a:lnTo>
                      <a:pt x="2211" y="739"/>
                    </a:lnTo>
                    <a:lnTo>
                      <a:pt x="2231" y="742"/>
                    </a:lnTo>
                    <a:lnTo>
                      <a:pt x="2245" y="745"/>
                    </a:lnTo>
                    <a:lnTo>
                      <a:pt x="2242" y="756"/>
                    </a:lnTo>
                    <a:lnTo>
                      <a:pt x="2238" y="762"/>
                    </a:lnTo>
                    <a:lnTo>
                      <a:pt x="2231" y="766"/>
                    </a:lnTo>
                    <a:lnTo>
                      <a:pt x="2219" y="769"/>
                    </a:lnTo>
                    <a:lnTo>
                      <a:pt x="2223" y="781"/>
                    </a:lnTo>
                    <a:lnTo>
                      <a:pt x="2228" y="790"/>
                    </a:lnTo>
                    <a:lnTo>
                      <a:pt x="2233" y="800"/>
                    </a:lnTo>
                    <a:lnTo>
                      <a:pt x="2239" y="809"/>
                    </a:lnTo>
                    <a:lnTo>
                      <a:pt x="2251" y="827"/>
                    </a:lnTo>
                    <a:lnTo>
                      <a:pt x="2263" y="846"/>
                    </a:lnTo>
                    <a:lnTo>
                      <a:pt x="2289" y="879"/>
                    </a:lnTo>
                    <a:lnTo>
                      <a:pt x="2312" y="912"/>
                    </a:lnTo>
                    <a:lnTo>
                      <a:pt x="2318" y="907"/>
                    </a:lnTo>
                    <a:lnTo>
                      <a:pt x="2324" y="902"/>
                    </a:lnTo>
                    <a:lnTo>
                      <a:pt x="2328" y="899"/>
                    </a:lnTo>
                    <a:lnTo>
                      <a:pt x="2330" y="896"/>
                    </a:lnTo>
                    <a:lnTo>
                      <a:pt x="2332" y="892"/>
                    </a:lnTo>
                    <a:lnTo>
                      <a:pt x="2332" y="887"/>
                    </a:lnTo>
                    <a:lnTo>
                      <a:pt x="2332" y="896"/>
                    </a:lnTo>
                    <a:lnTo>
                      <a:pt x="2332" y="903"/>
                    </a:lnTo>
                    <a:lnTo>
                      <a:pt x="2332" y="910"/>
                    </a:lnTo>
                    <a:lnTo>
                      <a:pt x="2332" y="918"/>
                    </a:lnTo>
                    <a:lnTo>
                      <a:pt x="2293" y="1010"/>
                    </a:lnTo>
                    <a:lnTo>
                      <a:pt x="2295" y="1024"/>
                    </a:lnTo>
                    <a:lnTo>
                      <a:pt x="2296" y="1038"/>
                    </a:lnTo>
                    <a:lnTo>
                      <a:pt x="2295" y="1051"/>
                    </a:lnTo>
                    <a:lnTo>
                      <a:pt x="2291" y="1066"/>
                    </a:lnTo>
                    <a:lnTo>
                      <a:pt x="2288" y="1079"/>
                    </a:lnTo>
                    <a:lnTo>
                      <a:pt x="2283" y="1092"/>
                    </a:lnTo>
                    <a:lnTo>
                      <a:pt x="2276" y="1105"/>
                    </a:lnTo>
                    <a:lnTo>
                      <a:pt x="2269" y="1118"/>
                    </a:lnTo>
                    <a:lnTo>
                      <a:pt x="2253" y="1143"/>
                    </a:lnTo>
                    <a:lnTo>
                      <a:pt x="2237" y="1167"/>
                    </a:lnTo>
                    <a:lnTo>
                      <a:pt x="2220" y="1188"/>
                    </a:lnTo>
                    <a:lnTo>
                      <a:pt x="2206" y="1207"/>
                    </a:lnTo>
                    <a:lnTo>
                      <a:pt x="2188" y="1233"/>
                    </a:lnTo>
                    <a:lnTo>
                      <a:pt x="2172" y="1260"/>
                    </a:lnTo>
                    <a:lnTo>
                      <a:pt x="2153" y="1289"/>
                    </a:lnTo>
                    <a:lnTo>
                      <a:pt x="2133" y="1317"/>
                    </a:lnTo>
                    <a:lnTo>
                      <a:pt x="2123" y="1329"/>
                    </a:lnTo>
                    <a:lnTo>
                      <a:pt x="2111" y="1342"/>
                    </a:lnTo>
                    <a:lnTo>
                      <a:pt x="2100" y="1352"/>
                    </a:lnTo>
                    <a:lnTo>
                      <a:pt x="2087" y="1362"/>
                    </a:lnTo>
                    <a:lnTo>
                      <a:pt x="2081" y="1366"/>
                    </a:lnTo>
                    <a:lnTo>
                      <a:pt x="2074" y="1369"/>
                    </a:lnTo>
                    <a:lnTo>
                      <a:pt x="2066" y="1372"/>
                    </a:lnTo>
                    <a:lnTo>
                      <a:pt x="2059" y="1375"/>
                    </a:lnTo>
                    <a:lnTo>
                      <a:pt x="2051" y="1377"/>
                    </a:lnTo>
                    <a:lnTo>
                      <a:pt x="2043" y="1378"/>
                    </a:lnTo>
                    <a:lnTo>
                      <a:pt x="2036" y="1379"/>
                    </a:lnTo>
                    <a:lnTo>
                      <a:pt x="2027" y="1380"/>
                    </a:lnTo>
                    <a:lnTo>
                      <a:pt x="2026" y="1393"/>
                    </a:lnTo>
                    <a:lnTo>
                      <a:pt x="2022" y="1404"/>
                    </a:lnTo>
                    <a:lnTo>
                      <a:pt x="2018" y="1414"/>
                    </a:lnTo>
                    <a:lnTo>
                      <a:pt x="2013" y="1423"/>
                    </a:lnTo>
                    <a:lnTo>
                      <a:pt x="2005" y="1432"/>
                    </a:lnTo>
                    <a:lnTo>
                      <a:pt x="1997" y="1440"/>
                    </a:lnTo>
                    <a:lnTo>
                      <a:pt x="1988" y="1449"/>
                    </a:lnTo>
                    <a:lnTo>
                      <a:pt x="1978" y="1456"/>
                    </a:lnTo>
                    <a:lnTo>
                      <a:pt x="1958" y="1470"/>
                    </a:lnTo>
                    <a:lnTo>
                      <a:pt x="1937" y="1483"/>
                    </a:lnTo>
                    <a:lnTo>
                      <a:pt x="1917" y="1495"/>
                    </a:lnTo>
                    <a:lnTo>
                      <a:pt x="1901" y="1510"/>
                    </a:lnTo>
                    <a:lnTo>
                      <a:pt x="1885" y="1525"/>
                    </a:lnTo>
                    <a:lnTo>
                      <a:pt x="1873" y="1539"/>
                    </a:lnTo>
                    <a:lnTo>
                      <a:pt x="1864" y="1553"/>
                    </a:lnTo>
                    <a:lnTo>
                      <a:pt x="1857" y="1565"/>
                    </a:lnTo>
                    <a:lnTo>
                      <a:pt x="1848" y="1578"/>
                    </a:lnTo>
                    <a:lnTo>
                      <a:pt x="1838" y="1591"/>
                    </a:lnTo>
                    <a:lnTo>
                      <a:pt x="1825" y="1604"/>
                    </a:lnTo>
                    <a:lnTo>
                      <a:pt x="1807" y="1621"/>
                    </a:lnTo>
                    <a:lnTo>
                      <a:pt x="1801" y="1630"/>
                    </a:lnTo>
                    <a:lnTo>
                      <a:pt x="1796" y="1639"/>
                    </a:lnTo>
                    <a:lnTo>
                      <a:pt x="1793" y="1648"/>
                    </a:lnTo>
                    <a:lnTo>
                      <a:pt x="1790" y="1657"/>
                    </a:lnTo>
                    <a:lnTo>
                      <a:pt x="1786" y="1665"/>
                    </a:lnTo>
                    <a:lnTo>
                      <a:pt x="1782" y="1671"/>
                    </a:lnTo>
                    <a:lnTo>
                      <a:pt x="1780" y="1673"/>
                    </a:lnTo>
                    <a:lnTo>
                      <a:pt x="1776" y="1675"/>
                    </a:lnTo>
                    <a:lnTo>
                      <a:pt x="1772" y="1676"/>
                    </a:lnTo>
                    <a:lnTo>
                      <a:pt x="1768" y="1676"/>
                    </a:lnTo>
                    <a:lnTo>
                      <a:pt x="1749" y="1676"/>
                    </a:lnTo>
                    <a:lnTo>
                      <a:pt x="1733" y="1676"/>
                    </a:lnTo>
                    <a:lnTo>
                      <a:pt x="1718" y="1676"/>
                    </a:lnTo>
                    <a:lnTo>
                      <a:pt x="1707" y="1676"/>
                    </a:lnTo>
                    <a:lnTo>
                      <a:pt x="1702" y="1676"/>
                    </a:lnTo>
                    <a:lnTo>
                      <a:pt x="1695" y="1678"/>
                    </a:lnTo>
                    <a:lnTo>
                      <a:pt x="1689" y="1680"/>
                    </a:lnTo>
                    <a:lnTo>
                      <a:pt x="1682" y="1683"/>
                    </a:lnTo>
                    <a:lnTo>
                      <a:pt x="1668" y="1690"/>
                    </a:lnTo>
                    <a:lnTo>
                      <a:pt x="1652" y="1699"/>
                    </a:lnTo>
                    <a:lnTo>
                      <a:pt x="1634" y="1708"/>
                    </a:lnTo>
                    <a:lnTo>
                      <a:pt x="1613" y="1717"/>
                    </a:lnTo>
                    <a:lnTo>
                      <a:pt x="1602" y="1722"/>
                    </a:lnTo>
                    <a:lnTo>
                      <a:pt x="1589" y="1726"/>
                    </a:lnTo>
                    <a:lnTo>
                      <a:pt x="1576" y="1729"/>
                    </a:lnTo>
                    <a:lnTo>
                      <a:pt x="1561" y="1731"/>
                    </a:lnTo>
                    <a:lnTo>
                      <a:pt x="1558" y="1725"/>
                    </a:lnTo>
                    <a:lnTo>
                      <a:pt x="1555" y="1718"/>
                    </a:lnTo>
                    <a:lnTo>
                      <a:pt x="1548" y="1718"/>
                    </a:lnTo>
                    <a:lnTo>
                      <a:pt x="1541" y="1717"/>
                    </a:lnTo>
                    <a:lnTo>
                      <a:pt x="1536" y="1715"/>
                    </a:lnTo>
                    <a:lnTo>
                      <a:pt x="1532" y="1713"/>
                    </a:lnTo>
                    <a:lnTo>
                      <a:pt x="1528" y="1711"/>
                    </a:lnTo>
                    <a:lnTo>
                      <a:pt x="1525" y="1708"/>
                    </a:lnTo>
                    <a:lnTo>
                      <a:pt x="1522" y="1705"/>
                    </a:lnTo>
                    <a:lnTo>
                      <a:pt x="1520" y="1701"/>
                    </a:lnTo>
                    <a:lnTo>
                      <a:pt x="1517" y="1693"/>
                    </a:lnTo>
                    <a:lnTo>
                      <a:pt x="1515" y="1685"/>
                    </a:lnTo>
                    <a:lnTo>
                      <a:pt x="1515" y="1677"/>
                    </a:lnTo>
                    <a:lnTo>
                      <a:pt x="1515" y="1670"/>
                    </a:lnTo>
                    <a:lnTo>
                      <a:pt x="1489" y="1690"/>
                    </a:lnTo>
                    <a:lnTo>
                      <a:pt x="1462" y="1709"/>
                    </a:lnTo>
                    <a:lnTo>
                      <a:pt x="1449" y="1718"/>
                    </a:lnTo>
                    <a:lnTo>
                      <a:pt x="1437" y="1725"/>
                    </a:lnTo>
                    <a:lnTo>
                      <a:pt x="1432" y="1728"/>
                    </a:lnTo>
                    <a:lnTo>
                      <a:pt x="1426" y="1730"/>
                    </a:lnTo>
                    <a:lnTo>
                      <a:pt x="1421" y="1731"/>
                    </a:lnTo>
                    <a:lnTo>
                      <a:pt x="1415" y="1731"/>
                    </a:lnTo>
                    <a:lnTo>
                      <a:pt x="1413" y="1731"/>
                    </a:lnTo>
                    <a:lnTo>
                      <a:pt x="1410" y="1729"/>
                    </a:lnTo>
                    <a:lnTo>
                      <a:pt x="1406" y="1727"/>
                    </a:lnTo>
                    <a:lnTo>
                      <a:pt x="1403" y="1725"/>
                    </a:lnTo>
                    <a:lnTo>
                      <a:pt x="1400" y="1722"/>
                    </a:lnTo>
                    <a:lnTo>
                      <a:pt x="1398" y="1718"/>
                    </a:lnTo>
                    <a:lnTo>
                      <a:pt x="1395" y="1715"/>
                    </a:lnTo>
                    <a:lnTo>
                      <a:pt x="1395" y="1712"/>
                    </a:lnTo>
                    <a:lnTo>
                      <a:pt x="1372" y="1711"/>
                    </a:lnTo>
                    <a:lnTo>
                      <a:pt x="1349" y="1709"/>
                    </a:lnTo>
                    <a:lnTo>
                      <a:pt x="1338" y="1707"/>
                    </a:lnTo>
                    <a:lnTo>
                      <a:pt x="1327" y="1704"/>
                    </a:lnTo>
                    <a:lnTo>
                      <a:pt x="1316" y="1701"/>
                    </a:lnTo>
                    <a:lnTo>
                      <a:pt x="1307" y="1697"/>
                    </a:lnTo>
                    <a:lnTo>
                      <a:pt x="1297" y="1693"/>
                    </a:lnTo>
                    <a:lnTo>
                      <a:pt x="1289" y="1688"/>
                    </a:lnTo>
                    <a:lnTo>
                      <a:pt x="1281" y="1683"/>
                    </a:lnTo>
                    <a:lnTo>
                      <a:pt x="1275" y="1677"/>
                    </a:lnTo>
                    <a:lnTo>
                      <a:pt x="1269" y="1670"/>
                    </a:lnTo>
                    <a:lnTo>
                      <a:pt x="1266" y="1662"/>
                    </a:lnTo>
                    <a:lnTo>
                      <a:pt x="1264" y="1653"/>
                    </a:lnTo>
                    <a:lnTo>
                      <a:pt x="1263" y="1645"/>
                    </a:lnTo>
                    <a:lnTo>
                      <a:pt x="1263" y="1639"/>
                    </a:lnTo>
                    <a:lnTo>
                      <a:pt x="1264" y="1635"/>
                    </a:lnTo>
                    <a:lnTo>
                      <a:pt x="1266" y="1631"/>
                    </a:lnTo>
                    <a:lnTo>
                      <a:pt x="1268" y="1627"/>
                    </a:lnTo>
                    <a:lnTo>
                      <a:pt x="1272" y="1620"/>
                    </a:lnTo>
                    <a:lnTo>
                      <a:pt x="1279" y="1614"/>
                    </a:lnTo>
                    <a:lnTo>
                      <a:pt x="1286" y="1609"/>
                    </a:lnTo>
                    <a:lnTo>
                      <a:pt x="1290" y="1601"/>
                    </a:lnTo>
                    <a:lnTo>
                      <a:pt x="1292" y="1597"/>
                    </a:lnTo>
                    <a:lnTo>
                      <a:pt x="1294" y="1593"/>
                    </a:lnTo>
                    <a:lnTo>
                      <a:pt x="1296" y="1589"/>
                    </a:lnTo>
                    <a:lnTo>
                      <a:pt x="1296" y="1583"/>
                    </a:lnTo>
                    <a:lnTo>
                      <a:pt x="1296" y="1546"/>
                    </a:lnTo>
                    <a:lnTo>
                      <a:pt x="1309" y="1528"/>
                    </a:lnTo>
                    <a:lnTo>
                      <a:pt x="1309" y="1522"/>
                    </a:lnTo>
                    <a:lnTo>
                      <a:pt x="1256" y="1522"/>
                    </a:lnTo>
                    <a:lnTo>
                      <a:pt x="1249" y="1534"/>
                    </a:lnTo>
                    <a:lnTo>
                      <a:pt x="1255" y="1525"/>
                    </a:lnTo>
                    <a:lnTo>
                      <a:pt x="1263" y="1516"/>
                    </a:lnTo>
                    <a:lnTo>
                      <a:pt x="1269" y="1509"/>
                    </a:lnTo>
                    <a:lnTo>
                      <a:pt x="1276" y="1504"/>
                    </a:lnTo>
                    <a:lnTo>
                      <a:pt x="1276" y="1460"/>
                    </a:lnTo>
                    <a:lnTo>
                      <a:pt x="1270" y="1462"/>
                    </a:lnTo>
                    <a:lnTo>
                      <a:pt x="1265" y="1464"/>
                    </a:lnTo>
                    <a:lnTo>
                      <a:pt x="1260" y="1466"/>
                    </a:lnTo>
                    <a:lnTo>
                      <a:pt x="1256" y="1469"/>
                    </a:lnTo>
                    <a:lnTo>
                      <a:pt x="1249" y="1475"/>
                    </a:lnTo>
                    <a:lnTo>
                      <a:pt x="1243" y="1481"/>
                    </a:lnTo>
                    <a:lnTo>
                      <a:pt x="1237" y="1488"/>
                    </a:lnTo>
                    <a:lnTo>
                      <a:pt x="1232" y="1494"/>
                    </a:lnTo>
                    <a:lnTo>
                      <a:pt x="1229" y="1498"/>
                    </a:lnTo>
                    <a:lnTo>
                      <a:pt x="1225" y="1500"/>
                    </a:lnTo>
                    <a:lnTo>
                      <a:pt x="1221" y="1502"/>
                    </a:lnTo>
                    <a:lnTo>
                      <a:pt x="1216" y="1504"/>
                    </a:lnTo>
                    <a:lnTo>
                      <a:pt x="1189" y="1504"/>
                    </a:lnTo>
                    <a:lnTo>
                      <a:pt x="1222" y="1472"/>
                    </a:lnTo>
                    <a:lnTo>
                      <a:pt x="1252" y="1442"/>
                    </a:lnTo>
                    <a:lnTo>
                      <a:pt x="1280" y="1411"/>
                    </a:lnTo>
                    <a:lnTo>
                      <a:pt x="1309" y="1380"/>
                    </a:lnTo>
                    <a:lnTo>
                      <a:pt x="1305" y="1378"/>
                    </a:lnTo>
                    <a:lnTo>
                      <a:pt x="1301" y="1377"/>
                    </a:lnTo>
                    <a:lnTo>
                      <a:pt x="1298" y="1376"/>
                    </a:lnTo>
                    <a:lnTo>
                      <a:pt x="1294" y="1376"/>
                    </a:lnTo>
                    <a:lnTo>
                      <a:pt x="1287" y="1378"/>
                    </a:lnTo>
                    <a:lnTo>
                      <a:pt x="1280" y="1382"/>
                    </a:lnTo>
                    <a:lnTo>
                      <a:pt x="1267" y="1392"/>
                    </a:lnTo>
                    <a:lnTo>
                      <a:pt x="1256" y="1399"/>
                    </a:lnTo>
                    <a:lnTo>
                      <a:pt x="1230" y="1418"/>
                    </a:lnTo>
                    <a:lnTo>
                      <a:pt x="1185" y="1450"/>
                    </a:lnTo>
                    <a:lnTo>
                      <a:pt x="1142" y="1478"/>
                    </a:lnTo>
                    <a:lnTo>
                      <a:pt x="1123" y="1490"/>
                    </a:lnTo>
                    <a:lnTo>
                      <a:pt x="1123" y="1380"/>
                    </a:lnTo>
                    <a:lnTo>
                      <a:pt x="1113" y="1379"/>
                    </a:lnTo>
                    <a:lnTo>
                      <a:pt x="1106" y="1377"/>
                    </a:lnTo>
                    <a:lnTo>
                      <a:pt x="1099" y="1375"/>
                    </a:lnTo>
                    <a:lnTo>
                      <a:pt x="1093" y="1371"/>
                    </a:lnTo>
                    <a:lnTo>
                      <a:pt x="1090" y="1367"/>
                    </a:lnTo>
                    <a:lnTo>
                      <a:pt x="1088" y="1362"/>
                    </a:lnTo>
                    <a:lnTo>
                      <a:pt x="1088" y="1356"/>
                    </a:lnTo>
                    <a:lnTo>
                      <a:pt x="1090" y="1349"/>
                    </a:lnTo>
                    <a:lnTo>
                      <a:pt x="1078" y="1338"/>
                    </a:lnTo>
                    <a:lnTo>
                      <a:pt x="1064" y="1325"/>
                    </a:lnTo>
                    <a:lnTo>
                      <a:pt x="1047" y="1314"/>
                    </a:lnTo>
                    <a:lnTo>
                      <a:pt x="1030" y="1304"/>
                    </a:lnTo>
                    <a:lnTo>
                      <a:pt x="1020" y="1299"/>
                    </a:lnTo>
                    <a:lnTo>
                      <a:pt x="1011" y="1295"/>
                    </a:lnTo>
                    <a:lnTo>
                      <a:pt x="1001" y="1291"/>
                    </a:lnTo>
                    <a:lnTo>
                      <a:pt x="990" y="1288"/>
                    </a:lnTo>
                    <a:lnTo>
                      <a:pt x="980" y="1285"/>
                    </a:lnTo>
                    <a:lnTo>
                      <a:pt x="971" y="1283"/>
                    </a:lnTo>
                    <a:lnTo>
                      <a:pt x="961" y="1282"/>
                    </a:lnTo>
                    <a:lnTo>
                      <a:pt x="951" y="1282"/>
                    </a:lnTo>
                    <a:lnTo>
                      <a:pt x="941" y="1283"/>
                    </a:lnTo>
                    <a:lnTo>
                      <a:pt x="931" y="1285"/>
                    </a:lnTo>
                    <a:lnTo>
                      <a:pt x="923" y="1289"/>
                    </a:lnTo>
                    <a:lnTo>
                      <a:pt x="917" y="1294"/>
                    </a:lnTo>
                    <a:lnTo>
                      <a:pt x="831" y="1294"/>
                    </a:lnTo>
                    <a:lnTo>
                      <a:pt x="819" y="1301"/>
                    </a:lnTo>
                    <a:lnTo>
                      <a:pt x="807" y="1307"/>
                    </a:lnTo>
                    <a:lnTo>
                      <a:pt x="796" y="1312"/>
                    </a:lnTo>
                    <a:lnTo>
                      <a:pt x="785" y="1316"/>
                    </a:lnTo>
                    <a:lnTo>
                      <a:pt x="775" y="1319"/>
                    </a:lnTo>
                    <a:lnTo>
                      <a:pt x="764" y="1321"/>
                    </a:lnTo>
                    <a:lnTo>
                      <a:pt x="754" y="1323"/>
                    </a:lnTo>
                    <a:lnTo>
                      <a:pt x="745" y="1324"/>
                    </a:lnTo>
                    <a:lnTo>
                      <a:pt x="726" y="1326"/>
                    </a:lnTo>
                    <a:lnTo>
                      <a:pt x="706" y="1328"/>
                    </a:lnTo>
                    <a:lnTo>
                      <a:pt x="686" y="1332"/>
                    </a:lnTo>
                    <a:lnTo>
                      <a:pt x="664" y="1337"/>
                    </a:lnTo>
                    <a:lnTo>
                      <a:pt x="636" y="1345"/>
                    </a:lnTo>
                    <a:lnTo>
                      <a:pt x="596" y="1356"/>
                    </a:lnTo>
                    <a:lnTo>
                      <a:pt x="577" y="1362"/>
                    </a:lnTo>
                    <a:lnTo>
                      <a:pt x="560" y="1369"/>
                    </a:lnTo>
                    <a:lnTo>
                      <a:pt x="547" y="1374"/>
                    </a:lnTo>
                    <a:lnTo>
                      <a:pt x="538" y="1380"/>
                    </a:lnTo>
                    <a:lnTo>
                      <a:pt x="521" y="1402"/>
                    </a:lnTo>
                    <a:lnTo>
                      <a:pt x="507" y="1419"/>
                    </a:lnTo>
                    <a:lnTo>
                      <a:pt x="501" y="1426"/>
                    </a:lnTo>
                    <a:lnTo>
                      <a:pt x="493" y="1431"/>
                    </a:lnTo>
                    <a:lnTo>
                      <a:pt x="488" y="1433"/>
                    </a:lnTo>
                    <a:lnTo>
                      <a:pt x="483" y="1434"/>
                    </a:lnTo>
                    <a:lnTo>
                      <a:pt x="478" y="1435"/>
                    </a:lnTo>
                    <a:lnTo>
                      <a:pt x="472" y="1435"/>
                    </a:lnTo>
                    <a:lnTo>
                      <a:pt x="306" y="1435"/>
                    </a:lnTo>
                    <a:lnTo>
                      <a:pt x="291" y="1439"/>
                    </a:lnTo>
                    <a:lnTo>
                      <a:pt x="277" y="1444"/>
                    </a:lnTo>
                    <a:lnTo>
                      <a:pt x="265" y="1448"/>
                    </a:lnTo>
                    <a:lnTo>
                      <a:pt x="254" y="1453"/>
                    </a:lnTo>
                    <a:lnTo>
                      <a:pt x="233" y="1463"/>
                    </a:lnTo>
                    <a:lnTo>
                      <a:pt x="214" y="1473"/>
                    </a:lnTo>
                    <a:lnTo>
                      <a:pt x="204" y="1478"/>
                    </a:lnTo>
                    <a:lnTo>
                      <a:pt x="193" y="1482"/>
                    </a:lnTo>
                    <a:lnTo>
                      <a:pt x="182" y="1486"/>
                    </a:lnTo>
                    <a:lnTo>
                      <a:pt x="170" y="1490"/>
                    </a:lnTo>
                    <a:lnTo>
                      <a:pt x="157" y="1493"/>
                    </a:lnTo>
                    <a:lnTo>
                      <a:pt x="142" y="1495"/>
                    </a:lnTo>
                    <a:lnTo>
                      <a:pt x="125" y="1496"/>
                    </a:lnTo>
                    <a:lnTo>
                      <a:pt x="106" y="1496"/>
                    </a:lnTo>
                    <a:lnTo>
                      <a:pt x="95" y="1496"/>
                    </a:lnTo>
                    <a:lnTo>
                      <a:pt x="84" y="1495"/>
                    </a:lnTo>
                    <a:lnTo>
                      <a:pt x="75" y="1494"/>
                    </a:lnTo>
                    <a:lnTo>
                      <a:pt x="65" y="1492"/>
                    </a:lnTo>
                    <a:lnTo>
                      <a:pt x="55" y="1490"/>
                    </a:lnTo>
                    <a:lnTo>
                      <a:pt x="46" y="1487"/>
                    </a:lnTo>
                    <a:lnTo>
                      <a:pt x="38" y="1483"/>
                    </a:lnTo>
                    <a:lnTo>
                      <a:pt x="31" y="1479"/>
                    </a:lnTo>
                    <a:lnTo>
                      <a:pt x="24" y="1475"/>
                    </a:lnTo>
                    <a:lnTo>
                      <a:pt x="19" y="1470"/>
                    </a:lnTo>
                    <a:lnTo>
                      <a:pt x="13" y="1464"/>
                    </a:lnTo>
                    <a:lnTo>
                      <a:pt x="9" y="1458"/>
                    </a:lnTo>
                    <a:lnTo>
                      <a:pt x="4" y="1452"/>
                    </a:lnTo>
                    <a:lnTo>
                      <a:pt x="2" y="1445"/>
                    </a:lnTo>
                    <a:lnTo>
                      <a:pt x="1" y="1437"/>
                    </a:lnTo>
                    <a:lnTo>
                      <a:pt x="0" y="1429"/>
                    </a:lnTo>
                    <a:lnTo>
                      <a:pt x="1" y="1426"/>
                    </a:lnTo>
                    <a:lnTo>
                      <a:pt x="2" y="1423"/>
                    </a:lnTo>
                    <a:lnTo>
                      <a:pt x="4" y="1421"/>
                    </a:lnTo>
                    <a:lnTo>
                      <a:pt x="6" y="1418"/>
                    </a:lnTo>
                    <a:lnTo>
                      <a:pt x="13" y="1415"/>
                    </a:lnTo>
                    <a:lnTo>
                      <a:pt x="22" y="1413"/>
                    </a:lnTo>
                    <a:lnTo>
                      <a:pt x="39" y="1411"/>
                    </a:lnTo>
                    <a:lnTo>
                      <a:pt x="54" y="1411"/>
                    </a:lnTo>
                    <a:lnTo>
                      <a:pt x="58" y="1408"/>
                    </a:lnTo>
                    <a:lnTo>
                      <a:pt x="64" y="1404"/>
                    </a:lnTo>
                    <a:lnTo>
                      <a:pt x="68" y="1399"/>
                    </a:lnTo>
                    <a:lnTo>
                      <a:pt x="72" y="1393"/>
                    </a:lnTo>
                    <a:lnTo>
                      <a:pt x="82" y="1378"/>
                    </a:lnTo>
                    <a:lnTo>
                      <a:pt x="90" y="1361"/>
                    </a:lnTo>
                    <a:lnTo>
                      <a:pt x="97" y="1344"/>
                    </a:lnTo>
                    <a:lnTo>
                      <a:pt x="102" y="1325"/>
                    </a:lnTo>
                    <a:lnTo>
                      <a:pt x="105" y="1309"/>
                    </a:lnTo>
                    <a:lnTo>
                      <a:pt x="106" y="1294"/>
                    </a:lnTo>
                    <a:lnTo>
                      <a:pt x="106" y="1288"/>
                    </a:lnTo>
                    <a:lnTo>
                      <a:pt x="105" y="1284"/>
                    </a:lnTo>
                    <a:lnTo>
                      <a:pt x="103" y="1279"/>
                    </a:lnTo>
                    <a:lnTo>
                      <a:pt x="101" y="1275"/>
                    </a:lnTo>
                    <a:lnTo>
                      <a:pt x="95" y="1267"/>
                    </a:lnTo>
                    <a:lnTo>
                      <a:pt x="90" y="1260"/>
                    </a:lnTo>
                    <a:lnTo>
                      <a:pt x="83" y="1254"/>
                    </a:lnTo>
                    <a:lnTo>
                      <a:pt x="79" y="1248"/>
                    </a:lnTo>
                    <a:lnTo>
                      <a:pt x="77" y="1244"/>
                    </a:lnTo>
                    <a:lnTo>
                      <a:pt x="75" y="1241"/>
                    </a:lnTo>
                    <a:lnTo>
                      <a:pt x="73" y="1237"/>
                    </a:lnTo>
                    <a:lnTo>
                      <a:pt x="73" y="1232"/>
                    </a:lnTo>
                    <a:lnTo>
                      <a:pt x="73" y="1225"/>
                    </a:lnTo>
                    <a:lnTo>
                      <a:pt x="75" y="1218"/>
                    </a:lnTo>
                    <a:lnTo>
                      <a:pt x="77" y="1212"/>
                    </a:lnTo>
                    <a:lnTo>
                      <a:pt x="79" y="1207"/>
                    </a:lnTo>
                    <a:lnTo>
                      <a:pt x="86" y="1200"/>
                    </a:lnTo>
                    <a:lnTo>
                      <a:pt x="93" y="1193"/>
                    </a:lnTo>
                    <a:lnTo>
                      <a:pt x="101" y="1188"/>
                    </a:lnTo>
                    <a:lnTo>
                      <a:pt x="106" y="1182"/>
                    </a:lnTo>
                    <a:lnTo>
                      <a:pt x="110" y="1179"/>
                    </a:lnTo>
                    <a:lnTo>
                      <a:pt x="112" y="1175"/>
                    </a:lnTo>
                    <a:lnTo>
                      <a:pt x="113" y="1170"/>
                    </a:lnTo>
                    <a:lnTo>
                      <a:pt x="113" y="1165"/>
                    </a:lnTo>
                    <a:lnTo>
                      <a:pt x="113" y="1150"/>
                    </a:lnTo>
                    <a:lnTo>
                      <a:pt x="111" y="1137"/>
                    </a:lnTo>
                    <a:lnTo>
                      <a:pt x="109" y="1123"/>
                    </a:lnTo>
                    <a:lnTo>
                      <a:pt x="105" y="1110"/>
                    </a:lnTo>
                    <a:lnTo>
                      <a:pt x="98" y="1082"/>
                    </a:lnTo>
                    <a:lnTo>
                      <a:pt x="88" y="1056"/>
                    </a:lnTo>
                    <a:lnTo>
                      <a:pt x="78" y="1030"/>
                    </a:lnTo>
                    <a:lnTo>
                      <a:pt x="68" y="1006"/>
                    </a:lnTo>
                    <a:lnTo>
                      <a:pt x="59" y="982"/>
                    </a:lnTo>
                    <a:lnTo>
                      <a:pt x="54" y="961"/>
                    </a:lnTo>
                    <a:lnTo>
                      <a:pt x="54" y="930"/>
                    </a:lnTo>
                    <a:lnTo>
                      <a:pt x="58" y="943"/>
                    </a:lnTo>
                    <a:lnTo>
                      <a:pt x="64" y="954"/>
                    </a:lnTo>
                    <a:lnTo>
                      <a:pt x="71" y="964"/>
                    </a:lnTo>
                    <a:lnTo>
                      <a:pt x="80" y="973"/>
                    </a:lnTo>
                    <a:lnTo>
                      <a:pt x="80" y="949"/>
                    </a:lnTo>
                    <a:lnTo>
                      <a:pt x="80" y="954"/>
                    </a:lnTo>
                    <a:lnTo>
                      <a:pt x="82" y="958"/>
                    </a:lnTo>
                    <a:lnTo>
                      <a:pt x="84" y="962"/>
                    </a:lnTo>
                    <a:lnTo>
                      <a:pt x="88" y="966"/>
                    </a:lnTo>
                    <a:lnTo>
                      <a:pt x="92" y="969"/>
                    </a:lnTo>
                    <a:lnTo>
                      <a:pt x="97" y="971"/>
                    </a:lnTo>
                    <a:lnTo>
                      <a:pt x="102" y="973"/>
                    </a:lnTo>
                    <a:lnTo>
                      <a:pt x="106" y="973"/>
                    </a:lnTo>
                    <a:lnTo>
                      <a:pt x="113" y="964"/>
                    </a:lnTo>
                    <a:lnTo>
                      <a:pt x="122" y="955"/>
                    </a:lnTo>
                    <a:lnTo>
                      <a:pt x="126" y="951"/>
                    </a:lnTo>
                    <a:lnTo>
                      <a:pt x="129" y="946"/>
                    </a:lnTo>
                    <a:lnTo>
                      <a:pt x="132" y="940"/>
                    </a:lnTo>
                    <a:lnTo>
                      <a:pt x="133" y="936"/>
                    </a:lnTo>
                    <a:lnTo>
                      <a:pt x="132" y="923"/>
                    </a:lnTo>
                    <a:lnTo>
                      <a:pt x="128" y="913"/>
                    </a:lnTo>
                    <a:lnTo>
                      <a:pt x="125" y="903"/>
                    </a:lnTo>
                    <a:lnTo>
                      <a:pt x="120" y="895"/>
                    </a:lnTo>
                    <a:lnTo>
                      <a:pt x="115" y="887"/>
                    </a:lnTo>
                    <a:lnTo>
                      <a:pt x="111" y="879"/>
                    </a:lnTo>
                    <a:lnTo>
                      <a:pt x="107" y="871"/>
                    </a:lnTo>
                    <a:lnTo>
                      <a:pt x="106" y="862"/>
                    </a:lnTo>
                    <a:lnTo>
                      <a:pt x="107" y="855"/>
                    </a:lnTo>
                    <a:lnTo>
                      <a:pt x="111" y="847"/>
                    </a:lnTo>
                    <a:lnTo>
                      <a:pt x="115" y="839"/>
                    </a:lnTo>
                    <a:lnTo>
                      <a:pt x="121" y="831"/>
                    </a:lnTo>
                    <a:lnTo>
                      <a:pt x="126" y="823"/>
                    </a:lnTo>
                    <a:lnTo>
                      <a:pt x="132" y="818"/>
                    </a:lnTo>
                    <a:lnTo>
                      <a:pt x="136" y="814"/>
                    </a:lnTo>
                    <a:lnTo>
                      <a:pt x="139" y="813"/>
                    </a:lnTo>
                    <a:lnTo>
                      <a:pt x="139" y="807"/>
                    </a:lnTo>
                    <a:lnTo>
                      <a:pt x="140" y="800"/>
                    </a:lnTo>
                    <a:lnTo>
                      <a:pt x="143" y="792"/>
                    </a:lnTo>
                    <a:lnTo>
                      <a:pt x="146" y="783"/>
                    </a:lnTo>
                    <a:lnTo>
                      <a:pt x="147" y="765"/>
                    </a:lnTo>
                    <a:lnTo>
                      <a:pt x="149" y="751"/>
                    </a:lnTo>
                    <a:lnTo>
                      <a:pt x="151" y="737"/>
                    </a:lnTo>
                    <a:lnTo>
                      <a:pt x="153" y="72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89" name="Freeform 226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10176143" y="1726772"/>
                <a:ext cx="236537" cy="92075"/>
              </a:xfrm>
              <a:custGeom>
                <a:avLst/>
                <a:gdLst>
                  <a:gd name="T0" fmla="*/ 2147483647 w 546"/>
                  <a:gd name="T1" fmla="*/ 2147483647 h 173"/>
                  <a:gd name="T2" fmla="*/ 2147483647 w 546"/>
                  <a:gd name="T3" fmla="*/ 2147483647 h 173"/>
                  <a:gd name="T4" fmla="*/ 2147483647 w 546"/>
                  <a:gd name="T5" fmla="*/ 2147483647 h 173"/>
                  <a:gd name="T6" fmla="*/ 2147483647 w 546"/>
                  <a:gd name="T7" fmla="*/ 2147483647 h 173"/>
                  <a:gd name="T8" fmla="*/ 2147483647 w 546"/>
                  <a:gd name="T9" fmla="*/ 2147483647 h 173"/>
                  <a:gd name="T10" fmla="*/ 2147483647 w 546"/>
                  <a:gd name="T11" fmla="*/ 2147483647 h 173"/>
                  <a:gd name="T12" fmla="*/ 2147483647 w 546"/>
                  <a:gd name="T13" fmla="*/ 2147483647 h 173"/>
                  <a:gd name="T14" fmla="*/ 2147483647 w 546"/>
                  <a:gd name="T15" fmla="*/ 2147483647 h 173"/>
                  <a:gd name="T16" fmla="*/ 2147483647 w 546"/>
                  <a:gd name="T17" fmla="*/ 2110599566 h 173"/>
                  <a:gd name="T18" fmla="*/ 2147483647 w 546"/>
                  <a:gd name="T19" fmla="*/ 1658227108 h 173"/>
                  <a:gd name="T20" fmla="*/ 2147483647 w 546"/>
                  <a:gd name="T21" fmla="*/ 452372458 h 173"/>
                  <a:gd name="T22" fmla="*/ 2147483647 w 546"/>
                  <a:gd name="T23" fmla="*/ 753765335 h 173"/>
                  <a:gd name="T24" fmla="*/ 2147483647 w 546"/>
                  <a:gd name="T25" fmla="*/ 1809206690 h 173"/>
                  <a:gd name="T26" fmla="*/ 2147483647 w 546"/>
                  <a:gd name="T27" fmla="*/ 1055441355 h 173"/>
                  <a:gd name="T28" fmla="*/ 2147483647 w 546"/>
                  <a:gd name="T29" fmla="*/ 0 h 173"/>
                  <a:gd name="T30" fmla="*/ 2147483647 w 546"/>
                  <a:gd name="T31" fmla="*/ 1055441355 h 173"/>
                  <a:gd name="T32" fmla="*/ 2147483647 w 546"/>
                  <a:gd name="T33" fmla="*/ 1055441355 h 173"/>
                  <a:gd name="T34" fmla="*/ 2147483647 w 546"/>
                  <a:gd name="T35" fmla="*/ 150696438 h 173"/>
                  <a:gd name="T36" fmla="*/ 2147483647 w 546"/>
                  <a:gd name="T37" fmla="*/ 904461773 h 173"/>
                  <a:gd name="T38" fmla="*/ 2147483647 w 546"/>
                  <a:gd name="T39" fmla="*/ 1809206690 h 173"/>
                  <a:gd name="T40" fmla="*/ 2147483647 w 546"/>
                  <a:gd name="T41" fmla="*/ 2147483647 h 173"/>
                  <a:gd name="T42" fmla="*/ 2147483647 w 546"/>
                  <a:gd name="T43" fmla="*/ 2147483647 h 173"/>
                  <a:gd name="T44" fmla="*/ 2147483647 w 546"/>
                  <a:gd name="T45" fmla="*/ 2147483647 h 173"/>
                  <a:gd name="T46" fmla="*/ 2147483647 w 546"/>
                  <a:gd name="T47" fmla="*/ 2147483647 h 173"/>
                  <a:gd name="T48" fmla="*/ 2147483647 w 546"/>
                  <a:gd name="T49" fmla="*/ 2147483647 h 173"/>
                  <a:gd name="T50" fmla="*/ 2147483647 w 546"/>
                  <a:gd name="T51" fmla="*/ 2147483647 h 173"/>
                  <a:gd name="T52" fmla="*/ 2147483647 w 546"/>
                  <a:gd name="T53" fmla="*/ 2147483647 h 173"/>
                  <a:gd name="T54" fmla="*/ 2147483647 w 546"/>
                  <a:gd name="T55" fmla="*/ 2147483647 h 173"/>
                  <a:gd name="T56" fmla="*/ 2147483647 w 546"/>
                  <a:gd name="T57" fmla="*/ 2147483647 h 173"/>
                  <a:gd name="T58" fmla="*/ 2147483647 w 546"/>
                  <a:gd name="T59" fmla="*/ 2147483647 h 173"/>
                  <a:gd name="T60" fmla="*/ 2147483647 w 546"/>
                  <a:gd name="T61" fmla="*/ 2147483647 h 173"/>
                  <a:gd name="T62" fmla="*/ 2147483647 w 546"/>
                  <a:gd name="T63" fmla="*/ 2147483647 h 173"/>
                  <a:gd name="T64" fmla="*/ 2147483647 w 546"/>
                  <a:gd name="T65" fmla="*/ 2147483647 h 173"/>
                  <a:gd name="T66" fmla="*/ 2147483647 w 546"/>
                  <a:gd name="T67" fmla="*/ 2147483647 h 173"/>
                  <a:gd name="T68" fmla="*/ 2147483647 w 546"/>
                  <a:gd name="T69" fmla="*/ 2147483647 h 173"/>
                  <a:gd name="T70" fmla="*/ 2147483647 w 546"/>
                  <a:gd name="T71" fmla="*/ 2147483647 h 173"/>
                  <a:gd name="T72" fmla="*/ 2147483647 w 546"/>
                  <a:gd name="T73" fmla="*/ 2147483647 h 173"/>
                  <a:gd name="T74" fmla="*/ 2147483647 w 546"/>
                  <a:gd name="T75" fmla="*/ 2147483647 h 173"/>
                  <a:gd name="T76" fmla="*/ 2147483647 w 546"/>
                  <a:gd name="T77" fmla="*/ 2147483647 h 173"/>
                  <a:gd name="T78" fmla="*/ 2147483647 w 546"/>
                  <a:gd name="T79" fmla="*/ 2147483647 h 173"/>
                  <a:gd name="T80" fmla="*/ 2147483647 w 546"/>
                  <a:gd name="T81" fmla="*/ 2147483647 h 173"/>
                  <a:gd name="T82" fmla="*/ 2147483647 w 546"/>
                  <a:gd name="T83" fmla="*/ 2147483647 h 173"/>
                  <a:gd name="T84" fmla="*/ 2147483647 w 546"/>
                  <a:gd name="T85" fmla="*/ 2147483647 h 173"/>
                  <a:gd name="T86" fmla="*/ 2147483647 w 546"/>
                  <a:gd name="T87" fmla="*/ 2147483647 h 173"/>
                  <a:gd name="T88" fmla="*/ 2147483647 w 546"/>
                  <a:gd name="T89" fmla="*/ 2147483647 h 173"/>
                  <a:gd name="T90" fmla="*/ 2147483647 w 546"/>
                  <a:gd name="T91" fmla="*/ 2147483647 h 173"/>
                  <a:gd name="T92" fmla="*/ 2147483647 w 546"/>
                  <a:gd name="T93" fmla="*/ 2147483647 h 173"/>
                  <a:gd name="T94" fmla="*/ 1300794942 w 546"/>
                  <a:gd name="T95" fmla="*/ 2147483647 h 173"/>
                  <a:gd name="T96" fmla="*/ 894284880 w 546"/>
                  <a:gd name="T97" fmla="*/ 2147483647 h 173"/>
                  <a:gd name="T98" fmla="*/ 2147483647 w 546"/>
                  <a:gd name="T99" fmla="*/ 2147483647 h 173"/>
                  <a:gd name="T100" fmla="*/ 2147483647 w 546"/>
                  <a:gd name="T101" fmla="*/ 1809206690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0" name="Freeform 227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10103118" y="1956960"/>
                <a:ext cx="449262" cy="361950"/>
              </a:xfrm>
              <a:custGeom>
                <a:avLst/>
                <a:gdLst>
                  <a:gd name="T0" fmla="*/ 2147483647 w 1037"/>
                  <a:gd name="T1" fmla="*/ 2147483647 h 690"/>
                  <a:gd name="T2" fmla="*/ 2147483647 w 1037"/>
                  <a:gd name="T3" fmla="*/ 2147483647 h 690"/>
                  <a:gd name="T4" fmla="*/ 2147483647 w 1037"/>
                  <a:gd name="T5" fmla="*/ 2147483647 h 690"/>
                  <a:gd name="T6" fmla="*/ 2147483647 w 1037"/>
                  <a:gd name="T7" fmla="*/ 2147483647 h 690"/>
                  <a:gd name="T8" fmla="*/ 1463608950 w 1037"/>
                  <a:gd name="T9" fmla="*/ 2147483647 h 690"/>
                  <a:gd name="T10" fmla="*/ 2147483647 w 1037"/>
                  <a:gd name="T11" fmla="*/ 2147483647 h 690"/>
                  <a:gd name="T12" fmla="*/ 2147483647 w 1037"/>
                  <a:gd name="T13" fmla="*/ 2147483647 h 690"/>
                  <a:gd name="T14" fmla="*/ 650534842 w 1037"/>
                  <a:gd name="T15" fmla="*/ 2147483647 h 690"/>
                  <a:gd name="T16" fmla="*/ 2147483647 w 1037"/>
                  <a:gd name="T17" fmla="*/ 2147483647 h 690"/>
                  <a:gd name="T18" fmla="*/ 0 w 1037"/>
                  <a:gd name="T19" fmla="*/ 2147483647 h 690"/>
                  <a:gd name="T20" fmla="*/ 1626336671 w 1037"/>
                  <a:gd name="T21" fmla="*/ 2147483647 h 690"/>
                  <a:gd name="T22" fmla="*/ 2147483647 w 1037"/>
                  <a:gd name="T23" fmla="*/ 2147483647 h 690"/>
                  <a:gd name="T24" fmla="*/ 2147483647 w 1037"/>
                  <a:gd name="T25" fmla="*/ 2147483647 h 690"/>
                  <a:gd name="T26" fmla="*/ 2147483647 w 1037"/>
                  <a:gd name="T27" fmla="*/ 2147483647 h 690"/>
                  <a:gd name="T28" fmla="*/ 2147483647 w 1037"/>
                  <a:gd name="T29" fmla="*/ 2147483647 h 690"/>
                  <a:gd name="T30" fmla="*/ 2147483647 w 1037"/>
                  <a:gd name="T31" fmla="*/ 2147483647 h 690"/>
                  <a:gd name="T32" fmla="*/ 2147483647 w 1037"/>
                  <a:gd name="T33" fmla="*/ 2147483647 h 690"/>
                  <a:gd name="T34" fmla="*/ 2147483647 w 1037"/>
                  <a:gd name="T35" fmla="*/ 2147483647 h 690"/>
                  <a:gd name="T36" fmla="*/ 2147483647 w 1037"/>
                  <a:gd name="T37" fmla="*/ 2147483647 h 690"/>
                  <a:gd name="T38" fmla="*/ 2147483647 w 1037"/>
                  <a:gd name="T39" fmla="*/ 2147483647 h 690"/>
                  <a:gd name="T40" fmla="*/ 2147483647 w 1037"/>
                  <a:gd name="T41" fmla="*/ 2147483647 h 690"/>
                  <a:gd name="T42" fmla="*/ 2147483647 w 1037"/>
                  <a:gd name="T43" fmla="*/ 2147483647 h 690"/>
                  <a:gd name="T44" fmla="*/ 2147483647 w 1037"/>
                  <a:gd name="T45" fmla="*/ 2147483647 h 690"/>
                  <a:gd name="T46" fmla="*/ 2147483647 w 1037"/>
                  <a:gd name="T47" fmla="*/ 2147483647 h 690"/>
                  <a:gd name="T48" fmla="*/ 2147483647 w 1037"/>
                  <a:gd name="T49" fmla="*/ 2147483647 h 690"/>
                  <a:gd name="T50" fmla="*/ 2147483647 w 1037"/>
                  <a:gd name="T51" fmla="*/ 2147483647 h 690"/>
                  <a:gd name="T52" fmla="*/ 2147483647 w 1037"/>
                  <a:gd name="T53" fmla="*/ 2147483647 h 690"/>
                  <a:gd name="T54" fmla="*/ 2147483647 w 1037"/>
                  <a:gd name="T55" fmla="*/ 2147483647 h 690"/>
                  <a:gd name="T56" fmla="*/ 2147483647 w 1037"/>
                  <a:gd name="T57" fmla="*/ 2147483647 h 690"/>
                  <a:gd name="T58" fmla="*/ 2147483647 w 1037"/>
                  <a:gd name="T59" fmla="*/ 2147483647 h 690"/>
                  <a:gd name="T60" fmla="*/ 2147483647 w 1037"/>
                  <a:gd name="T61" fmla="*/ 2147483647 h 690"/>
                  <a:gd name="T62" fmla="*/ 2147483647 w 1037"/>
                  <a:gd name="T63" fmla="*/ 2147483647 h 690"/>
                  <a:gd name="T64" fmla="*/ 2147483647 w 1037"/>
                  <a:gd name="T65" fmla="*/ 2147483647 h 690"/>
                  <a:gd name="T66" fmla="*/ 2147483647 w 1037"/>
                  <a:gd name="T67" fmla="*/ 2147483647 h 690"/>
                  <a:gd name="T68" fmla="*/ 2147483647 w 1037"/>
                  <a:gd name="T69" fmla="*/ 1876375028 h 690"/>
                  <a:gd name="T70" fmla="*/ 2147483647 w 1037"/>
                  <a:gd name="T71" fmla="*/ 2147483647 h 690"/>
                  <a:gd name="T72" fmla="*/ 2147483647 w 1037"/>
                  <a:gd name="T73" fmla="*/ 2147483647 h 690"/>
                  <a:gd name="T74" fmla="*/ 2147483647 w 1037"/>
                  <a:gd name="T75" fmla="*/ 1732186738 h 690"/>
                  <a:gd name="T76" fmla="*/ 2147483647 w 1037"/>
                  <a:gd name="T77" fmla="*/ 865955933 h 690"/>
                  <a:gd name="T78" fmla="*/ 2147483647 w 1037"/>
                  <a:gd name="T79" fmla="*/ 1154882783 h 690"/>
                  <a:gd name="T80" fmla="*/ 2147483647 w 1037"/>
                  <a:gd name="T81" fmla="*/ 1587723051 h 690"/>
                  <a:gd name="T82" fmla="*/ 2147483647 w 1037"/>
                  <a:gd name="T83" fmla="*/ 865955933 h 690"/>
                  <a:gd name="T84" fmla="*/ 2147483647 w 1037"/>
                  <a:gd name="T85" fmla="*/ 2147483647 h 690"/>
                  <a:gd name="T86" fmla="*/ 2147483647 w 1037"/>
                  <a:gd name="T87" fmla="*/ 2147483647 h 690"/>
                  <a:gd name="T88" fmla="*/ 2147483647 w 1037"/>
                  <a:gd name="T89" fmla="*/ 2147483647 h 690"/>
                  <a:gd name="T90" fmla="*/ 2147483647 w 1037"/>
                  <a:gd name="T91" fmla="*/ 2147483647 h 690"/>
                  <a:gd name="T92" fmla="*/ 2147483647 w 1037"/>
                  <a:gd name="T93" fmla="*/ 2147483647 h 690"/>
                  <a:gd name="T94" fmla="*/ 2147483647 w 1037"/>
                  <a:gd name="T95" fmla="*/ 2147483647 h 690"/>
                  <a:gd name="T96" fmla="*/ 2147483647 w 1037"/>
                  <a:gd name="T97" fmla="*/ 2147483647 h 690"/>
                  <a:gd name="T98" fmla="*/ 2147483647 w 1037"/>
                  <a:gd name="T99" fmla="*/ 2147483647 h 690"/>
                  <a:gd name="T100" fmla="*/ 2147483647 w 1037"/>
                  <a:gd name="T101" fmla="*/ 2147483647 h 690"/>
                  <a:gd name="T102" fmla="*/ 2147483647 w 1037"/>
                  <a:gd name="T103" fmla="*/ 2147483647 h 690"/>
                  <a:gd name="T104" fmla="*/ 2147483647 w 1037"/>
                  <a:gd name="T105" fmla="*/ 2147483647 h 690"/>
                  <a:gd name="T106" fmla="*/ 2147483647 w 1037"/>
                  <a:gd name="T107" fmla="*/ 2147483647 h 690"/>
                  <a:gd name="T108" fmla="*/ 2147483647 w 1037"/>
                  <a:gd name="T109" fmla="*/ 2147483647 h 690"/>
                  <a:gd name="T110" fmla="*/ 2147483647 w 1037"/>
                  <a:gd name="T111" fmla="*/ 2147483647 h 690"/>
                  <a:gd name="T112" fmla="*/ 2147483647 w 1037"/>
                  <a:gd name="T113" fmla="*/ 2147483647 h 690"/>
                  <a:gd name="T114" fmla="*/ 2147483647 w 1037"/>
                  <a:gd name="T115" fmla="*/ 2147483647 h 690"/>
                  <a:gd name="T116" fmla="*/ 2147483647 w 1037"/>
                  <a:gd name="T117" fmla="*/ 2147483647 h 690"/>
                  <a:gd name="T118" fmla="*/ 2147483647 w 1037"/>
                  <a:gd name="T119" fmla="*/ 2147483647 h 69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037" h="690">
                    <a:moveTo>
                      <a:pt x="286" y="647"/>
                    </a:moveTo>
                    <a:lnTo>
                      <a:pt x="273" y="631"/>
                    </a:lnTo>
                    <a:lnTo>
                      <a:pt x="262" y="621"/>
                    </a:lnTo>
                    <a:lnTo>
                      <a:pt x="253" y="612"/>
                    </a:lnTo>
                    <a:lnTo>
                      <a:pt x="246" y="604"/>
                    </a:lnTo>
                    <a:lnTo>
                      <a:pt x="243" y="613"/>
                    </a:lnTo>
                    <a:lnTo>
                      <a:pt x="240" y="622"/>
                    </a:lnTo>
                    <a:lnTo>
                      <a:pt x="239" y="627"/>
                    </a:lnTo>
                    <a:lnTo>
                      <a:pt x="235" y="632"/>
                    </a:lnTo>
                    <a:lnTo>
                      <a:pt x="231" y="638"/>
                    </a:lnTo>
                    <a:lnTo>
                      <a:pt x="224" y="644"/>
                    </a:lnTo>
                    <a:lnTo>
                      <a:pt x="208" y="655"/>
                    </a:lnTo>
                    <a:lnTo>
                      <a:pt x="190" y="665"/>
                    </a:lnTo>
                    <a:lnTo>
                      <a:pt x="155" y="683"/>
                    </a:lnTo>
                    <a:lnTo>
                      <a:pt x="140" y="690"/>
                    </a:lnTo>
                    <a:lnTo>
                      <a:pt x="107" y="690"/>
                    </a:lnTo>
                    <a:lnTo>
                      <a:pt x="86" y="683"/>
                    </a:lnTo>
                    <a:lnTo>
                      <a:pt x="60" y="672"/>
                    </a:lnTo>
                    <a:lnTo>
                      <a:pt x="48" y="666"/>
                    </a:lnTo>
                    <a:lnTo>
                      <a:pt x="37" y="658"/>
                    </a:lnTo>
                    <a:lnTo>
                      <a:pt x="32" y="654"/>
                    </a:lnTo>
                    <a:lnTo>
                      <a:pt x="30" y="650"/>
                    </a:lnTo>
                    <a:lnTo>
                      <a:pt x="28" y="646"/>
                    </a:lnTo>
                    <a:lnTo>
                      <a:pt x="27" y="641"/>
                    </a:lnTo>
                    <a:lnTo>
                      <a:pt x="40" y="641"/>
                    </a:lnTo>
                    <a:lnTo>
                      <a:pt x="50" y="640"/>
                    </a:lnTo>
                    <a:lnTo>
                      <a:pt x="58" y="639"/>
                    </a:lnTo>
                    <a:lnTo>
                      <a:pt x="67" y="634"/>
                    </a:lnTo>
                    <a:lnTo>
                      <a:pt x="59" y="627"/>
                    </a:lnTo>
                    <a:lnTo>
                      <a:pt x="49" y="620"/>
                    </a:lnTo>
                    <a:lnTo>
                      <a:pt x="38" y="613"/>
                    </a:lnTo>
                    <a:lnTo>
                      <a:pt x="27" y="606"/>
                    </a:lnTo>
                    <a:lnTo>
                      <a:pt x="8" y="596"/>
                    </a:lnTo>
                    <a:lnTo>
                      <a:pt x="0" y="592"/>
                    </a:lnTo>
                    <a:lnTo>
                      <a:pt x="18" y="596"/>
                    </a:lnTo>
                    <a:lnTo>
                      <a:pt x="32" y="599"/>
                    </a:lnTo>
                    <a:lnTo>
                      <a:pt x="38" y="600"/>
                    </a:lnTo>
                    <a:lnTo>
                      <a:pt x="43" y="600"/>
                    </a:lnTo>
                    <a:lnTo>
                      <a:pt x="49" y="600"/>
                    </a:lnTo>
                    <a:lnTo>
                      <a:pt x="54" y="598"/>
                    </a:lnTo>
                    <a:lnTo>
                      <a:pt x="49" y="597"/>
                    </a:lnTo>
                    <a:lnTo>
                      <a:pt x="44" y="595"/>
                    </a:lnTo>
                    <a:lnTo>
                      <a:pt x="40" y="591"/>
                    </a:lnTo>
                    <a:lnTo>
                      <a:pt x="36" y="587"/>
                    </a:lnTo>
                    <a:lnTo>
                      <a:pt x="32" y="583"/>
                    </a:lnTo>
                    <a:lnTo>
                      <a:pt x="29" y="576"/>
                    </a:lnTo>
                    <a:lnTo>
                      <a:pt x="28" y="571"/>
                    </a:lnTo>
                    <a:lnTo>
                      <a:pt x="27" y="567"/>
                    </a:lnTo>
                    <a:lnTo>
                      <a:pt x="67" y="567"/>
                    </a:lnTo>
                    <a:lnTo>
                      <a:pt x="56" y="566"/>
                    </a:lnTo>
                    <a:lnTo>
                      <a:pt x="45" y="564"/>
                    </a:lnTo>
                    <a:lnTo>
                      <a:pt x="35" y="562"/>
                    </a:lnTo>
                    <a:lnTo>
                      <a:pt x="25" y="558"/>
                    </a:lnTo>
                    <a:lnTo>
                      <a:pt x="16" y="554"/>
                    </a:lnTo>
                    <a:lnTo>
                      <a:pt x="10" y="549"/>
                    </a:lnTo>
                    <a:lnTo>
                      <a:pt x="8" y="546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7" y="536"/>
                    </a:lnTo>
                    <a:lnTo>
                      <a:pt x="0" y="523"/>
                    </a:lnTo>
                    <a:lnTo>
                      <a:pt x="29" y="523"/>
                    </a:lnTo>
                    <a:lnTo>
                      <a:pt x="54" y="523"/>
                    </a:lnTo>
                    <a:lnTo>
                      <a:pt x="74" y="523"/>
                    </a:lnTo>
                    <a:lnTo>
                      <a:pt x="87" y="523"/>
                    </a:lnTo>
                    <a:lnTo>
                      <a:pt x="72" y="519"/>
                    </a:lnTo>
                    <a:lnTo>
                      <a:pt x="39" y="511"/>
                    </a:lnTo>
                    <a:lnTo>
                      <a:pt x="22" y="507"/>
                    </a:lnTo>
                    <a:lnTo>
                      <a:pt x="8" y="503"/>
                    </a:lnTo>
                    <a:lnTo>
                      <a:pt x="0" y="500"/>
                    </a:lnTo>
                    <a:lnTo>
                      <a:pt x="0" y="499"/>
                    </a:lnTo>
                    <a:lnTo>
                      <a:pt x="2" y="485"/>
                    </a:lnTo>
                    <a:lnTo>
                      <a:pt x="3" y="476"/>
                    </a:lnTo>
                    <a:lnTo>
                      <a:pt x="4" y="472"/>
                    </a:lnTo>
                    <a:lnTo>
                      <a:pt x="4" y="467"/>
                    </a:lnTo>
                    <a:lnTo>
                      <a:pt x="3" y="462"/>
                    </a:lnTo>
                    <a:lnTo>
                      <a:pt x="0" y="456"/>
                    </a:lnTo>
                    <a:lnTo>
                      <a:pt x="20" y="456"/>
                    </a:lnTo>
                    <a:lnTo>
                      <a:pt x="21" y="460"/>
                    </a:lnTo>
                    <a:lnTo>
                      <a:pt x="24" y="463"/>
                    </a:lnTo>
                    <a:lnTo>
                      <a:pt x="25" y="464"/>
                    </a:lnTo>
                    <a:lnTo>
                      <a:pt x="26" y="464"/>
                    </a:lnTo>
                    <a:lnTo>
                      <a:pt x="27" y="463"/>
                    </a:lnTo>
                    <a:lnTo>
                      <a:pt x="27" y="462"/>
                    </a:lnTo>
                    <a:lnTo>
                      <a:pt x="37" y="461"/>
                    </a:lnTo>
                    <a:lnTo>
                      <a:pt x="51" y="459"/>
                    </a:lnTo>
                    <a:lnTo>
                      <a:pt x="67" y="457"/>
                    </a:lnTo>
                    <a:lnTo>
                      <a:pt x="81" y="456"/>
                    </a:lnTo>
                    <a:lnTo>
                      <a:pt x="78" y="455"/>
                    </a:lnTo>
                    <a:lnTo>
                      <a:pt x="77" y="454"/>
                    </a:lnTo>
                    <a:lnTo>
                      <a:pt x="77" y="452"/>
                    </a:lnTo>
                    <a:lnTo>
                      <a:pt x="77" y="449"/>
                    </a:lnTo>
                    <a:lnTo>
                      <a:pt x="80" y="443"/>
                    </a:lnTo>
                    <a:lnTo>
                      <a:pt x="81" y="437"/>
                    </a:lnTo>
                    <a:lnTo>
                      <a:pt x="91" y="437"/>
                    </a:lnTo>
                    <a:lnTo>
                      <a:pt x="100" y="437"/>
                    </a:lnTo>
                    <a:lnTo>
                      <a:pt x="99" y="433"/>
                    </a:lnTo>
                    <a:lnTo>
                      <a:pt x="96" y="428"/>
                    </a:lnTo>
                    <a:lnTo>
                      <a:pt x="92" y="424"/>
                    </a:lnTo>
                    <a:lnTo>
                      <a:pt x="87" y="419"/>
                    </a:lnTo>
                    <a:lnTo>
                      <a:pt x="97" y="416"/>
                    </a:lnTo>
                    <a:lnTo>
                      <a:pt x="107" y="413"/>
                    </a:lnTo>
                    <a:lnTo>
                      <a:pt x="117" y="412"/>
                    </a:lnTo>
                    <a:lnTo>
                      <a:pt x="127" y="412"/>
                    </a:lnTo>
                    <a:lnTo>
                      <a:pt x="129" y="412"/>
                    </a:lnTo>
                    <a:lnTo>
                      <a:pt x="130" y="409"/>
                    </a:lnTo>
                    <a:lnTo>
                      <a:pt x="130" y="406"/>
                    </a:lnTo>
                    <a:lnTo>
                      <a:pt x="129" y="402"/>
                    </a:lnTo>
                    <a:lnTo>
                      <a:pt x="128" y="394"/>
                    </a:lnTo>
                    <a:lnTo>
                      <a:pt x="127" y="388"/>
                    </a:lnTo>
                    <a:lnTo>
                      <a:pt x="147" y="388"/>
                    </a:lnTo>
                    <a:lnTo>
                      <a:pt x="133" y="382"/>
                    </a:lnTo>
                    <a:lnTo>
                      <a:pt x="220" y="382"/>
                    </a:lnTo>
                    <a:lnTo>
                      <a:pt x="207" y="376"/>
                    </a:lnTo>
                    <a:lnTo>
                      <a:pt x="213" y="373"/>
                    </a:lnTo>
                    <a:lnTo>
                      <a:pt x="218" y="370"/>
                    </a:lnTo>
                    <a:lnTo>
                      <a:pt x="221" y="367"/>
                    </a:lnTo>
                    <a:lnTo>
                      <a:pt x="224" y="362"/>
                    </a:lnTo>
                    <a:lnTo>
                      <a:pt x="227" y="351"/>
                    </a:lnTo>
                    <a:lnTo>
                      <a:pt x="227" y="339"/>
                    </a:lnTo>
                    <a:lnTo>
                      <a:pt x="243" y="339"/>
                    </a:lnTo>
                    <a:lnTo>
                      <a:pt x="255" y="339"/>
                    </a:lnTo>
                    <a:lnTo>
                      <a:pt x="266" y="339"/>
                    </a:lnTo>
                    <a:lnTo>
                      <a:pt x="279" y="339"/>
                    </a:lnTo>
                    <a:lnTo>
                      <a:pt x="279" y="333"/>
                    </a:lnTo>
                    <a:lnTo>
                      <a:pt x="282" y="327"/>
                    </a:lnTo>
                    <a:lnTo>
                      <a:pt x="283" y="325"/>
                    </a:lnTo>
                    <a:lnTo>
                      <a:pt x="285" y="323"/>
                    </a:lnTo>
                    <a:lnTo>
                      <a:pt x="288" y="321"/>
                    </a:lnTo>
                    <a:lnTo>
                      <a:pt x="293" y="321"/>
                    </a:lnTo>
                    <a:lnTo>
                      <a:pt x="286" y="318"/>
                    </a:lnTo>
                    <a:lnTo>
                      <a:pt x="279" y="314"/>
                    </a:lnTo>
                    <a:lnTo>
                      <a:pt x="280" y="312"/>
                    </a:lnTo>
                    <a:lnTo>
                      <a:pt x="282" y="310"/>
                    </a:lnTo>
                    <a:lnTo>
                      <a:pt x="284" y="308"/>
                    </a:lnTo>
                    <a:lnTo>
                      <a:pt x="287" y="305"/>
                    </a:lnTo>
                    <a:lnTo>
                      <a:pt x="294" y="300"/>
                    </a:lnTo>
                    <a:lnTo>
                      <a:pt x="299" y="295"/>
                    </a:lnTo>
                    <a:lnTo>
                      <a:pt x="298" y="292"/>
                    </a:lnTo>
                    <a:lnTo>
                      <a:pt x="297" y="288"/>
                    </a:lnTo>
                    <a:lnTo>
                      <a:pt x="298" y="285"/>
                    </a:lnTo>
                    <a:lnTo>
                      <a:pt x="299" y="281"/>
                    </a:lnTo>
                    <a:lnTo>
                      <a:pt x="305" y="274"/>
                    </a:lnTo>
                    <a:lnTo>
                      <a:pt x="311" y="267"/>
                    </a:lnTo>
                    <a:lnTo>
                      <a:pt x="325" y="254"/>
                    </a:lnTo>
                    <a:lnTo>
                      <a:pt x="333" y="246"/>
                    </a:lnTo>
                    <a:lnTo>
                      <a:pt x="333" y="244"/>
                    </a:lnTo>
                    <a:lnTo>
                      <a:pt x="335" y="243"/>
                    </a:lnTo>
                    <a:lnTo>
                      <a:pt x="338" y="243"/>
                    </a:lnTo>
                    <a:lnTo>
                      <a:pt x="340" y="244"/>
                    </a:lnTo>
                    <a:lnTo>
                      <a:pt x="344" y="245"/>
                    </a:lnTo>
                    <a:lnTo>
                      <a:pt x="346" y="246"/>
                    </a:lnTo>
                    <a:lnTo>
                      <a:pt x="344" y="239"/>
                    </a:lnTo>
                    <a:lnTo>
                      <a:pt x="343" y="233"/>
                    </a:lnTo>
                    <a:lnTo>
                      <a:pt x="343" y="226"/>
                    </a:lnTo>
                    <a:lnTo>
                      <a:pt x="344" y="220"/>
                    </a:lnTo>
                    <a:lnTo>
                      <a:pt x="345" y="210"/>
                    </a:lnTo>
                    <a:lnTo>
                      <a:pt x="346" y="204"/>
                    </a:lnTo>
                    <a:lnTo>
                      <a:pt x="370" y="204"/>
                    </a:lnTo>
                    <a:lnTo>
                      <a:pt x="385" y="203"/>
                    </a:lnTo>
                    <a:lnTo>
                      <a:pt x="388" y="202"/>
                    </a:lnTo>
                    <a:lnTo>
                      <a:pt x="390" y="200"/>
                    </a:lnTo>
                    <a:lnTo>
                      <a:pt x="392" y="198"/>
                    </a:lnTo>
                    <a:lnTo>
                      <a:pt x="394" y="196"/>
                    </a:lnTo>
                    <a:lnTo>
                      <a:pt x="397" y="188"/>
                    </a:lnTo>
                    <a:lnTo>
                      <a:pt x="399" y="178"/>
                    </a:lnTo>
                    <a:lnTo>
                      <a:pt x="395" y="173"/>
                    </a:lnTo>
                    <a:lnTo>
                      <a:pt x="390" y="166"/>
                    </a:lnTo>
                    <a:lnTo>
                      <a:pt x="387" y="157"/>
                    </a:lnTo>
                    <a:lnTo>
                      <a:pt x="386" y="148"/>
                    </a:lnTo>
                    <a:lnTo>
                      <a:pt x="384" y="148"/>
                    </a:lnTo>
                    <a:lnTo>
                      <a:pt x="379" y="147"/>
                    </a:lnTo>
                    <a:lnTo>
                      <a:pt x="377" y="147"/>
                    </a:lnTo>
                    <a:lnTo>
                      <a:pt x="375" y="146"/>
                    </a:lnTo>
                    <a:lnTo>
                      <a:pt x="373" y="144"/>
                    </a:lnTo>
                    <a:lnTo>
                      <a:pt x="373" y="142"/>
                    </a:lnTo>
                    <a:lnTo>
                      <a:pt x="363" y="150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3" y="159"/>
                    </a:lnTo>
                    <a:lnTo>
                      <a:pt x="338" y="160"/>
                    </a:lnTo>
                    <a:lnTo>
                      <a:pt x="333" y="160"/>
                    </a:lnTo>
                    <a:lnTo>
                      <a:pt x="334" y="154"/>
                    </a:lnTo>
                    <a:lnTo>
                      <a:pt x="338" y="148"/>
                    </a:lnTo>
                    <a:lnTo>
                      <a:pt x="341" y="143"/>
                    </a:lnTo>
                    <a:lnTo>
                      <a:pt x="345" y="138"/>
                    </a:lnTo>
                    <a:lnTo>
                      <a:pt x="355" y="128"/>
                    </a:lnTo>
                    <a:lnTo>
                      <a:pt x="367" y="120"/>
                    </a:lnTo>
                    <a:lnTo>
                      <a:pt x="378" y="112"/>
                    </a:lnTo>
                    <a:lnTo>
                      <a:pt x="390" y="103"/>
                    </a:lnTo>
                    <a:lnTo>
                      <a:pt x="395" y="98"/>
                    </a:lnTo>
                    <a:lnTo>
                      <a:pt x="399" y="93"/>
                    </a:lnTo>
                    <a:lnTo>
                      <a:pt x="403" y="87"/>
                    </a:lnTo>
                    <a:lnTo>
                      <a:pt x="406" y="80"/>
                    </a:lnTo>
                    <a:lnTo>
                      <a:pt x="407" y="83"/>
                    </a:lnTo>
                    <a:lnTo>
                      <a:pt x="409" y="88"/>
                    </a:lnTo>
                    <a:lnTo>
                      <a:pt x="411" y="96"/>
                    </a:lnTo>
                    <a:lnTo>
                      <a:pt x="412" y="105"/>
                    </a:lnTo>
                    <a:lnTo>
                      <a:pt x="414" y="107"/>
                    </a:lnTo>
                    <a:lnTo>
                      <a:pt x="420" y="111"/>
                    </a:lnTo>
                    <a:lnTo>
                      <a:pt x="426" y="115"/>
                    </a:lnTo>
                    <a:lnTo>
                      <a:pt x="432" y="117"/>
                    </a:lnTo>
                    <a:lnTo>
                      <a:pt x="450" y="116"/>
                    </a:lnTo>
                    <a:lnTo>
                      <a:pt x="463" y="114"/>
                    </a:lnTo>
                    <a:lnTo>
                      <a:pt x="473" y="112"/>
                    </a:lnTo>
                    <a:lnTo>
                      <a:pt x="479" y="111"/>
                    </a:lnTo>
                    <a:lnTo>
                      <a:pt x="474" y="106"/>
                    </a:lnTo>
                    <a:lnTo>
                      <a:pt x="469" y="101"/>
                    </a:lnTo>
                    <a:lnTo>
                      <a:pt x="468" y="98"/>
                    </a:lnTo>
                    <a:lnTo>
                      <a:pt x="467" y="95"/>
                    </a:lnTo>
                    <a:lnTo>
                      <a:pt x="466" y="91"/>
                    </a:lnTo>
                    <a:lnTo>
                      <a:pt x="466" y="87"/>
                    </a:lnTo>
                    <a:lnTo>
                      <a:pt x="485" y="83"/>
                    </a:lnTo>
                    <a:lnTo>
                      <a:pt x="510" y="78"/>
                    </a:lnTo>
                    <a:lnTo>
                      <a:pt x="523" y="75"/>
                    </a:lnTo>
                    <a:lnTo>
                      <a:pt x="536" y="72"/>
                    </a:lnTo>
                    <a:lnTo>
                      <a:pt x="548" y="67"/>
                    </a:lnTo>
                    <a:lnTo>
                      <a:pt x="558" y="61"/>
                    </a:lnTo>
                    <a:lnTo>
                      <a:pt x="565" y="57"/>
                    </a:lnTo>
                    <a:lnTo>
                      <a:pt x="573" y="53"/>
                    </a:lnTo>
                    <a:lnTo>
                      <a:pt x="579" y="50"/>
                    </a:lnTo>
                    <a:lnTo>
                      <a:pt x="586" y="49"/>
                    </a:lnTo>
                    <a:lnTo>
                      <a:pt x="587" y="55"/>
                    </a:lnTo>
                    <a:lnTo>
                      <a:pt x="589" y="61"/>
                    </a:lnTo>
                    <a:lnTo>
                      <a:pt x="591" y="63"/>
                    </a:lnTo>
                    <a:lnTo>
                      <a:pt x="593" y="65"/>
                    </a:lnTo>
                    <a:lnTo>
                      <a:pt x="596" y="67"/>
                    </a:lnTo>
                    <a:lnTo>
                      <a:pt x="599" y="67"/>
                    </a:lnTo>
                    <a:lnTo>
                      <a:pt x="609" y="66"/>
                    </a:lnTo>
                    <a:lnTo>
                      <a:pt x="624" y="61"/>
                    </a:lnTo>
                    <a:lnTo>
                      <a:pt x="638" y="57"/>
                    </a:lnTo>
                    <a:lnTo>
                      <a:pt x="645" y="55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8" y="48"/>
                    </a:lnTo>
                    <a:lnTo>
                      <a:pt x="638" y="46"/>
                    </a:lnTo>
                    <a:lnTo>
                      <a:pt x="638" y="42"/>
                    </a:lnTo>
                    <a:lnTo>
                      <a:pt x="641" y="37"/>
                    </a:lnTo>
                    <a:lnTo>
                      <a:pt x="645" y="33"/>
                    </a:lnTo>
                    <a:lnTo>
                      <a:pt x="650" y="28"/>
                    </a:lnTo>
                    <a:lnTo>
                      <a:pt x="657" y="24"/>
                    </a:lnTo>
                    <a:lnTo>
                      <a:pt x="665" y="20"/>
                    </a:lnTo>
                    <a:lnTo>
                      <a:pt x="674" y="17"/>
                    </a:lnTo>
                    <a:lnTo>
                      <a:pt x="682" y="15"/>
                    </a:lnTo>
                    <a:lnTo>
                      <a:pt x="691" y="14"/>
                    </a:lnTo>
                    <a:lnTo>
                      <a:pt x="699" y="13"/>
                    </a:lnTo>
                    <a:lnTo>
                      <a:pt x="708" y="13"/>
                    </a:lnTo>
                    <a:lnTo>
                      <a:pt x="714" y="13"/>
                    </a:lnTo>
                    <a:lnTo>
                      <a:pt x="721" y="15"/>
                    </a:lnTo>
                    <a:lnTo>
                      <a:pt x="725" y="18"/>
                    </a:lnTo>
                    <a:lnTo>
                      <a:pt x="717" y="20"/>
                    </a:lnTo>
                    <a:lnTo>
                      <a:pt x="709" y="26"/>
                    </a:lnTo>
                    <a:lnTo>
                      <a:pt x="705" y="29"/>
                    </a:lnTo>
                    <a:lnTo>
                      <a:pt x="701" y="32"/>
                    </a:lnTo>
                    <a:lnTo>
                      <a:pt x="699" y="35"/>
                    </a:lnTo>
                    <a:lnTo>
                      <a:pt x="699" y="37"/>
                    </a:lnTo>
                    <a:lnTo>
                      <a:pt x="702" y="39"/>
                    </a:lnTo>
                    <a:lnTo>
                      <a:pt x="705" y="40"/>
                    </a:lnTo>
                    <a:lnTo>
                      <a:pt x="709" y="41"/>
                    </a:lnTo>
                    <a:lnTo>
                      <a:pt x="712" y="40"/>
                    </a:lnTo>
                    <a:lnTo>
                      <a:pt x="719" y="39"/>
                    </a:lnTo>
                    <a:lnTo>
                      <a:pt x="725" y="36"/>
                    </a:lnTo>
                    <a:lnTo>
                      <a:pt x="733" y="32"/>
                    </a:lnTo>
                    <a:lnTo>
                      <a:pt x="741" y="29"/>
                    </a:lnTo>
                    <a:lnTo>
                      <a:pt x="748" y="26"/>
                    </a:lnTo>
                    <a:lnTo>
                      <a:pt x="758" y="24"/>
                    </a:lnTo>
                    <a:lnTo>
                      <a:pt x="758" y="12"/>
                    </a:lnTo>
                    <a:lnTo>
                      <a:pt x="758" y="0"/>
                    </a:lnTo>
                    <a:lnTo>
                      <a:pt x="777" y="0"/>
                    </a:lnTo>
                    <a:lnTo>
                      <a:pt x="793" y="1"/>
                    </a:lnTo>
                    <a:lnTo>
                      <a:pt x="800" y="1"/>
                    </a:lnTo>
                    <a:lnTo>
                      <a:pt x="806" y="2"/>
                    </a:lnTo>
                    <a:lnTo>
                      <a:pt x="813" y="4"/>
                    </a:lnTo>
                    <a:lnTo>
                      <a:pt x="817" y="6"/>
                    </a:lnTo>
                    <a:lnTo>
                      <a:pt x="812" y="11"/>
                    </a:lnTo>
                    <a:lnTo>
                      <a:pt x="805" y="18"/>
                    </a:lnTo>
                    <a:lnTo>
                      <a:pt x="800" y="26"/>
                    </a:lnTo>
                    <a:lnTo>
                      <a:pt x="798" y="31"/>
                    </a:lnTo>
                    <a:lnTo>
                      <a:pt x="815" y="22"/>
                    </a:lnTo>
                    <a:lnTo>
                      <a:pt x="828" y="15"/>
                    </a:lnTo>
                    <a:lnTo>
                      <a:pt x="844" y="8"/>
                    </a:lnTo>
                    <a:lnTo>
                      <a:pt x="865" y="0"/>
                    </a:lnTo>
                    <a:lnTo>
                      <a:pt x="865" y="4"/>
                    </a:lnTo>
                    <a:lnTo>
                      <a:pt x="864" y="9"/>
                    </a:lnTo>
                    <a:lnTo>
                      <a:pt x="861" y="14"/>
                    </a:lnTo>
                    <a:lnTo>
                      <a:pt x="858" y="18"/>
                    </a:lnTo>
                    <a:lnTo>
                      <a:pt x="860" y="14"/>
                    </a:lnTo>
                    <a:lnTo>
                      <a:pt x="862" y="11"/>
                    </a:lnTo>
                    <a:lnTo>
                      <a:pt x="866" y="9"/>
                    </a:lnTo>
                    <a:lnTo>
                      <a:pt x="869" y="7"/>
                    </a:lnTo>
                    <a:lnTo>
                      <a:pt x="876" y="6"/>
                    </a:lnTo>
                    <a:lnTo>
                      <a:pt x="884" y="6"/>
                    </a:lnTo>
                    <a:lnTo>
                      <a:pt x="892" y="6"/>
                    </a:lnTo>
                    <a:lnTo>
                      <a:pt x="907" y="6"/>
                    </a:lnTo>
                    <a:lnTo>
                      <a:pt x="924" y="6"/>
                    </a:lnTo>
                    <a:lnTo>
                      <a:pt x="930" y="6"/>
                    </a:lnTo>
                    <a:lnTo>
                      <a:pt x="947" y="12"/>
                    </a:lnTo>
                    <a:lnTo>
                      <a:pt x="979" y="22"/>
                    </a:lnTo>
                    <a:lnTo>
                      <a:pt x="996" y="28"/>
                    </a:lnTo>
                    <a:lnTo>
                      <a:pt x="1013" y="33"/>
                    </a:lnTo>
                    <a:lnTo>
                      <a:pt x="1027" y="38"/>
                    </a:lnTo>
                    <a:lnTo>
                      <a:pt x="1037" y="43"/>
                    </a:lnTo>
                    <a:lnTo>
                      <a:pt x="1031" y="52"/>
                    </a:lnTo>
                    <a:lnTo>
                      <a:pt x="1025" y="61"/>
                    </a:lnTo>
                    <a:lnTo>
                      <a:pt x="1022" y="66"/>
                    </a:lnTo>
                    <a:lnTo>
                      <a:pt x="1019" y="70"/>
                    </a:lnTo>
                    <a:lnTo>
                      <a:pt x="1017" y="75"/>
                    </a:lnTo>
                    <a:lnTo>
                      <a:pt x="1017" y="80"/>
                    </a:lnTo>
                    <a:lnTo>
                      <a:pt x="1005" y="79"/>
                    </a:lnTo>
                    <a:lnTo>
                      <a:pt x="993" y="76"/>
                    </a:lnTo>
                    <a:lnTo>
                      <a:pt x="982" y="72"/>
                    </a:lnTo>
                    <a:lnTo>
                      <a:pt x="971" y="67"/>
                    </a:lnTo>
                    <a:lnTo>
                      <a:pt x="961" y="63"/>
                    </a:lnTo>
                    <a:lnTo>
                      <a:pt x="951" y="59"/>
                    </a:lnTo>
                    <a:lnTo>
                      <a:pt x="940" y="56"/>
                    </a:lnTo>
                    <a:lnTo>
                      <a:pt x="930" y="55"/>
                    </a:lnTo>
                    <a:lnTo>
                      <a:pt x="919" y="55"/>
                    </a:lnTo>
                    <a:lnTo>
                      <a:pt x="906" y="55"/>
                    </a:lnTo>
                    <a:lnTo>
                      <a:pt x="892" y="55"/>
                    </a:lnTo>
                    <a:lnTo>
                      <a:pt x="878" y="55"/>
                    </a:lnTo>
                    <a:lnTo>
                      <a:pt x="877" y="62"/>
                    </a:lnTo>
                    <a:lnTo>
                      <a:pt x="876" y="68"/>
                    </a:lnTo>
                    <a:lnTo>
                      <a:pt x="873" y="74"/>
                    </a:lnTo>
                    <a:lnTo>
                      <a:pt x="871" y="80"/>
                    </a:lnTo>
                    <a:lnTo>
                      <a:pt x="869" y="88"/>
                    </a:lnTo>
                    <a:lnTo>
                      <a:pt x="867" y="95"/>
                    </a:lnTo>
                    <a:lnTo>
                      <a:pt x="865" y="102"/>
                    </a:lnTo>
                    <a:lnTo>
                      <a:pt x="865" y="111"/>
                    </a:lnTo>
                    <a:lnTo>
                      <a:pt x="854" y="114"/>
                    </a:lnTo>
                    <a:lnTo>
                      <a:pt x="848" y="116"/>
                    </a:lnTo>
                    <a:lnTo>
                      <a:pt x="844" y="116"/>
                    </a:lnTo>
                    <a:lnTo>
                      <a:pt x="842" y="115"/>
                    </a:lnTo>
                    <a:lnTo>
                      <a:pt x="838" y="114"/>
                    </a:lnTo>
                    <a:lnTo>
                      <a:pt x="835" y="113"/>
                    </a:lnTo>
                    <a:lnTo>
                      <a:pt x="828" y="111"/>
                    </a:lnTo>
                    <a:lnTo>
                      <a:pt x="817" y="111"/>
                    </a:lnTo>
                    <a:lnTo>
                      <a:pt x="811" y="111"/>
                    </a:lnTo>
                    <a:lnTo>
                      <a:pt x="804" y="112"/>
                    </a:lnTo>
                    <a:lnTo>
                      <a:pt x="798" y="113"/>
                    </a:lnTo>
                    <a:lnTo>
                      <a:pt x="790" y="115"/>
                    </a:lnTo>
                    <a:lnTo>
                      <a:pt x="776" y="121"/>
                    </a:lnTo>
                    <a:lnTo>
                      <a:pt x="758" y="129"/>
                    </a:lnTo>
                    <a:lnTo>
                      <a:pt x="750" y="129"/>
                    </a:lnTo>
                    <a:lnTo>
                      <a:pt x="745" y="128"/>
                    </a:lnTo>
                    <a:lnTo>
                      <a:pt x="738" y="126"/>
                    </a:lnTo>
                    <a:lnTo>
                      <a:pt x="734" y="124"/>
                    </a:lnTo>
                    <a:lnTo>
                      <a:pt x="724" y="119"/>
                    </a:lnTo>
                    <a:lnTo>
                      <a:pt x="716" y="112"/>
                    </a:lnTo>
                    <a:lnTo>
                      <a:pt x="709" y="105"/>
                    </a:lnTo>
                    <a:lnTo>
                      <a:pt x="702" y="98"/>
                    </a:lnTo>
                    <a:lnTo>
                      <a:pt x="694" y="92"/>
                    </a:lnTo>
                    <a:lnTo>
                      <a:pt x="685" y="87"/>
                    </a:lnTo>
                    <a:lnTo>
                      <a:pt x="677" y="92"/>
                    </a:lnTo>
                    <a:lnTo>
                      <a:pt x="669" y="96"/>
                    </a:lnTo>
                    <a:lnTo>
                      <a:pt x="661" y="100"/>
                    </a:lnTo>
                    <a:lnTo>
                      <a:pt x="654" y="103"/>
                    </a:lnTo>
                    <a:lnTo>
                      <a:pt x="637" y="109"/>
                    </a:lnTo>
                    <a:lnTo>
                      <a:pt x="620" y="112"/>
                    </a:lnTo>
                    <a:lnTo>
                      <a:pt x="602" y="116"/>
                    </a:lnTo>
                    <a:lnTo>
                      <a:pt x="584" y="119"/>
                    </a:lnTo>
                    <a:lnTo>
                      <a:pt x="565" y="123"/>
                    </a:lnTo>
                    <a:lnTo>
                      <a:pt x="545" y="129"/>
                    </a:lnTo>
                    <a:lnTo>
                      <a:pt x="542" y="130"/>
                    </a:lnTo>
                    <a:lnTo>
                      <a:pt x="537" y="131"/>
                    </a:lnTo>
                    <a:lnTo>
                      <a:pt x="534" y="134"/>
                    </a:lnTo>
                    <a:lnTo>
                      <a:pt x="530" y="138"/>
                    </a:lnTo>
                    <a:lnTo>
                      <a:pt x="521" y="147"/>
                    </a:lnTo>
                    <a:lnTo>
                      <a:pt x="513" y="158"/>
                    </a:lnTo>
                    <a:lnTo>
                      <a:pt x="506" y="170"/>
                    </a:lnTo>
                    <a:lnTo>
                      <a:pt x="498" y="184"/>
                    </a:lnTo>
                    <a:lnTo>
                      <a:pt x="491" y="198"/>
                    </a:lnTo>
                    <a:lnTo>
                      <a:pt x="486" y="210"/>
                    </a:lnTo>
                    <a:lnTo>
                      <a:pt x="482" y="217"/>
                    </a:lnTo>
                    <a:lnTo>
                      <a:pt x="478" y="225"/>
                    </a:lnTo>
                    <a:lnTo>
                      <a:pt x="473" y="232"/>
                    </a:lnTo>
                    <a:lnTo>
                      <a:pt x="466" y="239"/>
                    </a:lnTo>
                    <a:lnTo>
                      <a:pt x="453" y="255"/>
                    </a:lnTo>
                    <a:lnTo>
                      <a:pt x="437" y="270"/>
                    </a:lnTo>
                    <a:lnTo>
                      <a:pt x="430" y="279"/>
                    </a:lnTo>
                    <a:lnTo>
                      <a:pt x="423" y="288"/>
                    </a:lnTo>
                    <a:lnTo>
                      <a:pt x="417" y="298"/>
                    </a:lnTo>
                    <a:lnTo>
                      <a:pt x="411" y="309"/>
                    </a:lnTo>
                    <a:lnTo>
                      <a:pt x="406" y="321"/>
                    </a:lnTo>
                    <a:lnTo>
                      <a:pt x="402" y="334"/>
                    </a:lnTo>
                    <a:lnTo>
                      <a:pt x="400" y="348"/>
                    </a:lnTo>
                    <a:lnTo>
                      <a:pt x="399" y="364"/>
                    </a:lnTo>
                    <a:lnTo>
                      <a:pt x="396" y="362"/>
                    </a:lnTo>
                    <a:lnTo>
                      <a:pt x="392" y="361"/>
                    </a:lnTo>
                    <a:lnTo>
                      <a:pt x="387" y="361"/>
                    </a:lnTo>
                    <a:lnTo>
                      <a:pt x="381" y="362"/>
                    </a:lnTo>
                    <a:lnTo>
                      <a:pt x="367" y="363"/>
                    </a:lnTo>
                    <a:lnTo>
                      <a:pt x="353" y="364"/>
                    </a:lnTo>
                    <a:lnTo>
                      <a:pt x="333" y="425"/>
                    </a:lnTo>
                    <a:lnTo>
                      <a:pt x="333" y="441"/>
                    </a:lnTo>
                    <a:lnTo>
                      <a:pt x="336" y="464"/>
                    </a:lnTo>
                    <a:lnTo>
                      <a:pt x="340" y="477"/>
                    </a:lnTo>
                    <a:lnTo>
                      <a:pt x="344" y="487"/>
                    </a:lnTo>
                    <a:lnTo>
                      <a:pt x="347" y="491"/>
                    </a:lnTo>
                    <a:lnTo>
                      <a:pt x="351" y="495"/>
                    </a:lnTo>
                    <a:lnTo>
                      <a:pt x="355" y="497"/>
                    </a:lnTo>
                    <a:lnTo>
                      <a:pt x="360" y="499"/>
                    </a:lnTo>
                    <a:lnTo>
                      <a:pt x="358" y="515"/>
                    </a:lnTo>
                    <a:lnTo>
                      <a:pt x="357" y="528"/>
                    </a:lnTo>
                    <a:lnTo>
                      <a:pt x="356" y="537"/>
                    </a:lnTo>
                    <a:lnTo>
                      <a:pt x="354" y="544"/>
                    </a:lnTo>
                    <a:lnTo>
                      <a:pt x="354" y="551"/>
                    </a:lnTo>
                    <a:lnTo>
                      <a:pt x="354" y="558"/>
                    </a:lnTo>
                    <a:lnTo>
                      <a:pt x="355" y="567"/>
                    </a:lnTo>
                    <a:lnTo>
                      <a:pt x="360" y="579"/>
                    </a:lnTo>
                    <a:lnTo>
                      <a:pt x="352" y="585"/>
                    </a:lnTo>
                    <a:lnTo>
                      <a:pt x="346" y="591"/>
                    </a:lnTo>
                    <a:lnTo>
                      <a:pt x="340" y="598"/>
                    </a:lnTo>
                    <a:lnTo>
                      <a:pt x="335" y="606"/>
                    </a:lnTo>
                    <a:lnTo>
                      <a:pt x="331" y="615"/>
                    </a:lnTo>
                    <a:lnTo>
                      <a:pt x="329" y="625"/>
                    </a:lnTo>
                    <a:lnTo>
                      <a:pt x="327" y="635"/>
                    </a:lnTo>
                    <a:lnTo>
                      <a:pt x="327" y="647"/>
                    </a:lnTo>
                    <a:lnTo>
                      <a:pt x="318" y="646"/>
                    </a:lnTo>
                    <a:lnTo>
                      <a:pt x="306" y="645"/>
                    </a:lnTo>
                    <a:lnTo>
                      <a:pt x="300" y="645"/>
                    </a:lnTo>
                    <a:lnTo>
                      <a:pt x="295" y="645"/>
                    </a:lnTo>
                    <a:lnTo>
                      <a:pt x="289" y="646"/>
                    </a:lnTo>
                    <a:lnTo>
                      <a:pt x="286" y="6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1" name="Freeform 228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10442843" y="2798335"/>
                <a:ext cx="49212" cy="90487"/>
              </a:xfrm>
              <a:custGeom>
                <a:avLst/>
                <a:gdLst>
                  <a:gd name="T0" fmla="*/ 2147483647 w 120"/>
                  <a:gd name="T1" fmla="*/ 2147483647 h 173"/>
                  <a:gd name="T2" fmla="*/ 2147483647 w 120"/>
                  <a:gd name="T3" fmla="*/ 2147483647 h 173"/>
                  <a:gd name="T4" fmla="*/ 2147483647 w 120"/>
                  <a:gd name="T5" fmla="*/ 2147483647 h 173"/>
                  <a:gd name="T6" fmla="*/ 2147483647 w 120"/>
                  <a:gd name="T7" fmla="*/ 2147483647 h 173"/>
                  <a:gd name="T8" fmla="*/ 2147483647 w 120"/>
                  <a:gd name="T9" fmla="*/ 1144647474 h 173"/>
                  <a:gd name="T10" fmla="*/ 2147483647 w 120"/>
                  <a:gd name="T11" fmla="*/ 572323998 h 173"/>
                  <a:gd name="T12" fmla="*/ 2147483647 w 120"/>
                  <a:gd name="T13" fmla="*/ 286161738 h 173"/>
                  <a:gd name="T14" fmla="*/ 2147483647 w 120"/>
                  <a:gd name="T15" fmla="*/ 143080869 h 173"/>
                  <a:gd name="T16" fmla="*/ 2147483647 w 120"/>
                  <a:gd name="T17" fmla="*/ 0 h 173"/>
                  <a:gd name="T18" fmla="*/ 2147483647 w 120"/>
                  <a:gd name="T19" fmla="*/ 0 h 173"/>
                  <a:gd name="T20" fmla="*/ 1862279274 w 120"/>
                  <a:gd name="T21" fmla="*/ 143080869 h 173"/>
                  <a:gd name="T22" fmla="*/ 1655247260 w 120"/>
                  <a:gd name="T23" fmla="*/ 429243130 h 173"/>
                  <a:gd name="T24" fmla="*/ 1448383388 w 120"/>
                  <a:gd name="T25" fmla="*/ 715404867 h 173"/>
                  <a:gd name="T26" fmla="*/ 1310474140 w 120"/>
                  <a:gd name="T27" fmla="*/ 1144647474 h 173"/>
                  <a:gd name="T28" fmla="*/ 1103610268 w 120"/>
                  <a:gd name="T29" fmla="*/ 1717245025 h 173"/>
                  <a:gd name="T30" fmla="*/ 1034655644 w 120"/>
                  <a:gd name="T31" fmla="*/ 2146488155 h 173"/>
                  <a:gd name="T32" fmla="*/ 1034655644 w 120"/>
                  <a:gd name="T33" fmla="*/ 2147483647 h 173"/>
                  <a:gd name="T34" fmla="*/ 965532878 w 120"/>
                  <a:gd name="T35" fmla="*/ 2147483647 h 173"/>
                  <a:gd name="T36" fmla="*/ 827623630 w 120"/>
                  <a:gd name="T37" fmla="*/ 2147483647 h 173"/>
                  <a:gd name="T38" fmla="*/ 689714382 w 120"/>
                  <a:gd name="T39" fmla="*/ 2147483647 h 173"/>
                  <a:gd name="T40" fmla="*/ 551805134 w 120"/>
                  <a:gd name="T41" fmla="*/ 2147483647 h 173"/>
                  <a:gd name="T42" fmla="*/ 275818496 w 120"/>
                  <a:gd name="T43" fmla="*/ 2147483647 h 173"/>
                  <a:gd name="T44" fmla="*/ 0 w 120"/>
                  <a:gd name="T45" fmla="*/ 2147483647 h 173"/>
                  <a:gd name="T46" fmla="*/ 344941262 w 120"/>
                  <a:gd name="T47" fmla="*/ 2147483647 h 173"/>
                  <a:gd name="T48" fmla="*/ 689714382 w 120"/>
                  <a:gd name="T49" fmla="*/ 2147483647 h 173"/>
                  <a:gd name="T50" fmla="*/ 1034655644 w 120"/>
                  <a:gd name="T51" fmla="*/ 2147483647 h 173"/>
                  <a:gd name="T52" fmla="*/ 1379428764 w 120"/>
                  <a:gd name="T53" fmla="*/ 2147483647 h 173"/>
                  <a:gd name="T54" fmla="*/ 1655247260 w 120"/>
                  <a:gd name="T55" fmla="*/ 2147483647 h 173"/>
                  <a:gd name="T56" fmla="*/ 2069143146 w 120"/>
                  <a:gd name="T57" fmla="*/ 2147483647 h 173"/>
                  <a:gd name="T58" fmla="*/ 2147483647 w 120"/>
                  <a:gd name="T59" fmla="*/ 2147483647 h 173"/>
                  <a:gd name="T60" fmla="*/ 2147483647 w 120"/>
                  <a:gd name="T61" fmla="*/ 2147483647 h 173"/>
                  <a:gd name="T62" fmla="*/ 2147483647 w 120"/>
                  <a:gd name="T63" fmla="*/ 2147483647 h 173"/>
                  <a:gd name="T64" fmla="*/ 2147483647 w 120"/>
                  <a:gd name="T65" fmla="*/ 2147483647 h 173"/>
                  <a:gd name="T66" fmla="*/ 2147483647 w 120"/>
                  <a:gd name="T67" fmla="*/ 2147483647 h 173"/>
                  <a:gd name="T68" fmla="*/ 2147483647 w 120"/>
                  <a:gd name="T69" fmla="*/ 2147483647 h 173"/>
                  <a:gd name="T70" fmla="*/ 2147483647 w 120"/>
                  <a:gd name="T71" fmla="*/ 2147483647 h 173"/>
                  <a:gd name="T72" fmla="*/ 2147483647 w 120"/>
                  <a:gd name="T73" fmla="*/ 2147483647 h 173"/>
                  <a:gd name="T74" fmla="*/ 2147483647 w 120"/>
                  <a:gd name="T75" fmla="*/ 2147483647 h 173"/>
                  <a:gd name="T76" fmla="*/ 2147483647 w 120"/>
                  <a:gd name="T77" fmla="*/ 2147483647 h 173"/>
                  <a:gd name="T78" fmla="*/ 2147483647 w 120"/>
                  <a:gd name="T79" fmla="*/ 2147483647 h 173"/>
                  <a:gd name="T80" fmla="*/ 2147483647 w 120"/>
                  <a:gd name="T81" fmla="*/ 2147483647 h 173"/>
                  <a:gd name="T82" fmla="*/ 2147483647 w 120"/>
                  <a:gd name="T83" fmla="*/ 2147483647 h 173"/>
                  <a:gd name="T84" fmla="*/ 2147483647 w 120"/>
                  <a:gd name="T85" fmla="*/ 2147483647 h 173"/>
                  <a:gd name="T86" fmla="*/ 2147483647 w 120"/>
                  <a:gd name="T87" fmla="*/ 2147483647 h 173"/>
                  <a:gd name="T88" fmla="*/ 2147483647 w 120"/>
                  <a:gd name="T89" fmla="*/ 2147483647 h 1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2" name="Freeform 229"/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10150743" y="2637997"/>
                <a:ext cx="84137" cy="58738"/>
              </a:xfrm>
              <a:custGeom>
                <a:avLst/>
                <a:gdLst>
                  <a:gd name="T0" fmla="*/ 2147483647 w 200"/>
                  <a:gd name="T1" fmla="*/ 2147483647 h 98"/>
                  <a:gd name="T2" fmla="*/ 2147483647 w 200"/>
                  <a:gd name="T3" fmla="*/ 2147483647 h 98"/>
                  <a:gd name="T4" fmla="*/ 2147483647 w 200"/>
                  <a:gd name="T5" fmla="*/ 2147483647 h 98"/>
                  <a:gd name="T6" fmla="*/ 2147483647 w 200"/>
                  <a:gd name="T7" fmla="*/ 2147483647 h 98"/>
                  <a:gd name="T8" fmla="*/ 2147483647 w 200"/>
                  <a:gd name="T9" fmla="*/ 2147483647 h 98"/>
                  <a:gd name="T10" fmla="*/ 2147483647 w 200"/>
                  <a:gd name="T11" fmla="*/ 2147483647 h 98"/>
                  <a:gd name="T12" fmla="*/ 2147483647 w 200"/>
                  <a:gd name="T13" fmla="*/ 2147483647 h 98"/>
                  <a:gd name="T14" fmla="*/ 2147483647 w 200"/>
                  <a:gd name="T15" fmla="*/ 2147483647 h 98"/>
                  <a:gd name="T16" fmla="*/ 2147483647 w 200"/>
                  <a:gd name="T17" fmla="*/ 2147483647 h 98"/>
                  <a:gd name="T18" fmla="*/ 2147483647 w 200"/>
                  <a:gd name="T19" fmla="*/ 2147483647 h 98"/>
                  <a:gd name="T20" fmla="*/ 2147483647 w 200"/>
                  <a:gd name="T21" fmla="*/ 2147483647 h 98"/>
                  <a:gd name="T22" fmla="*/ 2147483647 w 200"/>
                  <a:gd name="T23" fmla="*/ 2147483647 h 98"/>
                  <a:gd name="T24" fmla="*/ 2147483647 w 200"/>
                  <a:gd name="T25" fmla="*/ 2147483647 h 98"/>
                  <a:gd name="T26" fmla="*/ 2147483647 w 200"/>
                  <a:gd name="T27" fmla="*/ 2147483647 h 98"/>
                  <a:gd name="T28" fmla="*/ 2147483647 w 200"/>
                  <a:gd name="T29" fmla="*/ 2147483647 h 98"/>
                  <a:gd name="T30" fmla="*/ 2147483647 w 200"/>
                  <a:gd name="T31" fmla="*/ 2147483647 h 98"/>
                  <a:gd name="T32" fmla="*/ 2147483647 w 200"/>
                  <a:gd name="T33" fmla="*/ 2147483647 h 98"/>
                  <a:gd name="T34" fmla="*/ 2147483647 w 200"/>
                  <a:gd name="T35" fmla="*/ 2147483647 h 98"/>
                  <a:gd name="T36" fmla="*/ 2147483647 w 200"/>
                  <a:gd name="T37" fmla="*/ 2147483647 h 98"/>
                  <a:gd name="T38" fmla="*/ 2147483647 w 200"/>
                  <a:gd name="T39" fmla="*/ 2147483647 h 98"/>
                  <a:gd name="T40" fmla="*/ 2147483647 w 200"/>
                  <a:gd name="T41" fmla="*/ 2147483647 h 98"/>
                  <a:gd name="T42" fmla="*/ 2147483647 w 200"/>
                  <a:gd name="T43" fmla="*/ 2147483647 h 98"/>
                  <a:gd name="T44" fmla="*/ 2147483647 w 200"/>
                  <a:gd name="T45" fmla="*/ 2147483647 h 98"/>
                  <a:gd name="T46" fmla="*/ 2147483647 w 200"/>
                  <a:gd name="T47" fmla="*/ 2147483647 h 98"/>
                  <a:gd name="T48" fmla="*/ 2147483647 w 200"/>
                  <a:gd name="T49" fmla="*/ 2147483647 h 98"/>
                  <a:gd name="T50" fmla="*/ 2084598926 w 200"/>
                  <a:gd name="T51" fmla="*/ 2147483647 h 98"/>
                  <a:gd name="T52" fmla="*/ 1637911806 w 200"/>
                  <a:gd name="T53" fmla="*/ 2147483647 h 98"/>
                  <a:gd name="T54" fmla="*/ 1116717588 w 200"/>
                  <a:gd name="T55" fmla="*/ 2147483647 h 98"/>
                  <a:gd name="T56" fmla="*/ 670030468 w 200"/>
                  <a:gd name="T57" fmla="*/ 2147483647 h 98"/>
                  <a:gd name="T58" fmla="*/ 297850449 w 200"/>
                  <a:gd name="T59" fmla="*/ 2147483647 h 98"/>
                  <a:gd name="T60" fmla="*/ 74506679 w 200"/>
                  <a:gd name="T61" fmla="*/ 2147483647 h 98"/>
                  <a:gd name="T62" fmla="*/ 0 w 200"/>
                  <a:gd name="T63" fmla="*/ 2147483647 h 98"/>
                  <a:gd name="T64" fmla="*/ 372180440 w 200"/>
                  <a:gd name="T65" fmla="*/ 2147483647 h 98"/>
                  <a:gd name="T66" fmla="*/ 744537568 w 200"/>
                  <a:gd name="T67" fmla="*/ 2147483647 h 98"/>
                  <a:gd name="T68" fmla="*/ 1042388017 w 200"/>
                  <a:gd name="T69" fmla="*/ 2147483647 h 98"/>
                  <a:gd name="T70" fmla="*/ 1489075136 w 200"/>
                  <a:gd name="T71" fmla="*/ 2147483647 h 98"/>
                  <a:gd name="T72" fmla="*/ 1712418485 w 200"/>
                  <a:gd name="T73" fmla="*/ 2147483647 h 98"/>
                  <a:gd name="T74" fmla="*/ 2010091826 w 200"/>
                  <a:gd name="T75" fmla="*/ 2147483647 h 98"/>
                  <a:gd name="T76" fmla="*/ 2147483647 w 200"/>
                  <a:gd name="T77" fmla="*/ 2147483647 h 98"/>
                  <a:gd name="T78" fmla="*/ 2147483647 w 200"/>
                  <a:gd name="T79" fmla="*/ 2147483647 h 98"/>
                  <a:gd name="T80" fmla="*/ 2147483647 w 200"/>
                  <a:gd name="T81" fmla="*/ 2147483647 h 98"/>
                  <a:gd name="T82" fmla="*/ 2147483647 w 200"/>
                  <a:gd name="T83" fmla="*/ 1937746841 h 98"/>
                  <a:gd name="T84" fmla="*/ 2147483647 w 200"/>
                  <a:gd name="T85" fmla="*/ 861101477 h 98"/>
                  <a:gd name="T86" fmla="*/ 2147483647 w 200"/>
                  <a:gd name="T87" fmla="*/ 0 h 98"/>
                  <a:gd name="T88" fmla="*/ 2147483647 w 200"/>
                  <a:gd name="T89" fmla="*/ 2147483647 h 98"/>
                  <a:gd name="T90" fmla="*/ 2147483647 w 200"/>
                  <a:gd name="T91" fmla="*/ 2147483647 h 98"/>
                  <a:gd name="T92" fmla="*/ 2147483647 w 200"/>
                  <a:gd name="T93" fmla="*/ 2147483647 h 98"/>
                  <a:gd name="T94" fmla="*/ 2147483647 w 200"/>
                  <a:gd name="T95" fmla="*/ 2147483647 h 98"/>
                  <a:gd name="T96" fmla="*/ 2147483647 w 200"/>
                  <a:gd name="T97" fmla="*/ 2147483647 h 98"/>
                  <a:gd name="T98" fmla="*/ 2147483647 w 200"/>
                  <a:gd name="T99" fmla="*/ 2147483647 h 98"/>
                  <a:gd name="T100" fmla="*/ 2147483647 w 200"/>
                  <a:gd name="T101" fmla="*/ 2147483647 h 98"/>
                  <a:gd name="T102" fmla="*/ 2147483647 w 200"/>
                  <a:gd name="T103" fmla="*/ 2147483647 h 98"/>
                  <a:gd name="T104" fmla="*/ 2147483647 w 200"/>
                  <a:gd name="T105" fmla="*/ 2147483647 h 98"/>
                  <a:gd name="T106" fmla="*/ 2147483647 w 200"/>
                  <a:gd name="T107" fmla="*/ 2147483647 h 98"/>
                  <a:gd name="T108" fmla="*/ 2147483647 w 200"/>
                  <a:gd name="T109" fmla="*/ 2147483647 h 98"/>
                  <a:gd name="T110" fmla="*/ 2147483647 w 200"/>
                  <a:gd name="T111" fmla="*/ 2147483647 h 98"/>
                  <a:gd name="T112" fmla="*/ 2147483647 w 200"/>
                  <a:gd name="T113" fmla="*/ 2147483647 h 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3" name="Freeform 230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10088830" y="2457022"/>
                <a:ext cx="84138" cy="73025"/>
              </a:xfrm>
              <a:custGeom>
                <a:avLst/>
                <a:gdLst>
                  <a:gd name="T0" fmla="*/ 0 w 186"/>
                  <a:gd name="T1" fmla="*/ 2147483647 h 142"/>
                  <a:gd name="T2" fmla="*/ 185185476 w 186"/>
                  <a:gd name="T3" fmla="*/ 2147483647 h 142"/>
                  <a:gd name="T4" fmla="*/ 277676208 w 186"/>
                  <a:gd name="T5" fmla="*/ 2147483647 h 142"/>
                  <a:gd name="T6" fmla="*/ 277676208 w 186"/>
                  <a:gd name="T7" fmla="*/ 2147483647 h 142"/>
                  <a:gd name="T8" fmla="*/ 833028173 w 186"/>
                  <a:gd name="T9" fmla="*/ 2147483647 h 142"/>
                  <a:gd name="T10" fmla="*/ 1573565613 w 186"/>
                  <a:gd name="T11" fmla="*/ 2147483647 h 142"/>
                  <a:gd name="T12" fmla="*/ 1851241369 w 186"/>
                  <a:gd name="T13" fmla="*/ 2147483647 h 142"/>
                  <a:gd name="T14" fmla="*/ 2128917577 w 186"/>
                  <a:gd name="T15" fmla="*/ 2147483647 h 142"/>
                  <a:gd name="T16" fmla="*/ 2147483647 w 186"/>
                  <a:gd name="T17" fmla="*/ 2147483647 h 142"/>
                  <a:gd name="T18" fmla="*/ 2147483647 w 186"/>
                  <a:gd name="T19" fmla="*/ 2147483647 h 142"/>
                  <a:gd name="T20" fmla="*/ 2147483647 w 186"/>
                  <a:gd name="T21" fmla="*/ 2147483647 h 142"/>
                  <a:gd name="T22" fmla="*/ 2147483647 w 186"/>
                  <a:gd name="T23" fmla="*/ 2147483647 h 142"/>
                  <a:gd name="T24" fmla="*/ 2147483647 w 186"/>
                  <a:gd name="T25" fmla="*/ 2147483647 h 142"/>
                  <a:gd name="T26" fmla="*/ 2147483647 w 186"/>
                  <a:gd name="T27" fmla="*/ 2147483647 h 142"/>
                  <a:gd name="T28" fmla="*/ 2147483647 w 186"/>
                  <a:gd name="T29" fmla="*/ 2147483647 h 142"/>
                  <a:gd name="T30" fmla="*/ 2147483647 w 186"/>
                  <a:gd name="T31" fmla="*/ 2147483647 h 142"/>
                  <a:gd name="T32" fmla="*/ 2147483647 w 186"/>
                  <a:gd name="T33" fmla="*/ 2147483647 h 142"/>
                  <a:gd name="T34" fmla="*/ 2147483647 w 186"/>
                  <a:gd name="T35" fmla="*/ 2147483647 h 142"/>
                  <a:gd name="T36" fmla="*/ 2147483647 w 186"/>
                  <a:gd name="T37" fmla="*/ 2147483647 h 142"/>
                  <a:gd name="T38" fmla="*/ 2147483647 w 186"/>
                  <a:gd name="T39" fmla="*/ 2147483647 h 142"/>
                  <a:gd name="T40" fmla="*/ 2147483647 w 186"/>
                  <a:gd name="T41" fmla="*/ 1904140246 h 142"/>
                  <a:gd name="T42" fmla="*/ 2147483647 w 186"/>
                  <a:gd name="T43" fmla="*/ 1360137937 h 142"/>
                  <a:gd name="T44" fmla="*/ 2147483647 w 186"/>
                  <a:gd name="T45" fmla="*/ 816135628 h 142"/>
                  <a:gd name="T46" fmla="*/ 2147483647 w 186"/>
                  <a:gd name="T47" fmla="*/ 408067814 h 142"/>
                  <a:gd name="T48" fmla="*/ 2147483647 w 186"/>
                  <a:gd name="T49" fmla="*/ 135934495 h 142"/>
                  <a:gd name="T50" fmla="*/ 2147483647 w 186"/>
                  <a:gd name="T51" fmla="*/ 272133319 h 142"/>
                  <a:gd name="T52" fmla="*/ 2147483647 w 186"/>
                  <a:gd name="T53" fmla="*/ 135934495 h 142"/>
                  <a:gd name="T54" fmla="*/ 2147483647 w 186"/>
                  <a:gd name="T55" fmla="*/ 1360137937 h 142"/>
                  <a:gd name="T56" fmla="*/ 2147483647 w 186"/>
                  <a:gd name="T57" fmla="*/ 2147483647 h 142"/>
                  <a:gd name="T58" fmla="*/ 2147483647 w 186"/>
                  <a:gd name="T59" fmla="*/ 2147483647 h 142"/>
                  <a:gd name="T60" fmla="*/ 2147483647 w 186"/>
                  <a:gd name="T61" fmla="*/ 2147483647 h 142"/>
                  <a:gd name="T62" fmla="*/ 2147483647 w 186"/>
                  <a:gd name="T63" fmla="*/ 2147483647 h 142"/>
                  <a:gd name="T64" fmla="*/ 2147483647 w 186"/>
                  <a:gd name="T65" fmla="*/ 2147483647 h 142"/>
                  <a:gd name="T66" fmla="*/ 2147483647 w 186"/>
                  <a:gd name="T67" fmla="*/ 2147483647 h 142"/>
                  <a:gd name="T68" fmla="*/ 2147483647 w 186"/>
                  <a:gd name="T69" fmla="*/ 2147483647 h 142"/>
                  <a:gd name="T70" fmla="*/ 2147483647 w 186"/>
                  <a:gd name="T71" fmla="*/ 2147483647 h 142"/>
                  <a:gd name="T72" fmla="*/ 740537441 w 186"/>
                  <a:gd name="T73" fmla="*/ 2147483647 h 1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4" name="Freeform 231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10069780" y="2520522"/>
                <a:ext cx="84138" cy="57150"/>
              </a:xfrm>
              <a:custGeom>
                <a:avLst/>
                <a:gdLst>
                  <a:gd name="T0" fmla="*/ 2147483647 w 192"/>
                  <a:gd name="T1" fmla="*/ 2147483647 h 105"/>
                  <a:gd name="T2" fmla="*/ 2147483647 w 192"/>
                  <a:gd name="T3" fmla="*/ 2147483647 h 105"/>
                  <a:gd name="T4" fmla="*/ 2147483647 w 192"/>
                  <a:gd name="T5" fmla="*/ 2147483647 h 105"/>
                  <a:gd name="T6" fmla="*/ 2147483647 w 192"/>
                  <a:gd name="T7" fmla="*/ 2147483647 h 105"/>
                  <a:gd name="T8" fmla="*/ 2147483647 w 192"/>
                  <a:gd name="T9" fmla="*/ 2147483647 h 105"/>
                  <a:gd name="T10" fmla="*/ 2147483647 w 192"/>
                  <a:gd name="T11" fmla="*/ 2147483647 h 105"/>
                  <a:gd name="T12" fmla="*/ 2147483647 w 192"/>
                  <a:gd name="T13" fmla="*/ 2147483647 h 105"/>
                  <a:gd name="T14" fmla="*/ 2147483647 w 192"/>
                  <a:gd name="T15" fmla="*/ 2147483647 h 105"/>
                  <a:gd name="T16" fmla="*/ 2147483647 w 192"/>
                  <a:gd name="T17" fmla="*/ 2147483647 h 105"/>
                  <a:gd name="T18" fmla="*/ 2147483647 w 192"/>
                  <a:gd name="T19" fmla="*/ 2147483647 h 105"/>
                  <a:gd name="T20" fmla="*/ 2147483647 w 192"/>
                  <a:gd name="T21" fmla="*/ 2147483647 h 105"/>
                  <a:gd name="T22" fmla="*/ 2147483647 w 192"/>
                  <a:gd name="T23" fmla="*/ 2147483647 h 105"/>
                  <a:gd name="T24" fmla="*/ 2147483647 w 192"/>
                  <a:gd name="T25" fmla="*/ 2147483647 h 105"/>
                  <a:gd name="T26" fmla="*/ 2147483647 w 192"/>
                  <a:gd name="T27" fmla="*/ 2147483647 h 105"/>
                  <a:gd name="T28" fmla="*/ 2147483647 w 192"/>
                  <a:gd name="T29" fmla="*/ 2147483647 h 105"/>
                  <a:gd name="T30" fmla="*/ 2147483647 w 192"/>
                  <a:gd name="T31" fmla="*/ 2147483647 h 105"/>
                  <a:gd name="T32" fmla="*/ 2147483647 w 192"/>
                  <a:gd name="T33" fmla="*/ 2147483647 h 105"/>
                  <a:gd name="T34" fmla="*/ 1598888875 w 192"/>
                  <a:gd name="T35" fmla="*/ 2147483647 h 105"/>
                  <a:gd name="T36" fmla="*/ 0 w 192"/>
                  <a:gd name="T37" fmla="*/ 2147483647 h 105"/>
                  <a:gd name="T38" fmla="*/ 0 w 192"/>
                  <a:gd name="T39" fmla="*/ 2096243494 h 105"/>
                  <a:gd name="T40" fmla="*/ 589165390 w 192"/>
                  <a:gd name="T41" fmla="*/ 1128701070 h 105"/>
                  <a:gd name="T42" fmla="*/ 1346554193 w 192"/>
                  <a:gd name="T43" fmla="*/ 644929586 h 105"/>
                  <a:gd name="T44" fmla="*/ 2147483647 w 192"/>
                  <a:gd name="T45" fmla="*/ 161158101 h 105"/>
                  <a:gd name="T46" fmla="*/ 2147483647 w 192"/>
                  <a:gd name="T47" fmla="*/ 0 h 105"/>
                  <a:gd name="T48" fmla="*/ 2147483647 w 192"/>
                  <a:gd name="T49" fmla="*/ 322612839 h 105"/>
                  <a:gd name="T50" fmla="*/ 2147483647 w 192"/>
                  <a:gd name="T51" fmla="*/ 806087687 h 105"/>
                  <a:gd name="T52" fmla="*/ 2147483647 w 192"/>
                  <a:gd name="T53" fmla="*/ 1128701070 h 105"/>
                  <a:gd name="T54" fmla="*/ 2147483647 w 192"/>
                  <a:gd name="T55" fmla="*/ 1128701070 h 105"/>
                  <a:gd name="T56" fmla="*/ 2147483647 w 192"/>
                  <a:gd name="T57" fmla="*/ 1128701070 h 105"/>
                  <a:gd name="T58" fmla="*/ 2147483647 w 192"/>
                  <a:gd name="T59" fmla="*/ 967542424 h 105"/>
                  <a:gd name="T60" fmla="*/ 2147483647 w 192"/>
                  <a:gd name="T61" fmla="*/ 1773630656 h 105"/>
                  <a:gd name="T62" fmla="*/ 2147483647 w 192"/>
                  <a:gd name="T63" fmla="*/ 2147483647 h 105"/>
                  <a:gd name="T64" fmla="*/ 2147483647 w 192"/>
                  <a:gd name="T65" fmla="*/ 2147483647 h 105"/>
                  <a:gd name="T66" fmla="*/ 2147483647 w 192"/>
                  <a:gd name="T67" fmla="*/ 2147483647 h 105"/>
                  <a:gd name="T68" fmla="*/ 2147483647 w 192"/>
                  <a:gd name="T69" fmla="*/ 2147483647 h 105"/>
                  <a:gd name="T70" fmla="*/ 2147483647 w 192"/>
                  <a:gd name="T71" fmla="*/ 2147483647 h 105"/>
                  <a:gd name="T72" fmla="*/ 2147483647 w 192"/>
                  <a:gd name="T73" fmla="*/ 2147483647 h 105"/>
                  <a:gd name="T74" fmla="*/ 2147483647 w 192"/>
                  <a:gd name="T75" fmla="*/ 2147483647 h 105"/>
                  <a:gd name="T76" fmla="*/ 2147483647 w 192"/>
                  <a:gd name="T77" fmla="*/ 2147483647 h 105"/>
                  <a:gd name="T78" fmla="*/ 2147483647 w 192"/>
                  <a:gd name="T79" fmla="*/ 2147483647 h 105"/>
                  <a:gd name="T80" fmla="*/ 2147483647 w 192"/>
                  <a:gd name="T81" fmla="*/ 2147483647 h 105"/>
                  <a:gd name="T82" fmla="*/ 2147483647 w 192"/>
                  <a:gd name="T83" fmla="*/ 2147483647 h 105"/>
                  <a:gd name="T84" fmla="*/ 2147483647 w 192"/>
                  <a:gd name="T85" fmla="*/ 2147483647 h 10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5" name="Freeform 232"/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10830193" y="3074560"/>
                <a:ext cx="33337" cy="131762"/>
              </a:xfrm>
              <a:custGeom>
                <a:avLst/>
                <a:gdLst>
                  <a:gd name="T0" fmla="*/ 2147483647 w 80"/>
                  <a:gd name="T1" fmla="*/ 0 h 254"/>
                  <a:gd name="T2" fmla="*/ 2147483647 w 80"/>
                  <a:gd name="T3" fmla="*/ 279056354 h 254"/>
                  <a:gd name="T4" fmla="*/ 2147483647 w 80"/>
                  <a:gd name="T5" fmla="*/ 558381419 h 254"/>
                  <a:gd name="T6" fmla="*/ 2147483647 w 80"/>
                  <a:gd name="T7" fmla="*/ 977100305 h 254"/>
                  <a:gd name="T8" fmla="*/ 2147483647 w 80"/>
                  <a:gd name="T9" fmla="*/ 1395819191 h 254"/>
                  <a:gd name="T10" fmla="*/ 2147483647 w 80"/>
                  <a:gd name="T11" fmla="*/ 2147483647 h 254"/>
                  <a:gd name="T12" fmla="*/ 2147483647 w 80"/>
                  <a:gd name="T13" fmla="*/ 2147483647 h 254"/>
                  <a:gd name="T14" fmla="*/ 2147483647 w 80"/>
                  <a:gd name="T15" fmla="*/ 2147483647 h 254"/>
                  <a:gd name="T16" fmla="*/ 2147483647 w 80"/>
                  <a:gd name="T17" fmla="*/ 2147483647 h 254"/>
                  <a:gd name="T18" fmla="*/ 2147483647 w 80"/>
                  <a:gd name="T19" fmla="*/ 2147483647 h 254"/>
                  <a:gd name="T20" fmla="*/ 2147483647 w 80"/>
                  <a:gd name="T21" fmla="*/ 2147483647 h 254"/>
                  <a:gd name="T22" fmla="*/ 2147483647 w 80"/>
                  <a:gd name="T23" fmla="*/ 2147483647 h 254"/>
                  <a:gd name="T24" fmla="*/ 2147483647 w 80"/>
                  <a:gd name="T25" fmla="*/ 2147483647 h 254"/>
                  <a:gd name="T26" fmla="*/ 2147483647 w 80"/>
                  <a:gd name="T27" fmla="*/ 2147483647 h 254"/>
                  <a:gd name="T28" fmla="*/ 2147483647 w 80"/>
                  <a:gd name="T29" fmla="*/ 2147483647 h 254"/>
                  <a:gd name="T30" fmla="*/ 2147483647 w 80"/>
                  <a:gd name="T31" fmla="*/ 2147483647 h 254"/>
                  <a:gd name="T32" fmla="*/ 0 w 80"/>
                  <a:gd name="T33" fmla="*/ 2147483647 h 254"/>
                  <a:gd name="T34" fmla="*/ 289473505 w 80"/>
                  <a:gd name="T35" fmla="*/ 2147483647 h 254"/>
                  <a:gd name="T36" fmla="*/ 796008385 w 80"/>
                  <a:gd name="T37" fmla="*/ 2147483647 h 254"/>
                  <a:gd name="T38" fmla="*/ 1230131550 w 80"/>
                  <a:gd name="T39" fmla="*/ 2147483647 h 254"/>
                  <a:gd name="T40" fmla="*/ 1592016769 w 80"/>
                  <a:gd name="T41" fmla="*/ 2147483647 h 254"/>
                  <a:gd name="T42" fmla="*/ 2026139934 w 80"/>
                  <a:gd name="T43" fmla="*/ 2147483647 h 254"/>
                  <a:gd name="T44" fmla="*/ 2147483647 w 80"/>
                  <a:gd name="T45" fmla="*/ 0 h 25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0" h="254">
                    <a:moveTo>
                      <a:pt x="33" y="0"/>
                    </a:moveTo>
                    <a:lnTo>
                      <a:pt x="37" y="2"/>
                    </a:lnTo>
                    <a:lnTo>
                      <a:pt x="40" y="4"/>
                    </a:lnTo>
                    <a:lnTo>
                      <a:pt x="43" y="7"/>
                    </a:lnTo>
                    <a:lnTo>
                      <a:pt x="46" y="10"/>
                    </a:lnTo>
                    <a:lnTo>
                      <a:pt x="52" y="18"/>
                    </a:lnTo>
                    <a:lnTo>
                      <a:pt x="56" y="25"/>
                    </a:lnTo>
                    <a:lnTo>
                      <a:pt x="62" y="32"/>
                    </a:lnTo>
                    <a:lnTo>
                      <a:pt x="67" y="38"/>
                    </a:lnTo>
                    <a:lnTo>
                      <a:pt x="70" y="40"/>
                    </a:lnTo>
                    <a:lnTo>
                      <a:pt x="73" y="42"/>
                    </a:lnTo>
                    <a:lnTo>
                      <a:pt x="76" y="43"/>
                    </a:lnTo>
                    <a:lnTo>
                      <a:pt x="80" y="44"/>
                    </a:lnTo>
                    <a:lnTo>
                      <a:pt x="80" y="53"/>
                    </a:lnTo>
                    <a:lnTo>
                      <a:pt x="80" y="62"/>
                    </a:lnTo>
                    <a:lnTo>
                      <a:pt x="53" y="254"/>
                    </a:lnTo>
                    <a:lnTo>
                      <a:pt x="0" y="93"/>
                    </a:lnTo>
                    <a:lnTo>
                      <a:pt x="4" y="88"/>
                    </a:lnTo>
                    <a:lnTo>
                      <a:pt x="11" y="71"/>
                    </a:lnTo>
                    <a:lnTo>
                      <a:pt x="17" y="57"/>
                    </a:lnTo>
                    <a:lnTo>
                      <a:pt x="22" y="41"/>
                    </a:lnTo>
                    <a:lnTo>
                      <a:pt x="28" y="23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6" name="Freeform 233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0779393" y="3126947"/>
                <a:ext cx="69850" cy="130175"/>
              </a:xfrm>
              <a:custGeom>
                <a:avLst/>
                <a:gdLst>
                  <a:gd name="T0" fmla="*/ 2147483647 w 167"/>
                  <a:gd name="T1" fmla="*/ 0 h 259"/>
                  <a:gd name="T2" fmla="*/ 2147483647 w 167"/>
                  <a:gd name="T3" fmla="*/ 2147483647 h 259"/>
                  <a:gd name="T4" fmla="*/ 2147483647 w 167"/>
                  <a:gd name="T5" fmla="*/ 2147483647 h 259"/>
                  <a:gd name="T6" fmla="*/ 2147483647 w 167"/>
                  <a:gd name="T7" fmla="*/ 2147483647 h 259"/>
                  <a:gd name="T8" fmla="*/ 2147483647 w 167"/>
                  <a:gd name="T9" fmla="*/ 2147483647 h 259"/>
                  <a:gd name="T10" fmla="*/ 2147483647 w 167"/>
                  <a:gd name="T11" fmla="*/ 2147483647 h 259"/>
                  <a:gd name="T12" fmla="*/ 2147483647 w 167"/>
                  <a:gd name="T13" fmla="*/ 2147483647 h 259"/>
                  <a:gd name="T14" fmla="*/ 2147483647 w 167"/>
                  <a:gd name="T15" fmla="*/ 2147483647 h 259"/>
                  <a:gd name="T16" fmla="*/ 2147483647 w 167"/>
                  <a:gd name="T17" fmla="*/ 2147483647 h 259"/>
                  <a:gd name="T18" fmla="*/ 2147483647 w 167"/>
                  <a:gd name="T19" fmla="*/ 2147483647 h 259"/>
                  <a:gd name="T20" fmla="*/ 2147483647 w 167"/>
                  <a:gd name="T21" fmla="*/ 2147483647 h 259"/>
                  <a:gd name="T22" fmla="*/ 2147483647 w 167"/>
                  <a:gd name="T23" fmla="*/ 2147483647 h 259"/>
                  <a:gd name="T24" fmla="*/ 2147483647 w 167"/>
                  <a:gd name="T25" fmla="*/ 2147483647 h 259"/>
                  <a:gd name="T26" fmla="*/ 2147483647 w 167"/>
                  <a:gd name="T27" fmla="*/ 2147483647 h 259"/>
                  <a:gd name="T28" fmla="*/ 2147483647 w 167"/>
                  <a:gd name="T29" fmla="*/ 2147483647 h 259"/>
                  <a:gd name="T30" fmla="*/ 2147483647 w 167"/>
                  <a:gd name="T31" fmla="*/ 2147483647 h 259"/>
                  <a:gd name="T32" fmla="*/ 2147483647 w 167"/>
                  <a:gd name="T33" fmla="*/ 2147483647 h 259"/>
                  <a:gd name="T34" fmla="*/ 2147483647 w 167"/>
                  <a:gd name="T35" fmla="*/ 2147483647 h 259"/>
                  <a:gd name="T36" fmla="*/ 2147483647 w 167"/>
                  <a:gd name="T37" fmla="*/ 2147483647 h 259"/>
                  <a:gd name="T38" fmla="*/ 2147483647 w 167"/>
                  <a:gd name="T39" fmla="*/ 2147483647 h 259"/>
                  <a:gd name="T40" fmla="*/ 2147483647 w 167"/>
                  <a:gd name="T41" fmla="*/ 2147483647 h 259"/>
                  <a:gd name="T42" fmla="*/ 2147483647 w 167"/>
                  <a:gd name="T43" fmla="*/ 2147483647 h 259"/>
                  <a:gd name="T44" fmla="*/ 2147483647 w 167"/>
                  <a:gd name="T45" fmla="*/ 2147483647 h 259"/>
                  <a:gd name="T46" fmla="*/ 2147483647 w 167"/>
                  <a:gd name="T47" fmla="*/ 2147483647 h 259"/>
                  <a:gd name="T48" fmla="*/ 2122074788 w 167"/>
                  <a:gd name="T49" fmla="*/ 2147483647 h 259"/>
                  <a:gd name="T50" fmla="*/ 2048773278 w 167"/>
                  <a:gd name="T51" fmla="*/ 2147483647 h 259"/>
                  <a:gd name="T52" fmla="*/ 2048773278 w 167"/>
                  <a:gd name="T53" fmla="*/ 2147483647 h 259"/>
                  <a:gd name="T54" fmla="*/ 1536710875 w 167"/>
                  <a:gd name="T55" fmla="*/ 2147483647 h 259"/>
                  <a:gd name="T56" fmla="*/ 1170727408 w 167"/>
                  <a:gd name="T57" fmla="*/ 2147483647 h 259"/>
                  <a:gd name="T58" fmla="*/ 804918775 w 167"/>
                  <a:gd name="T59" fmla="*/ 2147483647 h 259"/>
                  <a:gd name="T60" fmla="*/ 512236819 w 167"/>
                  <a:gd name="T61" fmla="*/ 2147483647 h 259"/>
                  <a:gd name="T62" fmla="*/ 365808633 w 167"/>
                  <a:gd name="T63" fmla="*/ 2147483647 h 259"/>
                  <a:gd name="T64" fmla="*/ 146428604 w 167"/>
                  <a:gd name="T65" fmla="*/ 2147483647 h 259"/>
                  <a:gd name="T66" fmla="*/ 0 w 167"/>
                  <a:gd name="T67" fmla="*/ 2147483647 h 259"/>
                  <a:gd name="T68" fmla="*/ 0 w 167"/>
                  <a:gd name="T69" fmla="*/ 2147483647 h 259"/>
                  <a:gd name="T70" fmla="*/ 0 w 167"/>
                  <a:gd name="T71" fmla="*/ 2147483647 h 259"/>
                  <a:gd name="T72" fmla="*/ 73126676 w 167"/>
                  <a:gd name="T73" fmla="*/ 2147483647 h 259"/>
                  <a:gd name="T74" fmla="*/ 878045451 w 167"/>
                  <a:gd name="T75" fmla="*/ 2147483647 h 259"/>
                  <a:gd name="T76" fmla="*/ 1609837551 w 167"/>
                  <a:gd name="T77" fmla="*/ 2147483647 h 259"/>
                  <a:gd name="T78" fmla="*/ 2147483647 w 167"/>
                  <a:gd name="T79" fmla="*/ 2147483647 h 259"/>
                  <a:gd name="T80" fmla="*/ 2147483647 w 167"/>
                  <a:gd name="T81" fmla="*/ 2147483647 h 259"/>
                  <a:gd name="T82" fmla="*/ 2147483647 w 167"/>
                  <a:gd name="T83" fmla="*/ 2147483647 h 259"/>
                  <a:gd name="T84" fmla="*/ 2147483647 w 167"/>
                  <a:gd name="T85" fmla="*/ 2147483647 h 259"/>
                  <a:gd name="T86" fmla="*/ 2147483647 w 167"/>
                  <a:gd name="T87" fmla="*/ 2147483647 h 259"/>
                  <a:gd name="T88" fmla="*/ 2147483647 w 167"/>
                  <a:gd name="T89" fmla="*/ 2147483647 h 259"/>
                  <a:gd name="T90" fmla="*/ 2147483647 w 167"/>
                  <a:gd name="T91" fmla="*/ 2147483647 h 259"/>
                  <a:gd name="T92" fmla="*/ 2147483647 w 167"/>
                  <a:gd name="T93" fmla="*/ 2147483647 h 259"/>
                  <a:gd name="T94" fmla="*/ 2147483647 w 167"/>
                  <a:gd name="T95" fmla="*/ 2147483647 h 259"/>
                  <a:gd name="T96" fmla="*/ 2147483647 w 167"/>
                  <a:gd name="T97" fmla="*/ 2147483647 h 259"/>
                  <a:gd name="T98" fmla="*/ 2147483647 w 167"/>
                  <a:gd name="T99" fmla="*/ 1650573263 h 259"/>
                  <a:gd name="T100" fmla="*/ 2147483647 w 167"/>
                  <a:gd name="T101" fmla="*/ 0 h 25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67" h="259">
                    <a:moveTo>
                      <a:pt x="114" y="0"/>
                    </a:moveTo>
                    <a:lnTo>
                      <a:pt x="167" y="155"/>
                    </a:lnTo>
                    <a:lnTo>
                      <a:pt x="121" y="259"/>
                    </a:lnTo>
                    <a:lnTo>
                      <a:pt x="113" y="259"/>
                    </a:lnTo>
                    <a:lnTo>
                      <a:pt x="107" y="257"/>
                    </a:lnTo>
                    <a:lnTo>
                      <a:pt x="100" y="254"/>
                    </a:lnTo>
                    <a:lnTo>
                      <a:pt x="95" y="251"/>
                    </a:lnTo>
                    <a:lnTo>
                      <a:pt x="89" y="245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6" y="229"/>
                    </a:lnTo>
                    <a:lnTo>
                      <a:pt x="69" y="217"/>
                    </a:lnTo>
                    <a:lnTo>
                      <a:pt x="65" y="205"/>
                    </a:lnTo>
                    <a:lnTo>
                      <a:pt x="62" y="194"/>
                    </a:lnTo>
                    <a:lnTo>
                      <a:pt x="62" y="185"/>
                    </a:lnTo>
                    <a:lnTo>
                      <a:pt x="55" y="184"/>
                    </a:lnTo>
                    <a:lnTo>
                      <a:pt x="51" y="183"/>
                    </a:lnTo>
                    <a:lnTo>
                      <a:pt x="45" y="182"/>
                    </a:lnTo>
                    <a:lnTo>
                      <a:pt x="42" y="180"/>
                    </a:lnTo>
                    <a:lnTo>
                      <a:pt x="39" y="177"/>
                    </a:lnTo>
                    <a:lnTo>
                      <a:pt x="36" y="174"/>
                    </a:lnTo>
                    <a:lnTo>
                      <a:pt x="34" y="170"/>
                    </a:lnTo>
                    <a:lnTo>
                      <a:pt x="32" y="167"/>
                    </a:lnTo>
                    <a:lnTo>
                      <a:pt x="30" y="158"/>
                    </a:lnTo>
                    <a:lnTo>
                      <a:pt x="29" y="149"/>
                    </a:lnTo>
                    <a:lnTo>
                      <a:pt x="28" y="140"/>
                    </a:lnTo>
                    <a:lnTo>
                      <a:pt x="28" y="129"/>
                    </a:lnTo>
                    <a:lnTo>
                      <a:pt x="21" y="129"/>
                    </a:lnTo>
                    <a:lnTo>
                      <a:pt x="16" y="127"/>
                    </a:lnTo>
                    <a:lnTo>
                      <a:pt x="11" y="125"/>
                    </a:lnTo>
                    <a:lnTo>
                      <a:pt x="7" y="121"/>
                    </a:lnTo>
                    <a:lnTo>
                      <a:pt x="5" y="117"/>
                    </a:lnTo>
                    <a:lnTo>
                      <a:pt x="2" y="112"/>
                    </a:lnTo>
                    <a:lnTo>
                      <a:pt x="0" y="107"/>
                    </a:lnTo>
                    <a:lnTo>
                      <a:pt x="0" y="101"/>
                    </a:lnTo>
                    <a:lnTo>
                      <a:pt x="0" y="75"/>
                    </a:lnTo>
                    <a:lnTo>
                      <a:pt x="1" y="50"/>
                    </a:lnTo>
                    <a:lnTo>
                      <a:pt x="12" y="52"/>
                    </a:lnTo>
                    <a:lnTo>
                      <a:pt x="22" y="53"/>
                    </a:lnTo>
                    <a:lnTo>
                      <a:pt x="32" y="53"/>
                    </a:lnTo>
                    <a:lnTo>
                      <a:pt x="42" y="52"/>
                    </a:lnTo>
                    <a:lnTo>
                      <a:pt x="50" y="51"/>
                    </a:lnTo>
                    <a:lnTo>
                      <a:pt x="58" y="49"/>
                    </a:lnTo>
                    <a:lnTo>
                      <a:pt x="66" y="47"/>
                    </a:lnTo>
                    <a:lnTo>
                      <a:pt x="73" y="44"/>
                    </a:lnTo>
                    <a:lnTo>
                      <a:pt x="79" y="40"/>
                    </a:lnTo>
                    <a:lnTo>
                      <a:pt x="86" y="36"/>
                    </a:lnTo>
                    <a:lnTo>
                      <a:pt x="91" y="31"/>
                    </a:lnTo>
                    <a:lnTo>
                      <a:pt x="97" y="26"/>
                    </a:lnTo>
                    <a:lnTo>
                      <a:pt x="107" y="13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7" name="Freeform 234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9780855" y="2380822"/>
                <a:ext cx="96838" cy="144463"/>
              </a:xfrm>
              <a:custGeom>
                <a:avLst/>
                <a:gdLst>
                  <a:gd name="T0" fmla="*/ 2147483647 w 225"/>
                  <a:gd name="T1" fmla="*/ 2147483647 h 273"/>
                  <a:gd name="T2" fmla="*/ 2147483647 w 225"/>
                  <a:gd name="T3" fmla="*/ 2147483647 h 273"/>
                  <a:gd name="T4" fmla="*/ 2147483647 w 225"/>
                  <a:gd name="T5" fmla="*/ 2147483647 h 273"/>
                  <a:gd name="T6" fmla="*/ 2147483647 w 225"/>
                  <a:gd name="T7" fmla="*/ 2147483647 h 273"/>
                  <a:gd name="T8" fmla="*/ 2147483647 w 225"/>
                  <a:gd name="T9" fmla="*/ 2147483647 h 273"/>
                  <a:gd name="T10" fmla="*/ 2147483647 w 225"/>
                  <a:gd name="T11" fmla="*/ 2147483647 h 273"/>
                  <a:gd name="T12" fmla="*/ 2147483647 w 225"/>
                  <a:gd name="T13" fmla="*/ 2147483647 h 273"/>
                  <a:gd name="T14" fmla="*/ 2147483647 w 225"/>
                  <a:gd name="T15" fmla="*/ 2147483647 h 273"/>
                  <a:gd name="T16" fmla="*/ 2147483647 w 225"/>
                  <a:gd name="T17" fmla="*/ 2147483647 h 273"/>
                  <a:gd name="T18" fmla="*/ 2147483647 w 225"/>
                  <a:gd name="T19" fmla="*/ 2147483647 h 273"/>
                  <a:gd name="T20" fmla="*/ 2147483647 w 225"/>
                  <a:gd name="T21" fmla="*/ 2147483647 h 273"/>
                  <a:gd name="T22" fmla="*/ 2147483647 w 225"/>
                  <a:gd name="T23" fmla="*/ 2147483647 h 273"/>
                  <a:gd name="T24" fmla="*/ 2147483647 w 225"/>
                  <a:gd name="T25" fmla="*/ 2147483647 h 273"/>
                  <a:gd name="T26" fmla="*/ 2147483647 w 225"/>
                  <a:gd name="T27" fmla="*/ 2147483647 h 273"/>
                  <a:gd name="T28" fmla="*/ 2147483647 w 225"/>
                  <a:gd name="T29" fmla="*/ 2147483647 h 273"/>
                  <a:gd name="T30" fmla="*/ 2147483647 w 225"/>
                  <a:gd name="T31" fmla="*/ 2147483647 h 273"/>
                  <a:gd name="T32" fmla="*/ 2147483647 w 225"/>
                  <a:gd name="T33" fmla="*/ 2147483647 h 273"/>
                  <a:gd name="T34" fmla="*/ 2147483647 w 225"/>
                  <a:gd name="T35" fmla="*/ 2147483647 h 273"/>
                  <a:gd name="T36" fmla="*/ 2147483647 w 225"/>
                  <a:gd name="T37" fmla="*/ 2147483647 h 273"/>
                  <a:gd name="T38" fmla="*/ 1514678880 w 225"/>
                  <a:gd name="T39" fmla="*/ 2147483647 h 273"/>
                  <a:gd name="T40" fmla="*/ 0 w 225"/>
                  <a:gd name="T41" fmla="*/ 2147483647 h 273"/>
                  <a:gd name="T42" fmla="*/ 1674167623 w 225"/>
                  <a:gd name="T43" fmla="*/ 2147483647 h 273"/>
                  <a:gd name="T44" fmla="*/ 2072796731 w 225"/>
                  <a:gd name="T45" fmla="*/ 2147483647 h 273"/>
                  <a:gd name="T46" fmla="*/ 2147483647 w 225"/>
                  <a:gd name="T47" fmla="*/ 2147483647 h 273"/>
                  <a:gd name="T48" fmla="*/ 2147483647 w 225"/>
                  <a:gd name="T49" fmla="*/ 2147483647 h 273"/>
                  <a:gd name="T50" fmla="*/ 2147483647 w 225"/>
                  <a:gd name="T51" fmla="*/ 2147483647 h 273"/>
                  <a:gd name="T52" fmla="*/ 2147483647 w 225"/>
                  <a:gd name="T53" fmla="*/ 2147483647 h 273"/>
                  <a:gd name="T54" fmla="*/ 2147483647 w 225"/>
                  <a:gd name="T55" fmla="*/ 2147483647 h 273"/>
                  <a:gd name="T56" fmla="*/ 2147483647 w 225"/>
                  <a:gd name="T57" fmla="*/ 2147483647 h 273"/>
                  <a:gd name="T58" fmla="*/ 2147483647 w 225"/>
                  <a:gd name="T59" fmla="*/ 2147483647 h 273"/>
                  <a:gd name="T60" fmla="*/ 1116049773 w 225"/>
                  <a:gd name="T61" fmla="*/ 2147483647 h 273"/>
                  <a:gd name="T62" fmla="*/ 478280730 w 225"/>
                  <a:gd name="T63" fmla="*/ 2147483647 h 273"/>
                  <a:gd name="T64" fmla="*/ 1754004314 w 225"/>
                  <a:gd name="T65" fmla="*/ 2147483647 h 273"/>
                  <a:gd name="T66" fmla="*/ 2147483647 w 225"/>
                  <a:gd name="T67" fmla="*/ 2147483647 h 273"/>
                  <a:gd name="T68" fmla="*/ 2147483647 w 225"/>
                  <a:gd name="T69" fmla="*/ 2147483647 h 273"/>
                  <a:gd name="T70" fmla="*/ 2147483647 w 225"/>
                  <a:gd name="T71" fmla="*/ 2147483647 h 273"/>
                  <a:gd name="T72" fmla="*/ 2147483647 w 225"/>
                  <a:gd name="T73" fmla="*/ 2147483647 h 273"/>
                  <a:gd name="T74" fmla="*/ 2147483647 w 225"/>
                  <a:gd name="T75" fmla="*/ 2147483647 h 273"/>
                  <a:gd name="T76" fmla="*/ 2147483647 w 225"/>
                  <a:gd name="T77" fmla="*/ 2147483647 h 273"/>
                  <a:gd name="T78" fmla="*/ 2147483647 w 225"/>
                  <a:gd name="T79" fmla="*/ 2147483647 h 273"/>
                  <a:gd name="T80" fmla="*/ 2147483647 w 225"/>
                  <a:gd name="T81" fmla="*/ 1037191423 h 273"/>
                  <a:gd name="T82" fmla="*/ 2147483647 w 225"/>
                  <a:gd name="T83" fmla="*/ 148130138 h 273"/>
                  <a:gd name="T84" fmla="*/ 2147483647 w 225"/>
                  <a:gd name="T85" fmla="*/ 444670872 h 273"/>
                  <a:gd name="T86" fmla="*/ 2147483647 w 225"/>
                  <a:gd name="T87" fmla="*/ 2147483647 h 273"/>
                  <a:gd name="T88" fmla="*/ 2147483647 w 225"/>
                  <a:gd name="T89" fmla="*/ 2147483647 h 273"/>
                  <a:gd name="T90" fmla="*/ 2147483647 w 225"/>
                  <a:gd name="T91" fmla="*/ 2147483647 h 27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8" name="Freeform 235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9593530" y="3292047"/>
                <a:ext cx="306388" cy="390525"/>
              </a:xfrm>
              <a:custGeom>
                <a:avLst/>
                <a:gdLst>
                  <a:gd name="T0" fmla="*/ 2147483647 w 232"/>
                  <a:gd name="T1" fmla="*/ 2147483647 h 248"/>
                  <a:gd name="T2" fmla="*/ 2147483647 w 232"/>
                  <a:gd name="T3" fmla="*/ 2147483647 h 248"/>
                  <a:gd name="T4" fmla="*/ 2147483647 w 232"/>
                  <a:gd name="T5" fmla="*/ 2147483647 h 248"/>
                  <a:gd name="T6" fmla="*/ 2147483647 w 232"/>
                  <a:gd name="T7" fmla="*/ 2147483647 h 248"/>
                  <a:gd name="T8" fmla="*/ 2147483647 w 232"/>
                  <a:gd name="T9" fmla="*/ 2147483647 h 248"/>
                  <a:gd name="T10" fmla="*/ 2147483647 w 232"/>
                  <a:gd name="T11" fmla="*/ 2147483647 h 248"/>
                  <a:gd name="T12" fmla="*/ 2147483647 w 232"/>
                  <a:gd name="T13" fmla="*/ 2147483647 h 248"/>
                  <a:gd name="T14" fmla="*/ 2147483647 w 232"/>
                  <a:gd name="T15" fmla="*/ 2147483647 h 248"/>
                  <a:gd name="T16" fmla="*/ 2147483647 w 232"/>
                  <a:gd name="T17" fmla="*/ 2147483647 h 248"/>
                  <a:gd name="T18" fmla="*/ 2147483647 w 232"/>
                  <a:gd name="T19" fmla="*/ 2147483647 h 248"/>
                  <a:gd name="T20" fmla="*/ 2147483647 w 232"/>
                  <a:gd name="T21" fmla="*/ 2147483647 h 248"/>
                  <a:gd name="T22" fmla="*/ 2147483647 w 232"/>
                  <a:gd name="T23" fmla="*/ 2147483647 h 248"/>
                  <a:gd name="T24" fmla="*/ 2147483647 w 232"/>
                  <a:gd name="T25" fmla="*/ 2147483647 h 248"/>
                  <a:gd name="T26" fmla="*/ 2147483647 w 232"/>
                  <a:gd name="T27" fmla="*/ 2147483647 h 248"/>
                  <a:gd name="T28" fmla="*/ 2147483647 w 232"/>
                  <a:gd name="T29" fmla="*/ 2147483647 h 248"/>
                  <a:gd name="T30" fmla="*/ 2147483647 w 232"/>
                  <a:gd name="T31" fmla="*/ 2147483647 h 248"/>
                  <a:gd name="T32" fmla="*/ 2147483647 w 232"/>
                  <a:gd name="T33" fmla="*/ 2147483647 h 248"/>
                  <a:gd name="T34" fmla="*/ 2147483647 w 232"/>
                  <a:gd name="T35" fmla="*/ 2147483647 h 248"/>
                  <a:gd name="T36" fmla="*/ 2147483647 w 232"/>
                  <a:gd name="T37" fmla="*/ 2147483647 h 248"/>
                  <a:gd name="T38" fmla="*/ 2147483647 w 232"/>
                  <a:gd name="T39" fmla="*/ 2147483647 h 248"/>
                  <a:gd name="T40" fmla="*/ 2147483647 w 232"/>
                  <a:gd name="T41" fmla="*/ 2147483647 h 248"/>
                  <a:gd name="T42" fmla="*/ 2147483647 w 232"/>
                  <a:gd name="T43" fmla="*/ 2147483647 h 248"/>
                  <a:gd name="T44" fmla="*/ 2147483647 w 232"/>
                  <a:gd name="T45" fmla="*/ 2147483647 h 248"/>
                  <a:gd name="T46" fmla="*/ 2147483647 w 232"/>
                  <a:gd name="T47" fmla="*/ 2147483647 h 248"/>
                  <a:gd name="T48" fmla="*/ 2147483647 w 232"/>
                  <a:gd name="T49" fmla="*/ 2147483647 h 248"/>
                  <a:gd name="T50" fmla="*/ 2147483647 w 232"/>
                  <a:gd name="T51" fmla="*/ 2147483647 h 248"/>
                  <a:gd name="T52" fmla="*/ 2147483647 w 232"/>
                  <a:gd name="T53" fmla="*/ 2147483647 h 248"/>
                  <a:gd name="T54" fmla="*/ 2147483647 w 232"/>
                  <a:gd name="T55" fmla="*/ 2147483647 h 248"/>
                  <a:gd name="T56" fmla="*/ 2147483647 w 232"/>
                  <a:gd name="T57" fmla="*/ 2147483647 h 248"/>
                  <a:gd name="T58" fmla="*/ 2147483647 w 232"/>
                  <a:gd name="T59" fmla="*/ 2147483647 h 248"/>
                  <a:gd name="T60" fmla="*/ 2147483647 w 232"/>
                  <a:gd name="T61" fmla="*/ 2147483647 h 248"/>
                  <a:gd name="T62" fmla="*/ 2147483647 w 232"/>
                  <a:gd name="T63" fmla="*/ 2147483647 h 248"/>
                  <a:gd name="T64" fmla="*/ 2147483647 w 232"/>
                  <a:gd name="T65" fmla="*/ 2147483647 h 248"/>
                  <a:gd name="T66" fmla="*/ 2147483647 w 232"/>
                  <a:gd name="T67" fmla="*/ 2147483647 h 248"/>
                  <a:gd name="T68" fmla="*/ 2147483647 w 232"/>
                  <a:gd name="T69" fmla="*/ 2147483647 h 248"/>
                  <a:gd name="T70" fmla="*/ 2147483647 w 232"/>
                  <a:gd name="T71" fmla="*/ 2147483647 h 248"/>
                  <a:gd name="T72" fmla="*/ 2147483647 w 232"/>
                  <a:gd name="T73" fmla="*/ 2147483647 h 248"/>
                  <a:gd name="T74" fmla="*/ 2147483647 w 232"/>
                  <a:gd name="T75" fmla="*/ 2147483647 h 248"/>
                  <a:gd name="T76" fmla="*/ 2147483647 w 232"/>
                  <a:gd name="T77" fmla="*/ 2147483647 h 248"/>
                  <a:gd name="T78" fmla="*/ 2147483647 w 232"/>
                  <a:gd name="T79" fmla="*/ 2147483647 h 248"/>
                  <a:gd name="T80" fmla="*/ 2147483647 w 232"/>
                  <a:gd name="T81" fmla="*/ 2147483647 h 248"/>
                  <a:gd name="T82" fmla="*/ 2147483647 w 232"/>
                  <a:gd name="T83" fmla="*/ 2147483647 h 248"/>
                  <a:gd name="T84" fmla="*/ 2147483647 w 232"/>
                  <a:gd name="T85" fmla="*/ 2147483647 h 248"/>
                  <a:gd name="T86" fmla="*/ 2147483647 w 232"/>
                  <a:gd name="T87" fmla="*/ 2147483647 h 248"/>
                  <a:gd name="T88" fmla="*/ 2147483647 w 232"/>
                  <a:gd name="T89" fmla="*/ 2147483647 h 248"/>
                  <a:gd name="T90" fmla="*/ 2147483647 w 232"/>
                  <a:gd name="T91" fmla="*/ 2147483647 h 248"/>
                  <a:gd name="T92" fmla="*/ 2147483647 w 232"/>
                  <a:gd name="T93" fmla="*/ 2147483647 h 248"/>
                  <a:gd name="T94" fmla="*/ 2147483647 w 232"/>
                  <a:gd name="T95" fmla="*/ 2147483647 h 248"/>
                  <a:gd name="T96" fmla="*/ 2147483647 w 232"/>
                  <a:gd name="T97" fmla="*/ 2147483647 h 248"/>
                  <a:gd name="T98" fmla="*/ 2147483647 w 232"/>
                  <a:gd name="T99" fmla="*/ 2147483647 h 248"/>
                  <a:gd name="T100" fmla="*/ 2147483647 w 232"/>
                  <a:gd name="T101" fmla="*/ 2147483647 h 248"/>
                  <a:gd name="T102" fmla="*/ 2147483647 w 232"/>
                  <a:gd name="T103" fmla="*/ 2147483647 h 248"/>
                  <a:gd name="T104" fmla="*/ 2147483647 w 232"/>
                  <a:gd name="T105" fmla="*/ 2147483647 h 248"/>
                  <a:gd name="T106" fmla="*/ 2147483647 w 232"/>
                  <a:gd name="T107" fmla="*/ 2147483647 h 24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99" name="Freeform 236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9709418" y="3352372"/>
                <a:ext cx="414337" cy="468313"/>
              </a:xfrm>
              <a:custGeom>
                <a:avLst/>
                <a:gdLst>
                  <a:gd name="T0" fmla="*/ 2147483647 w 948"/>
                  <a:gd name="T1" fmla="*/ 2147483647 h 893"/>
                  <a:gd name="T2" fmla="*/ 2147483647 w 948"/>
                  <a:gd name="T3" fmla="*/ 2147483647 h 893"/>
                  <a:gd name="T4" fmla="*/ 2147483647 w 948"/>
                  <a:gd name="T5" fmla="*/ 2147483647 h 893"/>
                  <a:gd name="T6" fmla="*/ 2147483647 w 948"/>
                  <a:gd name="T7" fmla="*/ 2147483647 h 893"/>
                  <a:gd name="T8" fmla="*/ 2147483647 w 948"/>
                  <a:gd name="T9" fmla="*/ 2147483647 h 893"/>
                  <a:gd name="T10" fmla="*/ 2147483647 w 948"/>
                  <a:gd name="T11" fmla="*/ 2147483647 h 893"/>
                  <a:gd name="T12" fmla="*/ 2147483647 w 948"/>
                  <a:gd name="T13" fmla="*/ 2147483647 h 893"/>
                  <a:gd name="T14" fmla="*/ 2147483647 w 948"/>
                  <a:gd name="T15" fmla="*/ 2147483647 h 893"/>
                  <a:gd name="T16" fmla="*/ 2147483647 w 948"/>
                  <a:gd name="T17" fmla="*/ 2147483647 h 893"/>
                  <a:gd name="T18" fmla="*/ 2147483647 w 948"/>
                  <a:gd name="T19" fmla="*/ 2147483647 h 893"/>
                  <a:gd name="T20" fmla="*/ 2147483647 w 948"/>
                  <a:gd name="T21" fmla="*/ 2147483647 h 893"/>
                  <a:gd name="T22" fmla="*/ 2147483647 w 948"/>
                  <a:gd name="T23" fmla="*/ 2147483647 h 893"/>
                  <a:gd name="T24" fmla="*/ 2147483647 w 948"/>
                  <a:gd name="T25" fmla="*/ 2147483647 h 893"/>
                  <a:gd name="T26" fmla="*/ 2147483647 w 948"/>
                  <a:gd name="T27" fmla="*/ 2147483647 h 893"/>
                  <a:gd name="T28" fmla="*/ 2147483647 w 948"/>
                  <a:gd name="T29" fmla="*/ 2147483647 h 893"/>
                  <a:gd name="T30" fmla="*/ 2147483647 w 948"/>
                  <a:gd name="T31" fmla="*/ 2147483647 h 893"/>
                  <a:gd name="T32" fmla="*/ 2147483647 w 948"/>
                  <a:gd name="T33" fmla="*/ 2147483647 h 893"/>
                  <a:gd name="T34" fmla="*/ 2147483647 w 948"/>
                  <a:gd name="T35" fmla="*/ 2147483647 h 893"/>
                  <a:gd name="T36" fmla="*/ 2147483647 w 948"/>
                  <a:gd name="T37" fmla="*/ 2147483647 h 893"/>
                  <a:gd name="T38" fmla="*/ 2147483647 w 948"/>
                  <a:gd name="T39" fmla="*/ 2147483647 h 893"/>
                  <a:gd name="T40" fmla="*/ 2147483647 w 948"/>
                  <a:gd name="T41" fmla="*/ 2147483647 h 893"/>
                  <a:gd name="T42" fmla="*/ 2147483647 w 948"/>
                  <a:gd name="T43" fmla="*/ 2147483647 h 893"/>
                  <a:gd name="T44" fmla="*/ 2147483647 w 948"/>
                  <a:gd name="T45" fmla="*/ 2147483647 h 893"/>
                  <a:gd name="T46" fmla="*/ 2147483647 w 948"/>
                  <a:gd name="T47" fmla="*/ 2147483647 h 893"/>
                  <a:gd name="T48" fmla="*/ 2147483647 w 948"/>
                  <a:gd name="T49" fmla="*/ 2147483647 h 893"/>
                  <a:gd name="T50" fmla="*/ 2147483647 w 948"/>
                  <a:gd name="T51" fmla="*/ 2147483647 h 893"/>
                  <a:gd name="T52" fmla="*/ 2147483647 w 948"/>
                  <a:gd name="T53" fmla="*/ 2147483647 h 893"/>
                  <a:gd name="T54" fmla="*/ 2147483647 w 948"/>
                  <a:gd name="T55" fmla="*/ 2147483647 h 893"/>
                  <a:gd name="T56" fmla="*/ 2147483647 w 948"/>
                  <a:gd name="T57" fmla="*/ 2147483647 h 893"/>
                  <a:gd name="T58" fmla="*/ 2147483647 w 948"/>
                  <a:gd name="T59" fmla="*/ 2147483647 h 893"/>
                  <a:gd name="T60" fmla="*/ 2147483647 w 948"/>
                  <a:gd name="T61" fmla="*/ 2147483647 h 893"/>
                  <a:gd name="T62" fmla="*/ 2147483647 w 948"/>
                  <a:gd name="T63" fmla="*/ 2147483647 h 893"/>
                  <a:gd name="T64" fmla="*/ 2147483647 w 948"/>
                  <a:gd name="T65" fmla="*/ 2147483647 h 893"/>
                  <a:gd name="T66" fmla="*/ 2147483647 w 948"/>
                  <a:gd name="T67" fmla="*/ 2147483647 h 893"/>
                  <a:gd name="T68" fmla="*/ 2147483647 w 948"/>
                  <a:gd name="T69" fmla="*/ 2147483647 h 893"/>
                  <a:gd name="T70" fmla="*/ 2147483647 w 948"/>
                  <a:gd name="T71" fmla="*/ 2147483647 h 893"/>
                  <a:gd name="T72" fmla="*/ 2147483647 w 948"/>
                  <a:gd name="T73" fmla="*/ 2147483647 h 893"/>
                  <a:gd name="T74" fmla="*/ 2147483647 w 948"/>
                  <a:gd name="T75" fmla="*/ 2147483647 h 893"/>
                  <a:gd name="T76" fmla="*/ 2147483647 w 948"/>
                  <a:gd name="T77" fmla="*/ 2147483647 h 893"/>
                  <a:gd name="T78" fmla="*/ 2147483647 w 948"/>
                  <a:gd name="T79" fmla="*/ 2147483647 h 893"/>
                  <a:gd name="T80" fmla="*/ 2147483647 w 948"/>
                  <a:gd name="T81" fmla="*/ 2147483647 h 893"/>
                  <a:gd name="T82" fmla="*/ 2147483647 w 948"/>
                  <a:gd name="T83" fmla="*/ 2147483647 h 893"/>
                  <a:gd name="T84" fmla="*/ 2147483647 w 948"/>
                  <a:gd name="T85" fmla="*/ 2147483647 h 893"/>
                  <a:gd name="T86" fmla="*/ 2147483647 w 948"/>
                  <a:gd name="T87" fmla="*/ 1730721751 h 893"/>
                  <a:gd name="T88" fmla="*/ 2147483647 w 948"/>
                  <a:gd name="T89" fmla="*/ 2147483647 h 893"/>
                  <a:gd name="T90" fmla="*/ 2147483647 w 948"/>
                  <a:gd name="T91" fmla="*/ 2147483647 h 893"/>
                  <a:gd name="T92" fmla="*/ 2147483647 w 948"/>
                  <a:gd name="T93" fmla="*/ 2147483647 h 893"/>
                  <a:gd name="T94" fmla="*/ 2147483647 w 948"/>
                  <a:gd name="T95" fmla="*/ 2147483647 h 893"/>
                  <a:gd name="T96" fmla="*/ 2147483647 w 948"/>
                  <a:gd name="T97" fmla="*/ 2147483647 h 893"/>
                  <a:gd name="T98" fmla="*/ 2147483647 w 948"/>
                  <a:gd name="T99" fmla="*/ 2147483647 h 893"/>
                  <a:gd name="T100" fmla="*/ 2147483647 w 948"/>
                  <a:gd name="T101" fmla="*/ 2147483647 h 893"/>
                  <a:gd name="T102" fmla="*/ 2147483647 w 948"/>
                  <a:gd name="T103" fmla="*/ 2147483647 h 893"/>
                  <a:gd name="T104" fmla="*/ 2147483647 w 948"/>
                  <a:gd name="T105" fmla="*/ 2147483647 h 893"/>
                  <a:gd name="T106" fmla="*/ 2147483647 w 948"/>
                  <a:gd name="T107" fmla="*/ 2147483647 h 893"/>
                  <a:gd name="T108" fmla="*/ 1252361555 w 948"/>
                  <a:gd name="T109" fmla="*/ 2147483647 h 893"/>
                  <a:gd name="T110" fmla="*/ 2147483647 w 948"/>
                  <a:gd name="T111" fmla="*/ 2147483647 h 893"/>
                  <a:gd name="T112" fmla="*/ 2147483647 w 948"/>
                  <a:gd name="T113" fmla="*/ 2147483647 h 893"/>
                  <a:gd name="T114" fmla="*/ 2147483647 w 948"/>
                  <a:gd name="T115" fmla="*/ 2147483647 h 893"/>
                  <a:gd name="T116" fmla="*/ 2147483647 w 948"/>
                  <a:gd name="T117" fmla="*/ 2147483647 h 89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0" name="Freeform 237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9807843" y="2958672"/>
                <a:ext cx="493712" cy="579438"/>
              </a:xfrm>
              <a:custGeom>
                <a:avLst/>
                <a:gdLst>
                  <a:gd name="T0" fmla="*/ 2147483647 w 373"/>
                  <a:gd name="T1" fmla="*/ 2147483647 h 370"/>
                  <a:gd name="T2" fmla="*/ 2147483647 w 373"/>
                  <a:gd name="T3" fmla="*/ 2147483647 h 370"/>
                  <a:gd name="T4" fmla="*/ 2147483647 w 373"/>
                  <a:gd name="T5" fmla="*/ 2147483647 h 370"/>
                  <a:gd name="T6" fmla="*/ 2147483647 w 373"/>
                  <a:gd name="T7" fmla="*/ 2147483647 h 370"/>
                  <a:gd name="T8" fmla="*/ 2147483647 w 373"/>
                  <a:gd name="T9" fmla="*/ 2147483647 h 370"/>
                  <a:gd name="T10" fmla="*/ 2147483647 w 373"/>
                  <a:gd name="T11" fmla="*/ 2147483647 h 370"/>
                  <a:gd name="T12" fmla="*/ 2147483647 w 373"/>
                  <a:gd name="T13" fmla="*/ 2147483647 h 370"/>
                  <a:gd name="T14" fmla="*/ 2147483647 w 373"/>
                  <a:gd name="T15" fmla="*/ 2147483647 h 370"/>
                  <a:gd name="T16" fmla="*/ 2147483647 w 373"/>
                  <a:gd name="T17" fmla="*/ 2147483647 h 370"/>
                  <a:gd name="T18" fmla="*/ 2147483647 w 373"/>
                  <a:gd name="T19" fmla="*/ 2147483647 h 370"/>
                  <a:gd name="T20" fmla="*/ 2147483647 w 373"/>
                  <a:gd name="T21" fmla="*/ 2147483647 h 370"/>
                  <a:gd name="T22" fmla="*/ 2147483647 w 373"/>
                  <a:gd name="T23" fmla="*/ 2147483647 h 370"/>
                  <a:gd name="T24" fmla="*/ 2147483647 w 373"/>
                  <a:gd name="T25" fmla="*/ 2147483647 h 370"/>
                  <a:gd name="T26" fmla="*/ 2147483647 w 373"/>
                  <a:gd name="T27" fmla="*/ 2147483647 h 370"/>
                  <a:gd name="T28" fmla="*/ 2147483647 w 373"/>
                  <a:gd name="T29" fmla="*/ 2147483647 h 370"/>
                  <a:gd name="T30" fmla="*/ 2147483647 w 373"/>
                  <a:gd name="T31" fmla="*/ 2147483647 h 370"/>
                  <a:gd name="T32" fmla="*/ 2147483647 w 373"/>
                  <a:gd name="T33" fmla="*/ 2147483647 h 370"/>
                  <a:gd name="T34" fmla="*/ 2147483647 w 373"/>
                  <a:gd name="T35" fmla="*/ 2147483647 h 370"/>
                  <a:gd name="T36" fmla="*/ 2147483647 w 373"/>
                  <a:gd name="T37" fmla="*/ 2147483647 h 370"/>
                  <a:gd name="T38" fmla="*/ 2147483647 w 373"/>
                  <a:gd name="T39" fmla="*/ 2147483647 h 370"/>
                  <a:gd name="T40" fmla="*/ 2147483647 w 373"/>
                  <a:gd name="T41" fmla="*/ 2147483647 h 370"/>
                  <a:gd name="T42" fmla="*/ 2147483647 w 373"/>
                  <a:gd name="T43" fmla="*/ 2147483647 h 370"/>
                  <a:gd name="T44" fmla="*/ 2147483647 w 373"/>
                  <a:gd name="T45" fmla="*/ 2147483647 h 370"/>
                  <a:gd name="T46" fmla="*/ 2147483647 w 373"/>
                  <a:gd name="T47" fmla="*/ 2147483647 h 370"/>
                  <a:gd name="T48" fmla="*/ 2147483647 w 373"/>
                  <a:gd name="T49" fmla="*/ 2147483647 h 370"/>
                  <a:gd name="T50" fmla="*/ 2147483647 w 373"/>
                  <a:gd name="T51" fmla="*/ 2147483647 h 370"/>
                  <a:gd name="T52" fmla="*/ 2147483647 w 373"/>
                  <a:gd name="T53" fmla="*/ 2147483647 h 370"/>
                  <a:gd name="T54" fmla="*/ 2147483647 w 373"/>
                  <a:gd name="T55" fmla="*/ 2147483647 h 370"/>
                  <a:gd name="T56" fmla="*/ 2147483647 w 373"/>
                  <a:gd name="T57" fmla="*/ 2147483647 h 370"/>
                  <a:gd name="T58" fmla="*/ 2147483647 w 373"/>
                  <a:gd name="T59" fmla="*/ 2147483647 h 370"/>
                  <a:gd name="T60" fmla="*/ 2147483647 w 373"/>
                  <a:gd name="T61" fmla="*/ 2147483647 h 370"/>
                  <a:gd name="T62" fmla="*/ 2147483647 w 373"/>
                  <a:gd name="T63" fmla="*/ 2147483647 h 370"/>
                  <a:gd name="T64" fmla="*/ 2147483647 w 373"/>
                  <a:gd name="T65" fmla="*/ 2147483647 h 370"/>
                  <a:gd name="T66" fmla="*/ 2147483647 w 373"/>
                  <a:gd name="T67" fmla="*/ 2147483647 h 370"/>
                  <a:gd name="T68" fmla="*/ 2147483647 w 373"/>
                  <a:gd name="T69" fmla="*/ 2147483647 h 370"/>
                  <a:gd name="T70" fmla="*/ 2147483647 w 373"/>
                  <a:gd name="T71" fmla="*/ 2147483647 h 370"/>
                  <a:gd name="T72" fmla="*/ 2147483647 w 373"/>
                  <a:gd name="T73" fmla="*/ 2147483647 h 370"/>
                  <a:gd name="T74" fmla="*/ 2147483647 w 373"/>
                  <a:gd name="T75" fmla="*/ 2147483647 h 370"/>
                  <a:gd name="T76" fmla="*/ 2147483647 w 373"/>
                  <a:gd name="T77" fmla="*/ 2147483647 h 370"/>
                  <a:gd name="T78" fmla="*/ 2147483647 w 373"/>
                  <a:gd name="T79" fmla="*/ 2147483647 h 370"/>
                  <a:gd name="T80" fmla="*/ 2147483647 w 373"/>
                  <a:gd name="T81" fmla="*/ 2147483647 h 370"/>
                  <a:gd name="T82" fmla="*/ 2147483647 w 373"/>
                  <a:gd name="T83" fmla="*/ 2147483647 h 370"/>
                  <a:gd name="T84" fmla="*/ 2147483647 w 373"/>
                  <a:gd name="T85" fmla="*/ 2147483647 h 370"/>
                  <a:gd name="T86" fmla="*/ 2147483647 w 373"/>
                  <a:gd name="T87" fmla="*/ 2147483647 h 370"/>
                  <a:gd name="T88" fmla="*/ 0 w 373"/>
                  <a:gd name="T89" fmla="*/ 2147483647 h 370"/>
                  <a:gd name="T90" fmla="*/ 2147483647 w 373"/>
                  <a:gd name="T91" fmla="*/ 2147483647 h 370"/>
                  <a:gd name="T92" fmla="*/ 2147483647 w 373"/>
                  <a:gd name="T93" fmla="*/ 2147483647 h 370"/>
                  <a:gd name="T94" fmla="*/ 2147483647 w 373"/>
                  <a:gd name="T95" fmla="*/ 2147483647 h 37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1" name="Freeform 238"/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>
                <a:off x="10244405" y="3093610"/>
                <a:ext cx="384175" cy="436562"/>
              </a:xfrm>
              <a:custGeom>
                <a:avLst/>
                <a:gdLst>
                  <a:gd name="T0" fmla="*/ 2147483647 w 877"/>
                  <a:gd name="T1" fmla="*/ 2147483647 h 826"/>
                  <a:gd name="T2" fmla="*/ 2147483647 w 877"/>
                  <a:gd name="T3" fmla="*/ 2147483647 h 826"/>
                  <a:gd name="T4" fmla="*/ 2147483647 w 877"/>
                  <a:gd name="T5" fmla="*/ 2147483647 h 826"/>
                  <a:gd name="T6" fmla="*/ 2147483647 w 877"/>
                  <a:gd name="T7" fmla="*/ 2147483647 h 826"/>
                  <a:gd name="T8" fmla="*/ 2147483647 w 877"/>
                  <a:gd name="T9" fmla="*/ 2147483647 h 826"/>
                  <a:gd name="T10" fmla="*/ 2147483647 w 877"/>
                  <a:gd name="T11" fmla="*/ 2147483647 h 826"/>
                  <a:gd name="T12" fmla="*/ 2147483647 w 877"/>
                  <a:gd name="T13" fmla="*/ 885784298 h 826"/>
                  <a:gd name="T14" fmla="*/ 2147483647 w 877"/>
                  <a:gd name="T15" fmla="*/ 2147483647 h 826"/>
                  <a:gd name="T16" fmla="*/ 2147483647 w 877"/>
                  <a:gd name="T17" fmla="*/ 2147483647 h 826"/>
                  <a:gd name="T18" fmla="*/ 2147483647 w 877"/>
                  <a:gd name="T19" fmla="*/ 2147483647 h 826"/>
                  <a:gd name="T20" fmla="*/ 2147483647 w 877"/>
                  <a:gd name="T21" fmla="*/ 2147483647 h 826"/>
                  <a:gd name="T22" fmla="*/ 2147483647 w 877"/>
                  <a:gd name="T23" fmla="*/ 2147483647 h 826"/>
                  <a:gd name="T24" fmla="*/ 2147483647 w 877"/>
                  <a:gd name="T25" fmla="*/ 2147483647 h 826"/>
                  <a:gd name="T26" fmla="*/ 2147483647 w 877"/>
                  <a:gd name="T27" fmla="*/ 2147483647 h 826"/>
                  <a:gd name="T28" fmla="*/ 2147483647 w 877"/>
                  <a:gd name="T29" fmla="*/ 2147483647 h 826"/>
                  <a:gd name="T30" fmla="*/ 2147483647 w 877"/>
                  <a:gd name="T31" fmla="*/ 2147483647 h 826"/>
                  <a:gd name="T32" fmla="*/ 2147483647 w 877"/>
                  <a:gd name="T33" fmla="*/ 2147483647 h 826"/>
                  <a:gd name="T34" fmla="*/ 2147483647 w 877"/>
                  <a:gd name="T35" fmla="*/ 2147483647 h 826"/>
                  <a:gd name="T36" fmla="*/ 2147483647 w 877"/>
                  <a:gd name="T37" fmla="*/ 2147483647 h 826"/>
                  <a:gd name="T38" fmla="*/ 2147483647 w 877"/>
                  <a:gd name="T39" fmla="*/ 2147483647 h 826"/>
                  <a:gd name="T40" fmla="*/ 2147483647 w 877"/>
                  <a:gd name="T41" fmla="*/ 2147483647 h 826"/>
                  <a:gd name="T42" fmla="*/ 2147483647 w 877"/>
                  <a:gd name="T43" fmla="*/ 2147483647 h 826"/>
                  <a:gd name="T44" fmla="*/ 2147483647 w 877"/>
                  <a:gd name="T45" fmla="*/ 590523042 h 826"/>
                  <a:gd name="T46" fmla="*/ 2147483647 w 877"/>
                  <a:gd name="T47" fmla="*/ 0 h 826"/>
                  <a:gd name="T48" fmla="*/ 2147483647 w 877"/>
                  <a:gd name="T49" fmla="*/ 885784298 h 826"/>
                  <a:gd name="T50" fmla="*/ 2147483647 w 877"/>
                  <a:gd name="T51" fmla="*/ 2147483647 h 826"/>
                  <a:gd name="T52" fmla="*/ 2147483647 w 877"/>
                  <a:gd name="T53" fmla="*/ 2147483647 h 826"/>
                  <a:gd name="T54" fmla="*/ 2147483647 w 877"/>
                  <a:gd name="T55" fmla="*/ 2147483647 h 826"/>
                  <a:gd name="T56" fmla="*/ 2147483647 w 877"/>
                  <a:gd name="T57" fmla="*/ 2147483647 h 826"/>
                  <a:gd name="T58" fmla="*/ 2147483647 w 877"/>
                  <a:gd name="T59" fmla="*/ 2147483647 h 826"/>
                  <a:gd name="T60" fmla="*/ 2147483647 w 877"/>
                  <a:gd name="T61" fmla="*/ 2147483647 h 826"/>
                  <a:gd name="T62" fmla="*/ 2147483647 w 877"/>
                  <a:gd name="T63" fmla="*/ 2147483647 h 826"/>
                  <a:gd name="T64" fmla="*/ 2147483647 w 877"/>
                  <a:gd name="T65" fmla="*/ 2147483647 h 826"/>
                  <a:gd name="T66" fmla="*/ 2147483647 w 877"/>
                  <a:gd name="T67" fmla="*/ 2147483647 h 826"/>
                  <a:gd name="T68" fmla="*/ 2147483647 w 877"/>
                  <a:gd name="T69" fmla="*/ 2147483647 h 826"/>
                  <a:gd name="T70" fmla="*/ 2147483647 w 877"/>
                  <a:gd name="T71" fmla="*/ 2147483647 h 826"/>
                  <a:gd name="T72" fmla="*/ 2147483647 w 877"/>
                  <a:gd name="T73" fmla="*/ 2147483647 h 826"/>
                  <a:gd name="T74" fmla="*/ 2147483647 w 877"/>
                  <a:gd name="T75" fmla="*/ 2147483647 h 826"/>
                  <a:gd name="T76" fmla="*/ 2147483647 w 877"/>
                  <a:gd name="T77" fmla="*/ 2147483647 h 826"/>
                  <a:gd name="T78" fmla="*/ 2147483647 w 877"/>
                  <a:gd name="T79" fmla="*/ 2147483647 h 826"/>
                  <a:gd name="T80" fmla="*/ 2147483647 w 877"/>
                  <a:gd name="T81" fmla="*/ 2147483647 h 826"/>
                  <a:gd name="T82" fmla="*/ 2147483647 w 877"/>
                  <a:gd name="T83" fmla="*/ 2147483647 h 826"/>
                  <a:gd name="T84" fmla="*/ 2147483647 w 877"/>
                  <a:gd name="T85" fmla="*/ 2147483647 h 826"/>
                  <a:gd name="T86" fmla="*/ 2147483647 w 877"/>
                  <a:gd name="T87" fmla="*/ 2147483647 h 826"/>
                  <a:gd name="T88" fmla="*/ 2147483647 w 877"/>
                  <a:gd name="T89" fmla="*/ 2147483647 h 826"/>
                  <a:gd name="T90" fmla="*/ 2147483647 w 877"/>
                  <a:gd name="T91" fmla="*/ 2147483647 h 826"/>
                  <a:gd name="T92" fmla="*/ 2147483647 w 877"/>
                  <a:gd name="T93" fmla="*/ 2147483647 h 826"/>
                  <a:gd name="T94" fmla="*/ 2147483647 w 877"/>
                  <a:gd name="T95" fmla="*/ 2147483647 h 826"/>
                  <a:gd name="T96" fmla="*/ 2147483647 w 877"/>
                  <a:gd name="T97" fmla="*/ 2147483647 h 826"/>
                  <a:gd name="T98" fmla="*/ 2147483647 w 877"/>
                  <a:gd name="T99" fmla="*/ 2147483647 h 826"/>
                  <a:gd name="T100" fmla="*/ 2147483647 w 877"/>
                  <a:gd name="T101" fmla="*/ 2147483647 h 826"/>
                  <a:gd name="T102" fmla="*/ 2147483647 w 877"/>
                  <a:gd name="T103" fmla="*/ 2147483647 h 826"/>
                  <a:gd name="T104" fmla="*/ 2147483647 w 877"/>
                  <a:gd name="T105" fmla="*/ 2147483647 h 826"/>
                  <a:gd name="T106" fmla="*/ 1344977839 w 877"/>
                  <a:gd name="T107" fmla="*/ 2147483647 h 826"/>
                  <a:gd name="T108" fmla="*/ 1176879592 w 877"/>
                  <a:gd name="T109" fmla="*/ 2147483647 h 826"/>
                  <a:gd name="T110" fmla="*/ 1597124989 w 877"/>
                  <a:gd name="T111" fmla="*/ 2147483647 h 826"/>
                  <a:gd name="T112" fmla="*/ 1429026743 w 877"/>
                  <a:gd name="T113" fmla="*/ 2147483647 h 826"/>
                  <a:gd name="T114" fmla="*/ 336196493 w 877"/>
                  <a:gd name="T115" fmla="*/ 2147483647 h 8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2" name="Freeform 239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10196780" y="2958672"/>
                <a:ext cx="93663" cy="236538"/>
              </a:xfrm>
              <a:custGeom>
                <a:avLst/>
                <a:gdLst>
                  <a:gd name="T0" fmla="*/ 2147483647 w 206"/>
                  <a:gd name="T1" fmla="*/ 2147483647 h 455"/>
                  <a:gd name="T2" fmla="*/ 2147483647 w 206"/>
                  <a:gd name="T3" fmla="*/ 2147483647 h 455"/>
                  <a:gd name="T4" fmla="*/ 2147483647 w 206"/>
                  <a:gd name="T5" fmla="*/ 2147483647 h 455"/>
                  <a:gd name="T6" fmla="*/ 2147483647 w 206"/>
                  <a:gd name="T7" fmla="*/ 2147483647 h 455"/>
                  <a:gd name="T8" fmla="*/ 2147483647 w 206"/>
                  <a:gd name="T9" fmla="*/ 2147483647 h 455"/>
                  <a:gd name="T10" fmla="*/ 2147483647 w 206"/>
                  <a:gd name="T11" fmla="*/ 2147483647 h 455"/>
                  <a:gd name="T12" fmla="*/ 2147483647 w 206"/>
                  <a:gd name="T13" fmla="*/ 2147483647 h 455"/>
                  <a:gd name="T14" fmla="*/ 2147483647 w 206"/>
                  <a:gd name="T15" fmla="*/ 2147483647 h 455"/>
                  <a:gd name="T16" fmla="*/ 2147483647 w 206"/>
                  <a:gd name="T17" fmla="*/ 2147483647 h 455"/>
                  <a:gd name="T18" fmla="*/ 2147483647 w 206"/>
                  <a:gd name="T19" fmla="*/ 2147483647 h 455"/>
                  <a:gd name="T20" fmla="*/ 2147483647 w 206"/>
                  <a:gd name="T21" fmla="*/ 2147483647 h 455"/>
                  <a:gd name="T22" fmla="*/ 2147483647 w 206"/>
                  <a:gd name="T23" fmla="*/ 2147483647 h 455"/>
                  <a:gd name="T24" fmla="*/ 2147483647 w 206"/>
                  <a:gd name="T25" fmla="*/ 2147483647 h 455"/>
                  <a:gd name="T26" fmla="*/ 2147483647 w 206"/>
                  <a:gd name="T27" fmla="*/ 2147483647 h 455"/>
                  <a:gd name="T28" fmla="*/ 2147483647 w 206"/>
                  <a:gd name="T29" fmla="*/ 2147483647 h 455"/>
                  <a:gd name="T30" fmla="*/ 2147483647 w 206"/>
                  <a:gd name="T31" fmla="*/ 2147483647 h 455"/>
                  <a:gd name="T32" fmla="*/ 2147483647 w 206"/>
                  <a:gd name="T33" fmla="*/ 2147483647 h 455"/>
                  <a:gd name="T34" fmla="*/ 2147483647 w 206"/>
                  <a:gd name="T35" fmla="*/ 2147483647 h 455"/>
                  <a:gd name="T36" fmla="*/ 2147483647 w 206"/>
                  <a:gd name="T37" fmla="*/ 2147483647 h 455"/>
                  <a:gd name="T38" fmla="*/ 2147483647 w 206"/>
                  <a:gd name="T39" fmla="*/ 2147483647 h 455"/>
                  <a:gd name="T40" fmla="*/ 2147483647 w 206"/>
                  <a:gd name="T41" fmla="*/ 2147483647 h 455"/>
                  <a:gd name="T42" fmla="*/ 2147483647 w 206"/>
                  <a:gd name="T43" fmla="*/ 2147483647 h 455"/>
                  <a:gd name="T44" fmla="*/ 2147483647 w 206"/>
                  <a:gd name="T45" fmla="*/ 2147483647 h 455"/>
                  <a:gd name="T46" fmla="*/ 2147483647 w 206"/>
                  <a:gd name="T47" fmla="*/ 2147483647 h 455"/>
                  <a:gd name="T48" fmla="*/ 2147483647 w 206"/>
                  <a:gd name="T49" fmla="*/ 2147483647 h 455"/>
                  <a:gd name="T50" fmla="*/ 2147483647 w 206"/>
                  <a:gd name="T51" fmla="*/ 2147483647 h 455"/>
                  <a:gd name="T52" fmla="*/ 2147483647 w 206"/>
                  <a:gd name="T53" fmla="*/ 2147483647 h 455"/>
                  <a:gd name="T54" fmla="*/ 2147483647 w 206"/>
                  <a:gd name="T55" fmla="*/ 2147483647 h 455"/>
                  <a:gd name="T56" fmla="*/ 2147483647 w 206"/>
                  <a:gd name="T57" fmla="*/ 2147483647 h 455"/>
                  <a:gd name="T58" fmla="*/ 2147483647 w 206"/>
                  <a:gd name="T59" fmla="*/ 2147483647 h 455"/>
                  <a:gd name="T60" fmla="*/ 2147483647 w 206"/>
                  <a:gd name="T61" fmla="*/ 2147483647 h 455"/>
                  <a:gd name="T62" fmla="*/ 2147483647 w 206"/>
                  <a:gd name="T63" fmla="*/ 2147483647 h 455"/>
                  <a:gd name="T64" fmla="*/ 2147483647 w 206"/>
                  <a:gd name="T65" fmla="*/ 2147483647 h 455"/>
                  <a:gd name="T66" fmla="*/ 2147483647 w 206"/>
                  <a:gd name="T67" fmla="*/ 2147483647 h 455"/>
                  <a:gd name="T68" fmla="*/ 2147483647 w 206"/>
                  <a:gd name="T69" fmla="*/ 2147483647 h 455"/>
                  <a:gd name="T70" fmla="*/ 2147483647 w 206"/>
                  <a:gd name="T71" fmla="*/ 2147483647 h 455"/>
                  <a:gd name="T72" fmla="*/ 2147483647 w 206"/>
                  <a:gd name="T73" fmla="*/ 2147483647 h 455"/>
                  <a:gd name="T74" fmla="*/ 2147483647 w 206"/>
                  <a:gd name="T75" fmla="*/ 0 h 455"/>
                  <a:gd name="T76" fmla="*/ 2147483647 w 206"/>
                  <a:gd name="T77" fmla="*/ 1545607394 h 455"/>
                  <a:gd name="T78" fmla="*/ 2147483647 w 206"/>
                  <a:gd name="T79" fmla="*/ 2147483647 h 455"/>
                  <a:gd name="T80" fmla="*/ 2147483647 w 206"/>
                  <a:gd name="T81" fmla="*/ 2147483647 h 455"/>
                  <a:gd name="T82" fmla="*/ 2067911720 w 206"/>
                  <a:gd name="T83" fmla="*/ 2147483647 h 455"/>
                  <a:gd name="T84" fmla="*/ 1879788220 w 206"/>
                  <a:gd name="T85" fmla="*/ 2147483647 h 455"/>
                  <a:gd name="T86" fmla="*/ 1879788220 w 206"/>
                  <a:gd name="T87" fmla="*/ 2147483647 h 455"/>
                  <a:gd name="T88" fmla="*/ 1127913944 w 206"/>
                  <a:gd name="T89" fmla="*/ 2147483647 h 455"/>
                  <a:gd name="T90" fmla="*/ 751873822 w 206"/>
                  <a:gd name="T91" fmla="*/ 2147483647 h 455"/>
                  <a:gd name="T92" fmla="*/ 0 w 206"/>
                  <a:gd name="T93" fmla="*/ 2147483647 h 455"/>
                  <a:gd name="T94" fmla="*/ 2067911720 w 206"/>
                  <a:gd name="T95" fmla="*/ 2147483647 h 455"/>
                  <a:gd name="T96" fmla="*/ 2147483647 w 206"/>
                  <a:gd name="T97" fmla="*/ 2147483647 h 455"/>
                  <a:gd name="T98" fmla="*/ 2147483647 w 206"/>
                  <a:gd name="T99" fmla="*/ 2147483647 h 455"/>
                  <a:gd name="T100" fmla="*/ 2147483647 w 206"/>
                  <a:gd name="T101" fmla="*/ 2147483647 h 455"/>
                  <a:gd name="T102" fmla="*/ 2147483647 w 206"/>
                  <a:gd name="T103" fmla="*/ 2147483647 h 455"/>
                  <a:gd name="T104" fmla="*/ 2147483647 w 206"/>
                  <a:gd name="T105" fmla="*/ 2147483647 h 455"/>
                  <a:gd name="T106" fmla="*/ 2147483647 w 206"/>
                  <a:gd name="T107" fmla="*/ 2147483647 h 45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3" name="Freeform 240"/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>
                <a:off x="9579243" y="3269822"/>
                <a:ext cx="231775" cy="215900"/>
              </a:xfrm>
              <a:custGeom>
                <a:avLst/>
                <a:gdLst>
                  <a:gd name="T0" fmla="*/ 2147483647 w 518"/>
                  <a:gd name="T1" fmla="*/ 2147483647 h 406"/>
                  <a:gd name="T2" fmla="*/ 2147483647 w 518"/>
                  <a:gd name="T3" fmla="*/ 2147483647 h 406"/>
                  <a:gd name="T4" fmla="*/ 2147483647 w 518"/>
                  <a:gd name="T5" fmla="*/ 2147483647 h 406"/>
                  <a:gd name="T6" fmla="*/ 2147483647 w 518"/>
                  <a:gd name="T7" fmla="*/ 2147483647 h 406"/>
                  <a:gd name="T8" fmla="*/ 2147483647 w 518"/>
                  <a:gd name="T9" fmla="*/ 2147483647 h 406"/>
                  <a:gd name="T10" fmla="*/ 2147483647 w 518"/>
                  <a:gd name="T11" fmla="*/ 2147483647 h 406"/>
                  <a:gd name="T12" fmla="*/ 2147483647 w 518"/>
                  <a:gd name="T13" fmla="*/ 2147483647 h 406"/>
                  <a:gd name="T14" fmla="*/ 2147483647 w 518"/>
                  <a:gd name="T15" fmla="*/ 2147483647 h 406"/>
                  <a:gd name="T16" fmla="*/ 2147483647 w 518"/>
                  <a:gd name="T17" fmla="*/ 2147483647 h 406"/>
                  <a:gd name="T18" fmla="*/ 2147483647 w 518"/>
                  <a:gd name="T19" fmla="*/ 2147483647 h 406"/>
                  <a:gd name="T20" fmla="*/ 1970812356 w 518"/>
                  <a:gd name="T21" fmla="*/ 2147483647 h 406"/>
                  <a:gd name="T22" fmla="*/ 447857311 w 518"/>
                  <a:gd name="T23" fmla="*/ 2147483647 h 406"/>
                  <a:gd name="T24" fmla="*/ 89491549 w 518"/>
                  <a:gd name="T25" fmla="*/ 2147483647 h 406"/>
                  <a:gd name="T26" fmla="*/ 89491549 w 518"/>
                  <a:gd name="T27" fmla="*/ 2147483647 h 406"/>
                  <a:gd name="T28" fmla="*/ 358365762 w 518"/>
                  <a:gd name="T29" fmla="*/ 2147483647 h 406"/>
                  <a:gd name="T30" fmla="*/ 985406178 w 518"/>
                  <a:gd name="T31" fmla="*/ 2147483647 h 406"/>
                  <a:gd name="T32" fmla="*/ 1791629251 w 518"/>
                  <a:gd name="T33" fmla="*/ 2147483647 h 406"/>
                  <a:gd name="T34" fmla="*/ 2147483647 w 518"/>
                  <a:gd name="T35" fmla="*/ 2147483647 h 406"/>
                  <a:gd name="T36" fmla="*/ 2147483647 w 518"/>
                  <a:gd name="T37" fmla="*/ 2147483647 h 406"/>
                  <a:gd name="T38" fmla="*/ 2147483647 w 518"/>
                  <a:gd name="T39" fmla="*/ 2147483647 h 406"/>
                  <a:gd name="T40" fmla="*/ 2147483647 w 518"/>
                  <a:gd name="T41" fmla="*/ 2147483647 h 406"/>
                  <a:gd name="T42" fmla="*/ 2147483647 w 518"/>
                  <a:gd name="T43" fmla="*/ 2147483647 h 406"/>
                  <a:gd name="T44" fmla="*/ 2147483647 w 518"/>
                  <a:gd name="T45" fmla="*/ 2147483647 h 406"/>
                  <a:gd name="T46" fmla="*/ 2147483647 w 518"/>
                  <a:gd name="T47" fmla="*/ 2147483647 h 406"/>
                  <a:gd name="T48" fmla="*/ 2147483647 w 518"/>
                  <a:gd name="T49" fmla="*/ 2147483647 h 406"/>
                  <a:gd name="T50" fmla="*/ 2147483647 w 518"/>
                  <a:gd name="T51" fmla="*/ 2147483647 h 406"/>
                  <a:gd name="T52" fmla="*/ 2147483647 w 518"/>
                  <a:gd name="T53" fmla="*/ 2147483647 h 406"/>
                  <a:gd name="T54" fmla="*/ 2147483647 w 518"/>
                  <a:gd name="T55" fmla="*/ 2147483647 h 406"/>
                  <a:gd name="T56" fmla="*/ 2147483647 w 518"/>
                  <a:gd name="T57" fmla="*/ 2147483647 h 406"/>
                  <a:gd name="T58" fmla="*/ 2147483647 w 518"/>
                  <a:gd name="T59" fmla="*/ 2147483647 h 406"/>
                  <a:gd name="T60" fmla="*/ 2147483647 w 518"/>
                  <a:gd name="T61" fmla="*/ 2147483647 h 406"/>
                  <a:gd name="T62" fmla="*/ 2147483647 w 518"/>
                  <a:gd name="T63" fmla="*/ 2147483647 h 406"/>
                  <a:gd name="T64" fmla="*/ 2147483647 w 518"/>
                  <a:gd name="T65" fmla="*/ 2147483647 h 406"/>
                  <a:gd name="T66" fmla="*/ 2147483647 w 518"/>
                  <a:gd name="T67" fmla="*/ 2147483647 h 406"/>
                  <a:gd name="T68" fmla="*/ 2147483647 w 518"/>
                  <a:gd name="T69" fmla="*/ 2147483647 h 406"/>
                  <a:gd name="T70" fmla="*/ 2147483647 w 518"/>
                  <a:gd name="T71" fmla="*/ 2147483647 h 406"/>
                  <a:gd name="T72" fmla="*/ 2147483647 w 518"/>
                  <a:gd name="T73" fmla="*/ 2147483647 h 406"/>
                  <a:gd name="T74" fmla="*/ 2147483647 w 518"/>
                  <a:gd name="T75" fmla="*/ 1202958639 h 406"/>
                  <a:gd name="T76" fmla="*/ 2147483647 w 518"/>
                  <a:gd name="T77" fmla="*/ 0 h 406"/>
                  <a:gd name="T78" fmla="*/ 2147483647 w 518"/>
                  <a:gd name="T79" fmla="*/ 2147483647 h 406"/>
                  <a:gd name="T80" fmla="*/ 2147483647 w 518"/>
                  <a:gd name="T81" fmla="*/ 2147483647 h 40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4" name="Freeform 241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9547493" y="2077610"/>
                <a:ext cx="190500" cy="93662"/>
              </a:xfrm>
              <a:custGeom>
                <a:avLst/>
                <a:gdLst>
                  <a:gd name="T0" fmla="*/ 2147483647 w 446"/>
                  <a:gd name="T1" fmla="*/ 2147483647 h 178"/>
                  <a:gd name="T2" fmla="*/ 2147483647 w 446"/>
                  <a:gd name="T3" fmla="*/ 2147483647 h 178"/>
                  <a:gd name="T4" fmla="*/ 2147483647 w 446"/>
                  <a:gd name="T5" fmla="*/ 2147483647 h 178"/>
                  <a:gd name="T6" fmla="*/ 2147483647 w 446"/>
                  <a:gd name="T7" fmla="*/ 2147483647 h 178"/>
                  <a:gd name="T8" fmla="*/ 2147483647 w 446"/>
                  <a:gd name="T9" fmla="*/ 2039752619 h 178"/>
                  <a:gd name="T10" fmla="*/ 2147483647 w 446"/>
                  <a:gd name="T11" fmla="*/ 0 h 178"/>
                  <a:gd name="T12" fmla="*/ 2147483647 w 446"/>
                  <a:gd name="T13" fmla="*/ 1456926617 h 178"/>
                  <a:gd name="T14" fmla="*/ 2147483647 w 446"/>
                  <a:gd name="T15" fmla="*/ 2147483647 h 178"/>
                  <a:gd name="T16" fmla="*/ 2147483647 w 446"/>
                  <a:gd name="T17" fmla="*/ 2147483647 h 178"/>
                  <a:gd name="T18" fmla="*/ 2147483647 w 446"/>
                  <a:gd name="T19" fmla="*/ 2147483647 h 178"/>
                  <a:gd name="T20" fmla="*/ 2147483647 w 446"/>
                  <a:gd name="T21" fmla="*/ 2147483647 h 178"/>
                  <a:gd name="T22" fmla="*/ 2147483647 w 446"/>
                  <a:gd name="T23" fmla="*/ 2147483647 h 178"/>
                  <a:gd name="T24" fmla="*/ 2147483647 w 446"/>
                  <a:gd name="T25" fmla="*/ 2147483647 h 178"/>
                  <a:gd name="T26" fmla="*/ 2147483647 w 446"/>
                  <a:gd name="T27" fmla="*/ 2147483647 h 178"/>
                  <a:gd name="T28" fmla="*/ 2147483647 w 446"/>
                  <a:gd name="T29" fmla="*/ 1602564187 h 178"/>
                  <a:gd name="T30" fmla="*/ 2147483647 w 446"/>
                  <a:gd name="T31" fmla="*/ 2147483647 h 178"/>
                  <a:gd name="T32" fmla="*/ 2147483647 w 446"/>
                  <a:gd name="T33" fmla="*/ 2147483647 h 178"/>
                  <a:gd name="T34" fmla="*/ 2147483647 w 446"/>
                  <a:gd name="T35" fmla="*/ 2147483647 h 178"/>
                  <a:gd name="T36" fmla="*/ 2147483647 w 446"/>
                  <a:gd name="T37" fmla="*/ 2147483647 h 178"/>
                  <a:gd name="T38" fmla="*/ 2147483647 w 446"/>
                  <a:gd name="T39" fmla="*/ 2147483647 h 178"/>
                  <a:gd name="T40" fmla="*/ 2147483647 w 446"/>
                  <a:gd name="T41" fmla="*/ 2147483647 h 178"/>
                  <a:gd name="T42" fmla="*/ 2147483647 w 446"/>
                  <a:gd name="T43" fmla="*/ 2147483647 h 178"/>
                  <a:gd name="T44" fmla="*/ 2147483647 w 446"/>
                  <a:gd name="T45" fmla="*/ 2147483647 h 178"/>
                  <a:gd name="T46" fmla="*/ 2147483647 w 446"/>
                  <a:gd name="T47" fmla="*/ 2147483647 h 178"/>
                  <a:gd name="T48" fmla="*/ 2147483647 w 446"/>
                  <a:gd name="T49" fmla="*/ 2147483647 h 178"/>
                  <a:gd name="T50" fmla="*/ 2147483647 w 446"/>
                  <a:gd name="T51" fmla="*/ 2147483647 h 178"/>
                  <a:gd name="T52" fmla="*/ 2147483647 w 446"/>
                  <a:gd name="T53" fmla="*/ 2147483647 h 178"/>
                  <a:gd name="T54" fmla="*/ 2147483647 w 446"/>
                  <a:gd name="T55" fmla="*/ 2147483647 h 178"/>
                  <a:gd name="T56" fmla="*/ 2147483647 w 446"/>
                  <a:gd name="T57" fmla="*/ 2147483647 h 178"/>
                  <a:gd name="T58" fmla="*/ 2147483647 w 446"/>
                  <a:gd name="T59" fmla="*/ 2147483647 h 178"/>
                  <a:gd name="T60" fmla="*/ 2147483647 w 446"/>
                  <a:gd name="T61" fmla="*/ 2147483647 h 178"/>
                  <a:gd name="T62" fmla="*/ 2147483647 w 446"/>
                  <a:gd name="T63" fmla="*/ 2147483647 h 178"/>
                  <a:gd name="T64" fmla="*/ 2147483647 w 446"/>
                  <a:gd name="T65" fmla="*/ 2147483647 h 178"/>
                  <a:gd name="T66" fmla="*/ 2147483647 w 446"/>
                  <a:gd name="T67" fmla="*/ 2147483647 h 178"/>
                  <a:gd name="T68" fmla="*/ 2147483647 w 446"/>
                  <a:gd name="T69" fmla="*/ 2147483647 h 178"/>
                  <a:gd name="T70" fmla="*/ 2147483647 w 446"/>
                  <a:gd name="T71" fmla="*/ 2147483647 h 178"/>
                  <a:gd name="T72" fmla="*/ 2147483647 w 446"/>
                  <a:gd name="T73" fmla="*/ 2147483647 h 178"/>
                  <a:gd name="T74" fmla="*/ 2147483647 w 446"/>
                  <a:gd name="T75" fmla="*/ 2147483647 h 178"/>
                  <a:gd name="T76" fmla="*/ 2104081470 w 446"/>
                  <a:gd name="T77" fmla="*/ 2147483647 h 178"/>
                  <a:gd name="T78" fmla="*/ 701299695 w 446"/>
                  <a:gd name="T79" fmla="*/ 2147483647 h 178"/>
                  <a:gd name="T80" fmla="*/ 0 w 446"/>
                  <a:gd name="T81" fmla="*/ 2147483647 h 178"/>
                  <a:gd name="T82" fmla="*/ 2147483647 w 446"/>
                  <a:gd name="T83" fmla="*/ 2147483647 h 178"/>
                  <a:gd name="T84" fmla="*/ 2147483647 w 446"/>
                  <a:gd name="T85" fmla="*/ 2147483647 h 178"/>
                  <a:gd name="T86" fmla="*/ 1792291487 w 446"/>
                  <a:gd name="T87" fmla="*/ 2147483647 h 178"/>
                  <a:gd name="T88" fmla="*/ 1246795591 w 446"/>
                  <a:gd name="T89" fmla="*/ 2147483647 h 17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46" h="178">
                    <a:moveTo>
                      <a:pt x="27" y="43"/>
                    </a:moveTo>
                    <a:lnTo>
                      <a:pt x="31" y="52"/>
                    </a:lnTo>
                    <a:lnTo>
                      <a:pt x="34" y="61"/>
                    </a:lnTo>
                    <a:lnTo>
                      <a:pt x="37" y="53"/>
                    </a:lnTo>
                    <a:lnTo>
                      <a:pt x="40" y="47"/>
                    </a:lnTo>
                    <a:lnTo>
                      <a:pt x="41" y="42"/>
                    </a:lnTo>
                    <a:lnTo>
                      <a:pt x="41" y="37"/>
                    </a:lnTo>
                    <a:lnTo>
                      <a:pt x="55" y="37"/>
                    </a:lnTo>
                    <a:lnTo>
                      <a:pt x="68" y="37"/>
                    </a:lnTo>
                    <a:lnTo>
                      <a:pt x="77" y="37"/>
                    </a:lnTo>
                    <a:lnTo>
                      <a:pt x="80" y="37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0" y="11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69" y="3"/>
                    </a:lnTo>
                    <a:lnTo>
                      <a:pt x="78" y="6"/>
                    </a:lnTo>
                    <a:lnTo>
                      <a:pt x="85" y="10"/>
                    </a:lnTo>
                    <a:lnTo>
                      <a:pt x="90" y="15"/>
                    </a:lnTo>
                    <a:lnTo>
                      <a:pt x="100" y="27"/>
                    </a:lnTo>
                    <a:lnTo>
                      <a:pt x="108" y="39"/>
                    </a:lnTo>
                    <a:lnTo>
                      <a:pt x="114" y="49"/>
                    </a:lnTo>
                    <a:lnTo>
                      <a:pt x="121" y="59"/>
                    </a:lnTo>
                    <a:lnTo>
                      <a:pt x="125" y="62"/>
                    </a:lnTo>
                    <a:lnTo>
                      <a:pt x="130" y="65"/>
                    </a:lnTo>
                    <a:lnTo>
                      <a:pt x="134" y="67"/>
                    </a:lnTo>
                    <a:lnTo>
                      <a:pt x="139" y="67"/>
                    </a:lnTo>
                    <a:lnTo>
                      <a:pt x="146" y="67"/>
                    </a:lnTo>
                    <a:lnTo>
                      <a:pt x="152" y="66"/>
                    </a:lnTo>
                    <a:lnTo>
                      <a:pt x="157" y="63"/>
                    </a:lnTo>
                    <a:lnTo>
                      <a:pt x="163" y="61"/>
                    </a:lnTo>
                    <a:lnTo>
                      <a:pt x="172" y="54"/>
                    </a:lnTo>
                    <a:lnTo>
                      <a:pt x="181" y="45"/>
                    </a:lnTo>
                    <a:lnTo>
                      <a:pt x="190" y="37"/>
                    </a:lnTo>
                    <a:lnTo>
                      <a:pt x="198" y="29"/>
                    </a:lnTo>
                    <a:lnTo>
                      <a:pt x="205" y="23"/>
                    </a:lnTo>
                    <a:lnTo>
                      <a:pt x="213" y="18"/>
                    </a:lnTo>
                    <a:lnTo>
                      <a:pt x="216" y="25"/>
                    </a:lnTo>
                    <a:lnTo>
                      <a:pt x="220" y="31"/>
                    </a:lnTo>
                    <a:lnTo>
                      <a:pt x="293" y="31"/>
                    </a:lnTo>
                    <a:lnTo>
                      <a:pt x="352" y="6"/>
                    </a:lnTo>
                    <a:lnTo>
                      <a:pt x="359" y="11"/>
                    </a:lnTo>
                    <a:lnTo>
                      <a:pt x="367" y="17"/>
                    </a:lnTo>
                    <a:lnTo>
                      <a:pt x="371" y="21"/>
                    </a:lnTo>
                    <a:lnTo>
                      <a:pt x="376" y="23"/>
                    </a:lnTo>
                    <a:lnTo>
                      <a:pt x="381" y="24"/>
                    </a:lnTo>
                    <a:lnTo>
                      <a:pt x="385" y="25"/>
                    </a:lnTo>
                    <a:lnTo>
                      <a:pt x="396" y="22"/>
                    </a:lnTo>
                    <a:lnTo>
                      <a:pt x="413" y="18"/>
                    </a:lnTo>
                    <a:lnTo>
                      <a:pt x="413" y="28"/>
                    </a:lnTo>
                    <a:lnTo>
                      <a:pt x="413" y="37"/>
                    </a:lnTo>
                    <a:lnTo>
                      <a:pt x="413" y="39"/>
                    </a:lnTo>
                    <a:lnTo>
                      <a:pt x="414" y="41"/>
                    </a:lnTo>
                    <a:lnTo>
                      <a:pt x="415" y="43"/>
                    </a:lnTo>
                    <a:lnTo>
                      <a:pt x="417" y="45"/>
                    </a:lnTo>
                    <a:lnTo>
                      <a:pt x="423" y="49"/>
                    </a:lnTo>
                    <a:lnTo>
                      <a:pt x="429" y="54"/>
                    </a:lnTo>
                    <a:lnTo>
                      <a:pt x="435" y="59"/>
                    </a:lnTo>
                    <a:lnTo>
                      <a:pt x="440" y="64"/>
                    </a:lnTo>
                    <a:lnTo>
                      <a:pt x="443" y="68"/>
                    </a:lnTo>
                    <a:lnTo>
                      <a:pt x="444" y="71"/>
                    </a:lnTo>
                    <a:lnTo>
                      <a:pt x="445" y="76"/>
                    </a:lnTo>
                    <a:lnTo>
                      <a:pt x="446" y="80"/>
                    </a:lnTo>
                    <a:lnTo>
                      <a:pt x="445" y="87"/>
                    </a:lnTo>
                    <a:lnTo>
                      <a:pt x="443" y="92"/>
                    </a:lnTo>
                    <a:lnTo>
                      <a:pt x="438" y="96"/>
                    </a:lnTo>
                    <a:lnTo>
                      <a:pt x="434" y="100"/>
                    </a:lnTo>
                    <a:lnTo>
                      <a:pt x="423" y="106"/>
                    </a:lnTo>
                    <a:lnTo>
                      <a:pt x="413" y="111"/>
                    </a:lnTo>
                    <a:lnTo>
                      <a:pt x="407" y="115"/>
                    </a:lnTo>
                    <a:lnTo>
                      <a:pt x="402" y="118"/>
                    </a:lnTo>
                    <a:lnTo>
                      <a:pt x="397" y="120"/>
                    </a:lnTo>
                    <a:lnTo>
                      <a:pt x="392" y="121"/>
                    </a:lnTo>
                    <a:lnTo>
                      <a:pt x="380" y="123"/>
                    </a:lnTo>
                    <a:lnTo>
                      <a:pt x="366" y="123"/>
                    </a:lnTo>
                    <a:lnTo>
                      <a:pt x="344" y="129"/>
                    </a:lnTo>
                    <a:lnTo>
                      <a:pt x="322" y="137"/>
                    </a:lnTo>
                    <a:lnTo>
                      <a:pt x="300" y="146"/>
                    </a:lnTo>
                    <a:lnTo>
                      <a:pt x="279" y="156"/>
                    </a:lnTo>
                    <a:lnTo>
                      <a:pt x="257" y="164"/>
                    </a:lnTo>
                    <a:lnTo>
                      <a:pt x="234" y="171"/>
                    </a:lnTo>
                    <a:lnTo>
                      <a:pt x="223" y="174"/>
                    </a:lnTo>
                    <a:lnTo>
                      <a:pt x="211" y="176"/>
                    </a:lnTo>
                    <a:lnTo>
                      <a:pt x="199" y="178"/>
                    </a:lnTo>
                    <a:lnTo>
                      <a:pt x="187" y="178"/>
                    </a:lnTo>
                    <a:lnTo>
                      <a:pt x="181" y="177"/>
                    </a:lnTo>
                    <a:lnTo>
                      <a:pt x="177" y="174"/>
                    </a:lnTo>
                    <a:lnTo>
                      <a:pt x="175" y="171"/>
                    </a:lnTo>
                    <a:lnTo>
                      <a:pt x="173" y="166"/>
                    </a:lnTo>
                    <a:lnTo>
                      <a:pt x="172" y="164"/>
                    </a:lnTo>
                    <a:lnTo>
                      <a:pt x="172" y="163"/>
                    </a:lnTo>
                    <a:lnTo>
                      <a:pt x="171" y="162"/>
                    </a:lnTo>
                    <a:lnTo>
                      <a:pt x="170" y="161"/>
                    </a:lnTo>
                    <a:lnTo>
                      <a:pt x="166" y="161"/>
                    </a:lnTo>
                    <a:lnTo>
                      <a:pt x="161" y="161"/>
                    </a:lnTo>
                    <a:lnTo>
                      <a:pt x="156" y="161"/>
                    </a:lnTo>
                    <a:lnTo>
                      <a:pt x="150" y="162"/>
                    </a:lnTo>
                    <a:lnTo>
                      <a:pt x="145" y="162"/>
                    </a:lnTo>
                    <a:lnTo>
                      <a:pt x="139" y="160"/>
                    </a:lnTo>
                    <a:lnTo>
                      <a:pt x="125" y="156"/>
                    </a:lnTo>
                    <a:lnTo>
                      <a:pt x="112" y="152"/>
                    </a:lnTo>
                    <a:lnTo>
                      <a:pt x="100" y="147"/>
                    </a:lnTo>
                    <a:lnTo>
                      <a:pt x="91" y="143"/>
                    </a:lnTo>
                    <a:lnTo>
                      <a:pt x="87" y="140"/>
                    </a:lnTo>
                    <a:lnTo>
                      <a:pt x="85" y="137"/>
                    </a:lnTo>
                    <a:lnTo>
                      <a:pt x="82" y="134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1"/>
                    </a:lnTo>
                    <a:lnTo>
                      <a:pt x="83" y="116"/>
                    </a:lnTo>
                    <a:lnTo>
                      <a:pt x="87" y="111"/>
                    </a:lnTo>
                    <a:lnTo>
                      <a:pt x="63" y="108"/>
                    </a:lnTo>
                    <a:lnTo>
                      <a:pt x="38" y="104"/>
                    </a:lnTo>
                    <a:lnTo>
                      <a:pt x="27" y="103"/>
                    </a:lnTo>
                    <a:lnTo>
                      <a:pt x="18" y="103"/>
                    </a:lnTo>
                    <a:lnTo>
                      <a:pt x="13" y="104"/>
                    </a:lnTo>
                    <a:lnTo>
                      <a:pt x="9" y="105"/>
                    </a:lnTo>
                    <a:lnTo>
                      <a:pt x="4" y="108"/>
                    </a:lnTo>
                    <a:lnTo>
                      <a:pt x="0" y="111"/>
                    </a:lnTo>
                    <a:lnTo>
                      <a:pt x="0" y="80"/>
                    </a:lnTo>
                    <a:lnTo>
                      <a:pt x="30" y="82"/>
                    </a:lnTo>
                    <a:lnTo>
                      <a:pt x="51" y="85"/>
                    </a:lnTo>
                    <a:lnTo>
                      <a:pt x="60" y="86"/>
                    </a:lnTo>
                    <a:lnTo>
                      <a:pt x="68" y="86"/>
                    </a:lnTo>
                    <a:lnTo>
                      <a:pt x="77" y="84"/>
                    </a:lnTo>
                    <a:lnTo>
                      <a:pt x="87" y="80"/>
                    </a:lnTo>
                    <a:lnTo>
                      <a:pt x="64" y="76"/>
                    </a:lnTo>
                    <a:lnTo>
                      <a:pt x="44" y="71"/>
                    </a:lnTo>
                    <a:lnTo>
                      <a:pt x="23" y="68"/>
                    </a:lnTo>
                    <a:lnTo>
                      <a:pt x="0" y="67"/>
                    </a:lnTo>
                    <a:lnTo>
                      <a:pt x="9" y="62"/>
                    </a:lnTo>
                    <a:lnTo>
                      <a:pt x="16" y="55"/>
                    </a:lnTo>
                    <a:lnTo>
                      <a:pt x="22" y="49"/>
                    </a:lnTo>
                    <a:lnTo>
                      <a:pt x="27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5" name="Freeform 242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10339655" y="2341135"/>
                <a:ext cx="14288" cy="57150"/>
              </a:xfrm>
              <a:custGeom>
                <a:avLst/>
                <a:gdLst>
                  <a:gd name="T0" fmla="*/ 0 w 28"/>
                  <a:gd name="T1" fmla="*/ 2147483647 h 73"/>
                  <a:gd name="T2" fmla="*/ 265859878 w 28"/>
                  <a:gd name="T3" fmla="*/ 2147483647 h 73"/>
                  <a:gd name="T4" fmla="*/ 797318877 w 28"/>
                  <a:gd name="T5" fmla="*/ 2147483647 h 73"/>
                  <a:gd name="T6" fmla="*/ 930118693 w 28"/>
                  <a:gd name="T7" fmla="*/ 2147483647 h 73"/>
                  <a:gd name="T8" fmla="*/ 797318877 w 28"/>
                  <a:gd name="T9" fmla="*/ 2147483647 h 73"/>
                  <a:gd name="T10" fmla="*/ 531458999 w 28"/>
                  <a:gd name="T11" fmla="*/ 2147483647 h 73"/>
                  <a:gd name="T12" fmla="*/ 0 w 28"/>
                  <a:gd name="T13" fmla="*/ 0 h 73"/>
                  <a:gd name="T14" fmla="*/ 2147483647 w 28"/>
                  <a:gd name="T15" fmla="*/ 0 h 73"/>
                  <a:gd name="T16" fmla="*/ 2147483647 w 28"/>
                  <a:gd name="T17" fmla="*/ 2147483647 h 73"/>
                  <a:gd name="T18" fmla="*/ 2147483647 w 28"/>
                  <a:gd name="T19" fmla="*/ 2147483647 h 73"/>
                  <a:gd name="T20" fmla="*/ 1594376998 w 28"/>
                  <a:gd name="T21" fmla="*/ 2147483647 h 73"/>
                  <a:gd name="T22" fmla="*/ 930118693 w 28"/>
                  <a:gd name="T23" fmla="*/ 2147483647 h 73"/>
                  <a:gd name="T24" fmla="*/ 0 w 28"/>
                  <a:gd name="T25" fmla="*/ 2147483647 h 7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6" name="Freeform 243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10226943" y="2004585"/>
                <a:ext cx="234950" cy="395287"/>
              </a:xfrm>
              <a:custGeom>
                <a:avLst/>
                <a:gdLst>
                  <a:gd name="T0" fmla="*/ 2147483647 w 531"/>
                  <a:gd name="T1" fmla="*/ 2147483647 h 757"/>
                  <a:gd name="T2" fmla="*/ 2147483647 w 531"/>
                  <a:gd name="T3" fmla="*/ 2147483647 h 757"/>
                  <a:gd name="T4" fmla="*/ 2147483647 w 531"/>
                  <a:gd name="T5" fmla="*/ 2147483647 h 757"/>
                  <a:gd name="T6" fmla="*/ 2147483647 w 531"/>
                  <a:gd name="T7" fmla="*/ 2147483647 h 757"/>
                  <a:gd name="T8" fmla="*/ 2147483647 w 531"/>
                  <a:gd name="T9" fmla="*/ 2147483647 h 757"/>
                  <a:gd name="T10" fmla="*/ 2147483647 w 531"/>
                  <a:gd name="T11" fmla="*/ 2147483647 h 757"/>
                  <a:gd name="T12" fmla="*/ 2147483647 w 531"/>
                  <a:gd name="T13" fmla="*/ 2147483647 h 757"/>
                  <a:gd name="T14" fmla="*/ 2147483647 w 531"/>
                  <a:gd name="T15" fmla="*/ 2147483647 h 757"/>
                  <a:gd name="T16" fmla="*/ 2147483647 w 531"/>
                  <a:gd name="T17" fmla="*/ 2147483647 h 757"/>
                  <a:gd name="T18" fmla="*/ 2147483647 w 531"/>
                  <a:gd name="T19" fmla="*/ 2147483647 h 757"/>
                  <a:gd name="T20" fmla="*/ 2147483647 w 531"/>
                  <a:gd name="T21" fmla="*/ 2147483647 h 757"/>
                  <a:gd name="T22" fmla="*/ 2147483647 w 531"/>
                  <a:gd name="T23" fmla="*/ 2147483647 h 757"/>
                  <a:gd name="T24" fmla="*/ 2147483647 w 531"/>
                  <a:gd name="T25" fmla="*/ 2147483647 h 757"/>
                  <a:gd name="T26" fmla="*/ 2147483647 w 531"/>
                  <a:gd name="T27" fmla="*/ 2147483647 h 757"/>
                  <a:gd name="T28" fmla="*/ 2147483647 w 531"/>
                  <a:gd name="T29" fmla="*/ 2147483647 h 757"/>
                  <a:gd name="T30" fmla="*/ 2147483647 w 531"/>
                  <a:gd name="T31" fmla="*/ 2147483647 h 757"/>
                  <a:gd name="T32" fmla="*/ 2147483647 w 531"/>
                  <a:gd name="T33" fmla="*/ 2147483647 h 757"/>
                  <a:gd name="T34" fmla="*/ 2147483647 w 531"/>
                  <a:gd name="T35" fmla="*/ 2147483647 h 757"/>
                  <a:gd name="T36" fmla="*/ 2147483647 w 531"/>
                  <a:gd name="T37" fmla="*/ 2147483647 h 757"/>
                  <a:gd name="T38" fmla="*/ 2147483647 w 531"/>
                  <a:gd name="T39" fmla="*/ 2147483647 h 757"/>
                  <a:gd name="T40" fmla="*/ 2147483647 w 531"/>
                  <a:gd name="T41" fmla="*/ 2147483647 h 757"/>
                  <a:gd name="T42" fmla="*/ 2147483647 w 531"/>
                  <a:gd name="T43" fmla="*/ 2147483647 h 757"/>
                  <a:gd name="T44" fmla="*/ 2147483647 w 531"/>
                  <a:gd name="T45" fmla="*/ 2147483647 h 757"/>
                  <a:gd name="T46" fmla="*/ 2147483647 w 531"/>
                  <a:gd name="T47" fmla="*/ 2147483647 h 757"/>
                  <a:gd name="T48" fmla="*/ 2147483647 w 531"/>
                  <a:gd name="T49" fmla="*/ 2147483647 h 757"/>
                  <a:gd name="T50" fmla="*/ 2147483647 w 531"/>
                  <a:gd name="T51" fmla="*/ 2147483647 h 757"/>
                  <a:gd name="T52" fmla="*/ 1212838890 w 531"/>
                  <a:gd name="T53" fmla="*/ 2147483647 h 757"/>
                  <a:gd name="T54" fmla="*/ 1645897757 w 531"/>
                  <a:gd name="T55" fmla="*/ 2147483647 h 757"/>
                  <a:gd name="T56" fmla="*/ 2147483647 w 531"/>
                  <a:gd name="T57" fmla="*/ 2147483647 h 757"/>
                  <a:gd name="T58" fmla="*/ 2147483647 w 531"/>
                  <a:gd name="T59" fmla="*/ 2147483647 h 757"/>
                  <a:gd name="T60" fmla="*/ 2147483647 w 531"/>
                  <a:gd name="T61" fmla="*/ 2147483647 h 757"/>
                  <a:gd name="T62" fmla="*/ 2147483647 w 531"/>
                  <a:gd name="T63" fmla="*/ 2147483647 h 757"/>
                  <a:gd name="T64" fmla="*/ 2147483647 w 531"/>
                  <a:gd name="T65" fmla="*/ 2147483647 h 757"/>
                  <a:gd name="T66" fmla="*/ 2147483647 w 531"/>
                  <a:gd name="T67" fmla="*/ 2147483647 h 757"/>
                  <a:gd name="T68" fmla="*/ 2147483647 w 531"/>
                  <a:gd name="T69" fmla="*/ 2147483647 h 757"/>
                  <a:gd name="T70" fmla="*/ 2147483647 w 531"/>
                  <a:gd name="T71" fmla="*/ 2147483647 h 757"/>
                  <a:gd name="T72" fmla="*/ 2147483647 w 531"/>
                  <a:gd name="T73" fmla="*/ 2147483647 h 757"/>
                  <a:gd name="T74" fmla="*/ 2147483647 w 531"/>
                  <a:gd name="T75" fmla="*/ 2147483647 h 757"/>
                  <a:gd name="T76" fmla="*/ 2147483647 w 531"/>
                  <a:gd name="T77" fmla="*/ 2147483647 h 757"/>
                  <a:gd name="T78" fmla="*/ 2147483647 w 531"/>
                  <a:gd name="T79" fmla="*/ 2147483647 h 757"/>
                  <a:gd name="T80" fmla="*/ 2147483647 w 531"/>
                  <a:gd name="T81" fmla="*/ 2147483647 h 757"/>
                  <a:gd name="T82" fmla="*/ 2147483647 w 531"/>
                  <a:gd name="T83" fmla="*/ 2147483647 h 757"/>
                  <a:gd name="T84" fmla="*/ 2147483647 w 531"/>
                  <a:gd name="T85" fmla="*/ 2147483647 h 757"/>
                  <a:gd name="T86" fmla="*/ 2147483647 w 531"/>
                  <a:gd name="T87" fmla="*/ 1850866889 h 757"/>
                  <a:gd name="T88" fmla="*/ 2147483647 w 531"/>
                  <a:gd name="T89" fmla="*/ 711934863 h 757"/>
                  <a:gd name="T90" fmla="*/ 2147483647 w 531"/>
                  <a:gd name="T91" fmla="*/ 2147483647 h 757"/>
                  <a:gd name="T92" fmla="*/ 2147483647 w 531"/>
                  <a:gd name="T93" fmla="*/ 2147483647 h 757"/>
                  <a:gd name="T94" fmla="*/ 2147483647 w 531"/>
                  <a:gd name="T95" fmla="*/ 2147483647 h 757"/>
                  <a:gd name="T96" fmla="*/ 2147483647 w 531"/>
                  <a:gd name="T97" fmla="*/ 2147483647 h 75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31" h="757">
                    <a:moveTo>
                      <a:pt x="531" y="190"/>
                    </a:moveTo>
                    <a:lnTo>
                      <a:pt x="432" y="190"/>
                    </a:lnTo>
                    <a:lnTo>
                      <a:pt x="428" y="194"/>
                    </a:lnTo>
                    <a:lnTo>
                      <a:pt x="419" y="203"/>
                    </a:lnTo>
                    <a:lnTo>
                      <a:pt x="413" y="208"/>
                    </a:lnTo>
                    <a:lnTo>
                      <a:pt x="409" y="213"/>
                    </a:lnTo>
                    <a:lnTo>
                      <a:pt x="407" y="218"/>
                    </a:lnTo>
                    <a:lnTo>
                      <a:pt x="406" y="221"/>
                    </a:lnTo>
                    <a:lnTo>
                      <a:pt x="404" y="226"/>
                    </a:lnTo>
                    <a:lnTo>
                      <a:pt x="403" y="230"/>
                    </a:lnTo>
                    <a:lnTo>
                      <a:pt x="403" y="233"/>
                    </a:lnTo>
                    <a:lnTo>
                      <a:pt x="404" y="237"/>
                    </a:lnTo>
                    <a:lnTo>
                      <a:pt x="407" y="244"/>
                    </a:lnTo>
                    <a:lnTo>
                      <a:pt x="412" y="252"/>
                    </a:lnTo>
                    <a:lnTo>
                      <a:pt x="397" y="264"/>
                    </a:lnTo>
                    <a:lnTo>
                      <a:pt x="382" y="275"/>
                    </a:lnTo>
                    <a:lnTo>
                      <a:pt x="367" y="284"/>
                    </a:lnTo>
                    <a:lnTo>
                      <a:pt x="353" y="291"/>
                    </a:lnTo>
                    <a:lnTo>
                      <a:pt x="339" y="299"/>
                    </a:lnTo>
                    <a:lnTo>
                      <a:pt x="325" y="306"/>
                    </a:lnTo>
                    <a:lnTo>
                      <a:pt x="311" y="315"/>
                    </a:lnTo>
                    <a:lnTo>
                      <a:pt x="299" y="325"/>
                    </a:lnTo>
                    <a:lnTo>
                      <a:pt x="277" y="338"/>
                    </a:lnTo>
                    <a:lnTo>
                      <a:pt x="252" y="354"/>
                    </a:lnTo>
                    <a:lnTo>
                      <a:pt x="248" y="358"/>
                    </a:lnTo>
                    <a:lnTo>
                      <a:pt x="242" y="361"/>
                    </a:lnTo>
                    <a:lnTo>
                      <a:pt x="239" y="365"/>
                    </a:lnTo>
                    <a:lnTo>
                      <a:pt x="237" y="369"/>
                    </a:lnTo>
                    <a:lnTo>
                      <a:pt x="237" y="372"/>
                    </a:lnTo>
                    <a:lnTo>
                      <a:pt x="238" y="375"/>
                    </a:lnTo>
                    <a:lnTo>
                      <a:pt x="241" y="378"/>
                    </a:lnTo>
                    <a:lnTo>
                      <a:pt x="245" y="381"/>
                    </a:lnTo>
                    <a:lnTo>
                      <a:pt x="245" y="391"/>
                    </a:lnTo>
                    <a:lnTo>
                      <a:pt x="245" y="400"/>
                    </a:lnTo>
                    <a:lnTo>
                      <a:pt x="243" y="413"/>
                    </a:lnTo>
                    <a:lnTo>
                      <a:pt x="240" y="424"/>
                    </a:lnTo>
                    <a:lnTo>
                      <a:pt x="238" y="430"/>
                    </a:lnTo>
                    <a:lnTo>
                      <a:pt x="238" y="436"/>
                    </a:lnTo>
                    <a:lnTo>
                      <a:pt x="238" y="443"/>
                    </a:lnTo>
                    <a:lnTo>
                      <a:pt x="239" y="449"/>
                    </a:lnTo>
                    <a:lnTo>
                      <a:pt x="243" y="456"/>
                    </a:lnTo>
                    <a:lnTo>
                      <a:pt x="249" y="461"/>
                    </a:lnTo>
                    <a:lnTo>
                      <a:pt x="255" y="465"/>
                    </a:lnTo>
                    <a:lnTo>
                      <a:pt x="262" y="468"/>
                    </a:lnTo>
                    <a:lnTo>
                      <a:pt x="277" y="473"/>
                    </a:lnTo>
                    <a:lnTo>
                      <a:pt x="293" y="477"/>
                    </a:lnTo>
                    <a:lnTo>
                      <a:pt x="308" y="480"/>
                    </a:lnTo>
                    <a:lnTo>
                      <a:pt x="320" y="485"/>
                    </a:lnTo>
                    <a:lnTo>
                      <a:pt x="326" y="488"/>
                    </a:lnTo>
                    <a:lnTo>
                      <a:pt x="329" y="492"/>
                    </a:lnTo>
                    <a:lnTo>
                      <a:pt x="331" y="499"/>
                    </a:lnTo>
                    <a:lnTo>
                      <a:pt x="332" y="505"/>
                    </a:lnTo>
                    <a:lnTo>
                      <a:pt x="332" y="517"/>
                    </a:lnTo>
                    <a:lnTo>
                      <a:pt x="332" y="529"/>
                    </a:lnTo>
                    <a:lnTo>
                      <a:pt x="321" y="530"/>
                    </a:lnTo>
                    <a:lnTo>
                      <a:pt x="310" y="531"/>
                    </a:lnTo>
                    <a:lnTo>
                      <a:pt x="299" y="534"/>
                    </a:lnTo>
                    <a:lnTo>
                      <a:pt x="289" y="537"/>
                    </a:lnTo>
                    <a:lnTo>
                      <a:pt x="280" y="542"/>
                    </a:lnTo>
                    <a:lnTo>
                      <a:pt x="272" y="547"/>
                    </a:lnTo>
                    <a:lnTo>
                      <a:pt x="270" y="551"/>
                    </a:lnTo>
                    <a:lnTo>
                      <a:pt x="267" y="554"/>
                    </a:lnTo>
                    <a:lnTo>
                      <a:pt x="266" y="557"/>
                    </a:lnTo>
                    <a:lnTo>
                      <a:pt x="265" y="560"/>
                    </a:lnTo>
                    <a:lnTo>
                      <a:pt x="264" y="576"/>
                    </a:lnTo>
                    <a:lnTo>
                      <a:pt x="262" y="593"/>
                    </a:lnTo>
                    <a:lnTo>
                      <a:pt x="258" y="612"/>
                    </a:lnTo>
                    <a:lnTo>
                      <a:pt x="252" y="631"/>
                    </a:lnTo>
                    <a:lnTo>
                      <a:pt x="248" y="651"/>
                    </a:lnTo>
                    <a:lnTo>
                      <a:pt x="243" y="673"/>
                    </a:lnTo>
                    <a:lnTo>
                      <a:pt x="240" y="695"/>
                    </a:lnTo>
                    <a:lnTo>
                      <a:pt x="239" y="721"/>
                    </a:lnTo>
                    <a:lnTo>
                      <a:pt x="224" y="721"/>
                    </a:lnTo>
                    <a:lnTo>
                      <a:pt x="206" y="722"/>
                    </a:lnTo>
                    <a:lnTo>
                      <a:pt x="189" y="724"/>
                    </a:lnTo>
                    <a:lnTo>
                      <a:pt x="173" y="727"/>
                    </a:lnTo>
                    <a:lnTo>
                      <a:pt x="166" y="730"/>
                    </a:lnTo>
                    <a:lnTo>
                      <a:pt x="161" y="732"/>
                    </a:lnTo>
                    <a:lnTo>
                      <a:pt x="155" y="735"/>
                    </a:lnTo>
                    <a:lnTo>
                      <a:pt x="152" y="738"/>
                    </a:lnTo>
                    <a:lnTo>
                      <a:pt x="150" y="742"/>
                    </a:lnTo>
                    <a:lnTo>
                      <a:pt x="149" y="747"/>
                    </a:lnTo>
                    <a:lnTo>
                      <a:pt x="150" y="751"/>
                    </a:lnTo>
                    <a:lnTo>
                      <a:pt x="153" y="757"/>
                    </a:lnTo>
                    <a:lnTo>
                      <a:pt x="142" y="757"/>
                    </a:lnTo>
                    <a:lnTo>
                      <a:pt x="127" y="757"/>
                    </a:lnTo>
                    <a:lnTo>
                      <a:pt x="113" y="757"/>
                    </a:lnTo>
                    <a:lnTo>
                      <a:pt x="106" y="757"/>
                    </a:lnTo>
                    <a:lnTo>
                      <a:pt x="104" y="757"/>
                    </a:lnTo>
                    <a:lnTo>
                      <a:pt x="101" y="756"/>
                    </a:lnTo>
                    <a:lnTo>
                      <a:pt x="98" y="754"/>
                    </a:lnTo>
                    <a:lnTo>
                      <a:pt x="95" y="752"/>
                    </a:lnTo>
                    <a:lnTo>
                      <a:pt x="90" y="746"/>
                    </a:lnTo>
                    <a:lnTo>
                      <a:pt x="84" y="738"/>
                    </a:lnTo>
                    <a:lnTo>
                      <a:pt x="77" y="729"/>
                    </a:lnTo>
                    <a:lnTo>
                      <a:pt x="71" y="718"/>
                    </a:lnTo>
                    <a:lnTo>
                      <a:pt x="65" y="706"/>
                    </a:lnTo>
                    <a:lnTo>
                      <a:pt x="60" y="693"/>
                    </a:lnTo>
                    <a:lnTo>
                      <a:pt x="49" y="667"/>
                    </a:lnTo>
                    <a:lnTo>
                      <a:pt x="41" y="640"/>
                    </a:lnTo>
                    <a:lnTo>
                      <a:pt x="38" y="628"/>
                    </a:lnTo>
                    <a:lnTo>
                      <a:pt x="35" y="616"/>
                    </a:lnTo>
                    <a:lnTo>
                      <a:pt x="34" y="606"/>
                    </a:lnTo>
                    <a:lnTo>
                      <a:pt x="34" y="597"/>
                    </a:lnTo>
                    <a:lnTo>
                      <a:pt x="27" y="596"/>
                    </a:lnTo>
                    <a:lnTo>
                      <a:pt x="22" y="594"/>
                    </a:lnTo>
                    <a:lnTo>
                      <a:pt x="17" y="590"/>
                    </a:lnTo>
                    <a:lnTo>
                      <a:pt x="14" y="586"/>
                    </a:lnTo>
                    <a:lnTo>
                      <a:pt x="8" y="576"/>
                    </a:lnTo>
                    <a:lnTo>
                      <a:pt x="0" y="566"/>
                    </a:lnTo>
                    <a:lnTo>
                      <a:pt x="9" y="563"/>
                    </a:lnTo>
                    <a:lnTo>
                      <a:pt x="19" y="561"/>
                    </a:lnTo>
                    <a:lnTo>
                      <a:pt x="27" y="560"/>
                    </a:lnTo>
                    <a:lnTo>
                      <a:pt x="34" y="560"/>
                    </a:lnTo>
                    <a:lnTo>
                      <a:pt x="34" y="548"/>
                    </a:lnTo>
                    <a:lnTo>
                      <a:pt x="36" y="538"/>
                    </a:lnTo>
                    <a:lnTo>
                      <a:pt x="38" y="528"/>
                    </a:lnTo>
                    <a:lnTo>
                      <a:pt x="42" y="519"/>
                    </a:lnTo>
                    <a:lnTo>
                      <a:pt x="47" y="511"/>
                    </a:lnTo>
                    <a:lnTo>
                      <a:pt x="53" y="504"/>
                    </a:lnTo>
                    <a:lnTo>
                      <a:pt x="59" y="498"/>
                    </a:lnTo>
                    <a:lnTo>
                      <a:pt x="67" y="492"/>
                    </a:lnTo>
                    <a:lnTo>
                      <a:pt x="62" y="480"/>
                    </a:lnTo>
                    <a:lnTo>
                      <a:pt x="61" y="471"/>
                    </a:lnTo>
                    <a:lnTo>
                      <a:pt x="61" y="464"/>
                    </a:lnTo>
                    <a:lnTo>
                      <a:pt x="61" y="457"/>
                    </a:lnTo>
                    <a:lnTo>
                      <a:pt x="63" y="450"/>
                    </a:lnTo>
                    <a:lnTo>
                      <a:pt x="64" y="441"/>
                    </a:lnTo>
                    <a:lnTo>
                      <a:pt x="65" y="428"/>
                    </a:lnTo>
                    <a:lnTo>
                      <a:pt x="67" y="412"/>
                    </a:lnTo>
                    <a:lnTo>
                      <a:pt x="62" y="410"/>
                    </a:lnTo>
                    <a:lnTo>
                      <a:pt x="58" y="408"/>
                    </a:lnTo>
                    <a:lnTo>
                      <a:pt x="54" y="404"/>
                    </a:lnTo>
                    <a:lnTo>
                      <a:pt x="51" y="400"/>
                    </a:lnTo>
                    <a:lnTo>
                      <a:pt x="47" y="390"/>
                    </a:lnTo>
                    <a:lnTo>
                      <a:pt x="43" y="377"/>
                    </a:lnTo>
                    <a:lnTo>
                      <a:pt x="40" y="354"/>
                    </a:lnTo>
                    <a:lnTo>
                      <a:pt x="40" y="338"/>
                    </a:lnTo>
                    <a:lnTo>
                      <a:pt x="60" y="277"/>
                    </a:lnTo>
                    <a:lnTo>
                      <a:pt x="74" y="276"/>
                    </a:lnTo>
                    <a:lnTo>
                      <a:pt x="88" y="275"/>
                    </a:lnTo>
                    <a:lnTo>
                      <a:pt x="94" y="274"/>
                    </a:lnTo>
                    <a:lnTo>
                      <a:pt x="99" y="274"/>
                    </a:lnTo>
                    <a:lnTo>
                      <a:pt x="103" y="275"/>
                    </a:lnTo>
                    <a:lnTo>
                      <a:pt x="106" y="277"/>
                    </a:lnTo>
                    <a:lnTo>
                      <a:pt x="107" y="261"/>
                    </a:lnTo>
                    <a:lnTo>
                      <a:pt x="109" y="247"/>
                    </a:lnTo>
                    <a:lnTo>
                      <a:pt x="113" y="234"/>
                    </a:lnTo>
                    <a:lnTo>
                      <a:pt x="118" y="222"/>
                    </a:lnTo>
                    <a:lnTo>
                      <a:pt x="124" y="211"/>
                    </a:lnTo>
                    <a:lnTo>
                      <a:pt x="130" y="201"/>
                    </a:lnTo>
                    <a:lnTo>
                      <a:pt x="137" y="192"/>
                    </a:lnTo>
                    <a:lnTo>
                      <a:pt x="144" y="183"/>
                    </a:lnTo>
                    <a:lnTo>
                      <a:pt x="160" y="168"/>
                    </a:lnTo>
                    <a:lnTo>
                      <a:pt x="173" y="152"/>
                    </a:lnTo>
                    <a:lnTo>
                      <a:pt x="180" y="145"/>
                    </a:lnTo>
                    <a:lnTo>
                      <a:pt x="185" y="138"/>
                    </a:lnTo>
                    <a:lnTo>
                      <a:pt x="189" y="130"/>
                    </a:lnTo>
                    <a:lnTo>
                      <a:pt x="193" y="123"/>
                    </a:lnTo>
                    <a:lnTo>
                      <a:pt x="198" y="111"/>
                    </a:lnTo>
                    <a:lnTo>
                      <a:pt x="205" y="97"/>
                    </a:lnTo>
                    <a:lnTo>
                      <a:pt x="213" y="83"/>
                    </a:lnTo>
                    <a:lnTo>
                      <a:pt x="220" y="71"/>
                    </a:lnTo>
                    <a:lnTo>
                      <a:pt x="228" y="60"/>
                    </a:lnTo>
                    <a:lnTo>
                      <a:pt x="237" y="51"/>
                    </a:lnTo>
                    <a:lnTo>
                      <a:pt x="241" y="47"/>
                    </a:lnTo>
                    <a:lnTo>
                      <a:pt x="244" y="44"/>
                    </a:lnTo>
                    <a:lnTo>
                      <a:pt x="249" y="43"/>
                    </a:lnTo>
                    <a:lnTo>
                      <a:pt x="252" y="42"/>
                    </a:lnTo>
                    <a:lnTo>
                      <a:pt x="272" y="36"/>
                    </a:lnTo>
                    <a:lnTo>
                      <a:pt x="291" y="32"/>
                    </a:lnTo>
                    <a:lnTo>
                      <a:pt x="309" y="29"/>
                    </a:lnTo>
                    <a:lnTo>
                      <a:pt x="327" y="25"/>
                    </a:lnTo>
                    <a:lnTo>
                      <a:pt x="344" y="22"/>
                    </a:lnTo>
                    <a:lnTo>
                      <a:pt x="361" y="16"/>
                    </a:lnTo>
                    <a:lnTo>
                      <a:pt x="368" y="13"/>
                    </a:lnTo>
                    <a:lnTo>
                      <a:pt x="376" y="9"/>
                    </a:lnTo>
                    <a:lnTo>
                      <a:pt x="384" y="5"/>
                    </a:lnTo>
                    <a:lnTo>
                      <a:pt x="392" y="0"/>
                    </a:lnTo>
                    <a:lnTo>
                      <a:pt x="401" y="5"/>
                    </a:lnTo>
                    <a:lnTo>
                      <a:pt x="409" y="11"/>
                    </a:lnTo>
                    <a:lnTo>
                      <a:pt x="416" y="18"/>
                    </a:lnTo>
                    <a:lnTo>
                      <a:pt x="423" y="25"/>
                    </a:lnTo>
                    <a:lnTo>
                      <a:pt x="431" y="32"/>
                    </a:lnTo>
                    <a:lnTo>
                      <a:pt x="441" y="37"/>
                    </a:lnTo>
                    <a:lnTo>
                      <a:pt x="445" y="39"/>
                    </a:lnTo>
                    <a:lnTo>
                      <a:pt x="452" y="41"/>
                    </a:lnTo>
                    <a:lnTo>
                      <a:pt x="457" y="42"/>
                    </a:lnTo>
                    <a:lnTo>
                      <a:pt x="465" y="42"/>
                    </a:lnTo>
                    <a:lnTo>
                      <a:pt x="487" y="72"/>
                    </a:lnTo>
                    <a:lnTo>
                      <a:pt x="508" y="102"/>
                    </a:lnTo>
                    <a:lnTo>
                      <a:pt x="513" y="111"/>
                    </a:lnTo>
                    <a:lnTo>
                      <a:pt x="518" y="120"/>
                    </a:lnTo>
                    <a:lnTo>
                      <a:pt x="521" y="129"/>
                    </a:lnTo>
                    <a:lnTo>
                      <a:pt x="524" y="139"/>
                    </a:lnTo>
                    <a:lnTo>
                      <a:pt x="528" y="150"/>
                    </a:lnTo>
                    <a:lnTo>
                      <a:pt x="530" y="163"/>
                    </a:lnTo>
                    <a:lnTo>
                      <a:pt x="531" y="176"/>
                    </a:lnTo>
                    <a:lnTo>
                      <a:pt x="531" y="19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7" name="Freeform 244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10365055" y="2318910"/>
                <a:ext cx="26988" cy="57150"/>
              </a:xfrm>
              <a:custGeom>
                <a:avLst/>
                <a:gdLst>
                  <a:gd name="T0" fmla="*/ 0 w 60"/>
                  <a:gd name="T1" fmla="*/ 2147483647 h 51"/>
                  <a:gd name="T2" fmla="*/ 546061698 w 60"/>
                  <a:gd name="T3" fmla="*/ 2147483647 h 51"/>
                  <a:gd name="T4" fmla="*/ 1365053490 w 60"/>
                  <a:gd name="T5" fmla="*/ 2147483647 h 51"/>
                  <a:gd name="T6" fmla="*/ 1820071170 w 60"/>
                  <a:gd name="T7" fmla="*/ 2147483647 h 51"/>
                  <a:gd name="T8" fmla="*/ 2147483647 w 60"/>
                  <a:gd name="T9" fmla="*/ 2147483647 h 51"/>
                  <a:gd name="T10" fmla="*/ 2147483647 w 60"/>
                  <a:gd name="T11" fmla="*/ 2147483647 h 51"/>
                  <a:gd name="T12" fmla="*/ 2147483647 w 60"/>
                  <a:gd name="T13" fmla="*/ 0 h 51"/>
                  <a:gd name="T14" fmla="*/ 2147483647 w 60"/>
                  <a:gd name="T15" fmla="*/ 2147483647 h 51"/>
                  <a:gd name="T16" fmla="*/ 2147483647 w 60"/>
                  <a:gd name="T17" fmla="*/ 2147483647 h 51"/>
                  <a:gd name="T18" fmla="*/ 2147483647 w 60"/>
                  <a:gd name="T19" fmla="*/ 2147483647 h 51"/>
                  <a:gd name="T20" fmla="*/ 2147483647 w 60"/>
                  <a:gd name="T21" fmla="*/ 2147483647 h 51"/>
                  <a:gd name="T22" fmla="*/ 2147483647 w 60"/>
                  <a:gd name="T23" fmla="*/ 2147483647 h 51"/>
                  <a:gd name="T24" fmla="*/ 2147483647 w 60"/>
                  <a:gd name="T25" fmla="*/ 2147483647 h 51"/>
                  <a:gd name="T26" fmla="*/ 2147483647 w 60"/>
                  <a:gd name="T27" fmla="*/ 2147483647 h 51"/>
                  <a:gd name="T28" fmla="*/ 2147483647 w 60"/>
                  <a:gd name="T29" fmla="*/ 2147483647 h 51"/>
                  <a:gd name="T30" fmla="*/ 2147483647 w 60"/>
                  <a:gd name="T31" fmla="*/ 2147483647 h 51"/>
                  <a:gd name="T32" fmla="*/ 2147483647 w 60"/>
                  <a:gd name="T33" fmla="*/ 2147483647 h 51"/>
                  <a:gd name="T34" fmla="*/ 2147483647 w 60"/>
                  <a:gd name="T35" fmla="*/ 2147483647 h 51"/>
                  <a:gd name="T36" fmla="*/ 2147483647 w 60"/>
                  <a:gd name="T37" fmla="*/ 2147483647 h 51"/>
                  <a:gd name="T38" fmla="*/ 1820071170 w 60"/>
                  <a:gd name="T39" fmla="*/ 2147483647 h 51"/>
                  <a:gd name="T40" fmla="*/ 1365053490 w 60"/>
                  <a:gd name="T41" fmla="*/ 2147483647 h 51"/>
                  <a:gd name="T42" fmla="*/ 637105716 w 60"/>
                  <a:gd name="T43" fmla="*/ 2147483647 h 51"/>
                  <a:gd name="T44" fmla="*/ 0 w 60"/>
                  <a:gd name="T45" fmla="*/ 2147483647 h 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8" name="Freeform 245"/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auto">
              <a:xfrm>
                <a:off x="9809430" y="2480835"/>
                <a:ext cx="28575" cy="57150"/>
              </a:xfrm>
              <a:custGeom>
                <a:avLst/>
                <a:gdLst>
                  <a:gd name="T0" fmla="*/ 2147483647 w 66"/>
                  <a:gd name="T1" fmla="*/ 2147483647 h 51"/>
                  <a:gd name="T2" fmla="*/ 2147483647 w 66"/>
                  <a:gd name="T3" fmla="*/ 2147483647 h 51"/>
                  <a:gd name="T4" fmla="*/ 1785457786 w 66"/>
                  <a:gd name="T5" fmla="*/ 2147483647 h 51"/>
                  <a:gd name="T6" fmla="*/ 1379629142 w 66"/>
                  <a:gd name="T7" fmla="*/ 2147483647 h 51"/>
                  <a:gd name="T8" fmla="*/ 1054966486 w 66"/>
                  <a:gd name="T9" fmla="*/ 2147483647 h 51"/>
                  <a:gd name="T10" fmla="*/ 811656856 w 66"/>
                  <a:gd name="T11" fmla="*/ 2147483647 h 51"/>
                  <a:gd name="T12" fmla="*/ 568159756 w 66"/>
                  <a:gd name="T13" fmla="*/ 2147483647 h 51"/>
                  <a:gd name="T14" fmla="*/ 243497100 w 66"/>
                  <a:gd name="T15" fmla="*/ 2147483647 h 51"/>
                  <a:gd name="T16" fmla="*/ 81165556 w 66"/>
                  <a:gd name="T17" fmla="*/ 2147483647 h 51"/>
                  <a:gd name="T18" fmla="*/ 0 w 66"/>
                  <a:gd name="T19" fmla="*/ 2147483647 h 51"/>
                  <a:gd name="T20" fmla="*/ 0 w 66"/>
                  <a:gd name="T21" fmla="*/ 2147483647 h 51"/>
                  <a:gd name="T22" fmla="*/ 324662656 w 66"/>
                  <a:gd name="T23" fmla="*/ 2147483647 h 51"/>
                  <a:gd name="T24" fmla="*/ 811656856 w 66"/>
                  <a:gd name="T25" fmla="*/ 2147483647 h 51"/>
                  <a:gd name="T26" fmla="*/ 1136132475 w 66"/>
                  <a:gd name="T27" fmla="*/ 2147483647 h 51"/>
                  <a:gd name="T28" fmla="*/ 1541960686 w 66"/>
                  <a:gd name="T29" fmla="*/ 2147483647 h 51"/>
                  <a:gd name="T30" fmla="*/ 2110120442 w 66"/>
                  <a:gd name="T31" fmla="*/ 2147483647 h 51"/>
                  <a:gd name="T32" fmla="*/ 2147483647 w 66"/>
                  <a:gd name="T33" fmla="*/ 0 h 51"/>
                  <a:gd name="T34" fmla="*/ 2147483647 w 66"/>
                  <a:gd name="T35" fmla="*/ 1407659409 h 51"/>
                  <a:gd name="T36" fmla="*/ 2147483647 w 66"/>
                  <a:gd name="T37" fmla="*/ 2147483647 h 51"/>
                  <a:gd name="T38" fmla="*/ 2147483647 w 66"/>
                  <a:gd name="T39" fmla="*/ 2147483647 h 51"/>
                  <a:gd name="T40" fmla="*/ 2147483647 w 66"/>
                  <a:gd name="T41" fmla="*/ 0 h 51"/>
                  <a:gd name="T42" fmla="*/ 2147483647 w 66"/>
                  <a:gd name="T43" fmla="*/ 2147483647 h 51"/>
                  <a:gd name="T44" fmla="*/ 2147483647 w 66"/>
                  <a:gd name="T45" fmla="*/ 2147483647 h 51"/>
                  <a:gd name="T46" fmla="*/ 2147483647 w 66"/>
                  <a:gd name="T47" fmla="*/ 2147483647 h 51"/>
                  <a:gd name="T48" fmla="*/ 2147483647 w 66"/>
                  <a:gd name="T49" fmla="*/ 2147483647 h 5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09" name="Freeform 246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10761930" y="3009472"/>
                <a:ext cx="50800" cy="57150"/>
              </a:xfrm>
              <a:custGeom>
                <a:avLst/>
                <a:gdLst>
                  <a:gd name="T0" fmla="*/ 0 w 113"/>
                  <a:gd name="T1" fmla="*/ 2147483647 h 74"/>
                  <a:gd name="T2" fmla="*/ 1817098917 w 113"/>
                  <a:gd name="T3" fmla="*/ 2147483647 h 74"/>
                  <a:gd name="T4" fmla="*/ 2147483647 w 113"/>
                  <a:gd name="T5" fmla="*/ 2147483647 h 74"/>
                  <a:gd name="T6" fmla="*/ 2147483647 w 113"/>
                  <a:gd name="T7" fmla="*/ 2147483647 h 74"/>
                  <a:gd name="T8" fmla="*/ 2147483647 w 113"/>
                  <a:gd name="T9" fmla="*/ 2147483647 h 74"/>
                  <a:gd name="T10" fmla="*/ 2147483647 w 113"/>
                  <a:gd name="T11" fmla="*/ 2147483647 h 74"/>
                  <a:gd name="T12" fmla="*/ 2147483647 w 113"/>
                  <a:gd name="T13" fmla="*/ 2147483647 h 74"/>
                  <a:gd name="T14" fmla="*/ 2147483647 w 113"/>
                  <a:gd name="T15" fmla="*/ 2147483647 h 74"/>
                  <a:gd name="T16" fmla="*/ 2147483647 w 113"/>
                  <a:gd name="T17" fmla="*/ 2147483647 h 74"/>
                  <a:gd name="T18" fmla="*/ 2147483647 w 113"/>
                  <a:gd name="T19" fmla="*/ 2147483647 h 74"/>
                  <a:gd name="T20" fmla="*/ 2147483647 w 113"/>
                  <a:gd name="T21" fmla="*/ 2147483647 h 74"/>
                  <a:gd name="T22" fmla="*/ 2147483647 w 113"/>
                  <a:gd name="T23" fmla="*/ 2147483647 h 74"/>
                  <a:gd name="T24" fmla="*/ 2147483647 w 113"/>
                  <a:gd name="T25" fmla="*/ 2147483647 h 74"/>
                  <a:gd name="T26" fmla="*/ 2147483647 w 113"/>
                  <a:gd name="T27" fmla="*/ 2147483647 h 74"/>
                  <a:gd name="T28" fmla="*/ 2147483647 w 113"/>
                  <a:gd name="T29" fmla="*/ 2147483647 h 74"/>
                  <a:gd name="T30" fmla="*/ 2147483647 w 113"/>
                  <a:gd name="T31" fmla="*/ 2147483647 h 74"/>
                  <a:gd name="T32" fmla="*/ 2147483647 w 113"/>
                  <a:gd name="T33" fmla="*/ 2147483647 h 74"/>
                  <a:gd name="T34" fmla="*/ 2147483647 w 113"/>
                  <a:gd name="T35" fmla="*/ 2147483647 h 74"/>
                  <a:gd name="T36" fmla="*/ 2147483647 w 113"/>
                  <a:gd name="T37" fmla="*/ 1381958824 h 74"/>
                  <a:gd name="T38" fmla="*/ 2147483647 w 113"/>
                  <a:gd name="T39" fmla="*/ 0 h 74"/>
                  <a:gd name="T40" fmla="*/ 2147483647 w 113"/>
                  <a:gd name="T41" fmla="*/ 1842412512 h 74"/>
                  <a:gd name="T42" fmla="*/ 2147483647 w 113"/>
                  <a:gd name="T43" fmla="*/ 2147483647 h 74"/>
                  <a:gd name="T44" fmla="*/ 2147483647 w 113"/>
                  <a:gd name="T45" fmla="*/ 2147483647 h 74"/>
                  <a:gd name="T46" fmla="*/ 2147483647 w 113"/>
                  <a:gd name="T47" fmla="*/ 2147483647 h 74"/>
                  <a:gd name="T48" fmla="*/ 1817098917 w 113"/>
                  <a:gd name="T49" fmla="*/ 2147483647 h 74"/>
                  <a:gd name="T50" fmla="*/ 0 w 113"/>
                  <a:gd name="T51" fmla="*/ 2147483647 h 7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13" h="74">
                    <a:moveTo>
                      <a:pt x="0" y="44"/>
                    </a:moveTo>
                    <a:lnTo>
                      <a:pt x="20" y="74"/>
                    </a:lnTo>
                    <a:lnTo>
                      <a:pt x="37" y="69"/>
                    </a:lnTo>
                    <a:lnTo>
                      <a:pt x="51" y="65"/>
                    </a:lnTo>
                    <a:lnTo>
                      <a:pt x="64" y="59"/>
                    </a:lnTo>
                    <a:lnTo>
                      <a:pt x="74" y="53"/>
                    </a:lnTo>
                    <a:lnTo>
                      <a:pt x="78" y="49"/>
                    </a:lnTo>
                    <a:lnTo>
                      <a:pt x="83" y="45"/>
                    </a:lnTo>
                    <a:lnTo>
                      <a:pt x="86" y="41"/>
                    </a:lnTo>
                    <a:lnTo>
                      <a:pt x="88" y="37"/>
                    </a:lnTo>
                    <a:lnTo>
                      <a:pt x="90" y="32"/>
                    </a:lnTo>
                    <a:lnTo>
                      <a:pt x="91" y="26"/>
                    </a:lnTo>
                    <a:lnTo>
                      <a:pt x="93" y="19"/>
                    </a:lnTo>
                    <a:lnTo>
                      <a:pt x="94" y="13"/>
                    </a:lnTo>
                    <a:lnTo>
                      <a:pt x="99" y="12"/>
                    </a:lnTo>
                    <a:lnTo>
                      <a:pt x="106" y="9"/>
                    </a:lnTo>
                    <a:lnTo>
                      <a:pt x="108" y="7"/>
                    </a:lnTo>
                    <a:lnTo>
                      <a:pt x="111" y="5"/>
                    </a:lnTo>
                    <a:lnTo>
                      <a:pt x="112" y="3"/>
                    </a:lnTo>
                    <a:lnTo>
                      <a:pt x="113" y="0"/>
                    </a:lnTo>
                    <a:lnTo>
                      <a:pt x="98" y="4"/>
                    </a:lnTo>
                    <a:lnTo>
                      <a:pt x="82" y="8"/>
                    </a:lnTo>
                    <a:lnTo>
                      <a:pt x="65" y="13"/>
                    </a:lnTo>
                    <a:lnTo>
                      <a:pt x="49" y="19"/>
                    </a:lnTo>
                    <a:lnTo>
                      <a:pt x="20" y="33"/>
                    </a:lnTo>
                    <a:lnTo>
                      <a:pt x="0" y="4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0" name="Freeform 247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10369818" y="3801635"/>
                <a:ext cx="325437" cy="244475"/>
              </a:xfrm>
              <a:custGeom>
                <a:avLst/>
                <a:gdLst>
                  <a:gd name="T0" fmla="*/ 2147483647 w 746"/>
                  <a:gd name="T1" fmla="*/ 2147483647 h 469"/>
                  <a:gd name="T2" fmla="*/ 2147483647 w 746"/>
                  <a:gd name="T3" fmla="*/ 2147483647 h 469"/>
                  <a:gd name="T4" fmla="*/ 1743408325 w 746"/>
                  <a:gd name="T5" fmla="*/ 2147483647 h 469"/>
                  <a:gd name="T6" fmla="*/ 415060867 w 746"/>
                  <a:gd name="T7" fmla="*/ 2147483647 h 469"/>
                  <a:gd name="T8" fmla="*/ 0 w 746"/>
                  <a:gd name="T9" fmla="*/ 2147483647 h 469"/>
                  <a:gd name="T10" fmla="*/ 415060867 w 746"/>
                  <a:gd name="T11" fmla="*/ 2147483647 h 469"/>
                  <a:gd name="T12" fmla="*/ 1909546967 w 746"/>
                  <a:gd name="T13" fmla="*/ 2147483647 h 469"/>
                  <a:gd name="T14" fmla="*/ 2147483647 w 746"/>
                  <a:gd name="T15" fmla="*/ 2147483647 h 469"/>
                  <a:gd name="T16" fmla="*/ 2147483647 w 746"/>
                  <a:gd name="T17" fmla="*/ 2147483647 h 469"/>
                  <a:gd name="T18" fmla="*/ 2147483647 w 746"/>
                  <a:gd name="T19" fmla="*/ 2147483647 h 469"/>
                  <a:gd name="T20" fmla="*/ 2147483647 w 746"/>
                  <a:gd name="T21" fmla="*/ 2147483647 h 469"/>
                  <a:gd name="T22" fmla="*/ 2147483647 w 746"/>
                  <a:gd name="T23" fmla="*/ 2147483647 h 469"/>
                  <a:gd name="T24" fmla="*/ 2147483647 w 746"/>
                  <a:gd name="T25" fmla="*/ 2147483647 h 469"/>
                  <a:gd name="T26" fmla="*/ 2147483647 w 746"/>
                  <a:gd name="T27" fmla="*/ 2147483647 h 469"/>
                  <a:gd name="T28" fmla="*/ 2147483647 w 746"/>
                  <a:gd name="T29" fmla="*/ 2147483647 h 469"/>
                  <a:gd name="T30" fmla="*/ 2147483647 w 746"/>
                  <a:gd name="T31" fmla="*/ 2147483647 h 469"/>
                  <a:gd name="T32" fmla="*/ 2147483647 w 746"/>
                  <a:gd name="T33" fmla="*/ 2147483647 h 469"/>
                  <a:gd name="T34" fmla="*/ 2147483647 w 746"/>
                  <a:gd name="T35" fmla="*/ 2147483647 h 469"/>
                  <a:gd name="T36" fmla="*/ 2147483647 w 746"/>
                  <a:gd name="T37" fmla="*/ 849943140 h 469"/>
                  <a:gd name="T38" fmla="*/ 2147483647 w 746"/>
                  <a:gd name="T39" fmla="*/ 0 h 469"/>
                  <a:gd name="T40" fmla="*/ 2147483647 w 746"/>
                  <a:gd name="T41" fmla="*/ 2147483647 h 469"/>
                  <a:gd name="T42" fmla="*/ 2147483647 w 746"/>
                  <a:gd name="T43" fmla="*/ 2147483647 h 469"/>
                  <a:gd name="T44" fmla="*/ 2147483647 w 746"/>
                  <a:gd name="T45" fmla="*/ 2147483647 h 469"/>
                  <a:gd name="T46" fmla="*/ 2147483647 w 746"/>
                  <a:gd name="T47" fmla="*/ 2147483647 h 469"/>
                  <a:gd name="T48" fmla="*/ 2147483647 w 746"/>
                  <a:gd name="T49" fmla="*/ 2147483647 h 469"/>
                  <a:gd name="T50" fmla="*/ 2147483647 w 746"/>
                  <a:gd name="T51" fmla="*/ 2147483647 h 469"/>
                  <a:gd name="T52" fmla="*/ 2147483647 w 746"/>
                  <a:gd name="T53" fmla="*/ 2147483647 h 469"/>
                  <a:gd name="T54" fmla="*/ 2147483647 w 746"/>
                  <a:gd name="T55" fmla="*/ 2147483647 h 469"/>
                  <a:gd name="T56" fmla="*/ 2147483647 w 746"/>
                  <a:gd name="T57" fmla="*/ 2147483647 h 469"/>
                  <a:gd name="T58" fmla="*/ 2147483647 w 746"/>
                  <a:gd name="T59" fmla="*/ 2147483647 h 469"/>
                  <a:gd name="T60" fmla="*/ 2147483647 w 746"/>
                  <a:gd name="T61" fmla="*/ 2147483647 h 469"/>
                  <a:gd name="T62" fmla="*/ 2147483647 w 746"/>
                  <a:gd name="T63" fmla="*/ 2147483647 h 469"/>
                  <a:gd name="T64" fmla="*/ 2147483647 w 746"/>
                  <a:gd name="T65" fmla="*/ 2147483647 h 469"/>
                  <a:gd name="T66" fmla="*/ 2147483647 w 746"/>
                  <a:gd name="T67" fmla="*/ 2147483647 h 469"/>
                  <a:gd name="T68" fmla="*/ 2147483647 w 746"/>
                  <a:gd name="T69" fmla="*/ 2147483647 h 469"/>
                  <a:gd name="T70" fmla="*/ 2147483647 w 746"/>
                  <a:gd name="T71" fmla="*/ 2147483647 h 469"/>
                  <a:gd name="T72" fmla="*/ 2147483647 w 746"/>
                  <a:gd name="T73" fmla="*/ 2147483647 h 469"/>
                  <a:gd name="T74" fmla="*/ 2147483647 w 746"/>
                  <a:gd name="T75" fmla="*/ 2147483647 h 469"/>
                  <a:gd name="T76" fmla="*/ 2147483647 w 746"/>
                  <a:gd name="T77" fmla="*/ 2147483647 h 469"/>
                  <a:gd name="T78" fmla="*/ 2147483647 w 746"/>
                  <a:gd name="T79" fmla="*/ 2147483647 h 469"/>
                  <a:gd name="T80" fmla="*/ 2147483647 w 746"/>
                  <a:gd name="T81" fmla="*/ 2147483647 h 469"/>
                  <a:gd name="T82" fmla="*/ 2147483647 w 746"/>
                  <a:gd name="T83" fmla="*/ 2147483647 h 469"/>
                  <a:gd name="T84" fmla="*/ 2147483647 w 746"/>
                  <a:gd name="T85" fmla="*/ 2147483647 h 469"/>
                  <a:gd name="T86" fmla="*/ 2147483647 w 746"/>
                  <a:gd name="T87" fmla="*/ 2147483647 h 469"/>
                  <a:gd name="T88" fmla="*/ 2147483647 w 746"/>
                  <a:gd name="T89" fmla="*/ 2147483647 h 469"/>
                  <a:gd name="T90" fmla="*/ 2147483647 w 746"/>
                  <a:gd name="T91" fmla="*/ 2147483647 h 469"/>
                  <a:gd name="T92" fmla="*/ 2147483647 w 746"/>
                  <a:gd name="T93" fmla="*/ 2147483647 h 469"/>
                  <a:gd name="T94" fmla="*/ 2147483647 w 746"/>
                  <a:gd name="T95" fmla="*/ 2147483647 h 46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1" name="Freeform 248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10306318" y="3969910"/>
                <a:ext cx="500062" cy="552450"/>
              </a:xfrm>
              <a:custGeom>
                <a:avLst/>
                <a:gdLst>
                  <a:gd name="T0" fmla="*/ 2147483647 w 1145"/>
                  <a:gd name="T1" fmla="*/ 2147483647 h 1053"/>
                  <a:gd name="T2" fmla="*/ 2147483647 w 1145"/>
                  <a:gd name="T3" fmla="*/ 2147483647 h 1053"/>
                  <a:gd name="T4" fmla="*/ 2147483647 w 1145"/>
                  <a:gd name="T5" fmla="*/ 2147483647 h 1053"/>
                  <a:gd name="T6" fmla="*/ 2147483647 w 1145"/>
                  <a:gd name="T7" fmla="*/ 2147483647 h 1053"/>
                  <a:gd name="T8" fmla="*/ 2147483647 w 1145"/>
                  <a:gd name="T9" fmla="*/ 2147483647 h 1053"/>
                  <a:gd name="T10" fmla="*/ 2147483647 w 1145"/>
                  <a:gd name="T11" fmla="*/ 2147483647 h 1053"/>
                  <a:gd name="T12" fmla="*/ 2147483647 w 1145"/>
                  <a:gd name="T13" fmla="*/ 2147483647 h 1053"/>
                  <a:gd name="T14" fmla="*/ 2147483647 w 1145"/>
                  <a:gd name="T15" fmla="*/ 2147483647 h 1053"/>
                  <a:gd name="T16" fmla="*/ 2147483647 w 1145"/>
                  <a:gd name="T17" fmla="*/ 2147483647 h 1053"/>
                  <a:gd name="T18" fmla="*/ 2147483647 w 1145"/>
                  <a:gd name="T19" fmla="*/ 2147483647 h 1053"/>
                  <a:gd name="T20" fmla="*/ 2147483647 w 1145"/>
                  <a:gd name="T21" fmla="*/ 2147483647 h 1053"/>
                  <a:gd name="T22" fmla="*/ 2147483647 w 1145"/>
                  <a:gd name="T23" fmla="*/ 2147483647 h 1053"/>
                  <a:gd name="T24" fmla="*/ 2147483647 w 1145"/>
                  <a:gd name="T25" fmla="*/ 2147483647 h 1053"/>
                  <a:gd name="T26" fmla="*/ 2147483647 w 1145"/>
                  <a:gd name="T27" fmla="*/ 2147483647 h 1053"/>
                  <a:gd name="T28" fmla="*/ 2147483647 w 1145"/>
                  <a:gd name="T29" fmla="*/ 2147483647 h 1053"/>
                  <a:gd name="T30" fmla="*/ 2147483647 w 1145"/>
                  <a:gd name="T31" fmla="*/ 2147483647 h 1053"/>
                  <a:gd name="T32" fmla="*/ 2147483647 w 1145"/>
                  <a:gd name="T33" fmla="*/ 2147483647 h 1053"/>
                  <a:gd name="T34" fmla="*/ 2147483647 w 1145"/>
                  <a:gd name="T35" fmla="*/ 2147483647 h 1053"/>
                  <a:gd name="T36" fmla="*/ 2147483647 w 1145"/>
                  <a:gd name="T37" fmla="*/ 2147483647 h 1053"/>
                  <a:gd name="T38" fmla="*/ 2147483647 w 1145"/>
                  <a:gd name="T39" fmla="*/ 2147483647 h 1053"/>
                  <a:gd name="T40" fmla="*/ 2147483647 w 1145"/>
                  <a:gd name="T41" fmla="*/ 2147483647 h 1053"/>
                  <a:gd name="T42" fmla="*/ 2147483647 w 1145"/>
                  <a:gd name="T43" fmla="*/ 2147483647 h 1053"/>
                  <a:gd name="T44" fmla="*/ 2147483647 w 1145"/>
                  <a:gd name="T45" fmla="*/ 2147483647 h 1053"/>
                  <a:gd name="T46" fmla="*/ 2147483647 w 1145"/>
                  <a:gd name="T47" fmla="*/ 2147483647 h 1053"/>
                  <a:gd name="T48" fmla="*/ 2147483647 w 1145"/>
                  <a:gd name="T49" fmla="*/ 2147483647 h 1053"/>
                  <a:gd name="T50" fmla="*/ 2147483647 w 1145"/>
                  <a:gd name="T51" fmla="*/ 2147483647 h 1053"/>
                  <a:gd name="T52" fmla="*/ 2147483647 w 1145"/>
                  <a:gd name="T53" fmla="*/ 2147483647 h 1053"/>
                  <a:gd name="T54" fmla="*/ 2147483647 w 1145"/>
                  <a:gd name="T55" fmla="*/ 2147483647 h 1053"/>
                  <a:gd name="T56" fmla="*/ 2147483647 w 1145"/>
                  <a:gd name="T57" fmla="*/ 2147483647 h 1053"/>
                  <a:gd name="T58" fmla="*/ 2147483647 w 1145"/>
                  <a:gd name="T59" fmla="*/ 2147483647 h 1053"/>
                  <a:gd name="T60" fmla="*/ 2147483647 w 1145"/>
                  <a:gd name="T61" fmla="*/ 2147483647 h 1053"/>
                  <a:gd name="T62" fmla="*/ 2147483647 w 1145"/>
                  <a:gd name="T63" fmla="*/ 2147483647 h 1053"/>
                  <a:gd name="T64" fmla="*/ 2147483647 w 1145"/>
                  <a:gd name="T65" fmla="*/ 2147483647 h 1053"/>
                  <a:gd name="T66" fmla="*/ 2147483647 w 1145"/>
                  <a:gd name="T67" fmla="*/ 2147483647 h 1053"/>
                  <a:gd name="T68" fmla="*/ 249866351 w 1145"/>
                  <a:gd name="T69" fmla="*/ 2147483647 h 1053"/>
                  <a:gd name="T70" fmla="*/ 2147483647 w 1145"/>
                  <a:gd name="T71" fmla="*/ 2147483647 h 1053"/>
                  <a:gd name="T72" fmla="*/ 2147483647 w 1145"/>
                  <a:gd name="T73" fmla="*/ 2147483647 h 1053"/>
                  <a:gd name="T74" fmla="*/ 2147483647 w 1145"/>
                  <a:gd name="T75" fmla="*/ 2147483647 h 1053"/>
                  <a:gd name="T76" fmla="*/ 2147483647 w 1145"/>
                  <a:gd name="T77" fmla="*/ 2147483647 h 1053"/>
                  <a:gd name="T78" fmla="*/ 2147483647 w 1145"/>
                  <a:gd name="T79" fmla="*/ 2147483647 h 1053"/>
                  <a:gd name="T80" fmla="*/ 2147483647 w 1145"/>
                  <a:gd name="T81" fmla="*/ 2147483647 h 1053"/>
                  <a:gd name="T82" fmla="*/ 2147483647 w 1145"/>
                  <a:gd name="T83" fmla="*/ 2147483647 h 1053"/>
                  <a:gd name="T84" fmla="*/ 2147483647 w 1145"/>
                  <a:gd name="T85" fmla="*/ 2147483647 h 1053"/>
                  <a:gd name="T86" fmla="*/ 2147483647 w 1145"/>
                  <a:gd name="T87" fmla="*/ 2147483647 h 1053"/>
                  <a:gd name="T88" fmla="*/ 2147483647 w 1145"/>
                  <a:gd name="T89" fmla="*/ 2147483647 h 1053"/>
                  <a:gd name="T90" fmla="*/ 2147483647 w 1145"/>
                  <a:gd name="T91" fmla="*/ 2147483647 h 1053"/>
                  <a:gd name="T92" fmla="*/ 2147483647 w 1145"/>
                  <a:gd name="T93" fmla="*/ 2147483647 h 1053"/>
                  <a:gd name="T94" fmla="*/ 2147483647 w 1145"/>
                  <a:gd name="T95" fmla="*/ 2147483647 h 1053"/>
                  <a:gd name="T96" fmla="*/ 2147483647 w 1145"/>
                  <a:gd name="T97" fmla="*/ 2147483647 h 1053"/>
                  <a:gd name="T98" fmla="*/ 2147483647 w 1145"/>
                  <a:gd name="T99" fmla="*/ 2147483647 h 1053"/>
                  <a:gd name="T100" fmla="*/ 2147483647 w 1145"/>
                  <a:gd name="T101" fmla="*/ 2147483647 h 1053"/>
                  <a:gd name="T102" fmla="*/ 2147483647 w 1145"/>
                  <a:gd name="T103" fmla="*/ 2147483647 h 1053"/>
                  <a:gd name="T104" fmla="*/ 2147483647 w 1145"/>
                  <a:gd name="T105" fmla="*/ 2147483647 h 1053"/>
                  <a:gd name="T106" fmla="*/ 2147483647 w 1145"/>
                  <a:gd name="T107" fmla="*/ 2147483647 h 1053"/>
                  <a:gd name="T108" fmla="*/ 2147483647 w 1145"/>
                  <a:gd name="T109" fmla="*/ 1155229087 h 1053"/>
                  <a:gd name="T110" fmla="*/ 2147483647 w 1145"/>
                  <a:gd name="T111" fmla="*/ 2147483647 h 10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2" name="Freeform 249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10242818" y="4069922"/>
                <a:ext cx="55562" cy="55563"/>
              </a:xfrm>
              <a:custGeom>
                <a:avLst/>
                <a:gdLst>
                  <a:gd name="T0" fmla="*/ 2147483647 w 125"/>
                  <a:gd name="T1" fmla="*/ 0 h 81"/>
                  <a:gd name="T2" fmla="*/ 2147483647 w 125"/>
                  <a:gd name="T3" fmla="*/ 2147483647 h 81"/>
                  <a:gd name="T4" fmla="*/ 2147483647 w 125"/>
                  <a:gd name="T5" fmla="*/ 2147483647 h 81"/>
                  <a:gd name="T6" fmla="*/ 2147483647 w 125"/>
                  <a:gd name="T7" fmla="*/ 2147483647 h 81"/>
                  <a:gd name="T8" fmla="*/ 2147483647 w 125"/>
                  <a:gd name="T9" fmla="*/ 2147483647 h 81"/>
                  <a:gd name="T10" fmla="*/ 2147483647 w 125"/>
                  <a:gd name="T11" fmla="*/ 2147483647 h 81"/>
                  <a:gd name="T12" fmla="*/ 2147483647 w 125"/>
                  <a:gd name="T13" fmla="*/ 2147483647 h 81"/>
                  <a:gd name="T14" fmla="*/ 2147483647 w 125"/>
                  <a:gd name="T15" fmla="*/ 2147483647 h 81"/>
                  <a:gd name="T16" fmla="*/ 2147483647 w 125"/>
                  <a:gd name="T17" fmla="*/ 2147483647 h 81"/>
                  <a:gd name="T18" fmla="*/ 2147483647 w 125"/>
                  <a:gd name="T19" fmla="*/ 2147483647 h 81"/>
                  <a:gd name="T20" fmla="*/ 2147483647 w 125"/>
                  <a:gd name="T21" fmla="*/ 2147483647 h 81"/>
                  <a:gd name="T22" fmla="*/ 2147483647 w 125"/>
                  <a:gd name="T23" fmla="*/ 2147483647 h 81"/>
                  <a:gd name="T24" fmla="*/ 614661070 w 125"/>
                  <a:gd name="T25" fmla="*/ 2147483647 h 81"/>
                  <a:gd name="T26" fmla="*/ 439015364 w 125"/>
                  <a:gd name="T27" fmla="*/ 2147483647 h 81"/>
                  <a:gd name="T28" fmla="*/ 263369658 w 125"/>
                  <a:gd name="T29" fmla="*/ 2147483647 h 81"/>
                  <a:gd name="T30" fmla="*/ 87723953 w 125"/>
                  <a:gd name="T31" fmla="*/ 2147483647 h 81"/>
                  <a:gd name="T32" fmla="*/ 0 w 125"/>
                  <a:gd name="T33" fmla="*/ 2147483647 h 81"/>
                  <a:gd name="T34" fmla="*/ 0 w 125"/>
                  <a:gd name="T35" fmla="*/ 2147483647 h 81"/>
                  <a:gd name="T36" fmla="*/ 87723953 w 125"/>
                  <a:gd name="T37" fmla="*/ 2147483647 h 81"/>
                  <a:gd name="T38" fmla="*/ 175645706 w 125"/>
                  <a:gd name="T39" fmla="*/ 2147483647 h 81"/>
                  <a:gd name="T40" fmla="*/ 351291412 w 125"/>
                  <a:gd name="T41" fmla="*/ 2147483647 h 81"/>
                  <a:gd name="T42" fmla="*/ 702582823 w 125"/>
                  <a:gd name="T43" fmla="*/ 2147483647 h 81"/>
                  <a:gd name="T44" fmla="*/ 965952482 w 125"/>
                  <a:gd name="T45" fmla="*/ 2147483647 h 81"/>
                  <a:gd name="T46" fmla="*/ 1229519941 w 125"/>
                  <a:gd name="T47" fmla="*/ 1613970015 h 81"/>
                  <a:gd name="T48" fmla="*/ 1756456614 w 125"/>
                  <a:gd name="T49" fmla="*/ 0 h 81"/>
                  <a:gd name="T50" fmla="*/ 2147483647 w 125"/>
                  <a:gd name="T51" fmla="*/ 0 h 8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3" name="Freeform 250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10225355" y="4069922"/>
                <a:ext cx="152400" cy="201613"/>
              </a:xfrm>
              <a:custGeom>
                <a:avLst/>
                <a:gdLst>
                  <a:gd name="T0" fmla="*/ 2147483647 w 355"/>
                  <a:gd name="T1" fmla="*/ 2104427660 h 388"/>
                  <a:gd name="T2" fmla="*/ 2147483647 w 355"/>
                  <a:gd name="T3" fmla="*/ 2147483647 h 388"/>
                  <a:gd name="T4" fmla="*/ 2147483647 w 355"/>
                  <a:gd name="T5" fmla="*/ 2147483647 h 388"/>
                  <a:gd name="T6" fmla="*/ 2147483647 w 355"/>
                  <a:gd name="T7" fmla="*/ 2147483647 h 388"/>
                  <a:gd name="T8" fmla="*/ 2147483647 w 355"/>
                  <a:gd name="T9" fmla="*/ 2147483647 h 388"/>
                  <a:gd name="T10" fmla="*/ 2147483647 w 355"/>
                  <a:gd name="T11" fmla="*/ 2147483647 h 388"/>
                  <a:gd name="T12" fmla="*/ 2147483647 w 355"/>
                  <a:gd name="T13" fmla="*/ 2147483647 h 388"/>
                  <a:gd name="T14" fmla="*/ 2147483647 w 355"/>
                  <a:gd name="T15" fmla="*/ 2147483647 h 388"/>
                  <a:gd name="T16" fmla="*/ 2147483647 w 355"/>
                  <a:gd name="T17" fmla="*/ 2147483647 h 388"/>
                  <a:gd name="T18" fmla="*/ 2147483647 w 355"/>
                  <a:gd name="T19" fmla="*/ 2147483647 h 388"/>
                  <a:gd name="T20" fmla="*/ 2147483647 w 355"/>
                  <a:gd name="T21" fmla="*/ 2147483647 h 388"/>
                  <a:gd name="T22" fmla="*/ 2147483647 w 355"/>
                  <a:gd name="T23" fmla="*/ 2147483647 h 388"/>
                  <a:gd name="T24" fmla="*/ 2147483647 w 355"/>
                  <a:gd name="T25" fmla="*/ 2147483647 h 388"/>
                  <a:gd name="T26" fmla="*/ 2147483647 w 355"/>
                  <a:gd name="T27" fmla="*/ 2147483647 h 388"/>
                  <a:gd name="T28" fmla="*/ 2147483647 w 355"/>
                  <a:gd name="T29" fmla="*/ 2147483647 h 388"/>
                  <a:gd name="T30" fmla="*/ 2147483647 w 355"/>
                  <a:gd name="T31" fmla="*/ 2147483647 h 388"/>
                  <a:gd name="T32" fmla="*/ 2147483647 w 355"/>
                  <a:gd name="T33" fmla="*/ 2147483647 h 388"/>
                  <a:gd name="T34" fmla="*/ 2147483647 w 355"/>
                  <a:gd name="T35" fmla="*/ 2147483647 h 388"/>
                  <a:gd name="T36" fmla="*/ 2147483647 w 355"/>
                  <a:gd name="T37" fmla="*/ 2147483647 h 388"/>
                  <a:gd name="T38" fmla="*/ 2147483647 w 355"/>
                  <a:gd name="T39" fmla="*/ 2147483647 h 388"/>
                  <a:gd name="T40" fmla="*/ 2147483647 w 355"/>
                  <a:gd name="T41" fmla="*/ 2147483647 h 388"/>
                  <a:gd name="T42" fmla="*/ 2147483647 w 355"/>
                  <a:gd name="T43" fmla="*/ 2147483647 h 388"/>
                  <a:gd name="T44" fmla="*/ 2147483647 w 355"/>
                  <a:gd name="T45" fmla="*/ 2147483647 h 388"/>
                  <a:gd name="T46" fmla="*/ 2147483647 w 355"/>
                  <a:gd name="T47" fmla="*/ 2147483647 h 388"/>
                  <a:gd name="T48" fmla="*/ 2147483647 w 355"/>
                  <a:gd name="T49" fmla="*/ 2147483647 h 388"/>
                  <a:gd name="T50" fmla="*/ 2147483647 w 355"/>
                  <a:gd name="T51" fmla="*/ 2147483647 h 388"/>
                  <a:gd name="T52" fmla="*/ 2147483647 w 355"/>
                  <a:gd name="T53" fmla="*/ 2147483647 h 388"/>
                  <a:gd name="T54" fmla="*/ 2147483647 w 355"/>
                  <a:gd name="T55" fmla="*/ 2147483647 h 388"/>
                  <a:gd name="T56" fmla="*/ 2147483647 w 355"/>
                  <a:gd name="T57" fmla="*/ 2147483647 h 388"/>
                  <a:gd name="T58" fmla="*/ 2147483647 w 355"/>
                  <a:gd name="T59" fmla="*/ 2147483647 h 388"/>
                  <a:gd name="T60" fmla="*/ 2147483647 w 355"/>
                  <a:gd name="T61" fmla="*/ 2147483647 h 388"/>
                  <a:gd name="T62" fmla="*/ 2147483647 w 355"/>
                  <a:gd name="T63" fmla="*/ 2147483647 h 388"/>
                  <a:gd name="T64" fmla="*/ 2147483647 w 355"/>
                  <a:gd name="T65" fmla="*/ 2147483647 h 388"/>
                  <a:gd name="T66" fmla="*/ 2147483647 w 355"/>
                  <a:gd name="T67" fmla="*/ 2147483647 h 388"/>
                  <a:gd name="T68" fmla="*/ 2147483647 w 355"/>
                  <a:gd name="T69" fmla="*/ 2147483647 h 388"/>
                  <a:gd name="T70" fmla="*/ 1740665148 w 355"/>
                  <a:gd name="T71" fmla="*/ 2147483647 h 388"/>
                  <a:gd name="T72" fmla="*/ 395496889 w 355"/>
                  <a:gd name="T73" fmla="*/ 2147483647 h 388"/>
                  <a:gd name="T74" fmla="*/ 79062544 w 355"/>
                  <a:gd name="T75" fmla="*/ 2147483647 h 388"/>
                  <a:gd name="T76" fmla="*/ 870240490 w 355"/>
                  <a:gd name="T77" fmla="*/ 2147483647 h 388"/>
                  <a:gd name="T78" fmla="*/ 2147483647 w 355"/>
                  <a:gd name="T79" fmla="*/ 2147483647 h 388"/>
                  <a:gd name="T80" fmla="*/ 2147483647 w 355"/>
                  <a:gd name="T81" fmla="*/ 2147483647 h 388"/>
                  <a:gd name="T82" fmla="*/ 2147483647 w 355"/>
                  <a:gd name="T83" fmla="*/ 2147483647 h 388"/>
                  <a:gd name="T84" fmla="*/ 2147483647 w 355"/>
                  <a:gd name="T85" fmla="*/ 2147483647 h 388"/>
                  <a:gd name="T86" fmla="*/ 2147483647 w 355"/>
                  <a:gd name="T87" fmla="*/ 2147483647 h 388"/>
                  <a:gd name="T88" fmla="*/ 2147483647 w 355"/>
                  <a:gd name="T89" fmla="*/ 2147483647 h 388"/>
                  <a:gd name="T90" fmla="*/ 2147483647 w 355"/>
                  <a:gd name="T91" fmla="*/ 2147483647 h 388"/>
                  <a:gd name="T92" fmla="*/ 2147483647 w 355"/>
                  <a:gd name="T93" fmla="*/ 2147483647 h 388"/>
                  <a:gd name="T94" fmla="*/ 2147483647 w 355"/>
                  <a:gd name="T95" fmla="*/ 1683488296 h 38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4" name="Freeform 251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10758755" y="4474735"/>
                <a:ext cx="260350" cy="520700"/>
              </a:xfrm>
              <a:custGeom>
                <a:avLst/>
                <a:gdLst>
                  <a:gd name="T0" fmla="*/ 0 w 599"/>
                  <a:gd name="T1" fmla="*/ 2147483647 h 993"/>
                  <a:gd name="T2" fmla="*/ 2147483647 w 599"/>
                  <a:gd name="T3" fmla="*/ 2147483647 h 993"/>
                  <a:gd name="T4" fmla="*/ 2147483647 w 599"/>
                  <a:gd name="T5" fmla="*/ 2147483647 h 993"/>
                  <a:gd name="T6" fmla="*/ 2147483647 w 599"/>
                  <a:gd name="T7" fmla="*/ 2147483647 h 993"/>
                  <a:gd name="T8" fmla="*/ 2147483647 w 599"/>
                  <a:gd name="T9" fmla="*/ 2147483647 h 993"/>
                  <a:gd name="T10" fmla="*/ 2147483647 w 599"/>
                  <a:gd name="T11" fmla="*/ 2147483647 h 993"/>
                  <a:gd name="T12" fmla="*/ 2147483647 w 599"/>
                  <a:gd name="T13" fmla="*/ 2147483647 h 993"/>
                  <a:gd name="T14" fmla="*/ 2147483647 w 599"/>
                  <a:gd name="T15" fmla="*/ 2147483647 h 993"/>
                  <a:gd name="T16" fmla="*/ 2147483647 w 599"/>
                  <a:gd name="T17" fmla="*/ 2147483647 h 993"/>
                  <a:gd name="T18" fmla="*/ 2147483647 w 599"/>
                  <a:gd name="T19" fmla="*/ 2147483647 h 993"/>
                  <a:gd name="T20" fmla="*/ 2147483647 w 599"/>
                  <a:gd name="T21" fmla="*/ 2147483647 h 993"/>
                  <a:gd name="T22" fmla="*/ 2147483647 w 599"/>
                  <a:gd name="T23" fmla="*/ 2147483647 h 993"/>
                  <a:gd name="T24" fmla="*/ 2147483647 w 599"/>
                  <a:gd name="T25" fmla="*/ 2147483647 h 993"/>
                  <a:gd name="T26" fmla="*/ 2147483647 w 599"/>
                  <a:gd name="T27" fmla="*/ 2147483647 h 993"/>
                  <a:gd name="T28" fmla="*/ 2147483647 w 599"/>
                  <a:gd name="T29" fmla="*/ 2147483647 h 993"/>
                  <a:gd name="T30" fmla="*/ 2147483647 w 599"/>
                  <a:gd name="T31" fmla="*/ 2147483647 h 993"/>
                  <a:gd name="T32" fmla="*/ 2147483647 w 599"/>
                  <a:gd name="T33" fmla="*/ 2147483647 h 993"/>
                  <a:gd name="T34" fmla="*/ 2147483647 w 599"/>
                  <a:gd name="T35" fmla="*/ 2147483647 h 993"/>
                  <a:gd name="T36" fmla="*/ 2147483647 w 599"/>
                  <a:gd name="T37" fmla="*/ 432519219 h 993"/>
                  <a:gd name="T38" fmla="*/ 2147483647 w 599"/>
                  <a:gd name="T39" fmla="*/ 2147483647 h 993"/>
                  <a:gd name="T40" fmla="*/ 2147483647 w 599"/>
                  <a:gd name="T41" fmla="*/ 2147483647 h 993"/>
                  <a:gd name="T42" fmla="*/ 2147483647 w 599"/>
                  <a:gd name="T43" fmla="*/ 2147483647 h 993"/>
                  <a:gd name="T44" fmla="*/ 2147483647 w 599"/>
                  <a:gd name="T45" fmla="*/ 2147483647 h 993"/>
                  <a:gd name="T46" fmla="*/ 2147483647 w 599"/>
                  <a:gd name="T47" fmla="*/ 2147483647 h 993"/>
                  <a:gd name="T48" fmla="*/ 2147483647 w 599"/>
                  <a:gd name="T49" fmla="*/ 2147483647 h 993"/>
                  <a:gd name="T50" fmla="*/ 2147483647 w 599"/>
                  <a:gd name="T51" fmla="*/ 2147483647 h 993"/>
                  <a:gd name="T52" fmla="*/ 2147483647 w 599"/>
                  <a:gd name="T53" fmla="*/ 2147483647 h 993"/>
                  <a:gd name="T54" fmla="*/ 2147483647 w 599"/>
                  <a:gd name="T55" fmla="*/ 2147483647 h 993"/>
                  <a:gd name="T56" fmla="*/ 2147483647 w 599"/>
                  <a:gd name="T57" fmla="*/ 2147483647 h 993"/>
                  <a:gd name="T58" fmla="*/ 2147483647 w 599"/>
                  <a:gd name="T59" fmla="*/ 2147483647 h 993"/>
                  <a:gd name="T60" fmla="*/ 2147483647 w 599"/>
                  <a:gd name="T61" fmla="*/ 2147483647 h 993"/>
                  <a:gd name="T62" fmla="*/ 2147483647 w 599"/>
                  <a:gd name="T63" fmla="*/ 2147483647 h 993"/>
                  <a:gd name="T64" fmla="*/ 2147483647 w 599"/>
                  <a:gd name="T65" fmla="*/ 2147483647 h 993"/>
                  <a:gd name="T66" fmla="*/ 2147483647 w 599"/>
                  <a:gd name="T67" fmla="*/ 2147483647 h 993"/>
                  <a:gd name="T68" fmla="*/ 2147483647 w 599"/>
                  <a:gd name="T69" fmla="*/ 2147483647 h 993"/>
                  <a:gd name="T70" fmla="*/ 2147483647 w 599"/>
                  <a:gd name="T71" fmla="*/ 2147483647 h 993"/>
                  <a:gd name="T72" fmla="*/ 2147483647 w 599"/>
                  <a:gd name="T73" fmla="*/ 2147483647 h 993"/>
                  <a:gd name="T74" fmla="*/ 2147483647 w 599"/>
                  <a:gd name="T75" fmla="*/ 2147483647 h 993"/>
                  <a:gd name="T76" fmla="*/ 2147483647 w 599"/>
                  <a:gd name="T77" fmla="*/ 2147483647 h 993"/>
                  <a:gd name="T78" fmla="*/ 2147483647 w 599"/>
                  <a:gd name="T79" fmla="*/ 2147483647 h 993"/>
                  <a:gd name="T80" fmla="*/ 2147483647 w 599"/>
                  <a:gd name="T81" fmla="*/ 2147483647 h 993"/>
                  <a:gd name="T82" fmla="*/ 2147483647 w 599"/>
                  <a:gd name="T83" fmla="*/ 2147483647 h 993"/>
                  <a:gd name="T84" fmla="*/ 2147483647 w 599"/>
                  <a:gd name="T85" fmla="*/ 2147483647 h 993"/>
                  <a:gd name="T86" fmla="*/ 2147483647 w 599"/>
                  <a:gd name="T87" fmla="*/ 2147483647 h 993"/>
                  <a:gd name="T88" fmla="*/ 2147483647 w 599"/>
                  <a:gd name="T89" fmla="*/ 2147483647 h 993"/>
                  <a:gd name="T90" fmla="*/ 2147483647 w 599"/>
                  <a:gd name="T91" fmla="*/ 2147483647 h 993"/>
                  <a:gd name="T92" fmla="*/ 2147483647 w 599"/>
                  <a:gd name="T93" fmla="*/ 2147483647 h 993"/>
                  <a:gd name="T94" fmla="*/ 2147483647 w 599"/>
                  <a:gd name="T95" fmla="*/ 2147483647 h 993"/>
                  <a:gd name="T96" fmla="*/ 2147483647 w 599"/>
                  <a:gd name="T97" fmla="*/ 2147483647 h 993"/>
                  <a:gd name="T98" fmla="*/ 2147483647 w 599"/>
                  <a:gd name="T99" fmla="*/ 2147483647 h 993"/>
                  <a:gd name="T100" fmla="*/ 2147483647 w 599"/>
                  <a:gd name="T101" fmla="*/ 2147483647 h 993"/>
                  <a:gd name="T102" fmla="*/ 2147483647 w 599"/>
                  <a:gd name="T103" fmla="*/ 2147483647 h 99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5" name="Freeform 252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10493643" y="4714447"/>
                <a:ext cx="238125" cy="287338"/>
              </a:xfrm>
              <a:custGeom>
                <a:avLst/>
                <a:gdLst>
                  <a:gd name="T0" fmla="*/ 2147483647 w 545"/>
                  <a:gd name="T1" fmla="*/ 2147483647 h 549"/>
                  <a:gd name="T2" fmla="*/ 2147483647 w 545"/>
                  <a:gd name="T3" fmla="*/ 2147483647 h 549"/>
                  <a:gd name="T4" fmla="*/ 2147483647 w 545"/>
                  <a:gd name="T5" fmla="*/ 2147483647 h 549"/>
                  <a:gd name="T6" fmla="*/ 2147483647 w 545"/>
                  <a:gd name="T7" fmla="*/ 2147483647 h 549"/>
                  <a:gd name="T8" fmla="*/ 2147483647 w 545"/>
                  <a:gd name="T9" fmla="*/ 2147483647 h 549"/>
                  <a:gd name="T10" fmla="*/ 2147483647 w 545"/>
                  <a:gd name="T11" fmla="*/ 2147483647 h 549"/>
                  <a:gd name="T12" fmla="*/ 2147483647 w 545"/>
                  <a:gd name="T13" fmla="*/ 2147483647 h 549"/>
                  <a:gd name="T14" fmla="*/ 2147483647 w 545"/>
                  <a:gd name="T15" fmla="*/ 2147483647 h 549"/>
                  <a:gd name="T16" fmla="*/ 2147483647 w 545"/>
                  <a:gd name="T17" fmla="*/ 2147483647 h 549"/>
                  <a:gd name="T18" fmla="*/ 2147483647 w 545"/>
                  <a:gd name="T19" fmla="*/ 2147483647 h 549"/>
                  <a:gd name="T20" fmla="*/ 2147483647 w 545"/>
                  <a:gd name="T21" fmla="*/ 2147483647 h 549"/>
                  <a:gd name="T22" fmla="*/ 2147483647 w 545"/>
                  <a:gd name="T23" fmla="*/ 2147483647 h 549"/>
                  <a:gd name="T24" fmla="*/ 2147483647 w 545"/>
                  <a:gd name="T25" fmla="*/ 2147483647 h 549"/>
                  <a:gd name="T26" fmla="*/ 2147483647 w 545"/>
                  <a:gd name="T27" fmla="*/ 2147483647 h 549"/>
                  <a:gd name="T28" fmla="*/ 2147483647 w 545"/>
                  <a:gd name="T29" fmla="*/ 2147483647 h 549"/>
                  <a:gd name="T30" fmla="*/ 2147483647 w 545"/>
                  <a:gd name="T31" fmla="*/ 2147483647 h 549"/>
                  <a:gd name="T32" fmla="*/ 2147483647 w 545"/>
                  <a:gd name="T33" fmla="*/ 2147483647 h 549"/>
                  <a:gd name="T34" fmla="*/ 2147483647 w 545"/>
                  <a:gd name="T35" fmla="*/ 2147483647 h 549"/>
                  <a:gd name="T36" fmla="*/ 2147483647 w 545"/>
                  <a:gd name="T37" fmla="*/ 2147483647 h 549"/>
                  <a:gd name="T38" fmla="*/ 2147483647 w 545"/>
                  <a:gd name="T39" fmla="*/ 2147483647 h 549"/>
                  <a:gd name="T40" fmla="*/ 2147483647 w 545"/>
                  <a:gd name="T41" fmla="*/ 2147483647 h 549"/>
                  <a:gd name="T42" fmla="*/ 2147483647 w 545"/>
                  <a:gd name="T43" fmla="*/ 2147483647 h 549"/>
                  <a:gd name="T44" fmla="*/ 2147483647 w 545"/>
                  <a:gd name="T45" fmla="*/ 2147483647 h 549"/>
                  <a:gd name="T46" fmla="*/ 2147483647 w 545"/>
                  <a:gd name="T47" fmla="*/ 2147483647 h 549"/>
                  <a:gd name="T48" fmla="*/ 2147483647 w 545"/>
                  <a:gd name="T49" fmla="*/ 2147483647 h 549"/>
                  <a:gd name="T50" fmla="*/ 2147483647 w 545"/>
                  <a:gd name="T51" fmla="*/ 2147483647 h 549"/>
                  <a:gd name="T52" fmla="*/ 2147483647 w 545"/>
                  <a:gd name="T53" fmla="*/ 2147483647 h 549"/>
                  <a:gd name="T54" fmla="*/ 2147483647 w 545"/>
                  <a:gd name="T55" fmla="*/ 2147483647 h 549"/>
                  <a:gd name="T56" fmla="*/ 2147483647 w 545"/>
                  <a:gd name="T57" fmla="*/ 2147483647 h 549"/>
                  <a:gd name="T58" fmla="*/ 2147483647 w 545"/>
                  <a:gd name="T59" fmla="*/ 2147483647 h 549"/>
                  <a:gd name="T60" fmla="*/ 2147483647 w 545"/>
                  <a:gd name="T61" fmla="*/ 2147483647 h 549"/>
                  <a:gd name="T62" fmla="*/ 2147483647 w 545"/>
                  <a:gd name="T63" fmla="*/ 2147483647 h 549"/>
                  <a:gd name="T64" fmla="*/ 2147483647 w 545"/>
                  <a:gd name="T65" fmla="*/ 0 h 549"/>
                  <a:gd name="T66" fmla="*/ 2147483647 w 545"/>
                  <a:gd name="T67" fmla="*/ 286805718 h 549"/>
                  <a:gd name="T68" fmla="*/ 2147483647 w 545"/>
                  <a:gd name="T69" fmla="*/ 1863827620 h 549"/>
                  <a:gd name="T70" fmla="*/ 2147483647 w 545"/>
                  <a:gd name="T71" fmla="*/ 2147483647 h 549"/>
                  <a:gd name="T72" fmla="*/ 2147483647 w 545"/>
                  <a:gd name="T73" fmla="*/ 2147483647 h 549"/>
                  <a:gd name="T74" fmla="*/ 2147483647 w 545"/>
                  <a:gd name="T75" fmla="*/ 2147483647 h 549"/>
                  <a:gd name="T76" fmla="*/ 2147483647 w 545"/>
                  <a:gd name="T77" fmla="*/ 2147483647 h 549"/>
                  <a:gd name="T78" fmla="*/ 2147483647 w 545"/>
                  <a:gd name="T79" fmla="*/ 2147483647 h 549"/>
                  <a:gd name="T80" fmla="*/ 2147483647 w 545"/>
                  <a:gd name="T81" fmla="*/ 2147483647 h 549"/>
                  <a:gd name="T82" fmla="*/ 2147483647 w 545"/>
                  <a:gd name="T83" fmla="*/ 2147483647 h 549"/>
                  <a:gd name="T84" fmla="*/ 2147483647 w 545"/>
                  <a:gd name="T85" fmla="*/ 2147483647 h 549"/>
                  <a:gd name="T86" fmla="*/ 2147483647 w 545"/>
                  <a:gd name="T87" fmla="*/ 2147483647 h 549"/>
                  <a:gd name="T88" fmla="*/ 2147483647 w 545"/>
                  <a:gd name="T89" fmla="*/ 2147483647 h 549"/>
                  <a:gd name="T90" fmla="*/ 417127276 w 545"/>
                  <a:gd name="T91" fmla="*/ 2147483647 h 549"/>
                  <a:gd name="T92" fmla="*/ 83425455 w 545"/>
                  <a:gd name="T93" fmla="*/ 2147483647 h 549"/>
                  <a:gd name="T94" fmla="*/ 667212268 w 545"/>
                  <a:gd name="T95" fmla="*/ 2147483647 h 549"/>
                  <a:gd name="T96" fmla="*/ 667212268 w 545"/>
                  <a:gd name="T97" fmla="*/ 2147483647 h 549"/>
                  <a:gd name="T98" fmla="*/ 0 w 545"/>
                  <a:gd name="T99" fmla="*/ 2147483647 h 54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6" name="Freeform 253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11066730" y="4516010"/>
                <a:ext cx="196850" cy="434975"/>
              </a:xfrm>
              <a:custGeom>
                <a:avLst/>
                <a:gdLst>
                  <a:gd name="T0" fmla="*/ 2147483647 w 452"/>
                  <a:gd name="T1" fmla="*/ 2147483647 h 832"/>
                  <a:gd name="T2" fmla="*/ 2147483647 w 452"/>
                  <a:gd name="T3" fmla="*/ 2147483647 h 832"/>
                  <a:gd name="T4" fmla="*/ 2147483647 w 452"/>
                  <a:gd name="T5" fmla="*/ 2147483647 h 832"/>
                  <a:gd name="T6" fmla="*/ 2147483647 w 452"/>
                  <a:gd name="T7" fmla="*/ 2147483647 h 832"/>
                  <a:gd name="T8" fmla="*/ 2147483647 w 452"/>
                  <a:gd name="T9" fmla="*/ 2147483647 h 832"/>
                  <a:gd name="T10" fmla="*/ 2147483647 w 452"/>
                  <a:gd name="T11" fmla="*/ 2147483647 h 832"/>
                  <a:gd name="T12" fmla="*/ 2147483647 w 452"/>
                  <a:gd name="T13" fmla="*/ 2147483647 h 832"/>
                  <a:gd name="T14" fmla="*/ 2147483647 w 452"/>
                  <a:gd name="T15" fmla="*/ 2147483647 h 832"/>
                  <a:gd name="T16" fmla="*/ 2147483647 w 452"/>
                  <a:gd name="T17" fmla="*/ 2147483647 h 832"/>
                  <a:gd name="T18" fmla="*/ 2147483647 w 452"/>
                  <a:gd name="T19" fmla="*/ 2147483647 h 832"/>
                  <a:gd name="T20" fmla="*/ 2147483647 w 452"/>
                  <a:gd name="T21" fmla="*/ 2147483647 h 832"/>
                  <a:gd name="T22" fmla="*/ 2147483647 w 452"/>
                  <a:gd name="T23" fmla="*/ 2147483647 h 832"/>
                  <a:gd name="T24" fmla="*/ 2147483647 w 452"/>
                  <a:gd name="T25" fmla="*/ 0 h 832"/>
                  <a:gd name="T26" fmla="*/ 2147483647 w 452"/>
                  <a:gd name="T27" fmla="*/ 2147483647 h 832"/>
                  <a:gd name="T28" fmla="*/ 2147483647 w 452"/>
                  <a:gd name="T29" fmla="*/ 2147483647 h 832"/>
                  <a:gd name="T30" fmla="*/ 2147483647 w 452"/>
                  <a:gd name="T31" fmla="*/ 2147483647 h 832"/>
                  <a:gd name="T32" fmla="*/ 2147483647 w 452"/>
                  <a:gd name="T33" fmla="*/ 2147483647 h 832"/>
                  <a:gd name="T34" fmla="*/ 2147483647 w 452"/>
                  <a:gd name="T35" fmla="*/ 2147483647 h 832"/>
                  <a:gd name="T36" fmla="*/ 2147483647 w 452"/>
                  <a:gd name="T37" fmla="*/ 2147483647 h 832"/>
                  <a:gd name="T38" fmla="*/ 2147483647 w 452"/>
                  <a:gd name="T39" fmla="*/ 2147483647 h 832"/>
                  <a:gd name="T40" fmla="*/ 2147483647 w 452"/>
                  <a:gd name="T41" fmla="*/ 2147483647 h 832"/>
                  <a:gd name="T42" fmla="*/ 2147483647 w 452"/>
                  <a:gd name="T43" fmla="*/ 2147483647 h 832"/>
                  <a:gd name="T44" fmla="*/ 2147483647 w 452"/>
                  <a:gd name="T45" fmla="*/ 2147483647 h 832"/>
                  <a:gd name="T46" fmla="*/ 2147483647 w 452"/>
                  <a:gd name="T47" fmla="*/ 2147483647 h 832"/>
                  <a:gd name="T48" fmla="*/ 2147483647 w 452"/>
                  <a:gd name="T49" fmla="*/ 2147483647 h 832"/>
                  <a:gd name="T50" fmla="*/ 2147483647 w 452"/>
                  <a:gd name="T51" fmla="*/ 2147483647 h 832"/>
                  <a:gd name="T52" fmla="*/ 2147483647 w 452"/>
                  <a:gd name="T53" fmla="*/ 2147483647 h 832"/>
                  <a:gd name="T54" fmla="*/ 2147483647 w 452"/>
                  <a:gd name="T55" fmla="*/ 2147483647 h 832"/>
                  <a:gd name="T56" fmla="*/ 2147483647 w 452"/>
                  <a:gd name="T57" fmla="*/ 2147483647 h 832"/>
                  <a:gd name="T58" fmla="*/ 2147483647 w 452"/>
                  <a:gd name="T59" fmla="*/ 2147483647 h 832"/>
                  <a:gd name="T60" fmla="*/ 2147483647 w 452"/>
                  <a:gd name="T61" fmla="*/ 2147483647 h 832"/>
                  <a:gd name="T62" fmla="*/ 2147483647 w 452"/>
                  <a:gd name="T63" fmla="*/ 2147483647 h 832"/>
                  <a:gd name="T64" fmla="*/ 2147483647 w 452"/>
                  <a:gd name="T65" fmla="*/ 2147483647 h 832"/>
                  <a:gd name="T66" fmla="*/ 2147483647 w 452"/>
                  <a:gd name="T67" fmla="*/ 2147483647 h 832"/>
                  <a:gd name="T68" fmla="*/ 2147483647 w 452"/>
                  <a:gd name="T69" fmla="*/ 2147483647 h 832"/>
                  <a:gd name="T70" fmla="*/ 2147483647 w 452"/>
                  <a:gd name="T71" fmla="*/ 2147483647 h 832"/>
                  <a:gd name="T72" fmla="*/ 2147483647 w 452"/>
                  <a:gd name="T73" fmla="*/ 2147483647 h 832"/>
                  <a:gd name="T74" fmla="*/ 2147483647 w 452"/>
                  <a:gd name="T75" fmla="*/ 2147483647 h 832"/>
                  <a:gd name="T76" fmla="*/ 2147483647 w 452"/>
                  <a:gd name="T77" fmla="*/ 2147483647 h 832"/>
                  <a:gd name="T78" fmla="*/ 2147483647 w 452"/>
                  <a:gd name="T79" fmla="*/ 2147483647 h 832"/>
                  <a:gd name="T80" fmla="*/ 2147483647 w 452"/>
                  <a:gd name="T81" fmla="*/ 2147483647 h 832"/>
                  <a:gd name="T82" fmla="*/ 2147483647 w 452"/>
                  <a:gd name="T83" fmla="*/ 2147483647 h 832"/>
                  <a:gd name="T84" fmla="*/ 2147483647 w 452"/>
                  <a:gd name="T85" fmla="*/ 2147483647 h 832"/>
                  <a:gd name="T86" fmla="*/ 2147483647 w 452"/>
                  <a:gd name="T87" fmla="*/ 2147483647 h 832"/>
                  <a:gd name="T88" fmla="*/ 991204641 w 452"/>
                  <a:gd name="T89" fmla="*/ 2147483647 h 832"/>
                  <a:gd name="T90" fmla="*/ 247895992 w 452"/>
                  <a:gd name="T91" fmla="*/ 2147483647 h 832"/>
                  <a:gd name="T92" fmla="*/ 0 w 452"/>
                  <a:gd name="T93" fmla="*/ 2147483647 h 832"/>
                  <a:gd name="T94" fmla="*/ 330401402 w 452"/>
                  <a:gd name="T95" fmla="*/ 2147483647 h 832"/>
                  <a:gd name="T96" fmla="*/ 1569502470 w 452"/>
                  <a:gd name="T97" fmla="*/ 2147483647 h 832"/>
                  <a:gd name="T98" fmla="*/ 908699231 w 452"/>
                  <a:gd name="T99" fmla="*/ 2147483647 h 832"/>
                  <a:gd name="T100" fmla="*/ 0 w 452"/>
                  <a:gd name="T101" fmla="*/ 2147483647 h 832"/>
                  <a:gd name="T102" fmla="*/ 413096693 w 452"/>
                  <a:gd name="T103" fmla="*/ 2147483647 h 832"/>
                  <a:gd name="T104" fmla="*/ 660803239 w 452"/>
                  <a:gd name="T105" fmla="*/ 2147483647 h 832"/>
                  <a:gd name="T106" fmla="*/ 413096693 w 452"/>
                  <a:gd name="T107" fmla="*/ 2147483647 h 832"/>
                  <a:gd name="T108" fmla="*/ 1486807179 w 452"/>
                  <a:gd name="T109" fmla="*/ 2147483647 h 832"/>
                  <a:gd name="T110" fmla="*/ 2147483647 w 452"/>
                  <a:gd name="T111" fmla="*/ 2147483647 h 832"/>
                  <a:gd name="T112" fmla="*/ 2147483647 w 452"/>
                  <a:gd name="T113" fmla="*/ 2147483647 h 832"/>
                  <a:gd name="T114" fmla="*/ 2147483647 w 452"/>
                  <a:gd name="T115" fmla="*/ 2147483647 h 832"/>
                  <a:gd name="T116" fmla="*/ 2147483647 w 452"/>
                  <a:gd name="T117" fmla="*/ 2147483647 h 832"/>
                  <a:gd name="T118" fmla="*/ 2147483647 w 452"/>
                  <a:gd name="T119" fmla="*/ 2147483647 h 832"/>
                  <a:gd name="T120" fmla="*/ 2147483647 w 452"/>
                  <a:gd name="T121" fmla="*/ 2147483647 h 832"/>
                  <a:gd name="T122" fmla="*/ 2147483647 w 452"/>
                  <a:gd name="T123" fmla="*/ 2147483647 h 832"/>
                  <a:gd name="T124" fmla="*/ 2147483647 w 452"/>
                  <a:gd name="T125" fmla="*/ 2147483647 h 8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7" name="Freeform 254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10742880" y="4214385"/>
                <a:ext cx="36513" cy="66675"/>
              </a:xfrm>
              <a:custGeom>
                <a:avLst/>
                <a:gdLst>
                  <a:gd name="T0" fmla="*/ 2147483647 w 80"/>
                  <a:gd name="T1" fmla="*/ 296258192 h 126"/>
                  <a:gd name="T2" fmla="*/ 2147483647 w 80"/>
                  <a:gd name="T3" fmla="*/ 2147483647 h 126"/>
                  <a:gd name="T4" fmla="*/ 2147483647 w 80"/>
                  <a:gd name="T5" fmla="*/ 2147483647 h 126"/>
                  <a:gd name="T6" fmla="*/ 2147483647 w 80"/>
                  <a:gd name="T7" fmla="*/ 2147483647 h 126"/>
                  <a:gd name="T8" fmla="*/ 2147483647 w 80"/>
                  <a:gd name="T9" fmla="*/ 2147483647 h 126"/>
                  <a:gd name="T10" fmla="*/ 2147483647 w 80"/>
                  <a:gd name="T11" fmla="*/ 2147483647 h 126"/>
                  <a:gd name="T12" fmla="*/ 2147483647 w 80"/>
                  <a:gd name="T13" fmla="*/ 2147483647 h 126"/>
                  <a:gd name="T14" fmla="*/ 2147483647 w 80"/>
                  <a:gd name="T15" fmla="*/ 2147483647 h 126"/>
                  <a:gd name="T16" fmla="*/ 2147483647 w 80"/>
                  <a:gd name="T17" fmla="*/ 2147483647 h 126"/>
                  <a:gd name="T18" fmla="*/ 2147483647 w 80"/>
                  <a:gd name="T19" fmla="*/ 2147483647 h 126"/>
                  <a:gd name="T20" fmla="*/ 1235917127 w 80"/>
                  <a:gd name="T21" fmla="*/ 2147483647 h 126"/>
                  <a:gd name="T22" fmla="*/ 0 w 80"/>
                  <a:gd name="T23" fmla="*/ 2147483647 h 126"/>
                  <a:gd name="T24" fmla="*/ 665558051 w 80"/>
                  <a:gd name="T25" fmla="*/ 2147483647 h 126"/>
                  <a:gd name="T26" fmla="*/ 2147483647 w 80"/>
                  <a:gd name="T27" fmla="*/ 2147483647 h 126"/>
                  <a:gd name="T28" fmla="*/ 2147483647 w 80"/>
                  <a:gd name="T29" fmla="*/ 1778110067 h 126"/>
                  <a:gd name="T30" fmla="*/ 2147483647 w 80"/>
                  <a:gd name="T31" fmla="*/ 740925938 h 126"/>
                  <a:gd name="T32" fmla="*/ 2147483647 w 80"/>
                  <a:gd name="T33" fmla="*/ 148129096 h 126"/>
                  <a:gd name="T34" fmla="*/ 2147483647 w 80"/>
                  <a:gd name="T35" fmla="*/ 0 h 126"/>
                  <a:gd name="T36" fmla="*/ 2147483647 w 80"/>
                  <a:gd name="T37" fmla="*/ 0 h 126"/>
                  <a:gd name="T38" fmla="*/ 2147483647 w 80"/>
                  <a:gd name="T39" fmla="*/ 148129096 h 126"/>
                  <a:gd name="T40" fmla="*/ 2147483647 w 80"/>
                  <a:gd name="T41" fmla="*/ 296258192 h 12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8" name="Freeform 255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10731768" y="4174697"/>
                <a:ext cx="55562" cy="60325"/>
              </a:xfrm>
              <a:custGeom>
                <a:avLst/>
                <a:gdLst>
                  <a:gd name="T0" fmla="*/ 2147483647 w 124"/>
                  <a:gd name="T1" fmla="*/ 0 h 117"/>
                  <a:gd name="T2" fmla="*/ 2147483647 w 124"/>
                  <a:gd name="T3" fmla="*/ 2056018821 h 117"/>
                  <a:gd name="T4" fmla="*/ 2147483647 w 124"/>
                  <a:gd name="T5" fmla="*/ 2147483647 h 117"/>
                  <a:gd name="T6" fmla="*/ 2147483647 w 124"/>
                  <a:gd name="T7" fmla="*/ 2147483647 h 117"/>
                  <a:gd name="T8" fmla="*/ 2147483647 w 124"/>
                  <a:gd name="T9" fmla="*/ 2147483647 h 117"/>
                  <a:gd name="T10" fmla="*/ 2147483647 w 124"/>
                  <a:gd name="T11" fmla="*/ 2147483647 h 117"/>
                  <a:gd name="T12" fmla="*/ 2147483647 w 124"/>
                  <a:gd name="T13" fmla="*/ 2147483647 h 117"/>
                  <a:gd name="T14" fmla="*/ 2147483647 w 124"/>
                  <a:gd name="T15" fmla="*/ 2147483647 h 117"/>
                  <a:gd name="T16" fmla="*/ 2147483647 w 124"/>
                  <a:gd name="T17" fmla="*/ 2147483647 h 117"/>
                  <a:gd name="T18" fmla="*/ 2147483647 w 124"/>
                  <a:gd name="T19" fmla="*/ 2147483647 h 117"/>
                  <a:gd name="T20" fmla="*/ 2147483647 w 124"/>
                  <a:gd name="T21" fmla="*/ 2147483647 h 117"/>
                  <a:gd name="T22" fmla="*/ 2147483647 w 124"/>
                  <a:gd name="T23" fmla="*/ 2147483647 h 117"/>
                  <a:gd name="T24" fmla="*/ 2147483647 w 124"/>
                  <a:gd name="T25" fmla="*/ 2147483647 h 117"/>
                  <a:gd name="T26" fmla="*/ 2147483647 w 124"/>
                  <a:gd name="T27" fmla="*/ 2147483647 h 117"/>
                  <a:gd name="T28" fmla="*/ 2147483647 w 124"/>
                  <a:gd name="T29" fmla="*/ 2147483647 h 117"/>
                  <a:gd name="T30" fmla="*/ 2147483647 w 124"/>
                  <a:gd name="T31" fmla="*/ 2147483647 h 117"/>
                  <a:gd name="T32" fmla="*/ 2147483647 w 124"/>
                  <a:gd name="T33" fmla="*/ 2147483647 h 117"/>
                  <a:gd name="T34" fmla="*/ 2069200125 w 124"/>
                  <a:gd name="T35" fmla="*/ 2147483647 h 117"/>
                  <a:gd name="T36" fmla="*/ 1169521850 w 124"/>
                  <a:gd name="T37" fmla="*/ 2147483647 h 117"/>
                  <a:gd name="T38" fmla="*/ 359791283 w 124"/>
                  <a:gd name="T39" fmla="*/ 2147483647 h 117"/>
                  <a:gd name="T40" fmla="*/ 0 w 124"/>
                  <a:gd name="T41" fmla="*/ 2147483647 h 117"/>
                  <a:gd name="T42" fmla="*/ 89947709 w 124"/>
                  <a:gd name="T43" fmla="*/ 2147483647 h 117"/>
                  <a:gd name="T44" fmla="*/ 179895417 w 124"/>
                  <a:gd name="T45" fmla="*/ 2147483647 h 117"/>
                  <a:gd name="T46" fmla="*/ 449738992 w 124"/>
                  <a:gd name="T47" fmla="*/ 2147483647 h 117"/>
                  <a:gd name="T48" fmla="*/ 809730567 w 124"/>
                  <a:gd name="T49" fmla="*/ 2147483647 h 117"/>
                  <a:gd name="T50" fmla="*/ 1529312684 w 124"/>
                  <a:gd name="T51" fmla="*/ 2147483647 h 117"/>
                  <a:gd name="T52" fmla="*/ 2147483647 w 124"/>
                  <a:gd name="T53" fmla="*/ 2147483647 h 117"/>
                  <a:gd name="T54" fmla="*/ 2147483647 w 124"/>
                  <a:gd name="T55" fmla="*/ 2147483647 h 117"/>
                  <a:gd name="T56" fmla="*/ 2147483647 w 124"/>
                  <a:gd name="T57" fmla="*/ 1644762156 h 117"/>
                  <a:gd name="T58" fmla="*/ 2147483647 w 124"/>
                  <a:gd name="T59" fmla="*/ 1644762156 h 117"/>
                  <a:gd name="T60" fmla="*/ 2147483647 w 124"/>
                  <a:gd name="T61" fmla="*/ 1644762156 h 117"/>
                  <a:gd name="T62" fmla="*/ 2147483647 w 124"/>
                  <a:gd name="T63" fmla="*/ 822513845 h 117"/>
                  <a:gd name="T64" fmla="*/ 2147483647 w 124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19" name="Freeform 256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11041330" y="2874535"/>
                <a:ext cx="503238" cy="473075"/>
              </a:xfrm>
              <a:custGeom>
                <a:avLst/>
                <a:gdLst>
                  <a:gd name="T0" fmla="*/ 2147483647 w 1156"/>
                  <a:gd name="T1" fmla="*/ 2147483647 h 900"/>
                  <a:gd name="T2" fmla="*/ 2147483647 w 1156"/>
                  <a:gd name="T3" fmla="*/ 2147483647 h 900"/>
                  <a:gd name="T4" fmla="*/ 2147483647 w 1156"/>
                  <a:gd name="T5" fmla="*/ 2147483647 h 900"/>
                  <a:gd name="T6" fmla="*/ 2147483647 w 1156"/>
                  <a:gd name="T7" fmla="*/ 2147483647 h 900"/>
                  <a:gd name="T8" fmla="*/ 2147483647 w 1156"/>
                  <a:gd name="T9" fmla="*/ 2147483647 h 900"/>
                  <a:gd name="T10" fmla="*/ 2147483647 w 1156"/>
                  <a:gd name="T11" fmla="*/ 2147483647 h 900"/>
                  <a:gd name="T12" fmla="*/ 2147483647 w 1156"/>
                  <a:gd name="T13" fmla="*/ 2147483647 h 900"/>
                  <a:gd name="T14" fmla="*/ 2147483647 w 1156"/>
                  <a:gd name="T15" fmla="*/ 2147483647 h 900"/>
                  <a:gd name="T16" fmla="*/ 2147483647 w 1156"/>
                  <a:gd name="T17" fmla="*/ 2147483647 h 900"/>
                  <a:gd name="T18" fmla="*/ 2147483647 w 1156"/>
                  <a:gd name="T19" fmla="*/ 2147483647 h 900"/>
                  <a:gd name="T20" fmla="*/ 2147483647 w 1156"/>
                  <a:gd name="T21" fmla="*/ 2147483647 h 900"/>
                  <a:gd name="T22" fmla="*/ 2147483647 w 1156"/>
                  <a:gd name="T23" fmla="*/ 2147483647 h 900"/>
                  <a:gd name="T24" fmla="*/ 2147483647 w 1156"/>
                  <a:gd name="T25" fmla="*/ 145331794 h 900"/>
                  <a:gd name="T26" fmla="*/ 2147483647 w 1156"/>
                  <a:gd name="T27" fmla="*/ 2147483647 h 900"/>
                  <a:gd name="T28" fmla="*/ 2147483647 w 1156"/>
                  <a:gd name="T29" fmla="*/ 2147483647 h 900"/>
                  <a:gd name="T30" fmla="*/ 2147483647 w 1156"/>
                  <a:gd name="T31" fmla="*/ 2147483647 h 900"/>
                  <a:gd name="T32" fmla="*/ 329936067 w 1156"/>
                  <a:gd name="T33" fmla="*/ 2147483647 h 900"/>
                  <a:gd name="T34" fmla="*/ 412562435 w 1156"/>
                  <a:gd name="T35" fmla="*/ 2147483647 h 900"/>
                  <a:gd name="T36" fmla="*/ 2147483647 w 1156"/>
                  <a:gd name="T37" fmla="*/ 2147483647 h 900"/>
                  <a:gd name="T38" fmla="*/ 2147483647 w 1156"/>
                  <a:gd name="T39" fmla="*/ 2147483647 h 900"/>
                  <a:gd name="T40" fmla="*/ 2147483647 w 1156"/>
                  <a:gd name="T41" fmla="*/ 2147483647 h 900"/>
                  <a:gd name="T42" fmla="*/ 2147483647 w 1156"/>
                  <a:gd name="T43" fmla="*/ 2147483647 h 900"/>
                  <a:gd name="T44" fmla="*/ 2147483647 w 1156"/>
                  <a:gd name="T45" fmla="*/ 2147483647 h 900"/>
                  <a:gd name="T46" fmla="*/ 2147483647 w 1156"/>
                  <a:gd name="T47" fmla="*/ 2147483647 h 900"/>
                  <a:gd name="T48" fmla="*/ 2147483647 w 1156"/>
                  <a:gd name="T49" fmla="*/ 2147483647 h 900"/>
                  <a:gd name="T50" fmla="*/ 2147483647 w 1156"/>
                  <a:gd name="T51" fmla="*/ 2147483647 h 900"/>
                  <a:gd name="T52" fmla="*/ 2147483647 w 1156"/>
                  <a:gd name="T53" fmla="*/ 2147483647 h 900"/>
                  <a:gd name="T54" fmla="*/ 2147483647 w 1156"/>
                  <a:gd name="T55" fmla="*/ 2147483647 h 900"/>
                  <a:gd name="T56" fmla="*/ 2147483647 w 1156"/>
                  <a:gd name="T57" fmla="*/ 2147483647 h 900"/>
                  <a:gd name="T58" fmla="*/ 2147483647 w 1156"/>
                  <a:gd name="T59" fmla="*/ 2147483647 h 900"/>
                  <a:gd name="T60" fmla="*/ 2147483647 w 1156"/>
                  <a:gd name="T61" fmla="*/ 2147483647 h 900"/>
                  <a:gd name="T62" fmla="*/ 2147483647 w 1156"/>
                  <a:gd name="T63" fmla="*/ 2147483647 h 900"/>
                  <a:gd name="T64" fmla="*/ 2147483647 w 1156"/>
                  <a:gd name="T65" fmla="*/ 2147483647 h 900"/>
                  <a:gd name="T66" fmla="*/ 2147483647 w 1156"/>
                  <a:gd name="T67" fmla="*/ 2147483647 h 900"/>
                  <a:gd name="T68" fmla="*/ 2147483647 w 1156"/>
                  <a:gd name="T69" fmla="*/ 2147483647 h 900"/>
                  <a:gd name="T70" fmla="*/ 2147483647 w 1156"/>
                  <a:gd name="T71" fmla="*/ 2147483647 h 900"/>
                  <a:gd name="T72" fmla="*/ 2147483647 w 1156"/>
                  <a:gd name="T73" fmla="*/ 2147483647 h 900"/>
                  <a:gd name="T74" fmla="*/ 2147483647 w 1156"/>
                  <a:gd name="T75" fmla="*/ 2147483647 h 900"/>
                  <a:gd name="T76" fmla="*/ 2147483647 w 1156"/>
                  <a:gd name="T77" fmla="*/ 2147483647 h 900"/>
                  <a:gd name="T78" fmla="*/ 2147483647 w 1156"/>
                  <a:gd name="T79" fmla="*/ 2147483647 h 900"/>
                  <a:gd name="T80" fmla="*/ 2147483647 w 1156"/>
                  <a:gd name="T81" fmla="*/ 2147483647 h 900"/>
                  <a:gd name="T82" fmla="*/ 2147483647 w 1156"/>
                  <a:gd name="T83" fmla="*/ 2147483647 h 900"/>
                  <a:gd name="T84" fmla="*/ 2147483647 w 1156"/>
                  <a:gd name="T85" fmla="*/ 2147483647 h 900"/>
                  <a:gd name="T86" fmla="*/ 2147483647 w 1156"/>
                  <a:gd name="T87" fmla="*/ 2147483647 h 900"/>
                  <a:gd name="T88" fmla="*/ 2147483647 w 1156"/>
                  <a:gd name="T89" fmla="*/ 2147483647 h 900"/>
                  <a:gd name="T90" fmla="*/ 2147483647 w 1156"/>
                  <a:gd name="T91" fmla="*/ 2147483647 h 900"/>
                  <a:gd name="T92" fmla="*/ 2147483647 w 1156"/>
                  <a:gd name="T93" fmla="*/ 2147483647 h 900"/>
                  <a:gd name="T94" fmla="*/ 2147483647 w 1156"/>
                  <a:gd name="T95" fmla="*/ 2147483647 h 900"/>
                  <a:gd name="T96" fmla="*/ 2147483647 w 1156"/>
                  <a:gd name="T97" fmla="*/ 2147483647 h 900"/>
                  <a:gd name="T98" fmla="*/ 2147483647 w 1156"/>
                  <a:gd name="T99" fmla="*/ 2147483647 h 900"/>
                  <a:gd name="T100" fmla="*/ 2147483647 w 1156"/>
                  <a:gd name="T101" fmla="*/ 2147483647 h 900"/>
                  <a:gd name="T102" fmla="*/ 2147483647 w 1156"/>
                  <a:gd name="T103" fmla="*/ 2147483647 h 900"/>
                  <a:gd name="T104" fmla="*/ 2147483647 w 1156"/>
                  <a:gd name="T105" fmla="*/ 2147483647 h 900"/>
                  <a:gd name="T106" fmla="*/ 2147483647 w 1156"/>
                  <a:gd name="T107" fmla="*/ 2147483647 h 900"/>
                  <a:gd name="T108" fmla="*/ 2147483647 w 1156"/>
                  <a:gd name="T109" fmla="*/ 2147483647 h 90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156" h="900">
                    <a:moveTo>
                      <a:pt x="963" y="271"/>
                    </a:moveTo>
                    <a:lnTo>
                      <a:pt x="954" y="252"/>
                    </a:lnTo>
                    <a:lnTo>
                      <a:pt x="948" y="234"/>
                    </a:lnTo>
                    <a:lnTo>
                      <a:pt x="941" y="213"/>
                    </a:lnTo>
                    <a:lnTo>
                      <a:pt x="937" y="191"/>
                    </a:lnTo>
                    <a:lnTo>
                      <a:pt x="928" y="191"/>
                    </a:lnTo>
                    <a:lnTo>
                      <a:pt x="920" y="190"/>
                    </a:lnTo>
                    <a:lnTo>
                      <a:pt x="913" y="189"/>
                    </a:lnTo>
                    <a:lnTo>
                      <a:pt x="906" y="187"/>
                    </a:lnTo>
                    <a:lnTo>
                      <a:pt x="893" y="183"/>
                    </a:lnTo>
                    <a:lnTo>
                      <a:pt x="881" y="177"/>
                    </a:lnTo>
                    <a:lnTo>
                      <a:pt x="859" y="162"/>
                    </a:lnTo>
                    <a:lnTo>
                      <a:pt x="839" y="145"/>
                    </a:lnTo>
                    <a:lnTo>
                      <a:pt x="828" y="137"/>
                    </a:lnTo>
                    <a:lnTo>
                      <a:pt x="816" y="129"/>
                    </a:lnTo>
                    <a:lnTo>
                      <a:pt x="803" y="122"/>
                    </a:lnTo>
                    <a:lnTo>
                      <a:pt x="789" y="116"/>
                    </a:lnTo>
                    <a:lnTo>
                      <a:pt x="773" y="111"/>
                    </a:lnTo>
                    <a:lnTo>
                      <a:pt x="755" y="106"/>
                    </a:lnTo>
                    <a:lnTo>
                      <a:pt x="745" y="105"/>
                    </a:lnTo>
                    <a:lnTo>
                      <a:pt x="734" y="104"/>
                    </a:lnTo>
                    <a:lnTo>
                      <a:pt x="723" y="104"/>
                    </a:lnTo>
                    <a:lnTo>
                      <a:pt x="711" y="104"/>
                    </a:lnTo>
                    <a:lnTo>
                      <a:pt x="617" y="104"/>
                    </a:lnTo>
                    <a:lnTo>
                      <a:pt x="609" y="113"/>
                    </a:lnTo>
                    <a:lnTo>
                      <a:pt x="587" y="129"/>
                    </a:lnTo>
                    <a:lnTo>
                      <a:pt x="576" y="138"/>
                    </a:lnTo>
                    <a:lnTo>
                      <a:pt x="565" y="146"/>
                    </a:lnTo>
                    <a:lnTo>
                      <a:pt x="556" y="152"/>
                    </a:lnTo>
                    <a:lnTo>
                      <a:pt x="551" y="154"/>
                    </a:lnTo>
                    <a:lnTo>
                      <a:pt x="542" y="155"/>
                    </a:lnTo>
                    <a:lnTo>
                      <a:pt x="532" y="157"/>
                    </a:lnTo>
                    <a:lnTo>
                      <a:pt x="522" y="159"/>
                    </a:lnTo>
                    <a:lnTo>
                      <a:pt x="512" y="160"/>
                    </a:lnTo>
                    <a:lnTo>
                      <a:pt x="518" y="173"/>
                    </a:lnTo>
                    <a:lnTo>
                      <a:pt x="504" y="179"/>
                    </a:lnTo>
                    <a:lnTo>
                      <a:pt x="490" y="184"/>
                    </a:lnTo>
                    <a:lnTo>
                      <a:pt x="478" y="188"/>
                    </a:lnTo>
                    <a:lnTo>
                      <a:pt x="465" y="192"/>
                    </a:lnTo>
                    <a:lnTo>
                      <a:pt x="453" y="194"/>
                    </a:lnTo>
                    <a:lnTo>
                      <a:pt x="439" y="196"/>
                    </a:lnTo>
                    <a:lnTo>
                      <a:pt x="426" y="197"/>
                    </a:lnTo>
                    <a:lnTo>
                      <a:pt x="412" y="197"/>
                    </a:lnTo>
                    <a:lnTo>
                      <a:pt x="405" y="198"/>
                    </a:lnTo>
                    <a:lnTo>
                      <a:pt x="398" y="199"/>
                    </a:lnTo>
                    <a:lnTo>
                      <a:pt x="393" y="200"/>
                    </a:lnTo>
                    <a:lnTo>
                      <a:pt x="389" y="200"/>
                    </a:lnTo>
                    <a:lnTo>
                      <a:pt x="383" y="199"/>
                    </a:lnTo>
                    <a:lnTo>
                      <a:pt x="379" y="197"/>
                    </a:lnTo>
                    <a:lnTo>
                      <a:pt x="371" y="194"/>
                    </a:lnTo>
                    <a:lnTo>
                      <a:pt x="367" y="190"/>
                    </a:lnTo>
                    <a:lnTo>
                      <a:pt x="363" y="184"/>
                    </a:lnTo>
                    <a:lnTo>
                      <a:pt x="358" y="179"/>
                    </a:lnTo>
                    <a:lnTo>
                      <a:pt x="355" y="173"/>
                    </a:lnTo>
                    <a:lnTo>
                      <a:pt x="351" y="168"/>
                    </a:lnTo>
                    <a:lnTo>
                      <a:pt x="345" y="163"/>
                    </a:lnTo>
                    <a:lnTo>
                      <a:pt x="338" y="160"/>
                    </a:lnTo>
                    <a:lnTo>
                      <a:pt x="316" y="153"/>
                    </a:lnTo>
                    <a:lnTo>
                      <a:pt x="280" y="142"/>
                    </a:lnTo>
                    <a:lnTo>
                      <a:pt x="260" y="136"/>
                    </a:lnTo>
                    <a:lnTo>
                      <a:pt x="244" y="128"/>
                    </a:lnTo>
                    <a:lnTo>
                      <a:pt x="237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5" y="111"/>
                    </a:lnTo>
                    <a:lnTo>
                      <a:pt x="228" y="86"/>
                    </a:lnTo>
                    <a:lnTo>
                      <a:pt x="228" y="65"/>
                    </a:lnTo>
                    <a:lnTo>
                      <a:pt x="228" y="56"/>
                    </a:lnTo>
                    <a:lnTo>
                      <a:pt x="226" y="46"/>
                    </a:lnTo>
                    <a:lnTo>
                      <a:pt x="224" y="37"/>
                    </a:lnTo>
                    <a:lnTo>
                      <a:pt x="222" y="30"/>
                    </a:lnTo>
                    <a:lnTo>
                      <a:pt x="220" y="23"/>
                    </a:lnTo>
                    <a:lnTo>
                      <a:pt x="217" y="17"/>
                    </a:lnTo>
                    <a:lnTo>
                      <a:pt x="212" y="12"/>
                    </a:lnTo>
                    <a:lnTo>
                      <a:pt x="207" y="8"/>
                    </a:lnTo>
                    <a:lnTo>
                      <a:pt x="201" y="5"/>
                    </a:lnTo>
                    <a:lnTo>
                      <a:pt x="195" y="2"/>
                    </a:lnTo>
                    <a:lnTo>
                      <a:pt x="188" y="1"/>
                    </a:lnTo>
                    <a:lnTo>
                      <a:pt x="179" y="0"/>
                    </a:lnTo>
                    <a:lnTo>
                      <a:pt x="174" y="1"/>
                    </a:lnTo>
                    <a:lnTo>
                      <a:pt x="168" y="3"/>
                    </a:lnTo>
                    <a:lnTo>
                      <a:pt x="164" y="7"/>
                    </a:lnTo>
                    <a:lnTo>
                      <a:pt x="161" y="11"/>
                    </a:lnTo>
                    <a:lnTo>
                      <a:pt x="155" y="21"/>
                    </a:lnTo>
                    <a:lnTo>
                      <a:pt x="151" y="34"/>
                    </a:lnTo>
                    <a:lnTo>
                      <a:pt x="147" y="46"/>
                    </a:lnTo>
                    <a:lnTo>
                      <a:pt x="144" y="57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6" y="67"/>
                    </a:lnTo>
                    <a:lnTo>
                      <a:pt x="133" y="68"/>
                    </a:lnTo>
                    <a:lnTo>
                      <a:pt x="125" y="68"/>
                    </a:lnTo>
                    <a:lnTo>
                      <a:pt x="118" y="66"/>
                    </a:lnTo>
                    <a:lnTo>
                      <a:pt x="109" y="64"/>
                    </a:lnTo>
                    <a:lnTo>
                      <a:pt x="100" y="62"/>
                    </a:lnTo>
                    <a:lnTo>
                      <a:pt x="79" y="54"/>
                    </a:lnTo>
                    <a:lnTo>
                      <a:pt x="58" y="46"/>
                    </a:lnTo>
                    <a:lnTo>
                      <a:pt x="39" y="38"/>
                    </a:lnTo>
                    <a:lnTo>
                      <a:pt x="21" y="29"/>
                    </a:lnTo>
                    <a:lnTo>
                      <a:pt x="15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25"/>
                    </a:lnTo>
                    <a:lnTo>
                      <a:pt x="0" y="37"/>
                    </a:lnTo>
                    <a:lnTo>
                      <a:pt x="0" y="49"/>
                    </a:lnTo>
                    <a:lnTo>
                      <a:pt x="1" y="62"/>
                    </a:lnTo>
                    <a:lnTo>
                      <a:pt x="5" y="72"/>
                    </a:lnTo>
                    <a:lnTo>
                      <a:pt x="7" y="81"/>
                    </a:lnTo>
                    <a:lnTo>
                      <a:pt x="15" y="96"/>
                    </a:lnTo>
                    <a:lnTo>
                      <a:pt x="24" y="111"/>
                    </a:lnTo>
                    <a:lnTo>
                      <a:pt x="33" y="124"/>
                    </a:lnTo>
                    <a:lnTo>
                      <a:pt x="42" y="138"/>
                    </a:lnTo>
                    <a:lnTo>
                      <a:pt x="45" y="146"/>
                    </a:lnTo>
                    <a:lnTo>
                      <a:pt x="49" y="156"/>
                    </a:lnTo>
                    <a:lnTo>
                      <a:pt x="52" y="167"/>
                    </a:lnTo>
                    <a:lnTo>
                      <a:pt x="53" y="179"/>
                    </a:lnTo>
                    <a:lnTo>
                      <a:pt x="60" y="179"/>
                    </a:lnTo>
                    <a:lnTo>
                      <a:pt x="64" y="190"/>
                    </a:lnTo>
                    <a:lnTo>
                      <a:pt x="73" y="205"/>
                    </a:lnTo>
                    <a:lnTo>
                      <a:pt x="83" y="223"/>
                    </a:lnTo>
                    <a:lnTo>
                      <a:pt x="96" y="241"/>
                    </a:lnTo>
                    <a:lnTo>
                      <a:pt x="109" y="258"/>
                    </a:lnTo>
                    <a:lnTo>
                      <a:pt x="122" y="273"/>
                    </a:lnTo>
                    <a:lnTo>
                      <a:pt x="129" y="280"/>
                    </a:lnTo>
                    <a:lnTo>
                      <a:pt x="135" y="284"/>
                    </a:lnTo>
                    <a:lnTo>
                      <a:pt x="141" y="288"/>
                    </a:lnTo>
                    <a:lnTo>
                      <a:pt x="146" y="290"/>
                    </a:lnTo>
                    <a:lnTo>
                      <a:pt x="139" y="296"/>
                    </a:lnTo>
                    <a:lnTo>
                      <a:pt x="130" y="304"/>
                    </a:lnTo>
                    <a:lnTo>
                      <a:pt x="127" y="310"/>
                    </a:lnTo>
                    <a:lnTo>
                      <a:pt x="122" y="316"/>
                    </a:lnTo>
                    <a:lnTo>
                      <a:pt x="120" y="324"/>
                    </a:lnTo>
                    <a:lnTo>
                      <a:pt x="120" y="332"/>
                    </a:lnTo>
                    <a:lnTo>
                      <a:pt x="120" y="341"/>
                    </a:lnTo>
                    <a:lnTo>
                      <a:pt x="123" y="350"/>
                    </a:lnTo>
                    <a:lnTo>
                      <a:pt x="128" y="360"/>
                    </a:lnTo>
                    <a:lnTo>
                      <a:pt x="133" y="370"/>
                    </a:lnTo>
                    <a:lnTo>
                      <a:pt x="140" y="380"/>
                    </a:lnTo>
                    <a:lnTo>
                      <a:pt x="147" y="391"/>
                    </a:lnTo>
                    <a:lnTo>
                      <a:pt x="157" y="401"/>
                    </a:lnTo>
                    <a:lnTo>
                      <a:pt x="167" y="410"/>
                    </a:lnTo>
                    <a:lnTo>
                      <a:pt x="177" y="420"/>
                    </a:lnTo>
                    <a:lnTo>
                      <a:pt x="188" y="428"/>
                    </a:lnTo>
                    <a:lnTo>
                      <a:pt x="200" y="436"/>
                    </a:lnTo>
                    <a:lnTo>
                      <a:pt x="212" y="442"/>
                    </a:lnTo>
                    <a:lnTo>
                      <a:pt x="224" y="449"/>
                    </a:lnTo>
                    <a:lnTo>
                      <a:pt x="236" y="453"/>
                    </a:lnTo>
                    <a:lnTo>
                      <a:pt x="247" y="455"/>
                    </a:lnTo>
                    <a:lnTo>
                      <a:pt x="259" y="456"/>
                    </a:lnTo>
                    <a:lnTo>
                      <a:pt x="260" y="469"/>
                    </a:lnTo>
                    <a:lnTo>
                      <a:pt x="264" y="483"/>
                    </a:lnTo>
                    <a:lnTo>
                      <a:pt x="265" y="490"/>
                    </a:lnTo>
                    <a:lnTo>
                      <a:pt x="265" y="500"/>
                    </a:lnTo>
                    <a:lnTo>
                      <a:pt x="263" y="511"/>
                    </a:lnTo>
                    <a:lnTo>
                      <a:pt x="259" y="524"/>
                    </a:lnTo>
                    <a:lnTo>
                      <a:pt x="305" y="573"/>
                    </a:lnTo>
                    <a:lnTo>
                      <a:pt x="312" y="574"/>
                    </a:lnTo>
                    <a:lnTo>
                      <a:pt x="319" y="576"/>
                    </a:lnTo>
                    <a:lnTo>
                      <a:pt x="324" y="578"/>
                    </a:lnTo>
                    <a:lnTo>
                      <a:pt x="330" y="580"/>
                    </a:lnTo>
                    <a:lnTo>
                      <a:pt x="335" y="581"/>
                    </a:lnTo>
                    <a:lnTo>
                      <a:pt x="342" y="581"/>
                    </a:lnTo>
                    <a:lnTo>
                      <a:pt x="349" y="578"/>
                    </a:lnTo>
                    <a:lnTo>
                      <a:pt x="358" y="573"/>
                    </a:lnTo>
                    <a:lnTo>
                      <a:pt x="372" y="593"/>
                    </a:lnTo>
                    <a:lnTo>
                      <a:pt x="404" y="639"/>
                    </a:lnTo>
                    <a:lnTo>
                      <a:pt x="423" y="664"/>
                    </a:lnTo>
                    <a:lnTo>
                      <a:pt x="439" y="687"/>
                    </a:lnTo>
                    <a:lnTo>
                      <a:pt x="447" y="697"/>
                    </a:lnTo>
                    <a:lnTo>
                      <a:pt x="455" y="705"/>
                    </a:lnTo>
                    <a:lnTo>
                      <a:pt x="460" y="711"/>
                    </a:lnTo>
                    <a:lnTo>
                      <a:pt x="465" y="714"/>
                    </a:lnTo>
                    <a:lnTo>
                      <a:pt x="471" y="720"/>
                    </a:lnTo>
                    <a:lnTo>
                      <a:pt x="479" y="727"/>
                    </a:lnTo>
                    <a:lnTo>
                      <a:pt x="483" y="729"/>
                    </a:lnTo>
                    <a:lnTo>
                      <a:pt x="488" y="731"/>
                    </a:lnTo>
                    <a:lnTo>
                      <a:pt x="493" y="733"/>
                    </a:lnTo>
                    <a:lnTo>
                      <a:pt x="498" y="733"/>
                    </a:lnTo>
                    <a:lnTo>
                      <a:pt x="504" y="733"/>
                    </a:lnTo>
                    <a:lnTo>
                      <a:pt x="512" y="733"/>
                    </a:lnTo>
                    <a:lnTo>
                      <a:pt x="522" y="733"/>
                    </a:lnTo>
                    <a:lnTo>
                      <a:pt x="532" y="733"/>
                    </a:lnTo>
                    <a:lnTo>
                      <a:pt x="533" y="741"/>
                    </a:lnTo>
                    <a:lnTo>
                      <a:pt x="537" y="748"/>
                    </a:lnTo>
                    <a:lnTo>
                      <a:pt x="542" y="755"/>
                    </a:lnTo>
                    <a:lnTo>
                      <a:pt x="547" y="761"/>
                    </a:lnTo>
                    <a:lnTo>
                      <a:pt x="554" y="766"/>
                    </a:lnTo>
                    <a:lnTo>
                      <a:pt x="561" y="771"/>
                    </a:lnTo>
                    <a:lnTo>
                      <a:pt x="570" y="776"/>
                    </a:lnTo>
                    <a:lnTo>
                      <a:pt x="579" y="781"/>
                    </a:lnTo>
                    <a:lnTo>
                      <a:pt x="598" y="787"/>
                    </a:lnTo>
                    <a:lnTo>
                      <a:pt x="616" y="791"/>
                    </a:lnTo>
                    <a:lnTo>
                      <a:pt x="635" y="794"/>
                    </a:lnTo>
                    <a:lnTo>
                      <a:pt x="651" y="795"/>
                    </a:lnTo>
                    <a:lnTo>
                      <a:pt x="663" y="795"/>
                    </a:lnTo>
                    <a:lnTo>
                      <a:pt x="671" y="795"/>
                    </a:lnTo>
                    <a:lnTo>
                      <a:pt x="685" y="795"/>
                    </a:lnTo>
                    <a:lnTo>
                      <a:pt x="700" y="793"/>
                    </a:lnTo>
                    <a:lnTo>
                      <a:pt x="706" y="792"/>
                    </a:lnTo>
                    <a:lnTo>
                      <a:pt x="713" y="790"/>
                    </a:lnTo>
                    <a:lnTo>
                      <a:pt x="718" y="787"/>
                    </a:lnTo>
                    <a:lnTo>
                      <a:pt x="724" y="783"/>
                    </a:lnTo>
                    <a:lnTo>
                      <a:pt x="732" y="780"/>
                    </a:lnTo>
                    <a:lnTo>
                      <a:pt x="742" y="773"/>
                    </a:lnTo>
                    <a:lnTo>
                      <a:pt x="749" y="769"/>
                    </a:lnTo>
                    <a:lnTo>
                      <a:pt x="756" y="766"/>
                    </a:lnTo>
                    <a:lnTo>
                      <a:pt x="763" y="764"/>
                    </a:lnTo>
                    <a:lnTo>
                      <a:pt x="771" y="764"/>
                    </a:lnTo>
                    <a:lnTo>
                      <a:pt x="779" y="764"/>
                    </a:lnTo>
                    <a:lnTo>
                      <a:pt x="785" y="767"/>
                    </a:lnTo>
                    <a:lnTo>
                      <a:pt x="790" y="771"/>
                    </a:lnTo>
                    <a:lnTo>
                      <a:pt x="794" y="775"/>
                    </a:lnTo>
                    <a:lnTo>
                      <a:pt x="796" y="782"/>
                    </a:lnTo>
                    <a:lnTo>
                      <a:pt x="798" y="789"/>
                    </a:lnTo>
                    <a:lnTo>
                      <a:pt x="801" y="796"/>
                    </a:lnTo>
                    <a:lnTo>
                      <a:pt x="802" y="804"/>
                    </a:lnTo>
                    <a:lnTo>
                      <a:pt x="803" y="820"/>
                    </a:lnTo>
                    <a:lnTo>
                      <a:pt x="805" y="837"/>
                    </a:lnTo>
                    <a:lnTo>
                      <a:pt x="807" y="845"/>
                    </a:lnTo>
                    <a:lnTo>
                      <a:pt x="809" y="851"/>
                    </a:lnTo>
                    <a:lnTo>
                      <a:pt x="813" y="857"/>
                    </a:lnTo>
                    <a:lnTo>
                      <a:pt x="817" y="862"/>
                    </a:lnTo>
                    <a:lnTo>
                      <a:pt x="822" y="865"/>
                    </a:lnTo>
                    <a:lnTo>
                      <a:pt x="828" y="867"/>
                    </a:lnTo>
                    <a:lnTo>
                      <a:pt x="838" y="869"/>
                    </a:lnTo>
                    <a:lnTo>
                      <a:pt x="849" y="871"/>
                    </a:lnTo>
                    <a:lnTo>
                      <a:pt x="874" y="874"/>
                    </a:lnTo>
                    <a:lnTo>
                      <a:pt x="897" y="875"/>
                    </a:lnTo>
                    <a:lnTo>
                      <a:pt x="925" y="876"/>
                    </a:lnTo>
                    <a:lnTo>
                      <a:pt x="948" y="878"/>
                    </a:lnTo>
                    <a:lnTo>
                      <a:pt x="970" y="882"/>
                    </a:lnTo>
                    <a:lnTo>
                      <a:pt x="991" y="887"/>
                    </a:lnTo>
                    <a:lnTo>
                      <a:pt x="1011" y="892"/>
                    </a:lnTo>
                    <a:lnTo>
                      <a:pt x="1035" y="896"/>
                    </a:lnTo>
                    <a:lnTo>
                      <a:pt x="1047" y="898"/>
                    </a:lnTo>
                    <a:lnTo>
                      <a:pt x="1060" y="899"/>
                    </a:lnTo>
                    <a:lnTo>
                      <a:pt x="1074" y="900"/>
                    </a:lnTo>
                    <a:lnTo>
                      <a:pt x="1089" y="900"/>
                    </a:lnTo>
                    <a:lnTo>
                      <a:pt x="1091" y="879"/>
                    </a:lnTo>
                    <a:lnTo>
                      <a:pt x="1093" y="865"/>
                    </a:lnTo>
                    <a:lnTo>
                      <a:pt x="1095" y="854"/>
                    </a:lnTo>
                    <a:lnTo>
                      <a:pt x="1096" y="844"/>
                    </a:lnTo>
                    <a:lnTo>
                      <a:pt x="1096" y="840"/>
                    </a:lnTo>
                    <a:lnTo>
                      <a:pt x="1097" y="836"/>
                    </a:lnTo>
                    <a:lnTo>
                      <a:pt x="1099" y="831"/>
                    </a:lnTo>
                    <a:lnTo>
                      <a:pt x="1102" y="827"/>
                    </a:lnTo>
                    <a:lnTo>
                      <a:pt x="1108" y="820"/>
                    </a:lnTo>
                    <a:lnTo>
                      <a:pt x="1116" y="814"/>
                    </a:lnTo>
                    <a:lnTo>
                      <a:pt x="1136" y="802"/>
                    </a:lnTo>
                    <a:lnTo>
                      <a:pt x="1156" y="789"/>
                    </a:lnTo>
                    <a:lnTo>
                      <a:pt x="1156" y="770"/>
                    </a:lnTo>
                    <a:lnTo>
                      <a:pt x="1151" y="769"/>
                    </a:lnTo>
                    <a:lnTo>
                      <a:pt x="1147" y="768"/>
                    </a:lnTo>
                    <a:lnTo>
                      <a:pt x="1143" y="766"/>
                    </a:lnTo>
                    <a:lnTo>
                      <a:pt x="1140" y="764"/>
                    </a:lnTo>
                    <a:lnTo>
                      <a:pt x="1136" y="758"/>
                    </a:lnTo>
                    <a:lnTo>
                      <a:pt x="1132" y="750"/>
                    </a:lnTo>
                    <a:lnTo>
                      <a:pt x="1130" y="734"/>
                    </a:lnTo>
                    <a:lnTo>
                      <a:pt x="1129" y="720"/>
                    </a:lnTo>
                    <a:lnTo>
                      <a:pt x="1121" y="719"/>
                    </a:lnTo>
                    <a:lnTo>
                      <a:pt x="1114" y="717"/>
                    </a:lnTo>
                    <a:lnTo>
                      <a:pt x="1105" y="713"/>
                    </a:lnTo>
                    <a:lnTo>
                      <a:pt x="1096" y="708"/>
                    </a:lnTo>
                    <a:lnTo>
                      <a:pt x="1087" y="701"/>
                    </a:lnTo>
                    <a:lnTo>
                      <a:pt x="1077" y="694"/>
                    </a:lnTo>
                    <a:lnTo>
                      <a:pt x="1069" y="686"/>
                    </a:lnTo>
                    <a:lnTo>
                      <a:pt x="1061" y="678"/>
                    </a:lnTo>
                    <a:lnTo>
                      <a:pt x="1044" y="660"/>
                    </a:lnTo>
                    <a:lnTo>
                      <a:pt x="1031" y="643"/>
                    </a:lnTo>
                    <a:lnTo>
                      <a:pt x="1026" y="635"/>
                    </a:lnTo>
                    <a:lnTo>
                      <a:pt x="1021" y="628"/>
                    </a:lnTo>
                    <a:lnTo>
                      <a:pt x="1018" y="622"/>
                    </a:lnTo>
                    <a:lnTo>
                      <a:pt x="1016" y="616"/>
                    </a:lnTo>
                    <a:lnTo>
                      <a:pt x="1017" y="609"/>
                    </a:lnTo>
                    <a:lnTo>
                      <a:pt x="1018" y="603"/>
                    </a:lnTo>
                    <a:lnTo>
                      <a:pt x="1019" y="598"/>
                    </a:lnTo>
                    <a:lnTo>
                      <a:pt x="1021" y="593"/>
                    </a:lnTo>
                    <a:lnTo>
                      <a:pt x="1027" y="584"/>
                    </a:lnTo>
                    <a:lnTo>
                      <a:pt x="1033" y="576"/>
                    </a:lnTo>
                    <a:lnTo>
                      <a:pt x="1039" y="568"/>
                    </a:lnTo>
                    <a:lnTo>
                      <a:pt x="1044" y="559"/>
                    </a:lnTo>
                    <a:lnTo>
                      <a:pt x="1047" y="553"/>
                    </a:lnTo>
                    <a:lnTo>
                      <a:pt x="1048" y="548"/>
                    </a:lnTo>
                    <a:lnTo>
                      <a:pt x="1049" y="542"/>
                    </a:lnTo>
                    <a:lnTo>
                      <a:pt x="1050" y="536"/>
                    </a:lnTo>
                    <a:lnTo>
                      <a:pt x="1049" y="531"/>
                    </a:lnTo>
                    <a:lnTo>
                      <a:pt x="1048" y="526"/>
                    </a:lnTo>
                    <a:lnTo>
                      <a:pt x="1047" y="522"/>
                    </a:lnTo>
                    <a:lnTo>
                      <a:pt x="1044" y="519"/>
                    </a:lnTo>
                    <a:lnTo>
                      <a:pt x="1041" y="517"/>
                    </a:lnTo>
                    <a:lnTo>
                      <a:pt x="1038" y="515"/>
                    </a:lnTo>
                    <a:lnTo>
                      <a:pt x="1035" y="513"/>
                    </a:lnTo>
                    <a:lnTo>
                      <a:pt x="1030" y="512"/>
                    </a:lnTo>
                    <a:lnTo>
                      <a:pt x="1013" y="511"/>
                    </a:lnTo>
                    <a:lnTo>
                      <a:pt x="996" y="512"/>
                    </a:lnTo>
                    <a:lnTo>
                      <a:pt x="993" y="511"/>
                    </a:lnTo>
                    <a:lnTo>
                      <a:pt x="990" y="510"/>
                    </a:lnTo>
                    <a:lnTo>
                      <a:pt x="986" y="509"/>
                    </a:lnTo>
                    <a:lnTo>
                      <a:pt x="983" y="507"/>
                    </a:lnTo>
                    <a:lnTo>
                      <a:pt x="976" y="501"/>
                    </a:lnTo>
                    <a:lnTo>
                      <a:pt x="971" y="493"/>
                    </a:lnTo>
                    <a:lnTo>
                      <a:pt x="966" y="485"/>
                    </a:lnTo>
                    <a:lnTo>
                      <a:pt x="962" y="475"/>
                    </a:lnTo>
                    <a:lnTo>
                      <a:pt x="958" y="464"/>
                    </a:lnTo>
                    <a:lnTo>
                      <a:pt x="954" y="453"/>
                    </a:lnTo>
                    <a:lnTo>
                      <a:pt x="950" y="429"/>
                    </a:lnTo>
                    <a:lnTo>
                      <a:pt x="946" y="407"/>
                    </a:lnTo>
                    <a:lnTo>
                      <a:pt x="943" y="389"/>
                    </a:lnTo>
                    <a:lnTo>
                      <a:pt x="943" y="375"/>
                    </a:lnTo>
                    <a:lnTo>
                      <a:pt x="940" y="375"/>
                    </a:lnTo>
                    <a:lnTo>
                      <a:pt x="937" y="373"/>
                    </a:lnTo>
                    <a:lnTo>
                      <a:pt x="934" y="371"/>
                    </a:lnTo>
                    <a:lnTo>
                      <a:pt x="931" y="369"/>
                    </a:lnTo>
                    <a:lnTo>
                      <a:pt x="928" y="366"/>
                    </a:lnTo>
                    <a:lnTo>
                      <a:pt x="926" y="363"/>
                    </a:lnTo>
                    <a:lnTo>
                      <a:pt x="924" y="360"/>
                    </a:lnTo>
                    <a:lnTo>
                      <a:pt x="924" y="357"/>
                    </a:lnTo>
                    <a:lnTo>
                      <a:pt x="924" y="354"/>
                    </a:lnTo>
                    <a:lnTo>
                      <a:pt x="925" y="351"/>
                    </a:lnTo>
                    <a:lnTo>
                      <a:pt x="926" y="348"/>
                    </a:lnTo>
                    <a:lnTo>
                      <a:pt x="928" y="345"/>
                    </a:lnTo>
                    <a:lnTo>
                      <a:pt x="934" y="339"/>
                    </a:lnTo>
                    <a:lnTo>
                      <a:pt x="940" y="334"/>
                    </a:lnTo>
                    <a:lnTo>
                      <a:pt x="946" y="328"/>
                    </a:lnTo>
                    <a:lnTo>
                      <a:pt x="951" y="323"/>
                    </a:lnTo>
                    <a:lnTo>
                      <a:pt x="955" y="318"/>
                    </a:lnTo>
                    <a:lnTo>
                      <a:pt x="957" y="314"/>
                    </a:lnTo>
                    <a:lnTo>
                      <a:pt x="958" y="301"/>
                    </a:lnTo>
                    <a:lnTo>
                      <a:pt x="960" y="293"/>
                    </a:lnTo>
                    <a:lnTo>
                      <a:pt x="962" y="285"/>
                    </a:lnTo>
                    <a:lnTo>
                      <a:pt x="963" y="27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0" name="Freeform 257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11065143" y="3531760"/>
                <a:ext cx="247650" cy="228600"/>
              </a:xfrm>
              <a:custGeom>
                <a:avLst/>
                <a:gdLst>
                  <a:gd name="T0" fmla="*/ 2121280121 w 571"/>
                  <a:gd name="T1" fmla="*/ 2147483647 h 443"/>
                  <a:gd name="T2" fmla="*/ 2147483647 w 571"/>
                  <a:gd name="T3" fmla="*/ 2147483647 h 443"/>
                  <a:gd name="T4" fmla="*/ 2147483647 w 571"/>
                  <a:gd name="T5" fmla="*/ 2147483647 h 443"/>
                  <a:gd name="T6" fmla="*/ 2147483647 w 571"/>
                  <a:gd name="T7" fmla="*/ 2147483647 h 443"/>
                  <a:gd name="T8" fmla="*/ 2147483647 w 571"/>
                  <a:gd name="T9" fmla="*/ 2147483647 h 443"/>
                  <a:gd name="T10" fmla="*/ 2147483647 w 571"/>
                  <a:gd name="T11" fmla="*/ 2147483647 h 443"/>
                  <a:gd name="T12" fmla="*/ 2147483647 w 571"/>
                  <a:gd name="T13" fmla="*/ 2147483647 h 443"/>
                  <a:gd name="T14" fmla="*/ 2147483647 w 571"/>
                  <a:gd name="T15" fmla="*/ 2147483647 h 443"/>
                  <a:gd name="T16" fmla="*/ 2147483647 w 571"/>
                  <a:gd name="T17" fmla="*/ 2147483647 h 443"/>
                  <a:gd name="T18" fmla="*/ 2147483647 w 571"/>
                  <a:gd name="T19" fmla="*/ 2147483647 h 443"/>
                  <a:gd name="T20" fmla="*/ 2147483647 w 571"/>
                  <a:gd name="T21" fmla="*/ 2147483647 h 443"/>
                  <a:gd name="T22" fmla="*/ 2147483647 w 571"/>
                  <a:gd name="T23" fmla="*/ 2147483647 h 443"/>
                  <a:gd name="T24" fmla="*/ 2147483647 w 571"/>
                  <a:gd name="T25" fmla="*/ 2147483647 h 443"/>
                  <a:gd name="T26" fmla="*/ 2147483647 w 571"/>
                  <a:gd name="T27" fmla="*/ 2147483647 h 443"/>
                  <a:gd name="T28" fmla="*/ 2147483647 w 571"/>
                  <a:gd name="T29" fmla="*/ 2147483647 h 443"/>
                  <a:gd name="T30" fmla="*/ 2147483647 w 571"/>
                  <a:gd name="T31" fmla="*/ 2147483647 h 443"/>
                  <a:gd name="T32" fmla="*/ 2147483647 w 571"/>
                  <a:gd name="T33" fmla="*/ 2147483647 h 443"/>
                  <a:gd name="T34" fmla="*/ 2147483647 w 571"/>
                  <a:gd name="T35" fmla="*/ 2147483647 h 443"/>
                  <a:gd name="T36" fmla="*/ 2147483647 w 571"/>
                  <a:gd name="T37" fmla="*/ 2147483647 h 443"/>
                  <a:gd name="T38" fmla="*/ 2147483647 w 571"/>
                  <a:gd name="T39" fmla="*/ 2147483647 h 443"/>
                  <a:gd name="T40" fmla="*/ 2147483647 w 571"/>
                  <a:gd name="T41" fmla="*/ 2147483647 h 443"/>
                  <a:gd name="T42" fmla="*/ 2147483647 w 571"/>
                  <a:gd name="T43" fmla="*/ 2147483647 h 443"/>
                  <a:gd name="T44" fmla="*/ 2147483647 w 571"/>
                  <a:gd name="T45" fmla="*/ 2147483647 h 443"/>
                  <a:gd name="T46" fmla="*/ 2147483647 w 571"/>
                  <a:gd name="T47" fmla="*/ 2147483647 h 443"/>
                  <a:gd name="T48" fmla="*/ 2147483647 w 571"/>
                  <a:gd name="T49" fmla="*/ 2147483647 h 443"/>
                  <a:gd name="T50" fmla="*/ 2147483647 w 571"/>
                  <a:gd name="T51" fmla="*/ 2147483647 h 443"/>
                  <a:gd name="T52" fmla="*/ 2147483647 w 571"/>
                  <a:gd name="T53" fmla="*/ 2147483647 h 443"/>
                  <a:gd name="T54" fmla="*/ 2147483647 w 571"/>
                  <a:gd name="T55" fmla="*/ 2147483647 h 443"/>
                  <a:gd name="T56" fmla="*/ 2147483647 w 571"/>
                  <a:gd name="T57" fmla="*/ 2147483647 h 443"/>
                  <a:gd name="T58" fmla="*/ 2147483647 w 571"/>
                  <a:gd name="T59" fmla="*/ 2147483647 h 443"/>
                  <a:gd name="T60" fmla="*/ 2147483647 w 571"/>
                  <a:gd name="T61" fmla="*/ 2147483647 h 443"/>
                  <a:gd name="T62" fmla="*/ 2147483647 w 571"/>
                  <a:gd name="T63" fmla="*/ 2147483647 h 443"/>
                  <a:gd name="T64" fmla="*/ 2147483647 w 571"/>
                  <a:gd name="T65" fmla="*/ 2147483647 h 443"/>
                  <a:gd name="T66" fmla="*/ 2147483647 w 571"/>
                  <a:gd name="T67" fmla="*/ 2147483647 h 443"/>
                  <a:gd name="T68" fmla="*/ 2147483647 w 571"/>
                  <a:gd name="T69" fmla="*/ 2147483647 h 443"/>
                  <a:gd name="T70" fmla="*/ 2147483647 w 571"/>
                  <a:gd name="T71" fmla="*/ 2147483647 h 443"/>
                  <a:gd name="T72" fmla="*/ 2147483647 w 571"/>
                  <a:gd name="T73" fmla="*/ 2147483647 h 443"/>
                  <a:gd name="T74" fmla="*/ 2147483647 w 571"/>
                  <a:gd name="T75" fmla="*/ 2147483647 h 443"/>
                  <a:gd name="T76" fmla="*/ 2147483647 w 571"/>
                  <a:gd name="T77" fmla="*/ 2147483647 h 443"/>
                  <a:gd name="T78" fmla="*/ 2147483647 w 571"/>
                  <a:gd name="T79" fmla="*/ 2147483647 h 443"/>
                  <a:gd name="T80" fmla="*/ 1305272938 w 571"/>
                  <a:gd name="T81" fmla="*/ 2147483647 h 443"/>
                  <a:gd name="T82" fmla="*/ 0 w 571"/>
                  <a:gd name="T83" fmla="*/ 2147483647 h 44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571" h="443">
                    <a:moveTo>
                      <a:pt x="0" y="196"/>
                    </a:moveTo>
                    <a:lnTo>
                      <a:pt x="26" y="190"/>
                    </a:lnTo>
                    <a:lnTo>
                      <a:pt x="33" y="184"/>
                    </a:lnTo>
                    <a:lnTo>
                      <a:pt x="37" y="177"/>
                    </a:lnTo>
                    <a:lnTo>
                      <a:pt x="39" y="171"/>
                    </a:lnTo>
                    <a:lnTo>
                      <a:pt x="41" y="164"/>
                    </a:lnTo>
                    <a:lnTo>
                      <a:pt x="41" y="149"/>
                    </a:lnTo>
                    <a:lnTo>
                      <a:pt x="39" y="129"/>
                    </a:lnTo>
                    <a:lnTo>
                      <a:pt x="41" y="124"/>
                    </a:lnTo>
                    <a:lnTo>
                      <a:pt x="44" y="120"/>
                    </a:lnTo>
                    <a:lnTo>
                      <a:pt x="49" y="116"/>
                    </a:lnTo>
                    <a:lnTo>
                      <a:pt x="55" y="112"/>
                    </a:lnTo>
                    <a:lnTo>
                      <a:pt x="61" y="109"/>
                    </a:lnTo>
                    <a:lnTo>
                      <a:pt x="68" y="107"/>
                    </a:lnTo>
                    <a:lnTo>
                      <a:pt x="75" y="105"/>
                    </a:lnTo>
                    <a:lnTo>
                      <a:pt x="80" y="104"/>
                    </a:lnTo>
                    <a:lnTo>
                      <a:pt x="92" y="105"/>
                    </a:lnTo>
                    <a:lnTo>
                      <a:pt x="103" y="106"/>
                    </a:lnTo>
                    <a:lnTo>
                      <a:pt x="114" y="107"/>
                    </a:lnTo>
                    <a:lnTo>
                      <a:pt x="124" y="109"/>
                    </a:lnTo>
                    <a:lnTo>
                      <a:pt x="142" y="113"/>
                    </a:lnTo>
                    <a:lnTo>
                      <a:pt x="158" y="120"/>
                    </a:lnTo>
                    <a:lnTo>
                      <a:pt x="172" y="127"/>
                    </a:lnTo>
                    <a:lnTo>
                      <a:pt x="184" y="135"/>
                    </a:lnTo>
                    <a:lnTo>
                      <a:pt x="195" y="145"/>
                    </a:lnTo>
                    <a:lnTo>
                      <a:pt x="206" y="154"/>
                    </a:lnTo>
                    <a:lnTo>
                      <a:pt x="227" y="127"/>
                    </a:lnTo>
                    <a:lnTo>
                      <a:pt x="254" y="92"/>
                    </a:lnTo>
                    <a:lnTo>
                      <a:pt x="276" y="62"/>
                    </a:lnTo>
                    <a:lnTo>
                      <a:pt x="285" y="49"/>
                    </a:lnTo>
                    <a:lnTo>
                      <a:pt x="538" y="0"/>
                    </a:lnTo>
                    <a:lnTo>
                      <a:pt x="538" y="43"/>
                    </a:lnTo>
                    <a:lnTo>
                      <a:pt x="548" y="60"/>
                    </a:lnTo>
                    <a:lnTo>
                      <a:pt x="557" y="78"/>
                    </a:lnTo>
                    <a:lnTo>
                      <a:pt x="560" y="87"/>
                    </a:lnTo>
                    <a:lnTo>
                      <a:pt x="562" y="98"/>
                    </a:lnTo>
                    <a:lnTo>
                      <a:pt x="564" y="110"/>
                    </a:lnTo>
                    <a:lnTo>
                      <a:pt x="564" y="123"/>
                    </a:lnTo>
                    <a:lnTo>
                      <a:pt x="565" y="136"/>
                    </a:lnTo>
                    <a:lnTo>
                      <a:pt x="568" y="151"/>
                    </a:lnTo>
                    <a:lnTo>
                      <a:pt x="570" y="164"/>
                    </a:lnTo>
                    <a:lnTo>
                      <a:pt x="571" y="178"/>
                    </a:lnTo>
                    <a:lnTo>
                      <a:pt x="568" y="180"/>
                    </a:lnTo>
                    <a:lnTo>
                      <a:pt x="564" y="180"/>
                    </a:lnTo>
                    <a:lnTo>
                      <a:pt x="563" y="179"/>
                    </a:lnTo>
                    <a:lnTo>
                      <a:pt x="562" y="179"/>
                    </a:lnTo>
                    <a:lnTo>
                      <a:pt x="561" y="179"/>
                    </a:lnTo>
                    <a:lnTo>
                      <a:pt x="558" y="184"/>
                    </a:lnTo>
                    <a:lnTo>
                      <a:pt x="553" y="196"/>
                    </a:lnTo>
                    <a:lnTo>
                      <a:pt x="548" y="207"/>
                    </a:lnTo>
                    <a:lnTo>
                      <a:pt x="541" y="217"/>
                    </a:lnTo>
                    <a:lnTo>
                      <a:pt x="534" y="225"/>
                    </a:lnTo>
                    <a:lnTo>
                      <a:pt x="525" y="232"/>
                    </a:lnTo>
                    <a:lnTo>
                      <a:pt x="515" y="239"/>
                    </a:lnTo>
                    <a:lnTo>
                      <a:pt x="505" y="244"/>
                    </a:lnTo>
                    <a:lnTo>
                      <a:pt x="494" y="249"/>
                    </a:lnTo>
                    <a:lnTo>
                      <a:pt x="449" y="267"/>
                    </a:lnTo>
                    <a:lnTo>
                      <a:pt x="405" y="283"/>
                    </a:lnTo>
                    <a:lnTo>
                      <a:pt x="374" y="296"/>
                    </a:lnTo>
                    <a:lnTo>
                      <a:pt x="347" y="307"/>
                    </a:lnTo>
                    <a:lnTo>
                      <a:pt x="321" y="318"/>
                    </a:lnTo>
                    <a:lnTo>
                      <a:pt x="295" y="328"/>
                    </a:lnTo>
                    <a:lnTo>
                      <a:pt x="270" y="337"/>
                    </a:lnTo>
                    <a:lnTo>
                      <a:pt x="245" y="345"/>
                    </a:lnTo>
                    <a:lnTo>
                      <a:pt x="216" y="354"/>
                    </a:lnTo>
                    <a:lnTo>
                      <a:pt x="186" y="363"/>
                    </a:lnTo>
                    <a:lnTo>
                      <a:pt x="177" y="366"/>
                    </a:lnTo>
                    <a:lnTo>
                      <a:pt x="167" y="371"/>
                    </a:lnTo>
                    <a:lnTo>
                      <a:pt x="158" y="376"/>
                    </a:lnTo>
                    <a:lnTo>
                      <a:pt x="149" y="381"/>
                    </a:lnTo>
                    <a:lnTo>
                      <a:pt x="134" y="392"/>
                    </a:lnTo>
                    <a:lnTo>
                      <a:pt x="119" y="403"/>
                    </a:lnTo>
                    <a:lnTo>
                      <a:pt x="105" y="414"/>
                    </a:lnTo>
                    <a:lnTo>
                      <a:pt x="92" y="426"/>
                    </a:lnTo>
                    <a:lnTo>
                      <a:pt x="79" y="435"/>
                    </a:lnTo>
                    <a:lnTo>
                      <a:pt x="67" y="443"/>
                    </a:lnTo>
                    <a:lnTo>
                      <a:pt x="58" y="410"/>
                    </a:lnTo>
                    <a:lnTo>
                      <a:pt x="50" y="378"/>
                    </a:lnTo>
                    <a:lnTo>
                      <a:pt x="42" y="345"/>
                    </a:lnTo>
                    <a:lnTo>
                      <a:pt x="33" y="313"/>
                    </a:lnTo>
                    <a:lnTo>
                      <a:pt x="24" y="282"/>
                    </a:lnTo>
                    <a:lnTo>
                      <a:pt x="16" y="251"/>
                    </a:lnTo>
                    <a:lnTo>
                      <a:pt x="8" y="223"/>
                    </a:lnTo>
                    <a:lnTo>
                      <a:pt x="0" y="19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1" name="Freeform 258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11260405" y="3306335"/>
                <a:ext cx="120650" cy="120650"/>
              </a:xfrm>
              <a:custGeom>
                <a:avLst/>
                <a:gdLst>
                  <a:gd name="T0" fmla="*/ 0 w 286"/>
                  <a:gd name="T1" fmla="*/ 2147483647 h 228"/>
                  <a:gd name="T2" fmla="*/ 300218542 w 286"/>
                  <a:gd name="T3" fmla="*/ 2147483647 h 228"/>
                  <a:gd name="T4" fmla="*/ 525515964 w 286"/>
                  <a:gd name="T5" fmla="*/ 2147483647 h 228"/>
                  <a:gd name="T6" fmla="*/ 750813387 w 286"/>
                  <a:gd name="T7" fmla="*/ 2147483647 h 228"/>
                  <a:gd name="T8" fmla="*/ 825734928 w 286"/>
                  <a:gd name="T9" fmla="*/ 2147483647 h 228"/>
                  <a:gd name="T10" fmla="*/ 900834069 w 286"/>
                  <a:gd name="T11" fmla="*/ 2147483647 h 228"/>
                  <a:gd name="T12" fmla="*/ 975933210 w 286"/>
                  <a:gd name="T13" fmla="*/ 2147483647 h 228"/>
                  <a:gd name="T14" fmla="*/ 1051032351 w 286"/>
                  <a:gd name="T15" fmla="*/ 2147483647 h 228"/>
                  <a:gd name="T16" fmla="*/ 1201230632 w 286"/>
                  <a:gd name="T17" fmla="*/ 2147483647 h 228"/>
                  <a:gd name="T18" fmla="*/ 1426350033 w 286"/>
                  <a:gd name="T19" fmla="*/ 2147483647 h 228"/>
                  <a:gd name="T20" fmla="*/ 1801667716 w 286"/>
                  <a:gd name="T21" fmla="*/ 2147483647 h 228"/>
                  <a:gd name="T22" fmla="*/ 2147483647 w 286"/>
                  <a:gd name="T23" fmla="*/ 2147483647 h 228"/>
                  <a:gd name="T24" fmla="*/ 2147483647 w 286"/>
                  <a:gd name="T25" fmla="*/ 2147483647 h 228"/>
                  <a:gd name="T26" fmla="*/ 2147483647 w 286"/>
                  <a:gd name="T27" fmla="*/ 2147483647 h 228"/>
                  <a:gd name="T28" fmla="*/ 2147483647 w 286"/>
                  <a:gd name="T29" fmla="*/ 2147483647 h 228"/>
                  <a:gd name="T30" fmla="*/ 2147483647 w 286"/>
                  <a:gd name="T31" fmla="*/ 2147483647 h 228"/>
                  <a:gd name="T32" fmla="*/ 2147483647 w 286"/>
                  <a:gd name="T33" fmla="*/ 2147483647 h 228"/>
                  <a:gd name="T34" fmla="*/ 2147483647 w 286"/>
                  <a:gd name="T35" fmla="*/ 2147483647 h 228"/>
                  <a:gd name="T36" fmla="*/ 2147483647 w 286"/>
                  <a:gd name="T37" fmla="*/ 2147483647 h 228"/>
                  <a:gd name="T38" fmla="*/ 2147483647 w 286"/>
                  <a:gd name="T39" fmla="*/ 2147483647 h 228"/>
                  <a:gd name="T40" fmla="*/ 2147483647 w 286"/>
                  <a:gd name="T41" fmla="*/ 2147483647 h 228"/>
                  <a:gd name="T42" fmla="*/ 2147483647 w 286"/>
                  <a:gd name="T43" fmla="*/ 2147483647 h 228"/>
                  <a:gd name="T44" fmla="*/ 2147483647 w 286"/>
                  <a:gd name="T45" fmla="*/ 2147483647 h 228"/>
                  <a:gd name="T46" fmla="*/ 2147483647 w 286"/>
                  <a:gd name="T47" fmla="*/ 2147483647 h 228"/>
                  <a:gd name="T48" fmla="*/ 2147483647 w 286"/>
                  <a:gd name="T49" fmla="*/ 2147483647 h 228"/>
                  <a:gd name="T50" fmla="*/ 2147483647 w 286"/>
                  <a:gd name="T51" fmla="*/ 2147483647 h 228"/>
                  <a:gd name="T52" fmla="*/ 2147483647 w 286"/>
                  <a:gd name="T53" fmla="*/ 2147483647 h 228"/>
                  <a:gd name="T54" fmla="*/ 2147483647 w 286"/>
                  <a:gd name="T55" fmla="*/ 2147483647 h 228"/>
                  <a:gd name="T56" fmla="*/ 2147483647 w 286"/>
                  <a:gd name="T57" fmla="*/ 0 h 228"/>
                  <a:gd name="T58" fmla="*/ 2147483647 w 286"/>
                  <a:gd name="T59" fmla="*/ 1037184129 h 228"/>
                  <a:gd name="T60" fmla="*/ 2147483647 w 286"/>
                  <a:gd name="T61" fmla="*/ 1926239692 h 228"/>
                  <a:gd name="T62" fmla="*/ 2147483647 w 286"/>
                  <a:gd name="T63" fmla="*/ 2147483647 h 228"/>
                  <a:gd name="T64" fmla="*/ 2147483647 w 286"/>
                  <a:gd name="T65" fmla="*/ 2147483647 h 228"/>
                  <a:gd name="T66" fmla="*/ 2147483647 w 286"/>
                  <a:gd name="T67" fmla="*/ 2147483647 h 228"/>
                  <a:gd name="T68" fmla="*/ 2147483647 w 286"/>
                  <a:gd name="T69" fmla="*/ 2147483647 h 228"/>
                  <a:gd name="T70" fmla="*/ 2147483647 w 286"/>
                  <a:gd name="T71" fmla="*/ 2147483647 h 228"/>
                  <a:gd name="T72" fmla="*/ 2147483647 w 286"/>
                  <a:gd name="T73" fmla="*/ 2147483647 h 228"/>
                  <a:gd name="T74" fmla="*/ 2147483647 w 286"/>
                  <a:gd name="T75" fmla="*/ 2147483647 h 228"/>
                  <a:gd name="T76" fmla="*/ 0 w 286"/>
                  <a:gd name="T77" fmla="*/ 2147483647 h 22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86" h="228">
                    <a:moveTo>
                      <a:pt x="0" y="111"/>
                    </a:moveTo>
                    <a:lnTo>
                      <a:pt x="4" y="109"/>
                    </a:lnTo>
                    <a:lnTo>
                      <a:pt x="7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2" y="117"/>
                    </a:lnTo>
                    <a:lnTo>
                      <a:pt x="13" y="123"/>
                    </a:lnTo>
                    <a:lnTo>
                      <a:pt x="14" y="128"/>
                    </a:lnTo>
                    <a:lnTo>
                      <a:pt x="16" y="131"/>
                    </a:lnTo>
                    <a:lnTo>
                      <a:pt x="19" y="134"/>
                    </a:lnTo>
                    <a:lnTo>
                      <a:pt x="24" y="136"/>
                    </a:lnTo>
                    <a:lnTo>
                      <a:pt x="29" y="137"/>
                    </a:lnTo>
                    <a:lnTo>
                      <a:pt x="37" y="138"/>
                    </a:lnTo>
                    <a:lnTo>
                      <a:pt x="48" y="138"/>
                    </a:lnTo>
                    <a:lnTo>
                      <a:pt x="60" y="136"/>
                    </a:lnTo>
                    <a:lnTo>
                      <a:pt x="98" y="130"/>
                    </a:lnTo>
                    <a:lnTo>
                      <a:pt x="129" y="122"/>
                    </a:lnTo>
                    <a:lnTo>
                      <a:pt x="143" y="118"/>
                    </a:lnTo>
                    <a:lnTo>
                      <a:pt x="156" y="114"/>
                    </a:lnTo>
                    <a:lnTo>
                      <a:pt x="167" y="109"/>
                    </a:lnTo>
                    <a:lnTo>
                      <a:pt x="178" y="103"/>
                    </a:lnTo>
                    <a:lnTo>
                      <a:pt x="188" y="96"/>
                    </a:lnTo>
                    <a:lnTo>
                      <a:pt x="198" y="87"/>
                    </a:lnTo>
                    <a:lnTo>
                      <a:pt x="208" y="78"/>
                    </a:lnTo>
                    <a:lnTo>
                      <a:pt x="219" y="65"/>
                    </a:lnTo>
                    <a:lnTo>
                      <a:pt x="229" y="52"/>
                    </a:lnTo>
                    <a:lnTo>
                      <a:pt x="241" y="37"/>
                    </a:lnTo>
                    <a:lnTo>
                      <a:pt x="253" y="20"/>
                    </a:lnTo>
                    <a:lnTo>
                      <a:pt x="266" y="0"/>
                    </a:lnTo>
                    <a:lnTo>
                      <a:pt x="270" y="7"/>
                    </a:lnTo>
                    <a:lnTo>
                      <a:pt x="274" y="13"/>
                    </a:lnTo>
                    <a:lnTo>
                      <a:pt x="276" y="20"/>
                    </a:lnTo>
                    <a:lnTo>
                      <a:pt x="279" y="27"/>
                    </a:lnTo>
                    <a:lnTo>
                      <a:pt x="282" y="42"/>
                    </a:lnTo>
                    <a:lnTo>
                      <a:pt x="286" y="62"/>
                    </a:lnTo>
                    <a:lnTo>
                      <a:pt x="246" y="198"/>
                    </a:lnTo>
                    <a:lnTo>
                      <a:pt x="226" y="228"/>
                    </a:lnTo>
                    <a:lnTo>
                      <a:pt x="53" y="210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2" name="Freeform 259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10947668" y="2958672"/>
                <a:ext cx="222250" cy="263525"/>
              </a:xfrm>
              <a:custGeom>
                <a:avLst/>
                <a:gdLst>
                  <a:gd name="T0" fmla="*/ 2147483647 w 524"/>
                  <a:gd name="T1" fmla="*/ 2147483647 h 505"/>
                  <a:gd name="T2" fmla="*/ 2147483647 w 524"/>
                  <a:gd name="T3" fmla="*/ 2147483647 h 505"/>
                  <a:gd name="T4" fmla="*/ 2147483647 w 524"/>
                  <a:gd name="T5" fmla="*/ 2147483647 h 505"/>
                  <a:gd name="T6" fmla="*/ 2147483647 w 524"/>
                  <a:gd name="T7" fmla="*/ 2147483647 h 505"/>
                  <a:gd name="T8" fmla="*/ 2147483647 w 524"/>
                  <a:gd name="T9" fmla="*/ 2147483647 h 505"/>
                  <a:gd name="T10" fmla="*/ 2147483647 w 524"/>
                  <a:gd name="T11" fmla="*/ 2147483647 h 505"/>
                  <a:gd name="T12" fmla="*/ 2147483647 w 524"/>
                  <a:gd name="T13" fmla="*/ 2147483647 h 505"/>
                  <a:gd name="T14" fmla="*/ 2147483647 w 524"/>
                  <a:gd name="T15" fmla="*/ 2147483647 h 505"/>
                  <a:gd name="T16" fmla="*/ 2147483647 w 524"/>
                  <a:gd name="T17" fmla="*/ 2147483647 h 505"/>
                  <a:gd name="T18" fmla="*/ 2147483647 w 524"/>
                  <a:gd name="T19" fmla="*/ 2147483647 h 505"/>
                  <a:gd name="T20" fmla="*/ 2147483647 w 524"/>
                  <a:gd name="T21" fmla="*/ 2147483647 h 505"/>
                  <a:gd name="T22" fmla="*/ 2147483647 w 524"/>
                  <a:gd name="T23" fmla="*/ 2147483647 h 505"/>
                  <a:gd name="T24" fmla="*/ 2147483647 w 524"/>
                  <a:gd name="T25" fmla="*/ 2147483647 h 505"/>
                  <a:gd name="T26" fmla="*/ 2147483647 w 524"/>
                  <a:gd name="T27" fmla="*/ 2147483647 h 505"/>
                  <a:gd name="T28" fmla="*/ 2147483647 w 524"/>
                  <a:gd name="T29" fmla="*/ 2147483647 h 505"/>
                  <a:gd name="T30" fmla="*/ 2147483647 w 524"/>
                  <a:gd name="T31" fmla="*/ 2147483647 h 505"/>
                  <a:gd name="T32" fmla="*/ 2147483647 w 524"/>
                  <a:gd name="T33" fmla="*/ 2147483647 h 505"/>
                  <a:gd name="T34" fmla="*/ 2147483647 w 524"/>
                  <a:gd name="T35" fmla="*/ 2147483647 h 505"/>
                  <a:gd name="T36" fmla="*/ 2147483647 w 524"/>
                  <a:gd name="T37" fmla="*/ 2147483647 h 505"/>
                  <a:gd name="T38" fmla="*/ 2147483647 w 524"/>
                  <a:gd name="T39" fmla="*/ 2147483647 h 505"/>
                  <a:gd name="T40" fmla="*/ 2147483647 w 524"/>
                  <a:gd name="T41" fmla="*/ 2147483647 h 505"/>
                  <a:gd name="T42" fmla="*/ 2147483647 w 524"/>
                  <a:gd name="T43" fmla="*/ 2147483647 h 505"/>
                  <a:gd name="T44" fmla="*/ 2147483647 w 524"/>
                  <a:gd name="T45" fmla="*/ 1563049746 h 505"/>
                  <a:gd name="T46" fmla="*/ 2147483647 w 524"/>
                  <a:gd name="T47" fmla="*/ 852597305 h 505"/>
                  <a:gd name="T48" fmla="*/ 2147483647 w 524"/>
                  <a:gd name="T49" fmla="*/ 426162715 h 505"/>
                  <a:gd name="T50" fmla="*/ 2147483647 w 524"/>
                  <a:gd name="T51" fmla="*/ 1136887031 h 505"/>
                  <a:gd name="T52" fmla="*/ 2147483647 w 524"/>
                  <a:gd name="T53" fmla="*/ 2147483647 h 505"/>
                  <a:gd name="T54" fmla="*/ 2147483647 w 524"/>
                  <a:gd name="T55" fmla="*/ 2147483647 h 505"/>
                  <a:gd name="T56" fmla="*/ 2147483647 w 524"/>
                  <a:gd name="T57" fmla="*/ 2147483647 h 505"/>
                  <a:gd name="T58" fmla="*/ 2147483647 w 524"/>
                  <a:gd name="T59" fmla="*/ 2147483647 h 505"/>
                  <a:gd name="T60" fmla="*/ 2147483647 w 524"/>
                  <a:gd name="T61" fmla="*/ 2147483647 h 505"/>
                  <a:gd name="T62" fmla="*/ 2147483647 w 524"/>
                  <a:gd name="T63" fmla="*/ 2147483647 h 505"/>
                  <a:gd name="T64" fmla="*/ 2147483647 w 524"/>
                  <a:gd name="T65" fmla="*/ 2147483647 h 505"/>
                  <a:gd name="T66" fmla="*/ 2147483647 w 524"/>
                  <a:gd name="T67" fmla="*/ 2147483647 h 505"/>
                  <a:gd name="T68" fmla="*/ 2147483647 w 524"/>
                  <a:gd name="T69" fmla="*/ 2147483647 h 505"/>
                  <a:gd name="T70" fmla="*/ 991945437 w 524"/>
                  <a:gd name="T71" fmla="*/ 2147483647 h 505"/>
                  <a:gd name="T72" fmla="*/ 152551721 w 524"/>
                  <a:gd name="T73" fmla="*/ 2147483647 h 505"/>
                  <a:gd name="T74" fmla="*/ 152551721 w 524"/>
                  <a:gd name="T75" fmla="*/ 2147483647 h 505"/>
                  <a:gd name="T76" fmla="*/ 0 w 524"/>
                  <a:gd name="T77" fmla="*/ 2147483647 h 505"/>
                  <a:gd name="T78" fmla="*/ 0 w 524"/>
                  <a:gd name="T79" fmla="*/ 2147483647 h 505"/>
                  <a:gd name="T80" fmla="*/ 534110437 w 524"/>
                  <a:gd name="T81" fmla="*/ 2147483647 h 505"/>
                  <a:gd name="T82" fmla="*/ 1983890449 w 524"/>
                  <a:gd name="T83" fmla="*/ 2147483647 h 505"/>
                  <a:gd name="T84" fmla="*/ 2147483647 w 524"/>
                  <a:gd name="T85" fmla="*/ 2147483647 h 505"/>
                  <a:gd name="T86" fmla="*/ 2147483647 w 524"/>
                  <a:gd name="T87" fmla="*/ 2147483647 h 505"/>
                  <a:gd name="T88" fmla="*/ 2147483647 w 524"/>
                  <a:gd name="T89" fmla="*/ 2147483647 h 505"/>
                  <a:gd name="T90" fmla="*/ 2147483647 w 524"/>
                  <a:gd name="T91" fmla="*/ 2147483647 h 505"/>
                  <a:gd name="T92" fmla="*/ 2147483647 w 524"/>
                  <a:gd name="T93" fmla="*/ 2147483647 h 505"/>
                  <a:gd name="T94" fmla="*/ 2147483647 w 524"/>
                  <a:gd name="T95" fmla="*/ 2147483647 h 505"/>
                  <a:gd name="T96" fmla="*/ 2147483647 w 524"/>
                  <a:gd name="T97" fmla="*/ 2147483647 h 505"/>
                  <a:gd name="T98" fmla="*/ 2147483647 w 524"/>
                  <a:gd name="T99" fmla="*/ 2147483647 h 505"/>
                  <a:gd name="T100" fmla="*/ 2147483647 w 524"/>
                  <a:gd name="T101" fmla="*/ 2147483647 h 505"/>
                  <a:gd name="T102" fmla="*/ 2147483647 w 524"/>
                  <a:gd name="T103" fmla="*/ 2147483647 h 505"/>
                  <a:gd name="T104" fmla="*/ 2147483647 w 524"/>
                  <a:gd name="T105" fmla="*/ 2147483647 h 505"/>
                  <a:gd name="T106" fmla="*/ 2147483647 w 524"/>
                  <a:gd name="T107" fmla="*/ 2147483647 h 505"/>
                  <a:gd name="T108" fmla="*/ 2147483647 w 524"/>
                  <a:gd name="T109" fmla="*/ 2147483647 h 505"/>
                  <a:gd name="T110" fmla="*/ 2147483647 w 524"/>
                  <a:gd name="T111" fmla="*/ 2147483647 h 505"/>
                  <a:gd name="T112" fmla="*/ 2147483647 w 524"/>
                  <a:gd name="T113" fmla="*/ 2147483647 h 505"/>
                  <a:gd name="T114" fmla="*/ 2147483647 w 524"/>
                  <a:gd name="T115" fmla="*/ 2147483647 h 505"/>
                  <a:gd name="T116" fmla="*/ 2147483647 w 524"/>
                  <a:gd name="T117" fmla="*/ 2147483647 h 505"/>
                  <a:gd name="T118" fmla="*/ 2147483647 w 524"/>
                  <a:gd name="T119" fmla="*/ 2147483647 h 505"/>
                  <a:gd name="T120" fmla="*/ 2147483647 w 524"/>
                  <a:gd name="T121" fmla="*/ 2147483647 h 505"/>
                  <a:gd name="T122" fmla="*/ 2147483647 w 524"/>
                  <a:gd name="T123" fmla="*/ 2147483647 h 5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24" h="505">
                    <a:moveTo>
                      <a:pt x="524" y="419"/>
                    </a:moveTo>
                    <a:lnTo>
                      <a:pt x="478" y="370"/>
                    </a:lnTo>
                    <a:lnTo>
                      <a:pt x="482" y="357"/>
                    </a:lnTo>
                    <a:lnTo>
                      <a:pt x="484" y="346"/>
                    </a:lnTo>
                    <a:lnTo>
                      <a:pt x="484" y="336"/>
                    </a:lnTo>
                    <a:lnTo>
                      <a:pt x="483" y="329"/>
                    </a:lnTo>
                    <a:lnTo>
                      <a:pt x="479" y="315"/>
                    </a:lnTo>
                    <a:lnTo>
                      <a:pt x="478" y="302"/>
                    </a:lnTo>
                    <a:lnTo>
                      <a:pt x="466" y="301"/>
                    </a:lnTo>
                    <a:lnTo>
                      <a:pt x="455" y="299"/>
                    </a:lnTo>
                    <a:lnTo>
                      <a:pt x="443" y="295"/>
                    </a:lnTo>
                    <a:lnTo>
                      <a:pt x="431" y="288"/>
                    </a:lnTo>
                    <a:lnTo>
                      <a:pt x="419" y="282"/>
                    </a:lnTo>
                    <a:lnTo>
                      <a:pt x="407" y="274"/>
                    </a:lnTo>
                    <a:lnTo>
                      <a:pt x="396" y="266"/>
                    </a:lnTo>
                    <a:lnTo>
                      <a:pt x="386" y="256"/>
                    </a:lnTo>
                    <a:lnTo>
                      <a:pt x="376" y="247"/>
                    </a:lnTo>
                    <a:lnTo>
                      <a:pt x="366" y="237"/>
                    </a:lnTo>
                    <a:lnTo>
                      <a:pt x="359" y="226"/>
                    </a:lnTo>
                    <a:lnTo>
                      <a:pt x="352" y="216"/>
                    </a:lnTo>
                    <a:lnTo>
                      <a:pt x="347" y="206"/>
                    </a:lnTo>
                    <a:lnTo>
                      <a:pt x="342" y="196"/>
                    </a:lnTo>
                    <a:lnTo>
                      <a:pt x="339" y="187"/>
                    </a:lnTo>
                    <a:lnTo>
                      <a:pt x="339" y="178"/>
                    </a:lnTo>
                    <a:lnTo>
                      <a:pt x="339" y="170"/>
                    </a:lnTo>
                    <a:lnTo>
                      <a:pt x="341" y="162"/>
                    </a:lnTo>
                    <a:lnTo>
                      <a:pt x="346" y="156"/>
                    </a:lnTo>
                    <a:lnTo>
                      <a:pt x="349" y="150"/>
                    </a:lnTo>
                    <a:lnTo>
                      <a:pt x="358" y="142"/>
                    </a:lnTo>
                    <a:lnTo>
                      <a:pt x="365" y="136"/>
                    </a:lnTo>
                    <a:lnTo>
                      <a:pt x="360" y="134"/>
                    </a:lnTo>
                    <a:lnTo>
                      <a:pt x="354" y="130"/>
                    </a:lnTo>
                    <a:lnTo>
                      <a:pt x="348" y="126"/>
                    </a:lnTo>
                    <a:lnTo>
                      <a:pt x="341" y="119"/>
                    </a:lnTo>
                    <a:lnTo>
                      <a:pt x="328" y="104"/>
                    </a:lnTo>
                    <a:lnTo>
                      <a:pt x="315" y="87"/>
                    </a:lnTo>
                    <a:lnTo>
                      <a:pt x="302" y="69"/>
                    </a:lnTo>
                    <a:lnTo>
                      <a:pt x="292" y="51"/>
                    </a:lnTo>
                    <a:lnTo>
                      <a:pt x="283" y="36"/>
                    </a:lnTo>
                    <a:lnTo>
                      <a:pt x="279" y="25"/>
                    </a:lnTo>
                    <a:lnTo>
                      <a:pt x="272" y="25"/>
                    </a:lnTo>
                    <a:lnTo>
                      <a:pt x="260" y="24"/>
                    </a:lnTo>
                    <a:lnTo>
                      <a:pt x="249" y="22"/>
                    </a:lnTo>
                    <a:lnTo>
                      <a:pt x="239" y="19"/>
                    </a:lnTo>
                    <a:lnTo>
                      <a:pt x="229" y="16"/>
                    </a:lnTo>
                    <a:lnTo>
                      <a:pt x="219" y="11"/>
                    </a:lnTo>
                    <a:lnTo>
                      <a:pt x="208" y="9"/>
                    </a:lnTo>
                    <a:lnTo>
                      <a:pt x="197" y="6"/>
                    </a:lnTo>
                    <a:lnTo>
                      <a:pt x="185" y="6"/>
                    </a:lnTo>
                    <a:lnTo>
                      <a:pt x="170" y="3"/>
                    </a:lnTo>
                    <a:lnTo>
                      <a:pt x="159" y="0"/>
                    </a:lnTo>
                    <a:lnTo>
                      <a:pt x="149" y="8"/>
                    </a:lnTo>
                    <a:lnTo>
                      <a:pt x="126" y="29"/>
                    </a:lnTo>
                    <a:lnTo>
                      <a:pt x="114" y="41"/>
                    </a:lnTo>
                    <a:lnTo>
                      <a:pt x="103" y="52"/>
                    </a:lnTo>
                    <a:lnTo>
                      <a:pt x="98" y="57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3" y="68"/>
                    </a:lnTo>
                    <a:lnTo>
                      <a:pt x="94" y="94"/>
                    </a:lnTo>
                    <a:lnTo>
                      <a:pt x="95" y="125"/>
                    </a:lnTo>
                    <a:lnTo>
                      <a:pt x="95" y="140"/>
                    </a:lnTo>
                    <a:lnTo>
                      <a:pt x="95" y="153"/>
                    </a:lnTo>
                    <a:lnTo>
                      <a:pt x="94" y="164"/>
                    </a:lnTo>
                    <a:lnTo>
                      <a:pt x="93" y="172"/>
                    </a:lnTo>
                    <a:lnTo>
                      <a:pt x="86" y="180"/>
                    </a:lnTo>
                    <a:lnTo>
                      <a:pt x="78" y="188"/>
                    </a:lnTo>
                    <a:lnTo>
                      <a:pt x="67" y="197"/>
                    </a:lnTo>
                    <a:lnTo>
                      <a:pt x="53" y="206"/>
                    </a:lnTo>
                    <a:lnTo>
                      <a:pt x="40" y="214"/>
                    </a:lnTo>
                    <a:lnTo>
                      <a:pt x="26" y="222"/>
                    </a:lnTo>
                    <a:lnTo>
                      <a:pt x="13" y="228"/>
                    </a:lnTo>
                    <a:lnTo>
                      <a:pt x="0" y="235"/>
                    </a:lnTo>
                    <a:lnTo>
                      <a:pt x="2" y="246"/>
                    </a:lnTo>
                    <a:lnTo>
                      <a:pt x="3" y="256"/>
                    </a:lnTo>
                    <a:lnTo>
                      <a:pt x="2" y="264"/>
                    </a:lnTo>
                    <a:lnTo>
                      <a:pt x="1" y="272"/>
                    </a:lnTo>
                    <a:lnTo>
                      <a:pt x="0" y="278"/>
                    </a:lnTo>
                    <a:lnTo>
                      <a:pt x="0" y="284"/>
                    </a:lnTo>
                    <a:lnTo>
                      <a:pt x="0" y="289"/>
                    </a:lnTo>
                    <a:lnTo>
                      <a:pt x="2" y="295"/>
                    </a:lnTo>
                    <a:lnTo>
                      <a:pt x="7" y="301"/>
                    </a:lnTo>
                    <a:lnTo>
                      <a:pt x="15" y="307"/>
                    </a:lnTo>
                    <a:lnTo>
                      <a:pt x="26" y="314"/>
                    </a:lnTo>
                    <a:lnTo>
                      <a:pt x="41" y="321"/>
                    </a:lnTo>
                    <a:lnTo>
                      <a:pt x="62" y="331"/>
                    </a:lnTo>
                    <a:lnTo>
                      <a:pt x="89" y="341"/>
                    </a:lnTo>
                    <a:lnTo>
                      <a:pt x="120" y="355"/>
                    </a:lnTo>
                    <a:lnTo>
                      <a:pt x="159" y="370"/>
                    </a:lnTo>
                    <a:lnTo>
                      <a:pt x="180" y="374"/>
                    </a:lnTo>
                    <a:lnTo>
                      <a:pt x="198" y="379"/>
                    </a:lnTo>
                    <a:lnTo>
                      <a:pt x="214" y="385"/>
                    </a:lnTo>
                    <a:lnTo>
                      <a:pt x="226" y="393"/>
                    </a:lnTo>
                    <a:lnTo>
                      <a:pt x="237" y="400"/>
                    </a:lnTo>
                    <a:lnTo>
                      <a:pt x="246" y="410"/>
                    </a:lnTo>
                    <a:lnTo>
                      <a:pt x="252" y="418"/>
                    </a:lnTo>
                    <a:lnTo>
                      <a:pt x="258" y="427"/>
                    </a:lnTo>
                    <a:lnTo>
                      <a:pt x="262" y="435"/>
                    </a:lnTo>
                    <a:lnTo>
                      <a:pt x="265" y="443"/>
                    </a:lnTo>
                    <a:lnTo>
                      <a:pt x="266" y="451"/>
                    </a:lnTo>
                    <a:lnTo>
                      <a:pt x="269" y="458"/>
                    </a:lnTo>
                    <a:lnTo>
                      <a:pt x="270" y="469"/>
                    </a:lnTo>
                    <a:lnTo>
                      <a:pt x="272" y="475"/>
                    </a:lnTo>
                    <a:lnTo>
                      <a:pt x="277" y="481"/>
                    </a:lnTo>
                    <a:lnTo>
                      <a:pt x="282" y="485"/>
                    </a:lnTo>
                    <a:lnTo>
                      <a:pt x="287" y="489"/>
                    </a:lnTo>
                    <a:lnTo>
                      <a:pt x="294" y="492"/>
                    </a:lnTo>
                    <a:lnTo>
                      <a:pt x="307" y="497"/>
                    </a:lnTo>
                    <a:lnTo>
                      <a:pt x="325" y="505"/>
                    </a:lnTo>
                    <a:lnTo>
                      <a:pt x="328" y="503"/>
                    </a:lnTo>
                    <a:lnTo>
                      <a:pt x="331" y="501"/>
                    </a:lnTo>
                    <a:lnTo>
                      <a:pt x="335" y="500"/>
                    </a:lnTo>
                    <a:lnTo>
                      <a:pt x="338" y="500"/>
                    </a:lnTo>
                    <a:lnTo>
                      <a:pt x="346" y="499"/>
                    </a:lnTo>
                    <a:lnTo>
                      <a:pt x="353" y="500"/>
                    </a:lnTo>
                    <a:lnTo>
                      <a:pt x="366" y="503"/>
                    </a:lnTo>
                    <a:lnTo>
                      <a:pt x="372" y="505"/>
                    </a:lnTo>
                    <a:lnTo>
                      <a:pt x="383" y="505"/>
                    </a:lnTo>
                    <a:lnTo>
                      <a:pt x="407" y="505"/>
                    </a:lnTo>
                    <a:lnTo>
                      <a:pt x="437" y="505"/>
                    </a:lnTo>
                    <a:lnTo>
                      <a:pt x="458" y="505"/>
                    </a:lnTo>
                    <a:lnTo>
                      <a:pt x="465" y="449"/>
                    </a:lnTo>
                    <a:lnTo>
                      <a:pt x="478" y="443"/>
                    </a:lnTo>
                    <a:lnTo>
                      <a:pt x="492" y="437"/>
                    </a:lnTo>
                    <a:lnTo>
                      <a:pt x="524" y="4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3" name="Freeform 260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11447730" y="2918985"/>
                <a:ext cx="331788" cy="290512"/>
              </a:xfrm>
              <a:custGeom>
                <a:avLst/>
                <a:gdLst>
                  <a:gd name="T0" fmla="*/ 2147483647 w 764"/>
                  <a:gd name="T1" fmla="*/ 2147483647 h 555"/>
                  <a:gd name="T2" fmla="*/ 2147483647 w 764"/>
                  <a:gd name="T3" fmla="*/ 2147483647 h 555"/>
                  <a:gd name="T4" fmla="*/ 2147483647 w 764"/>
                  <a:gd name="T5" fmla="*/ 2147483647 h 555"/>
                  <a:gd name="T6" fmla="*/ 2147483647 w 764"/>
                  <a:gd name="T7" fmla="*/ 2147483647 h 555"/>
                  <a:gd name="T8" fmla="*/ 2147483647 w 764"/>
                  <a:gd name="T9" fmla="*/ 2147483647 h 555"/>
                  <a:gd name="T10" fmla="*/ 2147483647 w 764"/>
                  <a:gd name="T11" fmla="*/ 2147483647 h 555"/>
                  <a:gd name="T12" fmla="*/ 2147483647 w 764"/>
                  <a:gd name="T13" fmla="*/ 2147483647 h 555"/>
                  <a:gd name="T14" fmla="*/ 2147483647 w 764"/>
                  <a:gd name="T15" fmla="*/ 2147483647 h 555"/>
                  <a:gd name="T16" fmla="*/ 2147483647 w 764"/>
                  <a:gd name="T17" fmla="*/ 2147483647 h 555"/>
                  <a:gd name="T18" fmla="*/ 2147483647 w 764"/>
                  <a:gd name="T19" fmla="*/ 2147483647 h 555"/>
                  <a:gd name="T20" fmla="*/ 2147483647 w 764"/>
                  <a:gd name="T21" fmla="*/ 2147483647 h 555"/>
                  <a:gd name="T22" fmla="*/ 2147483647 w 764"/>
                  <a:gd name="T23" fmla="*/ 2147483647 h 555"/>
                  <a:gd name="T24" fmla="*/ 2147483647 w 764"/>
                  <a:gd name="T25" fmla="*/ 2147483647 h 555"/>
                  <a:gd name="T26" fmla="*/ 2147483647 w 764"/>
                  <a:gd name="T27" fmla="*/ 2147483647 h 555"/>
                  <a:gd name="T28" fmla="*/ 2147483647 w 764"/>
                  <a:gd name="T29" fmla="*/ 2147483647 h 555"/>
                  <a:gd name="T30" fmla="*/ 2147483647 w 764"/>
                  <a:gd name="T31" fmla="*/ 573744973 h 555"/>
                  <a:gd name="T32" fmla="*/ 2147483647 w 764"/>
                  <a:gd name="T33" fmla="*/ 2147483647 h 555"/>
                  <a:gd name="T34" fmla="*/ 2147483647 w 764"/>
                  <a:gd name="T35" fmla="*/ 2147483647 h 555"/>
                  <a:gd name="T36" fmla="*/ 2147483647 w 764"/>
                  <a:gd name="T37" fmla="*/ 2147483647 h 555"/>
                  <a:gd name="T38" fmla="*/ 2147483647 w 764"/>
                  <a:gd name="T39" fmla="*/ 2147483647 h 555"/>
                  <a:gd name="T40" fmla="*/ 2147483647 w 764"/>
                  <a:gd name="T41" fmla="*/ 2147483647 h 555"/>
                  <a:gd name="T42" fmla="*/ 2147483647 w 764"/>
                  <a:gd name="T43" fmla="*/ 2147483647 h 555"/>
                  <a:gd name="T44" fmla="*/ 2147483647 w 764"/>
                  <a:gd name="T45" fmla="*/ 2147483647 h 555"/>
                  <a:gd name="T46" fmla="*/ 2147483647 w 764"/>
                  <a:gd name="T47" fmla="*/ 2147483647 h 555"/>
                  <a:gd name="T48" fmla="*/ 2147483647 w 764"/>
                  <a:gd name="T49" fmla="*/ 2147483647 h 555"/>
                  <a:gd name="T50" fmla="*/ 2147483647 w 764"/>
                  <a:gd name="T51" fmla="*/ 2147483647 h 555"/>
                  <a:gd name="T52" fmla="*/ 2147483647 w 764"/>
                  <a:gd name="T53" fmla="*/ 2147483647 h 555"/>
                  <a:gd name="T54" fmla="*/ 2147483647 w 764"/>
                  <a:gd name="T55" fmla="*/ 2147483647 h 555"/>
                  <a:gd name="T56" fmla="*/ 2147483647 w 764"/>
                  <a:gd name="T57" fmla="*/ 2147483647 h 555"/>
                  <a:gd name="T58" fmla="*/ 2147483647 w 764"/>
                  <a:gd name="T59" fmla="*/ 2147483647 h 555"/>
                  <a:gd name="T60" fmla="*/ 2147483647 w 764"/>
                  <a:gd name="T61" fmla="*/ 2147483647 h 555"/>
                  <a:gd name="T62" fmla="*/ 2147483647 w 764"/>
                  <a:gd name="T63" fmla="*/ 2147483647 h 555"/>
                  <a:gd name="T64" fmla="*/ 2147483647 w 764"/>
                  <a:gd name="T65" fmla="*/ 2147483647 h 555"/>
                  <a:gd name="T66" fmla="*/ 2147483647 w 764"/>
                  <a:gd name="T67" fmla="*/ 2147483647 h 555"/>
                  <a:gd name="T68" fmla="*/ 2147483647 w 764"/>
                  <a:gd name="T69" fmla="*/ 2147483647 h 555"/>
                  <a:gd name="T70" fmla="*/ 2147483647 w 764"/>
                  <a:gd name="T71" fmla="*/ 2147483647 h 555"/>
                  <a:gd name="T72" fmla="*/ 2147483647 w 764"/>
                  <a:gd name="T73" fmla="*/ 2147483647 h 555"/>
                  <a:gd name="T74" fmla="*/ 2147483647 w 764"/>
                  <a:gd name="T75" fmla="*/ 2147483647 h 555"/>
                  <a:gd name="T76" fmla="*/ 2147483647 w 764"/>
                  <a:gd name="T77" fmla="*/ 2147483647 h 555"/>
                  <a:gd name="T78" fmla="*/ 2147483647 w 764"/>
                  <a:gd name="T79" fmla="*/ 2147483647 h 555"/>
                  <a:gd name="T80" fmla="*/ 2147483647 w 764"/>
                  <a:gd name="T81" fmla="*/ 2147483647 h 555"/>
                  <a:gd name="T82" fmla="*/ 2147483647 w 764"/>
                  <a:gd name="T83" fmla="*/ 2147483647 h 555"/>
                  <a:gd name="T84" fmla="*/ 2147483647 w 764"/>
                  <a:gd name="T85" fmla="*/ 2147483647 h 555"/>
                  <a:gd name="T86" fmla="*/ 2147483647 w 764"/>
                  <a:gd name="T87" fmla="*/ 2147483647 h 555"/>
                  <a:gd name="T88" fmla="*/ 2147483647 w 764"/>
                  <a:gd name="T89" fmla="*/ 2147483647 h 555"/>
                  <a:gd name="T90" fmla="*/ 2147483647 w 764"/>
                  <a:gd name="T91" fmla="*/ 2147483647 h 555"/>
                  <a:gd name="T92" fmla="*/ 2147483647 w 764"/>
                  <a:gd name="T93" fmla="*/ 2147483647 h 555"/>
                  <a:gd name="T94" fmla="*/ 2147483647 w 764"/>
                  <a:gd name="T95" fmla="*/ 2147483647 h 555"/>
                  <a:gd name="T96" fmla="*/ 2147483647 w 764"/>
                  <a:gd name="T97" fmla="*/ 2147483647 h 555"/>
                  <a:gd name="T98" fmla="*/ 2147483647 w 764"/>
                  <a:gd name="T99" fmla="*/ 2147483647 h 555"/>
                  <a:gd name="T100" fmla="*/ 2147483647 w 764"/>
                  <a:gd name="T101" fmla="*/ 2147483647 h 555"/>
                  <a:gd name="T102" fmla="*/ 2147483647 w 764"/>
                  <a:gd name="T103" fmla="*/ 2147483647 h 555"/>
                  <a:gd name="T104" fmla="*/ 2147483647 w 764"/>
                  <a:gd name="T105" fmla="*/ 2147483647 h 555"/>
                  <a:gd name="T106" fmla="*/ 2147483647 w 764"/>
                  <a:gd name="T107" fmla="*/ 2147483647 h 555"/>
                  <a:gd name="T108" fmla="*/ 2147483647 w 764"/>
                  <a:gd name="T109" fmla="*/ 2147483647 h 555"/>
                  <a:gd name="T110" fmla="*/ 2147483647 w 764"/>
                  <a:gd name="T111" fmla="*/ 2147483647 h 555"/>
                  <a:gd name="T112" fmla="*/ 2147483647 w 764"/>
                  <a:gd name="T113" fmla="*/ 2147483647 h 555"/>
                  <a:gd name="T114" fmla="*/ 1556113514 w 764"/>
                  <a:gd name="T115" fmla="*/ 2147483647 h 555"/>
                  <a:gd name="T116" fmla="*/ 819076437 w 764"/>
                  <a:gd name="T117" fmla="*/ 2147483647 h 555"/>
                  <a:gd name="T118" fmla="*/ 0 w 764"/>
                  <a:gd name="T119" fmla="*/ 2147483647 h 555"/>
                  <a:gd name="T120" fmla="*/ 163890678 w 764"/>
                  <a:gd name="T121" fmla="*/ 2147483647 h 555"/>
                  <a:gd name="T122" fmla="*/ 1801855075 w 764"/>
                  <a:gd name="T123" fmla="*/ 2147483647 h 555"/>
                  <a:gd name="T124" fmla="*/ 2147483647 w 764"/>
                  <a:gd name="T125" fmla="*/ 2147483647 h 55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764" h="555">
                    <a:moveTo>
                      <a:pt x="39" y="191"/>
                    </a:moveTo>
                    <a:lnTo>
                      <a:pt x="48" y="194"/>
                    </a:lnTo>
                    <a:lnTo>
                      <a:pt x="56" y="196"/>
                    </a:lnTo>
                    <a:lnTo>
                      <a:pt x="62" y="196"/>
                    </a:lnTo>
                    <a:lnTo>
                      <a:pt x="68" y="195"/>
                    </a:lnTo>
                    <a:lnTo>
                      <a:pt x="77" y="192"/>
                    </a:lnTo>
                    <a:lnTo>
                      <a:pt x="85" y="191"/>
                    </a:lnTo>
                    <a:lnTo>
                      <a:pt x="93" y="190"/>
                    </a:lnTo>
                    <a:lnTo>
                      <a:pt x="101" y="190"/>
                    </a:lnTo>
                    <a:lnTo>
                      <a:pt x="107" y="188"/>
                    </a:lnTo>
                    <a:lnTo>
                      <a:pt x="114" y="186"/>
                    </a:lnTo>
                    <a:lnTo>
                      <a:pt x="128" y="182"/>
                    </a:lnTo>
                    <a:lnTo>
                      <a:pt x="140" y="175"/>
                    </a:lnTo>
                    <a:lnTo>
                      <a:pt x="152" y="168"/>
                    </a:lnTo>
                    <a:lnTo>
                      <a:pt x="164" y="160"/>
                    </a:lnTo>
                    <a:lnTo>
                      <a:pt x="175" y="151"/>
                    </a:lnTo>
                    <a:lnTo>
                      <a:pt x="185" y="142"/>
                    </a:lnTo>
                    <a:lnTo>
                      <a:pt x="189" y="136"/>
                    </a:lnTo>
                    <a:lnTo>
                      <a:pt x="192" y="131"/>
                    </a:lnTo>
                    <a:lnTo>
                      <a:pt x="194" y="126"/>
                    </a:lnTo>
                    <a:lnTo>
                      <a:pt x="195" y="120"/>
                    </a:lnTo>
                    <a:lnTo>
                      <a:pt x="197" y="109"/>
                    </a:lnTo>
                    <a:lnTo>
                      <a:pt x="198" y="98"/>
                    </a:lnTo>
                    <a:lnTo>
                      <a:pt x="199" y="88"/>
                    </a:lnTo>
                    <a:lnTo>
                      <a:pt x="202" y="78"/>
                    </a:lnTo>
                    <a:lnTo>
                      <a:pt x="204" y="74"/>
                    </a:lnTo>
                    <a:lnTo>
                      <a:pt x="206" y="71"/>
                    </a:lnTo>
                    <a:lnTo>
                      <a:pt x="208" y="69"/>
                    </a:lnTo>
                    <a:lnTo>
                      <a:pt x="212" y="68"/>
                    </a:lnTo>
                    <a:lnTo>
                      <a:pt x="221" y="64"/>
                    </a:lnTo>
                    <a:lnTo>
                      <a:pt x="231" y="62"/>
                    </a:lnTo>
                    <a:lnTo>
                      <a:pt x="240" y="60"/>
                    </a:lnTo>
                    <a:lnTo>
                      <a:pt x="249" y="60"/>
                    </a:lnTo>
                    <a:lnTo>
                      <a:pt x="266" y="61"/>
                    </a:lnTo>
                    <a:lnTo>
                      <a:pt x="285" y="61"/>
                    </a:lnTo>
                    <a:lnTo>
                      <a:pt x="294" y="62"/>
                    </a:lnTo>
                    <a:lnTo>
                      <a:pt x="303" y="63"/>
                    </a:lnTo>
                    <a:lnTo>
                      <a:pt x="310" y="64"/>
                    </a:lnTo>
                    <a:lnTo>
                      <a:pt x="317" y="66"/>
                    </a:lnTo>
                    <a:lnTo>
                      <a:pt x="329" y="71"/>
                    </a:lnTo>
                    <a:lnTo>
                      <a:pt x="339" y="77"/>
                    </a:lnTo>
                    <a:lnTo>
                      <a:pt x="348" y="82"/>
                    </a:lnTo>
                    <a:lnTo>
                      <a:pt x="357" y="88"/>
                    </a:lnTo>
                    <a:lnTo>
                      <a:pt x="362" y="90"/>
                    </a:lnTo>
                    <a:lnTo>
                      <a:pt x="366" y="91"/>
                    </a:lnTo>
                    <a:lnTo>
                      <a:pt x="372" y="92"/>
                    </a:lnTo>
                    <a:lnTo>
                      <a:pt x="378" y="93"/>
                    </a:lnTo>
                    <a:lnTo>
                      <a:pt x="386" y="93"/>
                    </a:lnTo>
                    <a:lnTo>
                      <a:pt x="394" y="92"/>
                    </a:lnTo>
                    <a:lnTo>
                      <a:pt x="402" y="90"/>
                    </a:lnTo>
                    <a:lnTo>
                      <a:pt x="407" y="89"/>
                    </a:lnTo>
                    <a:lnTo>
                      <a:pt x="419" y="84"/>
                    </a:lnTo>
                    <a:lnTo>
                      <a:pt x="429" y="78"/>
                    </a:lnTo>
                    <a:lnTo>
                      <a:pt x="439" y="72"/>
                    </a:lnTo>
                    <a:lnTo>
                      <a:pt x="449" y="66"/>
                    </a:lnTo>
                    <a:lnTo>
                      <a:pt x="460" y="61"/>
                    </a:lnTo>
                    <a:lnTo>
                      <a:pt x="471" y="55"/>
                    </a:lnTo>
                    <a:lnTo>
                      <a:pt x="472" y="48"/>
                    </a:lnTo>
                    <a:lnTo>
                      <a:pt x="475" y="41"/>
                    </a:lnTo>
                    <a:lnTo>
                      <a:pt x="479" y="33"/>
                    </a:lnTo>
                    <a:lnTo>
                      <a:pt x="485" y="25"/>
                    </a:lnTo>
                    <a:lnTo>
                      <a:pt x="496" y="11"/>
                    </a:lnTo>
                    <a:lnTo>
                      <a:pt x="505" y="0"/>
                    </a:lnTo>
                    <a:lnTo>
                      <a:pt x="508" y="4"/>
                    </a:lnTo>
                    <a:lnTo>
                      <a:pt x="512" y="8"/>
                    </a:lnTo>
                    <a:lnTo>
                      <a:pt x="518" y="12"/>
                    </a:lnTo>
                    <a:lnTo>
                      <a:pt x="525" y="15"/>
                    </a:lnTo>
                    <a:lnTo>
                      <a:pt x="530" y="19"/>
                    </a:lnTo>
                    <a:lnTo>
                      <a:pt x="537" y="22"/>
                    </a:lnTo>
                    <a:lnTo>
                      <a:pt x="541" y="26"/>
                    </a:lnTo>
                    <a:lnTo>
                      <a:pt x="544" y="31"/>
                    </a:lnTo>
                    <a:lnTo>
                      <a:pt x="550" y="45"/>
                    </a:lnTo>
                    <a:lnTo>
                      <a:pt x="554" y="58"/>
                    </a:lnTo>
                    <a:lnTo>
                      <a:pt x="556" y="70"/>
                    </a:lnTo>
                    <a:lnTo>
                      <a:pt x="559" y="81"/>
                    </a:lnTo>
                    <a:lnTo>
                      <a:pt x="561" y="87"/>
                    </a:lnTo>
                    <a:lnTo>
                      <a:pt x="562" y="91"/>
                    </a:lnTo>
                    <a:lnTo>
                      <a:pt x="564" y="95"/>
                    </a:lnTo>
                    <a:lnTo>
                      <a:pt x="566" y="99"/>
                    </a:lnTo>
                    <a:lnTo>
                      <a:pt x="570" y="101"/>
                    </a:lnTo>
                    <a:lnTo>
                      <a:pt x="574" y="103"/>
                    </a:lnTo>
                    <a:lnTo>
                      <a:pt x="578" y="104"/>
                    </a:lnTo>
                    <a:lnTo>
                      <a:pt x="584" y="105"/>
                    </a:lnTo>
                    <a:lnTo>
                      <a:pt x="589" y="104"/>
                    </a:lnTo>
                    <a:lnTo>
                      <a:pt x="596" y="100"/>
                    </a:lnTo>
                    <a:lnTo>
                      <a:pt x="602" y="95"/>
                    </a:lnTo>
                    <a:lnTo>
                      <a:pt x="610" y="88"/>
                    </a:lnTo>
                    <a:lnTo>
                      <a:pt x="622" y="73"/>
                    </a:lnTo>
                    <a:lnTo>
                      <a:pt x="631" y="61"/>
                    </a:lnTo>
                    <a:lnTo>
                      <a:pt x="723" y="61"/>
                    </a:lnTo>
                    <a:lnTo>
                      <a:pt x="736" y="61"/>
                    </a:lnTo>
                    <a:lnTo>
                      <a:pt x="743" y="66"/>
                    </a:lnTo>
                    <a:lnTo>
                      <a:pt x="748" y="70"/>
                    </a:lnTo>
                    <a:lnTo>
                      <a:pt x="752" y="75"/>
                    </a:lnTo>
                    <a:lnTo>
                      <a:pt x="755" y="79"/>
                    </a:lnTo>
                    <a:lnTo>
                      <a:pt x="759" y="87"/>
                    </a:lnTo>
                    <a:lnTo>
                      <a:pt x="764" y="93"/>
                    </a:lnTo>
                    <a:lnTo>
                      <a:pt x="740" y="95"/>
                    </a:lnTo>
                    <a:lnTo>
                      <a:pt x="711" y="97"/>
                    </a:lnTo>
                    <a:lnTo>
                      <a:pt x="679" y="100"/>
                    </a:lnTo>
                    <a:lnTo>
                      <a:pt x="647" y="103"/>
                    </a:lnTo>
                    <a:lnTo>
                      <a:pt x="632" y="106"/>
                    </a:lnTo>
                    <a:lnTo>
                      <a:pt x="618" y="109"/>
                    </a:lnTo>
                    <a:lnTo>
                      <a:pt x="605" y="112"/>
                    </a:lnTo>
                    <a:lnTo>
                      <a:pt x="594" y="117"/>
                    </a:lnTo>
                    <a:lnTo>
                      <a:pt x="584" y="122"/>
                    </a:lnTo>
                    <a:lnTo>
                      <a:pt x="577" y="127"/>
                    </a:lnTo>
                    <a:lnTo>
                      <a:pt x="574" y="130"/>
                    </a:lnTo>
                    <a:lnTo>
                      <a:pt x="572" y="134"/>
                    </a:lnTo>
                    <a:lnTo>
                      <a:pt x="571" y="137"/>
                    </a:lnTo>
                    <a:lnTo>
                      <a:pt x="571" y="142"/>
                    </a:lnTo>
                    <a:lnTo>
                      <a:pt x="571" y="147"/>
                    </a:lnTo>
                    <a:lnTo>
                      <a:pt x="572" y="152"/>
                    </a:lnTo>
                    <a:lnTo>
                      <a:pt x="574" y="156"/>
                    </a:lnTo>
                    <a:lnTo>
                      <a:pt x="576" y="159"/>
                    </a:lnTo>
                    <a:lnTo>
                      <a:pt x="582" y="164"/>
                    </a:lnTo>
                    <a:lnTo>
                      <a:pt x="587" y="169"/>
                    </a:lnTo>
                    <a:lnTo>
                      <a:pt x="594" y="173"/>
                    </a:lnTo>
                    <a:lnTo>
                      <a:pt x="599" y="177"/>
                    </a:lnTo>
                    <a:lnTo>
                      <a:pt x="601" y="180"/>
                    </a:lnTo>
                    <a:lnTo>
                      <a:pt x="602" y="183"/>
                    </a:lnTo>
                    <a:lnTo>
                      <a:pt x="604" y="186"/>
                    </a:lnTo>
                    <a:lnTo>
                      <a:pt x="604" y="191"/>
                    </a:lnTo>
                    <a:lnTo>
                      <a:pt x="604" y="195"/>
                    </a:lnTo>
                    <a:lnTo>
                      <a:pt x="602" y="200"/>
                    </a:lnTo>
                    <a:lnTo>
                      <a:pt x="601" y="204"/>
                    </a:lnTo>
                    <a:lnTo>
                      <a:pt x="599" y="207"/>
                    </a:lnTo>
                    <a:lnTo>
                      <a:pt x="594" y="213"/>
                    </a:lnTo>
                    <a:lnTo>
                      <a:pt x="587" y="220"/>
                    </a:lnTo>
                    <a:lnTo>
                      <a:pt x="582" y="226"/>
                    </a:lnTo>
                    <a:lnTo>
                      <a:pt x="576" y="233"/>
                    </a:lnTo>
                    <a:lnTo>
                      <a:pt x="574" y="237"/>
                    </a:lnTo>
                    <a:lnTo>
                      <a:pt x="572" y="242"/>
                    </a:lnTo>
                    <a:lnTo>
                      <a:pt x="571" y="247"/>
                    </a:lnTo>
                    <a:lnTo>
                      <a:pt x="571" y="252"/>
                    </a:lnTo>
                    <a:lnTo>
                      <a:pt x="565" y="255"/>
                    </a:lnTo>
                    <a:lnTo>
                      <a:pt x="560" y="256"/>
                    </a:lnTo>
                    <a:lnTo>
                      <a:pt x="555" y="259"/>
                    </a:lnTo>
                    <a:lnTo>
                      <a:pt x="551" y="262"/>
                    </a:lnTo>
                    <a:lnTo>
                      <a:pt x="542" y="269"/>
                    </a:lnTo>
                    <a:lnTo>
                      <a:pt x="535" y="277"/>
                    </a:lnTo>
                    <a:lnTo>
                      <a:pt x="529" y="287"/>
                    </a:lnTo>
                    <a:lnTo>
                      <a:pt x="523" y="298"/>
                    </a:lnTo>
                    <a:lnTo>
                      <a:pt x="519" y="310"/>
                    </a:lnTo>
                    <a:lnTo>
                      <a:pt x="515" y="323"/>
                    </a:lnTo>
                    <a:lnTo>
                      <a:pt x="512" y="336"/>
                    </a:lnTo>
                    <a:lnTo>
                      <a:pt x="509" y="349"/>
                    </a:lnTo>
                    <a:lnTo>
                      <a:pt x="508" y="363"/>
                    </a:lnTo>
                    <a:lnTo>
                      <a:pt x="506" y="377"/>
                    </a:lnTo>
                    <a:lnTo>
                      <a:pt x="505" y="402"/>
                    </a:lnTo>
                    <a:lnTo>
                      <a:pt x="505" y="425"/>
                    </a:lnTo>
                    <a:lnTo>
                      <a:pt x="497" y="425"/>
                    </a:lnTo>
                    <a:lnTo>
                      <a:pt x="492" y="423"/>
                    </a:lnTo>
                    <a:lnTo>
                      <a:pt x="486" y="420"/>
                    </a:lnTo>
                    <a:lnTo>
                      <a:pt x="482" y="415"/>
                    </a:lnTo>
                    <a:lnTo>
                      <a:pt x="477" y="412"/>
                    </a:lnTo>
                    <a:lnTo>
                      <a:pt x="473" y="409"/>
                    </a:lnTo>
                    <a:lnTo>
                      <a:pt x="470" y="407"/>
                    </a:lnTo>
                    <a:lnTo>
                      <a:pt x="464" y="406"/>
                    </a:lnTo>
                    <a:lnTo>
                      <a:pt x="460" y="407"/>
                    </a:lnTo>
                    <a:lnTo>
                      <a:pt x="455" y="408"/>
                    </a:lnTo>
                    <a:lnTo>
                      <a:pt x="451" y="410"/>
                    </a:lnTo>
                    <a:lnTo>
                      <a:pt x="447" y="412"/>
                    </a:lnTo>
                    <a:lnTo>
                      <a:pt x="439" y="418"/>
                    </a:lnTo>
                    <a:lnTo>
                      <a:pt x="431" y="425"/>
                    </a:lnTo>
                    <a:lnTo>
                      <a:pt x="423" y="432"/>
                    </a:lnTo>
                    <a:lnTo>
                      <a:pt x="416" y="438"/>
                    </a:lnTo>
                    <a:lnTo>
                      <a:pt x="411" y="440"/>
                    </a:lnTo>
                    <a:lnTo>
                      <a:pt x="407" y="442"/>
                    </a:lnTo>
                    <a:lnTo>
                      <a:pt x="403" y="443"/>
                    </a:lnTo>
                    <a:lnTo>
                      <a:pt x="398" y="444"/>
                    </a:lnTo>
                    <a:lnTo>
                      <a:pt x="393" y="444"/>
                    </a:lnTo>
                    <a:lnTo>
                      <a:pt x="388" y="446"/>
                    </a:lnTo>
                    <a:lnTo>
                      <a:pt x="385" y="449"/>
                    </a:lnTo>
                    <a:lnTo>
                      <a:pt x="382" y="453"/>
                    </a:lnTo>
                    <a:lnTo>
                      <a:pt x="375" y="463"/>
                    </a:lnTo>
                    <a:lnTo>
                      <a:pt x="372" y="476"/>
                    </a:lnTo>
                    <a:lnTo>
                      <a:pt x="369" y="489"/>
                    </a:lnTo>
                    <a:lnTo>
                      <a:pt x="366" y="501"/>
                    </a:lnTo>
                    <a:lnTo>
                      <a:pt x="365" y="511"/>
                    </a:lnTo>
                    <a:lnTo>
                      <a:pt x="365" y="517"/>
                    </a:lnTo>
                    <a:lnTo>
                      <a:pt x="362" y="520"/>
                    </a:lnTo>
                    <a:lnTo>
                      <a:pt x="358" y="522"/>
                    </a:lnTo>
                    <a:lnTo>
                      <a:pt x="350" y="525"/>
                    </a:lnTo>
                    <a:lnTo>
                      <a:pt x="342" y="528"/>
                    </a:lnTo>
                    <a:lnTo>
                      <a:pt x="320" y="535"/>
                    </a:lnTo>
                    <a:lnTo>
                      <a:pt x="296" y="541"/>
                    </a:lnTo>
                    <a:lnTo>
                      <a:pt x="270" y="546"/>
                    </a:lnTo>
                    <a:lnTo>
                      <a:pt x="246" y="551"/>
                    </a:lnTo>
                    <a:lnTo>
                      <a:pt x="226" y="554"/>
                    </a:lnTo>
                    <a:lnTo>
                      <a:pt x="212" y="555"/>
                    </a:lnTo>
                    <a:lnTo>
                      <a:pt x="194" y="554"/>
                    </a:lnTo>
                    <a:lnTo>
                      <a:pt x="176" y="553"/>
                    </a:lnTo>
                    <a:lnTo>
                      <a:pt x="159" y="550"/>
                    </a:lnTo>
                    <a:lnTo>
                      <a:pt x="142" y="548"/>
                    </a:lnTo>
                    <a:lnTo>
                      <a:pt x="113" y="542"/>
                    </a:lnTo>
                    <a:lnTo>
                      <a:pt x="92" y="536"/>
                    </a:lnTo>
                    <a:lnTo>
                      <a:pt x="93" y="529"/>
                    </a:lnTo>
                    <a:lnTo>
                      <a:pt x="94" y="523"/>
                    </a:lnTo>
                    <a:lnTo>
                      <a:pt x="95" y="518"/>
                    </a:lnTo>
                    <a:lnTo>
                      <a:pt x="97" y="513"/>
                    </a:lnTo>
                    <a:lnTo>
                      <a:pt x="103" y="504"/>
                    </a:lnTo>
                    <a:lnTo>
                      <a:pt x="109" y="496"/>
                    </a:lnTo>
                    <a:lnTo>
                      <a:pt x="115" y="488"/>
                    </a:lnTo>
                    <a:lnTo>
                      <a:pt x="120" y="479"/>
                    </a:lnTo>
                    <a:lnTo>
                      <a:pt x="123" y="473"/>
                    </a:lnTo>
                    <a:lnTo>
                      <a:pt x="124" y="468"/>
                    </a:lnTo>
                    <a:lnTo>
                      <a:pt x="125" y="462"/>
                    </a:lnTo>
                    <a:lnTo>
                      <a:pt x="126" y="456"/>
                    </a:lnTo>
                    <a:lnTo>
                      <a:pt x="125" y="451"/>
                    </a:lnTo>
                    <a:lnTo>
                      <a:pt x="124" y="446"/>
                    </a:lnTo>
                    <a:lnTo>
                      <a:pt x="123" y="442"/>
                    </a:lnTo>
                    <a:lnTo>
                      <a:pt x="120" y="439"/>
                    </a:lnTo>
                    <a:lnTo>
                      <a:pt x="117" y="437"/>
                    </a:lnTo>
                    <a:lnTo>
                      <a:pt x="114" y="435"/>
                    </a:lnTo>
                    <a:lnTo>
                      <a:pt x="111" y="433"/>
                    </a:lnTo>
                    <a:lnTo>
                      <a:pt x="106" y="432"/>
                    </a:lnTo>
                    <a:lnTo>
                      <a:pt x="89" y="431"/>
                    </a:lnTo>
                    <a:lnTo>
                      <a:pt x="72" y="432"/>
                    </a:lnTo>
                    <a:lnTo>
                      <a:pt x="69" y="431"/>
                    </a:lnTo>
                    <a:lnTo>
                      <a:pt x="66" y="430"/>
                    </a:lnTo>
                    <a:lnTo>
                      <a:pt x="62" y="429"/>
                    </a:lnTo>
                    <a:lnTo>
                      <a:pt x="59" y="427"/>
                    </a:lnTo>
                    <a:lnTo>
                      <a:pt x="52" y="421"/>
                    </a:lnTo>
                    <a:lnTo>
                      <a:pt x="47" y="413"/>
                    </a:lnTo>
                    <a:lnTo>
                      <a:pt x="42" y="405"/>
                    </a:lnTo>
                    <a:lnTo>
                      <a:pt x="38" y="395"/>
                    </a:lnTo>
                    <a:lnTo>
                      <a:pt x="34" y="384"/>
                    </a:lnTo>
                    <a:lnTo>
                      <a:pt x="30" y="373"/>
                    </a:lnTo>
                    <a:lnTo>
                      <a:pt x="26" y="349"/>
                    </a:lnTo>
                    <a:lnTo>
                      <a:pt x="22" y="327"/>
                    </a:lnTo>
                    <a:lnTo>
                      <a:pt x="19" y="309"/>
                    </a:lnTo>
                    <a:lnTo>
                      <a:pt x="19" y="295"/>
                    </a:lnTo>
                    <a:lnTo>
                      <a:pt x="16" y="295"/>
                    </a:lnTo>
                    <a:lnTo>
                      <a:pt x="13" y="293"/>
                    </a:lnTo>
                    <a:lnTo>
                      <a:pt x="10" y="291"/>
                    </a:lnTo>
                    <a:lnTo>
                      <a:pt x="7" y="289"/>
                    </a:lnTo>
                    <a:lnTo>
                      <a:pt x="4" y="286"/>
                    </a:lnTo>
                    <a:lnTo>
                      <a:pt x="2" y="283"/>
                    </a:lnTo>
                    <a:lnTo>
                      <a:pt x="0" y="280"/>
                    </a:lnTo>
                    <a:lnTo>
                      <a:pt x="0" y="277"/>
                    </a:lnTo>
                    <a:lnTo>
                      <a:pt x="0" y="274"/>
                    </a:lnTo>
                    <a:lnTo>
                      <a:pt x="1" y="271"/>
                    </a:lnTo>
                    <a:lnTo>
                      <a:pt x="2" y="268"/>
                    </a:lnTo>
                    <a:lnTo>
                      <a:pt x="4" y="265"/>
                    </a:lnTo>
                    <a:lnTo>
                      <a:pt x="10" y="259"/>
                    </a:lnTo>
                    <a:lnTo>
                      <a:pt x="16" y="254"/>
                    </a:lnTo>
                    <a:lnTo>
                      <a:pt x="22" y="248"/>
                    </a:lnTo>
                    <a:lnTo>
                      <a:pt x="27" y="243"/>
                    </a:lnTo>
                    <a:lnTo>
                      <a:pt x="31" y="238"/>
                    </a:lnTo>
                    <a:lnTo>
                      <a:pt x="33" y="234"/>
                    </a:lnTo>
                    <a:lnTo>
                      <a:pt x="34" y="221"/>
                    </a:lnTo>
                    <a:lnTo>
                      <a:pt x="36" y="213"/>
                    </a:lnTo>
                    <a:lnTo>
                      <a:pt x="38" y="205"/>
                    </a:lnTo>
                    <a:lnTo>
                      <a:pt x="39" y="1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4" name="Freeform 261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11479480" y="2968197"/>
                <a:ext cx="365125" cy="423863"/>
              </a:xfrm>
              <a:custGeom>
                <a:avLst/>
                <a:gdLst>
                  <a:gd name="T0" fmla="*/ 2147483647 w 831"/>
                  <a:gd name="T1" fmla="*/ 2147483647 h 812"/>
                  <a:gd name="T2" fmla="*/ 2147483647 w 831"/>
                  <a:gd name="T3" fmla="*/ 2147483647 h 812"/>
                  <a:gd name="T4" fmla="*/ 2147483647 w 831"/>
                  <a:gd name="T5" fmla="*/ 1422359992 h 812"/>
                  <a:gd name="T6" fmla="*/ 2147483647 w 831"/>
                  <a:gd name="T7" fmla="*/ 2147483647 h 812"/>
                  <a:gd name="T8" fmla="*/ 2147483647 w 831"/>
                  <a:gd name="T9" fmla="*/ 2147483647 h 812"/>
                  <a:gd name="T10" fmla="*/ 2147483647 w 831"/>
                  <a:gd name="T11" fmla="*/ 2147483647 h 812"/>
                  <a:gd name="T12" fmla="*/ 2147483647 w 831"/>
                  <a:gd name="T13" fmla="*/ 2147483647 h 812"/>
                  <a:gd name="T14" fmla="*/ 2147483647 w 831"/>
                  <a:gd name="T15" fmla="*/ 2147483647 h 812"/>
                  <a:gd name="T16" fmla="*/ 2147483647 w 831"/>
                  <a:gd name="T17" fmla="*/ 2147483647 h 812"/>
                  <a:gd name="T18" fmla="*/ 2147483647 w 831"/>
                  <a:gd name="T19" fmla="*/ 2147483647 h 812"/>
                  <a:gd name="T20" fmla="*/ 2147483647 w 831"/>
                  <a:gd name="T21" fmla="*/ 2147483647 h 812"/>
                  <a:gd name="T22" fmla="*/ 2147483647 w 831"/>
                  <a:gd name="T23" fmla="*/ 2147483647 h 812"/>
                  <a:gd name="T24" fmla="*/ 2147483647 w 831"/>
                  <a:gd name="T25" fmla="*/ 2147483647 h 812"/>
                  <a:gd name="T26" fmla="*/ 2147483647 w 831"/>
                  <a:gd name="T27" fmla="*/ 2147483647 h 812"/>
                  <a:gd name="T28" fmla="*/ 2147483647 w 831"/>
                  <a:gd name="T29" fmla="*/ 2147483647 h 812"/>
                  <a:gd name="T30" fmla="*/ 2147483647 w 831"/>
                  <a:gd name="T31" fmla="*/ 2147483647 h 812"/>
                  <a:gd name="T32" fmla="*/ 2147483647 w 831"/>
                  <a:gd name="T33" fmla="*/ 2147483647 h 812"/>
                  <a:gd name="T34" fmla="*/ 2147483647 w 831"/>
                  <a:gd name="T35" fmla="*/ 2147483647 h 812"/>
                  <a:gd name="T36" fmla="*/ 2147483647 w 831"/>
                  <a:gd name="T37" fmla="*/ 2147483647 h 812"/>
                  <a:gd name="T38" fmla="*/ 2147483647 w 831"/>
                  <a:gd name="T39" fmla="*/ 2147483647 h 812"/>
                  <a:gd name="T40" fmla="*/ 2147483647 w 831"/>
                  <a:gd name="T41" fmla="*/ 2147483647 h 812"/>
                  <a:gd name="T42" fmla="*/ 2147483647 w 831"/>
                  <a:gd name="T43" fmla="*/ 2147483647 h 812"/>
                  <a:gd name="T44" fmla="*/ 2147483647 w 831"/>
                  <a:gd name="T45" fmla="*/ 2147483647 h 812"/>
                  <a:gd name="T46" fmla="*/ 2147483647 w 831"/>
                  <a:gd name="T47" fmla="*/ 2147483647 h 812"/>
                  <a:gd name="T48" fmla="*/ 2147483647 w 831"/>
                  <a:gd name="T49" fmla="*/ 2147483647 h 812"/>
                  <a:gd name="T50" fmla="*/ 2147483647 w 831"/>
                  <a:gd name="T51" fmla="*/ 2147483647 h 812"/>
                  <a:gd name="T52" fmla="*/ 2147483647 w 831"/>
                  <a:gd name="T53" fmla="*/ 2147483647 h 812"/>
                  <a:gd name="T54" fmla="*/ 2147483647 w 831"/>
                  <a:gd name="T55" fmla="*/ 2147483647 h 812"/>
                  <a:gd name="T56" fmla="*/ 2147483647 w 831"/>
                  <a:gd name="T57" fmla="*/ 2147483647 h 812"/>
                  <a:gd name="T58" fmla="*/ 2147483647 w 831"/>
                  <a:gd name="T59" fmla="*/ 2147483647 h 812"/>
                  <a:gd name="T60" fmla="*/ 2147483647 w 831"/>
                  <a:gd name="T61" fmla="*/ 2147483647 h 812"/>
                  <a:gd name="T62" fmla="*/ 2147483647 w 831"/>
                  <a:gd name="T63" fmla="*/ 2147483647 h 812"/>
                  <a:gd name="T64" fmla="*/ 2147483647 w 831"/>
                  <a:gd name="T65" fmla="*/ 2147483647 h 812"/>
                  <a:gd name="T66" fmla="*/ 2147483647 w 831"/>
                  <a:gd name="T67" fmla="*/ 2147483647 h 812"/>
                  <a:gd name="T68" fmla="*/ 2147483647 w 831"/>
                  <a:gd name="T69" fmla="*/ 2147483647 h 812"/>
                  <a:gd name="T70" fmla="*/ 2147483647 w 831"/>
                  <a:gd name="T71" fmla="*/ 2147483647 h 812"/>
                  <a:gd name="T72" fmla="*/ 2147483647 w 831"/>
                  <a:gd name="T73" fmla="*/ 2147483647 h 812"/>
                  <a:gd name="T74" fmla="*/ 2147483647 w 831"/>
                  <a:gd name="T75" fmla="*/ 2147483647 h 812"/>
                  <a:gd name="T76" fmla="*/ 2147483647 w 831"/>
                  <a:gd name="T77" fmla="*/ 2147483647 h 812"/>
                  <a:gd name="T78" fmla="*/ 2147483647 w 831"/>
                  <a:gd name="T79" fmla="*/ 2147483647 h 812"/>
                  <a:gd name="T80" fmla="*/ 2147483647 w 831"/>
                  <a:gd name="T81" fmla="*/ 2147483647 h 812"/>
                  <a:gd name="T82" fmla="*/ 2147483647 w 831"/>
                  <a:gd name="T83" fmla="*/ 2147483647 h 812"/>
                  <a:gd name="T84" fmla="*/ 2147483647 w 831"/>
                  <a:gd name="T85" fmla="*/ 2147483647 h 812"/>
                  <a:gd name="T86" fmla="*/ 2147483647 w 831"/>
                  <a:gd name="T87" fmla="*/ 2147483647 h 812"/>
                  <a:gd name="T88" fmla="*/ 2147483647 w 831"/>
                  <a:gd name="T89" fmla="*/ 2147483647 h 812"/>
                  <a:gd name="T90" fmla="*/ 2147483647 w 831"/>
                  <a:gd name="T91" fmla="*/ 2147483647 h 812"/>
                  <a:gd name="T92" fmla="*/ 2147483647 w 831"/>
                  <a:gd name="T93" fmla="*/ 2147483647 h 812"/>
                  <a:gd name="T94" fmla="*/ 2147483647 w 831"/>
                  <a:gd name="T95" fmla="*/ 2147483647 h 812"/>
                  <a:gd name="T96" fmla="*/ 2147483647 w 831"/>
                  <a:gd name="T97" fmla="*/ 2147483647 h 812"/>
                  <a:gd name="T98" fmla="*/ 2147483647 w 831"/>
                  <a:gd name="T99" fmla="*/ 2147483647 h 812"/>
                  <a:gd name="T100" fmla="*/ 2147483647 w 831"/>
                  <a:gd name="T101" fmla="*/ 2147483647 h 812"/>
                  <a:gd name="T102" fmla="*/ 2147483647 w 831"/>
                  <a:gd name="T103" fmla="*/ 2147483647 h 812"/>
                  <a:gd name="T104" fmla="*/ 2147483647 w 831"/>
                  <a:gd name="T105" fmla="*/ 2147483647 h 812"/>
                  <a:gd name="T106" fmla="*/ 2147483647 w 831"/>
                  <a:gd name="T107" fmla="*/ 2147483647 h 81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831" h="812">
                    <a:moveTo>
                      <a:pt x="831" y="98"/>
                    </a:moveTo>
                    <a:lnTo>
                      <a:pt x="817" y="95"/>
                    </a:lnTo>
                    <a:lnTo>
                      <a:pt x="803" y="91"/>
                    </a:lnTo>
                    <a:lnTo>
                      <a:pt x="791" y="87"/>
                    </a:lnTo>
                    <a:lnTo>
                      <a:pt x="779" y="82"/>
                    </a:lnTo>
                    <a:lnTo>
                      <a:pt x="769" y="77"/>
                    </a:lnTo>
                    <a:lnTo>
                      <a:pt x="758" y="71"/>
                    </a:lnTo>
                    <a:lnTo>
                      <a:pt x="749" y="65"/>
                    </a:lnTo>
                    <a:lnTo>
                      <a:pt x="740" y="58"/>
                    </a:lnTo>
                    <a:lnTo>
                      <a:pt x="707" y="29"/>
                    </a:lnTo>
                    <a:lnTo>
                      <a:pt x="679" y="0"/>
                    </a:lnTo>
                    <a:lnTo>
                      <a:pt x="655" y="2"/>
                    </a:lnTo>
                    <a:lnTo>
                      <a:pt x="626" y="4"/>
                    </a:lnTo>
                    <a:lnTo>
                      <a:pt x="594" y="7"/>
                    </a:lnTo>
                    <a:lnTo>
                      <a:pt x="562" y="10"/>
                    </a:lnTo>
                    <a:lnTo>
                      <a:pt x="547" y="13"/>
                    </a:lnTo>
                    <a:lnTo>
                      <a:pt x="533" y="16"/>
                    </a:lnTo>
                    <a:lnTo>
                      <a:pt x="520" y="19"/>
                    </a:lnTo>
                    <a:lnTo>
                      <a:pt x="509" y="24"/>
                    </a:lnTo>
                    <a:lnTo>
                      <a:pt x="499" y="29"/>
                    </a:lnTo>
                    <a:lnTo>
                      <a:pt x="492" y="34"/>
                    </a:lnTo>
                    <a:lnTo>
                      <a:pt x="489" y="37"/>
                    </a:lnTo>
                    <a:lnTo>
                      <a:pt x="487" y="41"/>
                    </a:lnTo>
                    <a:lnTo>
                      <a:pt x="486" y="44"/>
                    </a:lnTo>
                    <a:lnTo>
                      <a:pt x="486" y="49"/>
                    </a:lnTo>
                    <a:lnTo>
                      <a:pt x="486" y="54"/>
                    </a:lnTo>
                    <a:lnTo>
                      <a:pt x="487" y="59"/>
                    </a:lnTo>
                    <a:lnTo>
                      <a:pt x="489" y="63"/>
                    </a:lnTo>
                    <a:lnTo>
                      <a:pt x="491" y="66"/>
                    </a:lnTo>
                    <a:lnTo>
                      <a:pt x="497" y="71"/>
                    </a:lnTo>
                    <a:lnTo>
                      <a:pt x="502" y="76"/>
                    </a:lnTo>
                    <a:lnTo>
                      <a:pt x="509" y="80"/>
                    </a:lnTo>
                    <a:lnTo>
                      <a:pt x="514" y="84"/>
                    </a:lnTo>
                    <a:lnTo>
                      <a:pt x="516" y="87"/>
                    </a:lnTo>
                    <a:lnTo>
                      <a:pt x="517" y="90"/>
                    </a:lnTo>
                    <a:lnTo>
                      <a:pt x="519" y="93"/>
                    </a:lnTo>
                    <a:lnTo>
                      <a:pt x="519" y="98"/>
                    </a:lnTo>
                    <a:lnTo>
                      <a:pt x="519" y="102"/>
                    </a:lnTo>
                    <a:lnTo>
                      <a:pt x="517" y="107"/>
                    </a:lnTo>
                    <a:lnTo>
                      <a:pt x="516" y="111"/>
                    </a:lnTo>
                    <a:lnTo>
                      <a:pt x="514" y="114"/>
                    </a:lnTo>
                    <a:lnTo>
                      <a:pt x="509" y="120"/>
                    </a:lnTo>
                    <a:lnTo>
                      <a:pt x="502" y="127"/>
                    </a:lnTo>
                    <a:lnTo>
                      <a:pt x="497" y="133"/>
                    </a:lnTo>
                    <a:lnTo>
                      <a:pt x="491" y="140"/>
                    </a:lnTo>
                    <a:lnTo>
                      <a:pt x="489" y="144"/>
                    </a:lnTo>
                    <a:lnTo>
                      <a:pt x="487" y="149"/>
                    </a:lnTo>
                    <a:lnTo>
                      <a:pt x="486" y="154"/>
                    </a:lnTo>
                    <a:lnTo>
                      <a:pt x="486" y="159"/>
                    </a:lnTo>
                    <a:lnTo>
                      <a:pt x="480" y="162"/>
                    </a:lnTo>
                    <a:lnTo>
                      <a:pt x="475" y="163"/>
                    </a:lnTo>
                    <a:lnTo>
                      <a:pt x="470" y="166"/>
                    </a:lnTo>
                    <a:lnTo>
                      <a:pt x="466" y="169"/>
                    </a:lnTo>
                    <a:lnTo>
                      <a:pt x="457" y="176"/>
                    </a:lnTo>
                    <a:lnTo>
                      <a:pt x="450" y="184"/>
                    </a:lnTo>
                    <a:lnTo>
                      <a:pt x="444" y="194"/>
                    </a:lnTo>
                    <a:lnTo>
                      <a:pt x="438" y="205"/>
                    </a:lnTo>
                    <a:lnTo>
                      <a:pt x="434" y="217"/>
                    </a:lnTo>
                    <a:lnTo>
                      <a:pt x="430" y="230"/>
                    </a:lnTo>
                    <a:lnTo>
                      <a:pt x="427" y="243"/>
                    </a:lnTo>
                    <a:lnTo>
                      <a:pt x="424" y="256"/>
                    </a:lnTo>
                    <a:lnTo>
                      <a:pt x="423" y="270"/>
                    </a:lnTo>
                    <a:lnTo>
                      <a:pt x="421" y="284"/>
                    </a:lnTo>
                    <a:lnTo>
                      <a:pt x="420" y="309"/>
                    </a:lnTo>
                    <a:lnTo>
                      <a:pt x="420" y="332"/>
                    </a:lnTo>
                    <a:lnTo>
                      <a:pt x="412" y="332"/>
                    </a:lnTo>
                    <a:lnTo>
                      <a:pt x="407" y="330"/>
                    </a:lnTo>
                    <a:lnTo>
                      <a:pt x="401" y="327"/>
                    </a:lnTo>
                    <a:lnTo>
                      <a:pt x="397" y="322"/>
                    </a:lnTo>
                    <a:lnTo>
                      <a:pt x="392" y="319"/>
                    </a:lnTo>
                    <a:lnTo>
                      <a:pt x="388" y="316"/>
                    </a:lnTo>
                    <a:lnTo>
                      <a:pt x="385" y="314"/>
                    </a:lnTo>
                    <a:lnTo>
                      <a:pt x="379" y="313"/>
                    </a:lnTo>
                    <a:lnTo>
                      <a:pt x="375" y="314"/>
                    </a:lnTo>
                    <a:lnTo>
                      <a:pt x="370" y="315"/>
                    </a:lnTo>
                    <a:lnTo>
                      <a:pt x="366" y="317"/>
                    </a:lnTo>
                    <a:lnTo>
                      <a:pt x="362" y="319"/>
                    </a:lnTo>
                    <a:lnTo>
                      <a:pt x="354" y="325"/>
                    </a:lnTo>
                    <a:lnTo>
                      <a:pt x="346" y="332"/>
                    </a:lnTo>
                    <a:lnTo>
                      <a:pt x="338" y="339"/>
                    </a:lnTo>
                    <a:lnTo>
                      <a:pt x="331" y="345"/>
                    </a:lnTo>
                    <a:lnTo>
                      <a:pt x="326" y="347"/>
                    </a:lnTo>
                    <a:lnTo>
                      <a:pt x="322" y="349"/>
                    </a:lnTo>
                    <a:lnTo>
                      <a:pt x="318" y="350"/>
                    </a:lnTo>
                    <a:lnTo>
                      <a:pt x="313" y="351"/>
                    </a:lnTo>
                    <a:lnTo>
                      <a:pt x="308" y="351"/>
                    </a:lnTo>
                    <a:lnTo>
                      <a:pt x="303" y="353"/>
                    </a:lnTo>
                    <a:lnTo>
                      <a:pt x="300" y="356"/>
                    </a:lnTo>
                    <a:lnTo>
                      <a:pt x="297" y="360"/>
                    </a:lnTo>
                    <a:lnTo>
                      <a:pt x="290" y="370"/>
                    </a:lnTo>
                    <a:lnTo>
                      <a:pt x="287" y="383"/>
                    </a:lnTo>
                    <a:lnTo>
                      <a:pt x="284" y="396"/>
                    </a:lnTo>
                    <a:lnTo>
                      <a:pt x="281" y="408"/>
                    </a:lnTo>
                    <a:lnTo>
                      <a:pt x="280" y="418"/>
                    </a:lnTo>
                    <a:lnTo>
                      <a:pt x="280" y="424"/>
                    </a:lnTo>
                    <a:lnTo>
                      <a:pt x="277" y="427"/>
                    </a:lnTo>
                    <a:lnTo>
                      <a:pt x="273" y="429"/>
                    </a:lnTo>
                    <a:lnTo>
                      <a:pt x="265" y="432"/>
                    </a:lnTo>
                    <a:lnTo>
                      <a:pt x="257" y="435"/>
                    </a:lnTo>
                    <a:lnTo>
                      <a:pt x="235" y="442"/>
                    </a:lnTo>
                    <a:lnTo>
                      <a:pt x="211" y="448"/>
                    </a:lnTo>
                    <a:lnTo>
                      <a:pt x="185" y="453"/>
                    </a:lnTo>
                    <a:lnTo>
                      <a:pt x="161" y="458"/>
                    </a:lnTo>
                    <a:lnTo>
                      <a:pt x="141" y="461"/>
                    </a:lnTo>
                    <a:lnTo>
                      <a:pt x="127" y="462"/>
                    </a:lnTo>
                    <a:lnTo>
                      <a:pt x="109" y="461"/>
                    </a:lnTo>
                    <a:lnTo>
                      <a:pt x="91" y="460"/>
                    </a:lnTo>
                    <a:lnTo>
                      <a:pt x="74" y="457"/>
                    </a:lnTo>
                    <a:lnTo>
                      <a:pt x="56" y="455"/>
                    </a:lnTo>
                    <a:lnTo>
                      <a:pt x="26" y="449"/>
                    </a:lnTo>
                    <a:lnTo>
                      <a:pt x="0" y="443"/>
                    </a:lnTo>
                    <a:lnTo>
                      <a:pt x="8" y="455"/>
                    </a:lnTo>
                    <a:lnTo>
                      <a:pt x="19" y="470"/>
                    </a:lnTo>
                    <a:lnTo>
                      <a:pt x="34" y="487"/>
                    </a:lnTo>
                    <a:lnTo>
                      <a:pt x="51" y="505"/>
                    </a:lnTo>
                    <a:lnTo>
                      <a:pt x="60" y="513"/>
                    </a:lnTo>
                    <a:lnTo>
                      <a:pt x="68" y="521"/>
                    </a:lnTo>
                    <a:lnTo>
                      <a:pt x="77" y="528"/>
                    </a:lnTo>
                    <a:lnTo>
                      <a:pt x="87" y="535"/>
                    </a:lnTo>
                    <a:lnTo>
                      <a:pt x="96" y="540"/>
                    </a:lnTo>
                    <a:lnTo>
                      <a:pt x="105" y="544"/>
                    </a:lnTo>
                    <a:lnTo>
                      <a:pt x="112" y="546"/>
                    </a:lnTo>
                    <a:lnTo>
                      <a:pt x="120" y="547"/>
                    </a:lnTo>
                    <a:lnTo>
                      <a:pt x="121" y="561"/>
                    </a:lnTo>
                    <a:lnTo>
                      <a:pt x="123" y="577"/>
                    </a:lnTo>
                    <a:lnTo>
                      <a:pt x="127" y="585"/>
                    </a:lnTo>
                    <a:lnTo>
                      <a:pt x="131" y="591"/>
                    </a:lnTo>
                    <a:lnTo>
                      <a:pt x="134" y="593"/>
                    </a:lnTo>
                    <a:lnTo>
                      <a:pt x="138" y="595"/>
                    </a:lnTo>
                    <a:lnTo>
                      <a:pt x="142" y="596"/>
                    </a:lnTo>
                    <a:lnTo>
                      <a:pt x="147" y="597"/>
                    </a:lnTo>
                    <a:lnTo>
                      <a:pt x="147" y="616"/>
                    </a:lnTo>
                    <a:lnTo>
                      <a:pt x="127" y="629"/>
                    </a:lnTo>
                    <a:lnTo>
                      <a:pt x="107" y="641"/>
                    </a:lnTo>
                    <a:lnTo>
                      <a:pt x="99" y="647"/>
                    </a:lnTo>
                    <a:lnTo>
                      <a:pt x="93" y="654"/>
                    </a:lnTo>
                    <a:lnTo>
                      <a:pt x="90" y="658"/>
                    </a:lnTo>
                    <a:lnTo>
                      <a:pt x="88" y="663"/>
                    </a:lnTo>
                    <a:lnTo>
                      <a:pt x="87" y="667"/>
                    </a:lnTo>
                    <a:lnTo>
                      <a:pt x="87" y="671"/>
                    </a:lnTo>
                    <a:lnTo>
                      <a:pt x="87" y="680"/>
                    </a:lnTo>
                    <a:lnTo>
                      <a:pt x="87" y="689"/>
                    </a:lnTo>
                    <a:lnTo>
                      <a:pt x="87" y="701"/>
                    </a:lnTo>
                    <a:lnTo>
                      <a:pt x="87" y="721"/>
                    </a:lnTo>
                    <a:lnTo>
                      <a:pt x="109" y="720"/>
                    </a:lnTo>
                    <a:lnTo>
                      <a:pt x="132" y="719"/>
                    </a:lnTo>
                    <a:lnTo>
                      <a:pt x="154" y="717"/>
                    </a:lnTo>
                    <a:lnTo>
                      <a:pt x="177" y="714"/>
                    </a:lnTo>
                    <a:lnTo>
                      <a:pt x="199" y="711"/>
                    </a:lnTo>
                    <a:lnTo>
                      <a:pt x="222" y="710"/>
                    </a:lnTo>
                    <a:lnTo>
                      <a:pt x="244" y="708"/>
                    </a:lnTo>
                    <a:lnTo>
                      <a:pt x="266" y="708"/>
                    </a:lnTo>
                    <a:lnTo>
                      <a:pt x="284" y="707"/>
                    </a:lnTo>
                    <a:lnTo>
                      <a:pt x="297" y="705"/>
                    </a:lnTo>
                    <a:lnTo>
                      <a:pt x="302" y="705"/>
                    </a:lnTo>
                    <a:lnTo>
                      <a:pt x="310" y="705"/>
                    </a:lnTo>
                    <a:lnTo>
                      <a:pt x="318" y="706"/>
                    </a:lnTo>
                    <a:lnTo>
                      <a:pt x="326" y="708"/>
                    </a:lnTo>
                    <a:lnTo>
                      <a:pt x="328" y="714"/>
                    </a:lnTo>
                    <a:lnTo>
                      <a:pt x="330" y="721"/>
                    </a:lnTo>
                    <a:lnTo>
                      <a:pt x="333" y="728"/>
                    </a:lnTo>
                    <a:lnTo>
                      <a:pt x="338" y="735"/>
                    </a:lnTo>
                    <a:lnTo>
                      <a:pt x="345" y="742"/>
                    </a:lnTo>
                    <a:lnTo>
                      <a:pt x="352" y="749"/>
                    </a:lnTo>
                    <a:lnTo>
                      <a:pt x="359" y="756"/>
                    </a:lnTo>
                    <a:lnTo>
                      <a:pt x="368" y="762"/>
                    </a:lnTo>
                    <a:lnTo>
                      <a:pt x="378" y="769"/>
                    </a:lnTo>
                    <a:lnTo>
                      <a:pt x="388" y="776"/>
                    </a:lnTo>
                    <a:lnTo>
                      <a:pt x="398" y="781"/>
                    </a:lnTo>
                    <a:lnTo>
                      <a:pt x="408" y="785"/>
                    </a:lnTo>
                    <a:lnTo>
                      <a:pt x="418" y="789"/>
                    </a:lnTo>
                    <a:lnTo>
                      <a:pt x="427" y="792"/>
                    </a:lnTo>
                    <a:lnTo>
                      <a:pt x="437" y="794"/>
                    </a:lnTo>
                    <a:lnTo>
                      <a:pt x="446" y="794"/>
                    </a:lnTo>
                    <a:lnTo>
                      <a:pt x="449" y="803"/>
                    </a:lnTo>
                    <a:lnTo>
                      <a:pt x="453" y="812"/>
                    </a:lnTo>
                    <a:lnTo>
                      <a:pt x="454" y="806"/>
                    </a:lnTo>
                    <a:lnTo>
                      <a:pt x="455" y="800"/>
                    </a:lnTo>
                    <a:lnTo>
                      <a:pt x="457" y="795"/>
                    </a:lnTo>
                    <a:lnTo>
                      <a:pt x="460" y="791"/>
                    </a:lnTo>
                    <a:lnTo>
                      <a:pt x="464" y="787"/>
                    </a:lnTo>
                    <a:lnTo>
                      <a:pt x="467" y="783"/>
                    </a:lnTo>
                    <a:lnTo>
                      <a:pt x="471" y="780"/>
                    </a:lnTo>
                    <a:lnTo>
                      <a:pt x="477" y="778"/>
                    </a:lnTo>
                    <a:lnTo>
                      <a:pt x="487" y="774"/>
                    </a:lnTo>
                    <a:lnTo>
                      <a:pt x="499" y="770"/>
                    </a:lnTo>
                    <a:lnTo>
                      <a:pt x="512" y="768"/>
                    </a:lnTo>
                    <a:lnTo>
                      <a:pt x="525" y="767"/>
                    </a:lnTo>
                    <a:lnTo>
                      <a:pt x="539" y="765"/>
                    </a:lnTo>
                    <a:lnTo>
                      <a:pt x="554" y="764"/>
                    </a:lnTo>
                    <a:lnTo>
                      <a:pt x="567" y="761"/>
                    </a:lnTo>
                    <a:lnTo>
                      <a:pt x="580" y="758"/>
                    </a:lnTo>
                    <a:lnTo>
                      <a:pt x="586" y="756"/>
                    </a:lnTo>
                    <a:lnTo>
                      <a:pt x="591" y="753"/>
                    </a:lnTo>
                    <a:lnTo>
                      <a:pt x="597" y="750"/>
                    </a:lnTo>
                    <a:lnTo>
                      <a:pt x="602" y="747"/>
                    </a:lnTo>
                    <a:lnTo>
                      <a:pt x="606" y="743"/>
                    </a:lnTo>
                    <a:lnTo>
                      <a:pt x="611" y="738"/>
                    </a:lnTo>
                    <a:lnTo>
                      <a:pt x="615" y="733"/>
                    </a:lnTo>
                    <a:lnTo>
                      <a:pt x="618" y="727"/>
                    </a:lnTo>
                    <a:lnTo>
                      <a:pt x="614" y="725"/>
                    </a:lnTo>
                    <a:lnTo>
                      <a:pt x="610" y="722"/>
                    </a:lnTo>
                    <a:lnTo>
                      <a:pt x="604" y="718"/>
                    </a:lnTo>
                    <a:lnTo>
                      <a:pt x="598" y="712"/>
                    </a:lnTo>
                    <a:lnTo>
                      <a:pt x="584" y="700"/>
                    </a:lnTo>
                    <a:lnTo>
                      <a:pt x="571" y="686"/>
                    </a:lnTo>
                    <a:lnTo>
                      <a:pt x="559" y="671"/>
                    </a:lnTo>
                    <a:lnTo>
                      <a:pt x="548" y="655"/>
                    </a:lnTo>
                    <a:lnTo>
                      <a:pt x="545" y="648"/>
                    </a:lnTo>
                    <a:lnTo>
                      <a:pt x="542" y="641"/>
                    </a:lnTo>
                    <a:lnTo>
                      <a:pt x="539" y="634"/>
                    </a:lnTo>
                    <a:lnTo>
                      <a:pt x="538" y="628"/>
                    </a:lnTo>
                    <a:lnTo>
                      <a:pt x="534" y="627"/>
                    </a:lnTo>
                    <a:lnTo>
                      <a:pt x="530" y="626"/>
                    </a:lnTo>
                    <a:lnTo>
                      <a:pt x="526" y="624"/>
                    </a:lnTo>
                    <a:lnTo>
                      <a:pt x="523" y="620"/>
                    </a:lnTo>
                    <a:lnTo>
                      <a:pt x="517" y="613"/>
                    </a:lnTo>
                    <a:lnTo>
                      <a:pt x="512" y="603"/>
                    </a:lnTo>
                    <a:lnTo>
                      <a:pt x="512" y="579"/>
                    </a:lnTo>
                    <a:lnTo>
                      <a:pt x="526" y="578"/>
                    </a:lnTo>
                    <a:lnTo>
                      <a:pt x="539" y="577"/>
                    </a:lnTo>
                    <a:lnTo>
                      <a:pt x="551" y="575"/>
                    </a:lnTo>
                    <a:lnTo>
                      <a:pt x="562" y="571"/>
                    </a:lnTo>
                    <a:lnTo>
                      <a:pt x="572" y="568"/>
                    </a:lnTo>
                    <a:lnTo>
                      <a:pt x="582" y="563"/>
                    </a:lnTo>
                    <a:lnTo>
                      <a:pt x="591" y="558"/>
                    </a:lnTo>
                    <a:lnTo>
                      <a:pt x="600" y="552"/>
                    </a:lnTo>
                    <a:lnTo>
                      <a:pt x="607" y="545"/>
                    </a:lnTo>
                    <a:lnTo>
                      <a:pt x="615" y="538"/>
                    </a:lnTo>
                    <a:lnTo>
                      <a:pt x="622" y="531"/>
                    </a:lnTo>
                    <a:lnTo>
                      <a:pt x="628" y="523"/>
                    </a:lnTo>
                    <a:lnTo>
                      <a:pt x="639" y="507"/>
                    </a:lnTo>
                    <a:lnTo>
                      <a:pt x="650" y="489"/>
                    </a:lnTo>
                    <a:lnTo>
                      <a:pt x="669" y="453"/>
                    </a:lnTo>
                    <a:lnTo>
                      <a:pt x="688" y="417"/>
                    </a:lnTo>
                    <a:lnTo>
                      <a:pt x="699" y="401"/>
                    </a:lnTo>
                    <a:lnTo>
                      <a:pt x="710" y="387"/>
                    </a:lnTo>
                    <a:lnTo>
                      <a:pt x="716" y="379"/>
                    </a:lnTo>
                    <a:lnTo>
                      <a:pt x="723" y="373"/>
                    </a:lnTo>
                    <a:lnTo>
                      <a:pt x="730" y="368"/>
                    </a:lnTo>
                    <a:lnTo>
                      <a:pt x="738" y="363"/>
                    </a:lnTo>
                    <a:lnTo>
                      <a:pt x="732" y="351"/>
                    </a:lnTo>
                    <a:lnTo>
                      <a:pt x="727" y="340"/>
                    </a:lnTo>
                    <a:lnTo>
                      <a:pt x="726" y="335"/>
                    </a:lnTo>
                    <a:lnTo>
                      <a:pt x="725" y="330"/>
                    </a:lnTo>
                    <a:lnTo>
                      <a:pt x="725" y="324"/>
                    </a:lnTo>
                    <a:lnTo>
                      <a:pt x="725" y="319"/>
                    </a:lnTo>
                    <a:lnTo>
                      <a:pt x="726" y="314"/>
                    </a:lnTo>
                    <a:lnTo>
                      <a:pt x="727" y="309"/>
                    </a:lnTo>
                    <a:lnTo>
                      <a:pt x="729" y="305"/>
                    </a:lnTo>
                    <a:lnTo>
                      <a:pt x="733" y="301"/>
                    </a:lnTo>
                    <a:lnTo>
                      <a:pt x="736" y="298"/>
                    </a:lnTo>
                    <a:lnTo>
                      <a:pt x="740" y="295"/>
                    </a:lnTo>
                    <a:lnTo>
                      <a:pt x="746" y="292"/>
                    </a:lnTo>
                    <a:lnTo>
                      <a:pt x="751" y="289"/>
                    </a:lnTo>
                    <a:lnTo>
                      <a:pt x="722" y="262"/>
                    </a:lnTo>
                    <a:lnTo>
                      <a:pt x="700" y="242"/>
                    </a:lnTo>
                    <a:lnTo>
                      <a:pt x="690" y="232"/>
                    </a:lnTo>
                    <a:lnTo>
                      <a:pt x="680" y="221"/>
                    </a:lnTo>
                    <a:lnTo>
                      <a:pt x="670" y="207"/>
                    </a:lnTo>
                    <a:lnTo>
                      <a:pt x="658" y="190"/>
                    </a:lnTo>
                    <a:lnTo>
                      <a:pt x="658" y="147"/>
                    </a:lnTo>
                    <a:lnTo>
                      <a:pt x="701" y="145"/>
                    </a:lnTo>
                    <a:lnTo>
                      <a:pt x="733" y="143"/>
                    </a:lnTo>
                    <a:lnTo>
                      <a:pt x="758" y="140"/>
                    </a:lnTo>
                    <a:lnTo>
                      <a:pt x="778" y="136"/>
                    </a:lnTo>
                    <a:lnTo>
                      <a:pt x="785" y="134"/>
                    </a:lnTo>
                    <a:lnTo>
                      <a:pt x="792" y="131"/>
                    </a:lnTo>
                    <a:lnTo>
                      <a:pt x="799" y="127"/>
                    </a:lnTo>
                    <a:lnTo>
                      <a:pt x="805" y="123"/>
                    </a:lnTo>
                    <a:lnTo>
                      <a:pt x="817" y="113"/>
                    </a:lnTo>
                    <a:lnTo>
                      <a:pt x="831" y="9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5" name="Freeform 262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12270055" y="3236485"/>
                <a:ext cx="220663" cy="585787"/>
              </a:xfrm>
              <a:custGeom>
                <a:avLst/>
                <a:gdLst>
                  <a:gd name="T0" fmla="*/ 2147483647 w 505"/>
                  <a:gd name="T1" fmla="*/ 2147483647 h 1121"/>
                  <a:gd name="T2" fmla="*/ 2147483647 w 505"/>
                  <a:gd name="T3" fmla="*/ 2147483647 h 1121"/>
                  <a:gd name="T4" fmla="*/ 2147483647 w 505"/>
                  <a:gd name="T5" fmla="*/ 2147483647 h 1121"/>
                  <a:gd name="T6" fmla="*/ 2147483647 w 505"/>
                  <a:gd name="T7" fmla="*/ 2147483647 h 1121"/>
                  <a:gd name="T8" fmla="*/ 2147483647 w 505"/>
                  <a:gd name="T9" fmla="*/ 2147483647 h 1121"/>
                  <a:gd name="T10" fmla="*/ 2147483647 w 505"/>
                  <a:gd name="T11" fmla="*/ 2147483647 h 1121"/>
                  <a:gd name="T12" fmla="*/ 2147483647 w 505"/>
                  <a:gd name="T13" fmla="*/ 2147483647 h 1121"/>
                  <a:gd name="T14" fmla="*/ 2147483647 w 505"/>
                  <a:gd name="T15" fmla="*/ 2147483647 h 1121"/>
                  <a:gd name="T16" fmla="*/ 2147483647 w 505"/>
                  <a:gd name="T17" fmla="*/ 2147483647 h 1121"/>
                  <a:gd name="T18" fmla="*/ 2147483647 w 505"/>
                  <a:gd name="T19" fmla="*/ 2147483647 h 1121"/>
                  <a:gd name="T20" fmla="*/ 2147483647 w 505"/>
                  <a:gd name="T21" fmla="*/ 2147483647 h 1121"/>
                  <a:gd name="T22" fmla="*/ 2147483647 w 505"/>
                  <a:gd name="T23" fmla="*/ 2147483647 h 1121"/>
                  <a:gd name="T24" fmla="*/ 2147483647 w 505"/>
                  <a:gd name="T25" fmla="*/ 2147483647 h 1121"/>
                  <a:gd name="T26" fmla="*/ 2147483647 w 505"/>
                  <a:gd name="T27" fmla="*/ 2147483647 h 1121"/>
                  <a:gd name="T28" fmla="*/ 2147483647 w 505"/>
                  <a:gd name="T29" fmla="*/ 2147483647 h 1121"/>
                  <a:gd name="T30" fmla="*/ 2147483647 w 505"/>
                  <a:gd name="T31" fmla="*/ 2147483647 h 1121"/>
                  <a:gd name="T32" fmla="*/ 667494651 w 505"/>
                  <a:gd name="T33" fmla="*/ 2147483647 h 1121"/>
                  <a:gd name="T34" fmla="*/ 1918855735 w 505"/>
                  <a:gd name="T35" fmla="*/ 2147483647 h 1121"/>
                  <a:gd name="T36" fmla="*/ 2147483647 w 505"/>
                  <a:gd name="T37" fmla="*/ 2147483647 h 1121"/>
                  <a:gd name="T38" fmla="*/ 2147483647 w 505"/>
                  <a:gd name="T39" fmla="*/ 2147483647 h 1121"/>
                  <a:gd name="T40" fmla="*/ 2147483647 w 505"/>
                  <a:gd name="T41" fmla="*/ 2147483647 h 1121"/>
                  <a:gd name="T42" fmla="*/ 2147483647 w 505"/>
                  <a:gd name="T43" fmla="*/ 2147483647 h 1121"/>
                  <a:gd name="T44" fmla="*/ 2147483647 w 505"/>
                  <a:gd name="T45" fmla="*/ 2147483647 h 1121"/>
                  <a:gd name="T46" fmla="*/ 2147483647 w 505"/>
                  <a:gd name="T47" fmla="*/ 2147483647 h 1121"/>
                  <a:gd name="T48" fmla="*/ 2147483647 w 505"/>
                  <a:gd name="T49" fmla="*/ 2147483647 h 1121"/>
                  <a:gd name="T50" fmla="*/ 2147483647 w 505"/>
                  <a:gd name="T51" fmla="*/ 2147483647 h 1121"/>
                  <a:gd name="T52" fmla="*/ 2147483647 w 505"/>
                  <a:gd name="T53" fmla="*/ 2147483647 h 1121"/>
                  <a:gd name="T54" fmla="*/ 2147483647 w 505"/>
                  <a:gd name="T55" fmla="*/ 2147483647 h 1121"/>
                  <a:gd name="T56" fmla="*/ 2147483647 w 505"/>
                  <a:gd name="T57" fmla="*/ 2147483647 h 1121"/>
                  <a:gd name="T58" fmla="*/ 2147483647 w 505"/>
                  <a:gd name="T59" fmla="*/ 2147483647 h 1121"/>
                  <a:gd name="T60" fmla="*/ 2147483647 w 505"/>
                  <a:gd name="T61" fmla="*/ 2147483647 h 1121"/>
                  <a:gd name="T62" fmla="*/ 2147483647 w 505"/>
                  <a:gd name="T63" fmla="*/ 2147483647 h 1121"/>
                  <a:gd name="T64" fmla="*/ 2147483647 w 505"/>
                  <a:gd name="T65" fmla="*/ 2147483647 h 1121"/>
                  <a:gd name="T66" fmla="*/ 2147483647 w 505"/>
                  <a:gd name="T67" fmla="*/ 2147483647 h 1121"/>
                  <a:gd name="T68" fmla="*/ 2147483647 w 505"/>
                  <a:gd name="T69" fmla="*/ 2147483647 h 1121"/>
                  <a:gd name="T70" fmla="*/ 2147483647 w 505"/>
                  <a:gd name="T71" fmla="*/ 2147483647 h 1121"/>
                  <a:gd name="T72" fmla="*/ 2147483647 w 505"/>
                  <a:gd name="T73" fmla="*/ 2147483647 h 1121"/>
                  <a:gd name="T74" fmla="*/ 2147483647 w 505"/>
                  <a:gd name="T75" fmla="*/ 2147483647 h 1121"/>
                  <a:gd name="T76" fmla="*/ 2147483647 w 505"/>
                  <a:gd name="T77" fmla="*/ 2147483647 h 1121"/>
                  <a:gd name="T78" fmla="*/ 2147483647 w 505"/>
                  <a:gd name="T79" fmla="*/ 2147483647 h 1121"/>
                  <a:gd name="T80" fmla="*/ 2147483647 w 505"/>
                  <a:gd name="T81" fmla="*/ 2147483647 h 1121"/>
                  <a:gd name="T82" fmla="*/ 2147483647 w 505"/>
                  <a:gd name="T83" fmla="*/ 2147483647 h 1121"/>
                  <a:gd name="T84" fmla="*/ 2147483647 w 505"/>
                  <a:gd name="T85" fmla="*/ 2147483647 h 1121"/>
                  <a:gd name="T86" fmla="*/ 2147483647 w 505"/>
                  <a:gd name="T87" fmla="*/ 2147483647 h 1121"/>
                  <a:gd name="T88" fmla="*/ 2147483647 w 505"/>
                  <a:gd name="T89" fmla="*/ 2147483647 h 1121"/>
                  <a:gd name="T90" fmla="*/ 2147483647 w 505"/>
                  <a:gd name="T91" fmla="*/ 2147483647 h 1121"/>
                  <a:gd name="T92" fmla="*/ 2147483647 w 505"/>
                  <a:gd name="T93" fmla="*/ 2147483647 h 1121"/>
                  <a:gd name="T94" fmla="*/ 2147483647 w 505"/>
                  <a:gd name="T95" fmla="*/ 2147483647 h 1121"/>
                  <a:gd name="T96" fmla="*/ 2147483647 w 505"/>
                  <a:gd name="T97" fmla="*/ 2147483647 h 1121"/>
                  <a:gd name="T98" fmla="*/ 2147483647 w 505"/>
                  <a:gd name="T99" fmla="*/ 2147483647 h 1121"/>
                  <a:gd name="T100" fmla="*/ 2147483647 w 505"/>
                  <a:gd name="T101" fmla="*/ 2147483647 h 1121"/>
                  <a:gd name="T102" fmla="*/ 2147483647 w 505"/>
                  <a:gd name="T103" fmla="*/ 2147483647 h 112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6" name="Freeform 263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9593530" y="3746072"/>
                <a:ext cx="80963" cy="58738"/>
              </a:xfrm>
              <a:custGeom>
                <a:avLst/>
                <a:gdLst>
                  <a:gd name="T0" fmla="*/ 2147483647 w 180"/>
                  <a:gd name="T1" fmla="*/ 1009686815 h 112"/>
                  <a:gd name="T2" fmla="*/ 2147483647 w 180"/>
                  <a:gd name="T3" fmla="*/ 2147483647 h 112"/>
                  <a:gd name="T4" fmla="*/ 2147483647 w 180"/>
                  <a:gd name="T5" fmla="*/ 2147483647 h 112"/>
                  <a:gd name="T6" fmla="*/ 2147483647 w 180"/>
                  <a:gd name="T7" fmla="*/ 2147483647 h 112"/>
                  <a:gd name="T8" fmla="*/ 2147483647 w 180"/>
                  <a:gd name="T9" fmla="*/ 2147483647 h 112"/>
                  <a:gd name="T10" fmla="*/ 2147483647 w 180"/>
                  <a:gd name="T11" fmla="*/ 2147483647 h 112"/>
                  <a:gd name="T12" fmla="*/ 2147483647 w 180"/>
                  <a:gd name="T13" fmla="*/ 2147483647 h 112"/>
                  <a:gd name="T14" fmla="*/ 2147483647 w 180"/>
                  <a:gd name="T15" fmla="*/ 2147483647 h 112"/>
                  <a:gd name="T16" fmla="*/ 2147483647 w 180"/>
                  <a:gd name="T17" fmla="*/ 2147483647 h 112"/>
                  <a:gd name="T18" fmla="*/ 2147483647 w 180"/>
                  <a:gd name="T19" fmla="*/ 2147483647 h 112"/>
                  <a:gd name="T20" fmla="*/ 2147483647 w 180"/>
                  <a:gd name="T21" fmla="*/ 2147483647 h 112"/>
                  <a:gd name="T22" fmla="*/ 2147483647 w 180"/>
                  <a:gd name="T23" fmla="*/ 2147483647 h 112"/>
                  <a:gd name="T24" fmla="*/ 2147483647 w 180"/>
                  <a:gd name="T25" fmla="*/ 2147483647 h 112"/>
                  <a:gd name="T26" fmla="*/ 2147483647 w 180"/>
                  <a:gd name="T27" fmla="*/ 2147483647 h 112"/>
                  <a:gd name="T28" fmla="*/ 2147483647 w 180"/>
                  <a:gd name="T29" fmla="*/ 2147483647 h 112"/>
                  <a:gd name="T30" fmla="*/ 2147483647 w 180"/>
                  <a:gd name="T31" fmla="*/ 2147483647 h 112"/>
                  <a:gd name="T32" fmla="*/ 2147483647 w 180"/>
                  <a:gd name="T33" fmla="*/ 2147483647 h 112"/>
                  <a:gd name="T34" fmla="*/ 2147483647 w 180"/>
                  <a:gd name="T35" fmla="*/ 2147483647 h 112"/>
                  <a:gd name="T36" fmla="*/ 2147483647 w 180"/>
                  <a:gd name="T37" fmla="*/ 2147483647 h 112"/>
                  <a:gd name="T38" fmla="*/ 2147483647 w 180"/>
                  <a:gd name="T39" fmla="*/ 2147483647 h 112"/>
                  <a:gd name="T40" fmla="*/ 2147483647 w 180"/>
                  <a:gd name="T41" fmla="*/ 2147483647 h 112"/>
                  <a:gd name="T42" fmla="*/ 1637942662 w 180"/>
                  <a:gd name="T43" fmla="*/ 2147483647 h 112"/>
                  <a:gd name="T44" fmla="*/ 0 w 180"/>
                  <a:gd name="T45" fmla="*/ 2147483647 h 112"/>
                  <a:gd name="T46" fmla="*/ 2147483647 w 180"/>
                  <a:gd name="T47" fmla="*/ 2019373631 h 112"/>
                  <a:gd name="T48" fmla="*/ 2147483647 w 180"/>
                  <a:gd name="T49" fmla="*/ 1298207871 h 112"/>
                  <a:gd name="T50" fmla="*/ 2147483647 w 180"/>
                  <a:gd name="T51" fmla="*/ 721165759 h 112"/>
                  <a:gd name="T52" fmla="*/ 2147483647 w 180"/>
                  <a:gd name="T53" fmla="*/ 432644179 h 112"/>
                  <a:gd name="T54" fmla="*/ 2147483647 w 180"/>
                  <a:gd name="T55" fmla="*/ 144123123 h 112"/>
                  <a:gd name="T56" fmla="*/ 2147483647 w 180"/>
                  <a:gd name="T57" fmla="*/ 0 h 112"/>
                  <a:gd name="T58" fmla="*/ 2147483647 w 180"/>
                  <a:gd name="T59" fmla="*/ 144123123 h 112"/>
                  <a:gd name="T60" fmla="*/ 2147483647 w 180"/>
                  <a:gd name="T61" fmla="*/ 432644179 h 112"/>
                  <a:gd name="T62" fmla="*/ 2147483647 w 180"/>
                  <a:gd name="T63" fmla="*/ 1009686815 h 11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7" name="Freeform 264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9677668" y="3828622"/>
                <a:ext cx="74612" cy="100013"/>
              </a:xfrm>
              <a:custGeom>
                <a:avLst/>
                <a:gdLst>
                  <a:gd name="T0" fmla="*/ 0 w 173"/>
                  <a:gd name="T1" fmla="*/ 2147483647 h 192"/>
                  <a:gd name="T2" fmla="*/ 2147483647 w 173"/>
                  <a:gd name="T3" fmla="*/ 2147483647 h 192"/>
                  <a:gd name="T4" fmla="*/ 2147483647 w 173"/>
                  <a:gd name="T5" fmla="*/ 2147483647 h 192"/>
                  <a:gd name="T6" fmla="*/ 2147483647 w 173"/>
                  <a:gd name="T7" fmla="*/ 2147483647 h 192"/>
                  <a:gd name="T8" fmla="*/ 2147483647 w 173"/>
                  <a:gd name="T9" fmla="*/ 1696132969 h 192"/>
                  <a:gd name="T10" fmla="*/ 2147483647 w 173"/>
                  <a:gd name="T11" fmla="*/ 1130665197 h 192"/>
                  <a:gd name="T12" fmla="*/ 2147483647 w 173"/>
                  <a:gd name="T13" fmla="*/ 847931050 h 192"/>
                  <a:gd name="T14" fmla="*/ 2147483647 w 173"/>
                  <a:gd name="T15" fmla="*/ 424100959 h 192"/>
                  <a:gd name="T16" fmla="*/ 2147483647 w 173"/>
                  <a:gd name="T17" fmla="*/ 282734146 h 192"/>
                  <a:gd name="T18" fmla="*/ 2147483647 w 173"/>
                  <a:gd name="T19" fmla="*/ 141366813 h 192"/>
                  <a:gd name="T20" fmla="*/ 2147483647 w 173"/>
                  <a:gd name="T21" fmla="*/ 0 h 192"/>
                  <a:gd name="T22" fmla="*/ 2147483647 w 173"/>
                  <a:gd name="T23" fmla="*/ 141366813 h 192"/>
                  <a:gd name="T24" fmla="*/ 2147483647 w 173"/>
                  <a:gd name="T25" fmla="*/ 282734146 h 192"/>
                  <a:gd name="T26" fmla="*/ 2147483647 w 173"/>
                  <a:gd name="T27" fmla="*/ 706835106 h 192"/>
                  <a:gd name="T28" fmla="*/ 2147483647 w 173"/>
                  <a:gd name="T29" fmla="*/ 1130665197 h 192"/>
                  <a:gd name="T30" fmla="*/ 2147483647 w 173"/>
                  <a:gd name="T31" fmla="*/ 1837500302 h 192"/>
                  <a:gd name="T32" fmla="*/ 2147483647 w 173"/>
                  <a:gd name="T33" fmla="*/ 2147483647 h 192"/>
                  <a:gd name="T34" fmla="*/ 2147483647 w 173"/>
                  <a:gd name="T35" fmla="*/ 2147483647 h 192"/>
                  <a:gd name="T36" fmla="*/ 2147483647 w 173"/>
                  <a:gd name="T37" fmla="*/ 2147483647 h 192"/>
                  <a:gd name="T38" fmla="*/ 2147483647 w 173"/>
                  <a:gd name="T39" fmla="*/ 2147483647 h 192"/>
                  <a:gd name="T40" fmla="*/ 2147483647 w 173"/>
                  <a:gd name="T41" fmla="*/ 2147483647 h 192"/>
                  <a:gd name="T42" fmla="*/ 2147483647 w 173"/>
                  <a:gd name="T43" fmla="*/ 2147483647 h 192"/>
                  <a:gd name="T44" fmla="*/ 2147483647 w 173"/>
                  <a:gd name="T45" fmla="*/ 2147483647 h 192"/>
                  <a:gd name="T46" fmla="*/ 2147483647 w 173"/>
                  <a:gd name="T47" fmla="*/ 2147483647 h 192"/>
                  <a:gd name="T48" fmla="*/ 2147483647 w 173"/>
                  <a:gd name="T49" fmla="*/ 2147483647 h 192"/>
                  <a:gd name="T50" fmla="*/ 2147483647 w 173"/>
                  <a:gd name="T51" fmla="*/ 2147483647 h 192"/>
                  <a:gd name="T52" fmla="*/ 2147483647 w 173"/>
                  <a:gd name="T53" fmla="*/ 2147483647 h 192"/>
                  <a:gd name="T54" fmla="*/ 2147483647 w 173"/>
                  <a:gd name="T55" fmla="*/ 2147483647 h 192"/>
                  <a:gd name="T56" fmla="*/ 2147483647 w 173"/>
                  <a:gd name="T57" fmla="*/ 2147483647 h 192"/>
                  <a:gd name="T58" fmla="*/ 2147483647 w 173"/>
                  <a:gd name="T59" fmla="*/ 2147483647 h 192"/>
                  <a:gd name="T60" fmla="*/ 2147483647 w 173"/>
                  <a:gd name="T61" fmla="*/ 2147483647 h 192"/>
                  <a:gd name="T62" fmla="*/ 2147483647 w 173"/>
                  <a:gd name="T63" fmla="*/ 2147483647 h 192"/>
                  <a:gd name="T64" fmla="*/ 2147483647 w 173"/>
                  <a:gd name="T65" fmla="*/ 2147483647 h 192"/>
                  <a:gd name="T66" fmla="*/ 2147483647 w 173"/>
                  <a:gd name="T67" fmla="*/ 2147483647 h 192"/>
                  <a:gd name="T68" fmla="*/ 2147483647 w 173"/>
                  <a:gd name="T69" fmla="*/ 2147483647 h 192"/>
                  <a:gd name="T70" fmla="*/ 2147483647 w 173"/>
                  <a:gd name="T71" fmla="*/ 2147483647 h 192"/>
                  <a:gd name="T72" fmla="*/ 2147483647 w 173"/>
                  <a:gd name="T73" fmla="*/ 2147483647 h 192"/>
                  <a:gd name="T74" fmla="*/ 2147483647 w 173"/>
                  <a:gd name="T75" fmla="*/ 2147483647 h 192"/>
                  <a:gd name="T76" fmla="*/ 2147483647 w 173"/>
                  <a:gd name="T77" fmla="*/ 2147483647 h 192"/>
                  <a:gd name="T78" fmla="*/ 1764817475 w 173"/>
                  <a:gd name="T79" fmla="*/ 2147483647 h 192"/>
                  <a:gd name="T80" fmla="*/ 1283622260 w 173"/>
                  <a:gd name="T81" fmla="*/ 2147483647 h 192"/>
                  <a:gd name="T82" fmla="*/ 722072509 w 173"/>
                  <a:gd name="T83" fmla="*/ 2147483647 h 192"/>
                  <a:gd name="T84" fmla="*/ 0 w 173"/>
                  <a:gd name="T85" fmla="*/ 2147483647 h 1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8" name="Freeform 265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9720530" y="3879422"/>
                <a:ext cx="104775" cy="131763"/>
              </a:xfrm>
              <a:custGeom>
                <a:avLst/>
                <a:gdLst>
                  <a:gd name="T0" fmla="*/ 2147483647 w 233"/>
                  <a:gd name="T1" fmla="*/ 0 h 252"/>
                  <a:gd name="T2" fmla="*/ 2147483647 w 233"/>
                  <a:gd name="T3" fmla="*/ 285968062 h 252"/>
                  <a:gd name="T4" fmla="*/ 2147483647 w 233"/>
                  <a:gd name="T5" fmla="*/ 428952355 h 252"/>
                  <a:gd name="T6" fmla="*/ 2147483647 w 233"/>
                  <a:gd name="T7" fmla="*/ 428952355 h 252"/>
                  <a:gd name="T8" fmla="*/ 2147483647 w 233"/>
                  <a:gd name="T9" fmla="*/ 285968062 h 252"/>
                  <a:gd name="T10" fmla="*/ 2147483647 w 233"/>
                  <a:gd name="T11" fmla="*/ 142984293 h 252"/>
                  <a:gd name="T12" fmla="*/ 2147483647 w 233"/>
                  <a:gd name="T13" fmla="*/ 0 h 252"/>
                  <a:gd name="T14" fmla="*/ 2147483647 w 233"/>
                  <a:gd name="T15" fmla="*/ 2147483647 h 252"/>
                  <a:gd name="T16" fmla="*/ 2147483647 w 233"/>
                  <a:gd name="T17" fmla="*/ 2147483647 h 252"/>
                  <a:gd name="T18" fmla="*/ 2147483647 w 233"/>
                  <a:gd name="T19" fmla="*/ 2147483647 h 252"/>
                  <a:gd name="T20" fmla="*/ 2147483647 w 233"/>
                  <a:gd name="T21" fmla="*/ 2147483647 h 252"/>
                  <a:gd name="T22" fmla="*/ 2147483647 w 233"/>
                  <a:gd name="T23" fmla="*/ 2147483647 h 252"/>
                  <a:gd name="T24" fmla="*/ 2147483647 w 233"/>
                  <a:gd name="T25" fmla="*/ 2147483647 h 252"/>
                  <a:gd name="T26" fmla="*/ 2147483647 w 233"/>
                  <a:gd name="T27" fmla="*/ 2147483647 h 252"/>
                  <a:gd name="T28" fmla="*/ 2147483647 w 233"/>
                  <a:gd name="T29" fmla="*/ 2147483647 h 252"/>
                  <a:gd name="T30" fmla="*/ 2147483647 w 233"/>
                  <a:gd name="T31" fmla="*/ 2147483647 h 252"/>
                  <a:gd name="T32" fmla="*/ 2147483647 w 233"/>
                  <a:gd name="T33" fmla="*/ 2147483647 h 252"/>
                  <a:gd name="T34" fmla="*/ 2147483647 w 233"/>
                  <a:gd name="T35" fmla="*/ 2147483647 h 252"/>
                  <a:gd name="T36" fmla="*/ 2147483647 w 233"/>
                  <a:gd name="T37" fmla="*/ 2147483647 h 252"/>
                  <a:gd name="T38" fmla="*/ 2147483647 w 233"/>
                  <a:gd name="T39" fmla="*/ 2147483647 h 252"/>
                  <a:gd name="T40" fmla="*/ 2147483647 w 233"/>
                  <a:gd name="T41" fmla="*/ 2147483647 h 252"/>
                  <a:gd name="T42" fmla="*/ 2147483647 w 233"/>
                  <a:gd name="T43" fmla="*/ 2147483647 h 252"/>
                  <a:gd name="T44" fmla="*/ 2147483647 w 233"/>
                  <a:gd name="T45" fmla="*/ 2147483647 h 252"/>
                  <a:gd name="T46" fmla="*/ 2147483647 w 233"/>
                  <a:gd name="T47" fmla="*/ 2147483647 h 252"/>
                  <a:gd name="T48" fmla="*/ 2147483647 w 233"/>
                  <a:gd name="T49" fmla="*/ 2147483647 h 252"/>
                  <a:gd name="T50" fmla="*/ 2147483647 w 233"/>
                  <a:gd name="T51" fmla="*/ 2147483647 h 252"/>
                  <a:gd name="T52" fmla="*/ 2147483647 w 233"/>
                  <a:gd name="T53" fmla="*/ 2147483647 h 252"/>
                  <a:gd name="T54" fmla="*/ 2147483647 w 233"/>
                  <a:gd name="T55" fmla="*/ 2147483647 h 252"/>
                  <a:gd name="T56" fmla="*/ 2147483647 w 233"/>
                  <a:gd name="T57" fmla="*/ 2147483647 h 252"/>
                  <a:gd name="T58" fmla="*/ 2147483647 w 233"/>
                  <a:gd name="T59" fmla="*/ 2147483647 h 252"/>
                  <a:gd name="T60" fmla="*/ 2147483647 w 233"/>
                  <a:gd name="T61" fmla="*/ 2147483647 h 252"/>
                  <a:gd name="T62" fmla="*/ 2147483647 w 233"/>
                  <a:gd name="T63" fmla="*/ 2147483647 h 252"/>
                  <a:gd name="T64" fmla="*/ 2147483647 w 233"/>
                  <a:gd name="T65" fmla="*/ 2147483647 h 252"/>
                  <a:gd name="T66" fmla="*/ 2147483647 w 233"/>
                  <a:gd name="T67" fmla="*/ 2147483647 h 252"/>
                  <a:gd name="T68" fmla="*/ 2147483647 w 233"/>
                  <a:gd name="T69" fmla="*/ 2147483647 h 252"/>
                  <a:gd name="T70" fmla="*/ 2147483647 w 233"/>
                  <a:gd name="T71" fmla="*/ 2147483647 h 252"/>
                  <a:gd name="T72" fmla="*/ 2147483647 w 233"/>
                  <a:gd name="T73" fmla="*/ 2147483647 h 252"/>
                  <a:gd name="T74" fmla="*/ 2147483647 w 233"/>
                  <a:gd name="T75" fmla="*/ 2147483647 h 252"/>
                  <a:gd name="T76" fmla="*/ 2147483647 w 233"/>
                  <a:gd name="T77" fmla="*/ 2147483647 h 252"/>
                  <a:gd name="T78" fmla="*/ 2147483647 w 233"/>
                  <a:gd name="T79" fmla="*/ 2147483647 h 252"/>
                  <a:gd name="T80" fmla="*/ 2147483647 w 233"/>
                  <a:gd name="T81" fmla="*/ 2147483647 h 252"/>
                  <a:gd name="T82" fmla="*/ 2147483647 w 233"/>
                  <a:gd name="T83" fmla="*/ 2147483647 h 252"/>
                  <a:gd name="T84" fmla="*/ 2147483647 w 233"/>
                  <a:gd name="T85" fmla="*/ 2147483647 h 252"/>
                  <a:gd name="T86" fmla="*/ 2147483647 w 233"/>
                  <a:gd name="T87" fmla="*/ 2147483647 h 252"/>
                  <a:gd name="T88" fmla="*/ 2147483647 w 233"/>
                  <a:gd name="T89" fmla="*/ 2147483647 h 252"/>
                  <a:gd name="T90" fmla="*/ 2147483647 w 233"/>
                  <a:gd name="T91" fmla="*/ 2147483647 h 252"/>
                  <a:gd name="T92" fmla="*/ 1545898466 w 233"/>
                  <a:gd name="T93" fmla="*/ 2147483647 h 252"/>
                  <a:gd name="T94" fmla="*/ 0 w 233"/>
                  <a:gd name="T95" fmla="*/ 2147483647 h 252"/>
                  <a:gd name="T96" fmla="*/ 2147483647 w 233"/>
                  <a:gd name="T97" fmla="*/ 2147483647 h 252"/>
                  <a:gd name="T98" fmla="*/ 2147483647 w 233"/>
                  <a:gd name="T99" fmla="*/ 2147483647 h 252"/>
                  <a:gd name="T100" fmla="*/ 2147483647 w 233"/>
                  <a:gd name="T101" fmla="*/ 2147483647 h 252"/>
                  <a:gd name="T102" fmla="*/ 2147483647 w 233"/>
                  <a:gd name="T103" fmla="*/ 2147483647 h 252"/>
                  <a:gd name="T104" fmla="*/ 2147483647 w 233"/>
                  <a:gd name="T105" fmla="*/ 2001229516 h 252"/>
                  <a:gd name="T106" fmla="*/ 2147483647 w 233"/>
                  <a:gd name="T107" fmla="*/ 0 h 2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29" name="Freeform 266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9934843" y="3798460"/>
                <a:ext cx="104775" cy="201612"/>
              </a:xfrm>
              <a:custGeom>
                <a:avLst/>
                <a:gdLst>
                  <a:gd name="T0" fmla="*/ 1004429797 w 246"/>
                  <a:gd name="T1" fmla="*/ 2147483647 h 380"/>
                  <a:gd name="T2" fmla="*/ 1081707748 w 246"/>
                  <a:gd name="T3" fmla="*/ 2147483647 h 380"/>
                  <a:gd name="T4" fmla="*/ 1158985699 w 246"/>
                  <a:gd name="T5" fmla="*/ 2147483647 h 380"/>
                  <a:gd name="T6" fmla="*/ 1390637687 w 246"/>
                  <a:gd name="T7" fmla="*/ 2147483647 h 380"/>
                  <a:gd name="T8" fmla="*/ 1545193164 w 246"/>
                  <a:gd name="T9" fmla="*/ 2147483647 h 380"/>
                  <a:gd name="T10" fmla="*/ 1931582068 w 246"/>
                  <a:gd name="T11" fmla="*/ 2147483647 h 380"/>
                  <a:gd name="T12" fmla="*/ 2008860019 w 246"/>
                  <a:gd name="T13" fmla="*/ 2147483647 h 380"/>
                  <a:gd name="T14" fmla="*/ 1931582068 w 246"/>
                  <a:gd name="T15" fmla="*/ 2147483647 h 380"/>
                  <a:gd name="T16" fmla="*/ 1777026591 w 246"/>
                  <a:gd name="T17" fmla="*/ 2147483647 h 380"/>
                  <a:gd name="T18" fmla="*/ 1467915213 w 246"/>
                  <a:gd name="T19" fmla="*/ 2147483647 h 380"/>
                  <a:gd name="T20" fmla="*/ 1004429797 w 246"/>
                  <a:gd name="T21" fmla="*/ 2147483647 h 380"/>
                  <a:gd name="T22" fmla="*/ 695318844 w 246"/>
                  <a:gd name="T23" fmla="*/ 2147483647 h 380"/>
                  <a:gd name="T24" fmla="*/ 309111379 w 246"/>
                  <a:gd name="T25" fmla="*/ 2147483647 h 380"/>
                  <a:gd name="T26" fmla="*/ 77277951 w 246"/>
                  <a:gd name="T27" fmla="*/ 2147483647 h 380"/>
                  <a:gd name="T28" fmla="*/ 0 w 246"/>
                  <a:gd name="T29" fmla="*/ 2147483647 h 380"/>
                  <a:gd name="T30" fmla="*/ 77277951 w 246"/>
                  <a:gd name="T31" fmla="*/ 2147483647 h 380"/>
                  <a:gd name="T32" fmla="*/ 154555477 w 246"/>
                  <a:gd name="T33" fmla="*/ 2147483647 h 380"/>
                  <a:gd name="T34" fmla="*/ 231833428 w 246"/>
                  <a:gd name="T35" fmla="*/ 2147483647 h 380"/>
                  <a:gd name="T36" fmla="*/ 463485416 w 246"/>
                  <a:gd name="T37" fmla="*/ 2147483647 h 380"/>
                  <a:gd name="T38" fmla="*/ 849874320 w 246"/>
                  <a:gd name="T39" fmla="*/ 2147483647 h 380"/>
                  <a:gd name="T40" fmla="*/ 1467915213 w 246"/>
                  <a:gd name="T41" fmla="*/ 2147483647 h 380"/>
                  <a:gd name="T42" fmla="*/ 2008860019 w 246"/>
                  <a:gd name="T43" fmla="*/ 2147483647 h 380"/>
                  <a:gd name="T44" fmla="*/ 2147483647 w 246"/>
                  <a:gd name="T45" fmla="*/ 2147483647 h 380"/>
                  <a:gd name="T46" fmla="*/ 2147483647 w 246"/>
                  <a:gd name="T47" fmla="*/ 2147483647 h 380"/>
                  <a:gd name="T48" fmla="*/ 2147483647 w 246"/>
                  <a:gd name="T49" fmla="*/ 2147483647 h 380"/>
                  <a:gd name="T50" fmla="*/ 2008860019 w 246"/>
                  <a:gd name="T51" fmla="*/ 2147483647 h 380"/>
                  <a:gd name="T52" fmla="*/ 2008860019 w 246"/>
                  <a:gd name="T53" fmla="*/ 2147483647 h 380"/>
                  <a:gd name="T54" fmla="*/ 1854304117 w 246"/>
                  <a:gd name="T55" fmla="*/ 2147483647 h 380"/>
                  <a:gd name="T56" fmla="*/ 1854304117 w 246"/>
                  <a:gd name="T57" fmla="*/ 2147483647 h 380"/>
                  <a:gd name="T58" fmla="*/ 1854304117 w 246"/>
                  <a:gd name="T59" fmla="*/ 2147483647 h 380"/>
                  <a:gd name="T60" fmla="*/ 1931582068 w 246"/>
                  <a:gd name="T61" fmla="*/ 1194650845 h 380"/>
                  <a:gd name="T62" fmla="*/ 2008860019 w 246"/>
                  <a:gd name="T63" fmla="*/ 0 h 380"/>
                  <a:gd name="T64" fmla="*/ 2147483647 w 246"/>
                  <a:gd name="T65" fmla="*/ 0 h 380"/>
                  <a:gd name="T66" fmla="*/ 2147483647 w 246"/>
                  <a:gd name="T67" fmla="*/ 2147483647 h 380"/>
                  <a:gd name="T68" fmla="*/ 2147483647 w 246"/>
                  <a:gd name="T69" fmla="*/ 2147483647 h 380"/>
                  <a:gd name="T70" fmla="*/ 2147483647 w 246"/>
                  <a:gd name="T71" fmla="*/ 2147483647 h 380"/>
                  <a:gd name="T72" fmla="*/ 2147483647 w 246"/>
                  <a:gd name="T73" fmla="*/ 2147483647 h 380"/>
                  <a:gd name="T74" fmla="*/ 2147483647 w 246"/>
                  <a:gd name="T75" fmla="*/ 2147483647 h 380"/>
                  <a:gd name="T76" fmla="*/ 2147483647 w 246"/>
                  <a:gd name="T77" fmla="*/ 2147483647 h 380"/>
                  <a:gd name="T78" fmla="*/ 2147483647 w 246"/>
                  <a:gd name="T79" fmla="*/ 2147483647 h 380"/>
                  <a:gd name="T80" fmla="*/ 2147483647 w 246"/>
                  <a:gd name="T81" fmla="*/ 2147483647 h 380"/>
                  <a:gd name="T82" fmla="*/ 2147483647 w 246"/>
                  <a:gd name="T83" fmla="*/ 2147483647 h 380"/>
                  <a:gd name="T84" fmla="*/ 2147483647 w 246"/>
                  <a:gd name="T85" fmla="*/ 2147483647 h 380"/>
                  <a:gd name="T86" fmla="*/ 2147483647 w 246"/>
                  <a:gd name="T87" fmla="*/ 2147483647 h 380"/>
                  <a:gd name="T88" fmla="*/ 2147483647 w 246"/>
                  <a:gd name="T89" fmla="*/ 2147483647 h 380"/>
                  <a:gd name="T90" fmla="*/ 2147483647 w 246"/>
                  <a:gd name="T91" fmla="*/ 2147483647 h 380"/>
                  <a:gd name="T92" fmla="*/ 2147483647 w 246"/>
                  <a:gd name="T93" fmla="*/ 2147483647 h 380"/>
                  <a:gd name="T94" fmla="*/ 2147483647 w 246"/>
                  <a:gd name="T95" fmla="*/ 2147483647 h 380"/>
                  <a:gd name="T96" fmla="*/ 2147483647 w 246"/>
                  <a:gd name="T97" fmla="*/ 2147483647 h 380"/>
                  <a:gd name="T98" fmla="*/ 2147483647 w 246"/>
                  <a:gd name="T99" fmla="*/ 2147483647 h 380"/>
                  <a:gd name="T100" fmla="*/ 2147483647 w 246"/>
                  <a:gd name="T101" fmla="*/ 2147483647 h 380"/>
                  <a:gd name="T102" fmla="*/ 2147483647 w 246"/>
                  <a:gd name="T103" fmla="*/ 2147483647 h 380"/>
                  <a:gd name="T104" fmla="*/ 2147483647 w 246"/>
                  <a:gd name="T105" fmla="*/ 2147483647 h 380"/>
                  <a:gd name="T106" fmla="*/ 2147483647 w 246"/>
                  <a:gd name="T107" fmla="*/ 2147483647 h 380"/>
                  <a:gd name="T108" fmla="*/ 2147483647 w 246"/>
                  <a:gd name="T109" fmla="*/ 2147483647 h 380"/>
                  <a:gd name="T110" fmla="*/ 2147483647 w 246"/>
                  <a:gd name="T111" fmla="*/ 2147483647 h 380"/>
                  <a:gd name="T112" fmla="*/ 2147483647 w 246"/>
                  <a:gd name="T113" fmla="*/ 2147483647 h 380"/>
                  <a:gd name="T114" fmla="*/ 2147483647 w 246"/>
                  <a:gd name="T115" fmla="*/ 2147483647 h 380"/>
                  <a:gd name="T116" fmla="*/ 1931582068 w 246"/>
                  <a:gd name="T117" fmla="*/ 2147483647 h 380"/>
                  <a:gd name="T118" fmla="*/ 1545193164 w 246"/>
                  <a:gd name="T119" fmla="*/ 2147483647 h 380"/>
                  <a:gd name="T120" fmla="*/ 1004429797 w 246"/>
                  <a:gd name="T121" fmla="*/ 2147483647 h 38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0" name="Freeform 267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9587180" y="3714322"/>
                <a:ext cx="87313" cy="58738"/>
              </a:xfrm>
              <a:custGeom>
                <a:avLst/>
                <a:gdLst>
                  <a:gd name="T0" fmla="*/ 648173710 w 193"/>
                  <a:gd name="T1" fmla="*/ 2147483647 h 38"/>
                  <a:gd name="T2" fmla="*/ 2147483647 w 193"/>
                  <a:gd name="T3" fmla="*/ 2147483647 h 38"/>
                  <a:gd name="T4" fmla="*/ 2147483647 w 193"/>
                  <a:gd name="T5" fmla="*/ 2147483647 h 38"/>
                  <a:gd name="T6" fmla="*/ 2147483647 w 193"/>
                  <a:gd name="T7" fmla="*/ 2147483647 h 38"/>
                  <a:gd name="T8" fmla="*/ 2147483647 w 193"/>
                  <a:gd name="T9" fmla="*/ 2147483647 h 38"/>
                  <a:gd name="T10" fmla="*/ 2147483647 w 193"/>
                  <a:gd name="T11" fmla="*/ 2147483647 h 38"/>
                  <a:gd name="T12" fmla="*/ 2147483647 w 193"/>
                  <a:gd name="T13" fmla="*/ 0 h 38"/>
                  <a:gd name="T14" fmla="*/ 2147483647 w 193"/>
                  <a:gd name="T15" fmla="*/ 2147483647 h 38"/>
                  <a:gd name="T16" fmla="*/ 2147483647 w 193"/>
                  <a:gd name="T17" fmla="*/ 2147483647 h 38"/>
                  <a:gd name="T18" fmla="*/ 2147483647 w 193"/>
                  <a:gd name="T19" fmla="*/ 2147483647 h 38"/>
                  <a:gd name="T20" fmla="*/ 2147483647 w 193"/>
                  <a:gd name="T21" fmla="*/ 2147483647 h 38"/>
                  <a:gd name="T22" fmla="*/ 2147483647 w 193"/>
                  <a:gd name="T23" fmla="*/ 2147483647 h 38"/>
                  <a:gd name="T24" fmla="*/ 2147483647 w 193"/>
                  <a:gd name="T25" fmla="*/ 2147483647 h 38"/>
                  <a:gd name="T26" fmla="*/ 2147483647 w 193"/>
                  <a:gd name="T27" fmla="*/ 2147483647 h 38"/>
                  <a:gd name="T28" fmla="*/ 2147483647 w 193"/>
                  <a:gd name="T29" fmla="*/ 2147483647 h 38"/>
                  <a:gd name="T30" fmla="*/ 2147483647 w 193"/>
                  <a:gd name="T31" fmla="*/ 2147483647 h 38"/>
                  <a:gd name="T32" fmla="*/ 2147483647 w 193"/>
                  <a:gd name="T33" fmla="*/ 2147483647 h 38"/>
                  <a:gd name="T34" fmla="*/ 2147483647 w 193"/>
                  <a:gd name="T35" fmla="*/ 2147483647 h 38"/>
                  <a:gd name="T36" fmla="*/ 2147483647 w 193"/>
                  <a:gd name="T37" fmla="*/ 2147483647 h 38"/>
                  <a:gd name="T38" fmla="*/ 2147483647 w 193"/>
                  <a:gd name="T39" fmla="*/ 2147483647 h 38"/>
                  <a:gd name="T40" fmla="*/ 2147483647 w 193"/>
                  <a:gd name="T41" fmla="*/ 2147483647 h 38"/>
                  <a:gd name="T42" fmla="*/ 2147483647 w 193"/>
                  <a:gd name="T43" fmla="*/ 2147483647 h 38"/>
                  <a:gd name="T44" fmla="*/ 2147483647 w 193"/>
                  <a:gd name="T45" fmla="*/ 2147483647 h 38"/>
                  <a:gd name="T46" fmla="*/ 2147483647 w 193"/>
                  <a:gd name="T47" fmla="*/ 2147483647 h 38"/>
                  <a:gd name="T48" fmla="*/ 2147483647 w 193"/>
                  <a:gd name="T49" fmla="*/ 2147483647 h 38"/>
                  <a:gd name="T50" fmla="*/ 2147483647 w 193"/>
                  <a:gd name="T51" fmla="*/ 2147483647 h 38"/>
                  <a:gd name="T52" fmla="*/ 2147483647 w 193"/>
                  <a:gd name="T53" fmla="*/ 2147483647 h 38"/>
                  <a:gd name="T54" fmla="*/ 2147483647 w 193"/>
                  <a:gd name="T55" fmla="*/ 2147483647 h 38"/>
                  <a:gd name="T56" fmla="*/ 2147483647 w 193"/>
                  <a:gd name="T57" fmla="*/ 2147483647 h 38"/>
                  <a:gd name="T58" fmla="*/ 1759298591 w 193"/>
                  <a:gd name="T59" fmla="*/ 2147483647 h 38"/>
                  <a:gd name="T60" fmla="*/ 0 w 193"/>
                  <a:gd name="T61" fmla="*/ 2147483647 h 38"/>
                  <a:gd name="T62" fmla="*/ 0 w 193"/>
                  <a:gd name="T63" fmla="*/ 2147483647 h 38"/>
                  <a:gd name="T64" fmla="*/ 92508350 w 193"/>
                  <a:gd name="T65" fmla="*/ 2147483647 h 38"/>
                  <a:gd name="T66" fmla="*/ 277729986 w 193"/>
                  <a:gd name="T67" fmla="*/ 2147483647 h 38"/>
                  <a:gd name="T68" fmla="*/ 648173710 w 193"/>
                  <a:gd name="T69" fmla="*/ 2147483647 h 3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1" name="Freeform 268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10012630" y="3792110"/>
                <a:ext cx="42863" cy="155575"/>
              </a:xfrm>
              <a:custGeom>
                <a:avLst/>
                <a:gdLst>
                  <a:gd name="T0" fmla="*/ 2147483647 w 99"/>
                  <a:gd name="T1" fmla="*/ 1656831884 h 301"/>
                  <a:gd name="T2" fmla="*/ 2147483647 w 99"/>
                  <a:gd name="T3" fmla="*/ 1656831884 h 301"/>
                  <a:gd name="T4" fmla="*/ 2147483647 w 99"/>
                  <a:gd name="T5" fmla="*/ 2147483647 h 301"/>
                  <a:gd name="T6" fmla="*/ 2147483647 w 99"/>
                  <a:gd name="T7" fmla="*/ 2147483647 h 301"/>
                  <a:gd name="T8" fmla="*/ 2147483647 w 99"/>
                  <a:gd name="T9" fmla="*/ 2147483647 h 301"/>
                  <a:gd name="T10" fmla="*/ 2147483647 w 99"/>
                  <a:gd name="T11" fmla="*/ 2147483647 h 301"/>
                  <a:gd name="T12" fmla="*/ 2147483647 w 99"/>
                  <a:gd name="T13" fmla="*/ 2147483647 h 301"/>
                  <a:gd name="T14" fmla="*/ 2147483647 w 99"/>
                  <a:gd name="T15" fmla="*/ 2147483647 h 301"/>
                  <a:gd name="T16" fmla="*/ 2147483647 w 99"/>
                  <a:gd name="T17" fmla="*/ 2147483647 h 301"/>
                  <a:gd name="T18" fmla="*/ 2147483647 w 99"/>
                  <a:gd name="T19" fmla="*/ 2147483647 h 301"/>
                  <a:gd name="T20" fmla="*/ 2147483647 w 99"/>
                  <a:gd name="T21" fmla="*/ 2147483647 h 301"/>
                  <a:gd name="T22" fmla="*/ 2147483647 w 99"/>
                  <a:gd name="T23" fmla="*/ 2147483647 h 301"/>
                  <a:gd name="T24" fmla="*/ 2147483647 w 99"/>
                  <a:gd name="T25" fmla="*/ 2147483647 h 301"/>
                  <a:gd name="T26" fmla="*/ 2147483647 w 99"/>
                  <a:gd name="T27" fmla="*/ 2147483647 h 301"/>
                  <a:gd name="T28" fmla="*/ 2147483647 w 99"/>
                  <a:gd name="T29" fmla="*/ 2147483647 h 301"/>
                  <a:gd name="T30" fmla="*/ 2147483647 w 99"/>
                  <a:gd name="T31" fmla="*/ 2147483647 h 301"/>
                  <a:gd name="T32" fmla="*/ 2147483647 w 99"/>
                  <a:gd name="T33" fmla="*/ 2147483647 h 301"/>
                  <a:gd name="T34" fmla="*/ 2147483647 w 99"/>
                  <a:gd name="T35" fmla="*/ 2147483647 h 301"/>
                  <a:gd name="T36" fmla="*/ 2147483647 w 99"/>
                  <a:gd name="T37" fmla="*/ 2147483647 h 301"/>
                  <a:gd name="T38" fmla="*/ 2147483647 w 99"/>
                  <a:gd name="T39" fmla="*/ 2147483647 h 301"/>
                  <a:gd name="T40" fmla="*/ 2147483647 w 99"/>
                  <a:gd name="T41" fmla="*/ 2147483647 h 301"/>
                  <a:gd name="T42" fmla="*/ 2147483647 w 99"/>
                  <a:gd name="T43" fmla="*/ 2147483647 h 301"/>
                  <a:gd name="T44" fmla="*/ 2147483647 w 99"/>
                  <a:gd name="T45" fmla="*/ 2147483647 h 301"/>
                  <a:gd name="T46" fmla="*/ 2147483647 w 99"/>
                  <a:gd name="T47" fmla="*/ 2147483647 h 301"/>
                  <a:gd name="T48" fmla="*/ 2147483647 w 99"/>
                  <a:gd name="T49" fmla="*/ 2147483647 h 301"/>
                  <a:gd name="T50" fmla="*/ 2147483647 w 99"/>
                  <a:gd name="T51" fmla="*/ 2147483647 h 301"/>
                  <a:gd name="T52" fmla="*/ 2147483647 w 99"/>
                  <a:gd name="T53" fmla="*/ 2147483647 h 301"/>
                  <a:gd name="T54" fmla="*/ 2147483647 w 99"/>
                  <a:gd name="T55" fmla="*/ 2147483647 h 301"/>
                  <a:gd name="T56" fmla="*/ 0 w 99"/>
                  <a:gd name="T57" fmla="*/ 828415684 h 301"/>
                  <a:gd name="T58" fmla="*/ 405838141 w 99"/>
                  <a:gd name="T59" fmla="*/ 276227806 h 301"/>
                  <a:gd name="T60" fmla="*/ 811675849 w 99"/>
                  <a:gd name="T61" fmla="*/ 0 h 301"/>
                  <a:gd name="T62" fmla="*/ 1136158717 w 99"/>
                  <a:gd name="T63" fmla="*/ 0 h 301"/>
                  <a:gd name="T64" fmla="*/ 1623164226 w 99"/>
                  <a:gd name="T65" fmla="*/ 0 h 301"/>
                  <a:gd name="T66" fmla="*/ 2110169736 w 99"/>
                  <a:gd name="T67" fmla="*/ 0 h 301"/>
                  <a:gd name="T68" fmla="*/ 2147483647 w 99"/>
                  <a:gd name="T69" fmla="*/ 276227806 h 301"/>
                  <a:gd name="T70" fmla="*/ 2147483647 w 99"/>
                  <a:gd name="T71" fmla="*/ 552188395 h 301"/>
                  <a:gd name="T72" fmla="*/ 2147483647 w 99"/>
                  <a:gd name="T73" fmla="*/ 828415684 h 301"/>
                  <a:gd name="T74" fmla="*/ 2147483647 w 99"/>
                  <a:gd name="T75" fmla="*/ 1380871295 h 301"/>
                  <a:gd name="T76" fmla="*/ 2147483647 w 99"/>
                  <a:gd name="T77" fmla="*/ 1656831884 h 30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2" name="Freeform 269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10038030" y="3754010"/>
                <a:ext cx="76200" cy="188912"/>
              </a:xfrm>
              <a:custGeom>
                <a:avLst/>
                <a:gdLst>
                  <a:gd name="T0" fmla="*/ 0 w 173"/>
                  <a:gd name="T1" fmla="*/ 2147483647 h 357"/>
                  <a:gd name="T2" fmla="*/ 769044316 w 173"/>
                  <a:gd name="T3" fmla="*/ 2147483647 h 357"/>
                  <a:gd name="T4" fmla="*/ 1452725691 w 173"/>
                  <a:gd name="T5" fmla="*/ 2147483647 h 357"/>
                  <a:gd name="T6" fmla="*/ 2136406627 w 173"/>
                  <a:gd name="T7" fmla="*/ 2147483647 h 357"/>
                  <a:gd name="T8" fmla="*/ 2147483647 w 173"/>
                  <a:gd name="T9" fmla="*/ 2147483647 h 357"/>
                  <a:gd name="T10" fmla="*/ 2147483647 w 173"/>
                  <a:gd name="T11" fmla="*/ 2147483647 h 357"/>
                  <a:gd name="T12" fmla="*/ 2147483647 w 173"/>
                  <a:gd name="T13" fmla="*/ 2147483647 h 357"/>
                  <a:gd name="T14" fmla="*/ 2147483647 w 173"/>
                  <a:gd name="T15" fmla="*/ 0 h 357"/>
                  <a:gd name="T16" fmla="*/ 2147483647 w 173"/>
                  <a:gd name="T17" fmla="*/ 444385053 h 357"/>
                  <a:gd name="T18" fmla="*/ 2147483647 w 173"/>
                  <a:gd name="T19" fmla="*/ 1037178738 h 357"/>
                  <a:gd name="T20" fmla="*/ 2147483647 w 173"/>
                  <a:gd name="T21" fmla="*/ 1778100598 h 357"/>
                  <a:gd name="T22" fmla="*/ 2147483647 w 173"/>
                  <a:gd name="T23" fmla="*/ 2147483647 h 357"/>
                  <a:gd name="T24" fmla="*/ 2147483647 w 173"/>
                  <a:gd name="T25" fmla="*/ 2147483647 h 357"/>
                  <a:gd name="T26" fmla="*/ 2147483647 w 173"/>
                  <a:gd name="T27" fmla="*/ 2147483647 h 357"/>
                  <a:gd name="T28" fmla="*/ 2147483647 w 173"/>
                  <a:gd name="T29" fmla="*/ 2147483647 h 357"/>
                  <a:gd name="T30" fmla="*/ 2147483647 w 173"/>
                  <a:gd name="T31" fmla="*/ 2147483647 h 357"/>
                  <a:gd name="T32" fmla="*/ 2147483647 w 173"/>
                  <a:gd name="T33" fmla="*/ 2147483647 h 357"/>
                  <a:gd name="T34" fmla="*/ 2147483647 w 173"/>
                  <a:gd name="T35" fmla="*/ 2147483647 h 357"/>
                  <a:gd name="T36" fmla="*/ 2147483647 w 173"/>
                  <a:gd name="T37" fmla="*/ 2147483647 h 357"/>
                  <a:gd name="T38" fmla="*/ 2147483647 w 173"/>
                  <a:gd name="T39" fmla="*/ 2147483647 h 357"/>
                  <a:gd name="T40" fmla="*/ 2147483647 w 173"/>
                  <a:gd name="T41" fmla="*/ 2147483647 h 357"/>
                  <a:gd name="T42" fmla="*/ 2147483647 w 173"/>
                  <a:gd name="T43" fmla="*/ 2147483647 h 357"/>
                  <a:gd name="T44" fmla="*/ 2147483647 w 173"/>
                  <a:gd name="T45" fmla="*/ 2147483647 h 357"/>
                  <a:gd name="T46" fmla="*/ 2147483647 w 173"/>
                  <a:gd name="T47" fmla="*/ 2147483647 h 357"/>
                  <a:gd name="T48" fmla="*/ 2147483647 w 173"/>
                  <a:gd name="T49" fmla="*/ 2147483647 h 357"/>
                  <a:gd name="T50" fmla="*/ 2147483647 w 173"/>
                  <a:gd name="T51" fmla="*/ 2147483647 h 357"/>
                  <a:gd name="T52" fmla="*/ 2147483647 w 173"/>
                  <a:gd name="T53" fmla="*/ 2147483647 h 357"/>
                  <a:gd name="T54" fmla="*/ 2147483647 w 173"/>
                  <a:gd name="T55" fmla="*/ 2147483647 h 357"/>
                  <a:gd name="T56" fmla="*/ 2147483647 w 173"/>
                  <a:gd name="T57" fmla="*/ 2147483647 h 357"/>
                  <a:gd name="T58" fmla="*/ 2147483647 w 173"/>
                  <a:gd name="T59" fmla="*/ 2147483647 h 357"/>
                  <a:gd name="T60" fmla="*/ 2147483647 w 173"/>
                  <a:gd name="T61" fmla="*/ 2147483647 h 357"/>
                  <a:gd name="T62" fmla="*/ 2147483647 w 173"/>
                  <a:gd name="T63" fmla="*/ 2147483647 h 357"/>
                  <a:gd name="T64" fmla="*/ 2147483647 w 173"/>
                  <a:gd name="T65" fmla="*/ 2147483647 h 357"/>
                  <a:gd name="T66" fmla="*/ 2147483647 w 173"/>
                  <a:gd name="T67" fmla="*/ 2147483647 h 357"/>
                  <a:gd name="T68" fmla="*/ 2147483647 w 173"/>
                  <a:gd name="T69" fmla="*/ 2147483647 h 357"/>
                  <a:gd name="T70" fmla="*/ 2147483647 w 173"/>
                  <a:gd name="T71" fmla="*/ 2147483647 h 357"/>
                  <a:gd name="T72" fmla="*/ 2147483647 w 173"/>
                  <a:gd name="T73" fmla="*/ 2147483647 h 357"/>
                  <a:gd name="T74" fmla="*/ 2147483647 w 173"/>
                  <a:gd name="T75" fmla="*/ 2147483647 h 357"/>
                  <a:gd name="T76" fmla="*/ 2147483647 w 173"/>
                  <a:gd name="T77" fmla="*/ 2147483647 h 357"/>
                  <a:gd name="T78" fmla="*/ 2147483647 w 173"/>
                  <a:gd name="T79" fmla="*/ 2147483647 h 357"/>
                  <a:gd name="T80" fmla="*/ 2147483647 w 173"/>
                  <a:gd name="T81" fmla="*/ 2147483647 h 357"/>
                  <a:gd name="T82" fmla="*/ 2147483647 w 173"/>
                  <a:gd name="T83" fmla="*/ 2147483647 h 357"/>
                  <a:gd name="T84" fmla="*/ 2147483647 w 173"/>
                  <a:gd name="T85" fmla="*/ 2147483647 h 357"/>
                  <a:gd name="T86" fmla="*/ 2147483647 w 173"/>
                  <a:gd name="T87" fmla="*/ 2147483647 h 357"/>
                  <a:gd name="T88" fmla="*/ 2147483647 w 173"/>
                  <a:gd name="T89" fmla="*/ 2147483647 h 357"/>
                  <a:gd name="T90" fmla="*/ 2147483647 w 173"/>
                  <a:gd name="T91" fmla="*/ 2147483647 h 357"/>
                  <a:gd name="T92" fmla="*/ 2147483647 w 173"/>
                  <a:gd name="T93" fmla="*/ 2147483647 h 357"/>
                  <a:gd name="T94" fmla="*/ 2147483647 w 173"/>
                  <a:gd name="T95" fmla="*/ 2147483647 h 357"/>
                  <a:gd name="T96" fmla="*/ 2147483647 w 173"/>
                  <a:gd name="T97" fmla="*/ 2147483647 h 357"/>
                  <a:gd name="T98" fmla="*/ 2147483647 w 173"/>
                  <a:gd name="T99" fmla="*/ 2147483647 h 357"/>
                  <a:gd name="T100" fmla="*/ 2147483647 w 173"/>
                  <a:gd name="T101" fmla="*/ 2147483647 h 357"/>
                  <a:gd name="T102" fmla="*/ 2147483647 w 173"/>
                  <a:gd name="T103" fmla="*/ 2147483647 h 357"/>
                  <a:gd name="T104" fmla="*/ 2147483647 w 173"/>
                  <a:gd name="T105" fmla="*/ 2147483647 h 357"/>
                  <a:gd name="T106" fmla="*/ 2147483647 w 173"/>
                  <a:gd name="T107" fmla="*/ 2147483647 h 357"/>
                  <a:gd name="T108" fmla="*/ 1709009195 w 173"/>
                  <a:gd name="T109" fmla="*/ 2147483647 h 357"/>
                  <a:gd name="T110" fmla="*/ 1110885003 w 173"/>
                  <a:gd name="T111" fmla="*/ 2147483647 h 357"/>
                  <a:gd name="T112" fmla="*/ 598124192 w 173"/>
                  <a:gd name="T113" fmla="*/ 2147483647 h 357"/>
                  <a:gd name="T114" fmla="*/ 341840688 w 173"/>
                  <a:gd name="T115" fmla="*/ 2147483647 h 357"/>
                  <a:gd name="T116" fmla="*/ 256283504 w 173"/>
                  <a:gd name="T117" fmla="*/ 2147483647 h 357"/>
                  <a:gd name="T118" fmla="*/ 0 w 173"/>
                  <a:gd name="T119" fmla="*/ 2147483647 h 357"/>
                  <a:gd name="T120" fmla="*/ 0 w 173"/>
                  <a:gd name="T121" fmla="*/ 2147483647 h 35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3" name="Freeform 270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10766693" y="4958922"/>
                <a:ext cx="25400" cy="60325"/>
              </a:xfrm>
              <a:custGeom>
                <a:avLst/>
                <a:gdLst>
                  <a:gd name="T0" fmla="*/ 1310965120 w 50"/>
                  <a:gd name="T1" fmla="*/ 0 h 74"/>
                  <a:gd name="T2" fmla="*/ 786579072 w 50"/>
                  <a:gd name="T3" fmla="*/ 2147483647 h 74"/>
                  <a:gd name="T4" fmla="*/ 262193024 w 50"/>
                  <a:gd name="T5" fmla="*/ 2147483647 h 74"/>
                  <a:gd name="T6" fmla="*/ 0 w 50"/>
                  <a:gd name="T7" fmla="*/ 2147483647 h 74"/>
                  <a:gd name="T8" fmla="*/ 0 w 50"/>
                  <a:gd name="T9" fmla="*/ 2147483647 h 74"/>
                  <a:gd name="T10" fmla="*/ 0 w 50"/>
                  <a:gd name="T11" fmla="*/ 2147483647 h 74"/>
                  <a:gd name="T12" fmla="*/ 262193024 w 50"/>
                  <a:gd name="T13" fmla="*/ 2147483647 h 74"/>
                  <a:gd name="T14" fmla="*/ 786579072 w 50"/>
                  <a:gd name="T15" fmla="*/ 2147483647 h 74"/>
                  <a:gd name="T16" fmla="*/ 1310965120 w 50"/>
                  <a:gd name="T17" fmla="*/ 2147483647 h 74"/>
                  <a:gd name="T18" fmla="*/ 2147483647 w 50"/>
                  <a:gd name="T19" fmla="*/ 2147483647 h 74"/>
                  <a:gd name="T20" fmla="*/ 2147483647 w 50"/>
                  <a:gd name="T21" fmla="*/ 2147483647 h 74"/>
                  <a:gd name="T22" fmla="*/ 2147483647 w 50"/>
                  <a:gd name="T23" fmla="*/ 2147483647 h 74"/>
                  <a:gd name="T24" fmla="*/ 2147483647 w 50"/>
                  <a:gd name="T25" fmla="*/ 2147483647 h 74"/>
                  <a:gd name="T26" fmla="*/ 2147483647 w 50"/>
                  <a:gd name="T27" fmla="*/ 0 h 74"/>
                  <a:gd name="T28" fmla="*/ 2147483647 w 50"/>
                  <a:gd name="T29" fmla="*/ 0 h 74"/>
                  <a:gd name="T30" fmla="*/ 2147483647 w 50"/>
                  <a:gd name="T31" fmla="*/ 0 h 74"/>
                  <a:gd name="T32" fmla="*/ 1835351168 w 50"/>
                  <a:gd name="T33" fmla="*/ 0 h 74"/>
                  <a:gd name="T34" fmla="*/ 1310965120 w 50"/>
                  <a:gd name="T35" fmla="*/ 0 h 7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4" name="Freeform 271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10661918" y="5055760"/>
                <a:ext cx="61912" cy="57150"/>
              </a:xfrm>
              <a:custGeom>
                <a:avLst/>
                <a:gdLst>
                  <a:gd name="T0" fmla="*/ 289401453 w 135"/>
                  <a:gd name="T1" fmla="*/ 2147483647 h 98"/>
                  <a:gd name="T2" fmla="*/ 1061068035 w 135"/>
                  <a:gd name="T3" fmla="*/ 2147483647 h 98"/>
                  <a:gd name="T4" fmla="*/ 1736197757 w 135"/>
                  <a:gd name="T5" fmla="*/ 2147483647 h 98"/>
                  <a:gd name="T6" fmla="*/ 2147483647 w 135"/>
                  <a:gd name="T7" fmla="*/ 2147483647 h 98"/>
                  <a:gd name="T8" fmla="*/ 2147483647 w 135"/>
                  <a:gd name="T9" fmla="*/ 2147483647 h 98"/>
                  <a:gd name="T10" fmla="*/ 2147483647 w 135"/>
                  <a:gd name="T11" fmla="*/ 2147483647 h 98"/>
                  <a:gd name="T12" fmla="*/ 2147483647 w 135"/>
                  <a:gd name="T13" fmla="*/ 2147483647 h 98"/>
                  <a:gd name="T14" fmla="*/ 2147483647 w 135"/>
                  <a:gd name="T15" fmla="*/ 2147483647 h 98"/>
                  <a:gd name="T16" fmla="*/ 2147483647 w 135"/>
                  <a:gd name="T17" fmla="*/ 1586470587 h 98"/>
                  <a:gd name="T18" fmla="*/ 2147483647 w 135"/>
                  <a:gd name="T19" fmla="*/ 991671465 h 98"/>
                  <a:gd name="T20" fmla="*/ 2147483647 w 135"/>
                  <a:gd name="T21" fmla="*/ 396532359 h 98"/>
                  <a:gd name="T22" fmla="*/ 2147483647 w 135"/>
                  <a:gd name="T23" fmla="*/ 0 h 98"/>
                  <a:gd name="T24" fmla="*/ 2147483647 w 135"/>
                  <a:gd name="T25" fmla="*/ 0 h 98"/>
                  <a:gd name="T26" fmla="*/ 2147483647 w 135"/>
                  <a:gd name="T27" fmla="*/ 0 h 98"/>
                  <a:gd name="T28" fmla="*/ 2147483647 w 135"/>
                  <a:gd name="T29" fmla="*/ 594799122 h 98"/>
                  <a:gd name="T30" fmla="*/ 2147483647 w 135"/>
                  <a:gd name="T31" fmla="*/ 1189937645 h 98"/>
                  <a:gd name="T32" fmla="*/ 2147483647 w 135"/>
                  <a:gd name="T33" fmla="*/ 2147483647 h 98"/>
                  <a:gd name="T34" fmla="*/ 2147483647 w 135"/>
                  <a:gd name="T35" fmla="*/ 2147483647 h 98"/>
                  <a:gd name="T36" fmla="*/ 2147483647 w 135"/>
                  <a:gd name="T37" fmla="*/ 2147483647 h 98"/>
                  <a:gd name="T38" fmla="*/ 2147483647 w 135"/>
                  <a:gd name="T39" fmla="*/ 2147483647 h 98"/>
                  <a:gd name="T40" fmla="*/ 2147483647 w 135"/>
                  <a:gd name="T41" fmla="*/ 2147483647 h 98"/>
                  <a:gd name="T42" fmla="*/ 2147483647 w 135"/>
                  <a:gd name="T43" fmla="*/ 2147483647 h 98"/>
                  <a:gd name="T44" fmla="*/ 2147483647 w 135"/>
                  <a:gd name="T45" fmla="*/ 2147483647 h 98"/>
                  <a:gd name="T46" fmla="*/ 2147483647 w 135"/>
                  <a:gd name="T47" fmla="*/ 2147483647 h 98"/>
                  <a:gd name="T48" fmla="*/ 2147483647 w 135"/>
                  <a:gd name="T49" fmla="*/ 2147483647 h 98"/>
                  <a:gd name="T50" fmla="*/ 2147483647 w 135"/>
                  <a:gd name="T51" fmla="*/ 2147483647 h 98"/>
                  <a:gd name="T52" fmla="*/ 2147483647 w 135"/>
                  <a:gd name="T53" fmla="*/ 2147483647 h 98"/>
                  <a:gd name="T54" fmla="*/ 2147483647 w 135"/>
                  <a:gd name="T55" fmla="*/ 2147483647 h 98"/>
                  <a:gd name="T56" fmla="*/ 2147483647 w 135"/>
                  <a:gd name="T57" fmla="*/ 2147483647 h 98"/>
                  <a:gd name="T58" fmla="*/ 2147483647 w 135"/>
                  <a:gd name="T59" fmla="*/ 2147483647 h 98"/>
                  <a:gd name="T60" fmla="*/ 2147483647 w 135"/>
                  <a:gd name="T61" fmla="*/ 2147483647 h 98"/>
                  <a:gd name="T62" fmla="*/ 2147483647 w 135"/>
                  <a:gd name="T63" fmla="*/ 2147483647 h 98"/>
                  <a:gd name="T64" fmla="*/ 2147483647 w 135"/>
                  <a:gd name="T65" fmla="*/ 2147483647 h 98"/>
                  <a:gd name="T66" fmla="*/ 2147483647 w 135"/>
                  <a:gd name="T67" fmla="*/ 2147483647 h 98"/>
                  <a:gd name="T68" fmla="*/ 2025599210 w 135"/>
                  <a:gd name="T69" fmla="*/ 2147483647 h 98"/>
                  <a:gd name="T70" fmla="*/ 1061068035 w 135"/>
                  <a:gd name="T71" fmla="*/ 2147483647 h 98"/>
                  <a:gd name="T72" fmla="*/ 482265588 w 135"/>
                  <a:gd name="T73" fmla="*/ 2147483647 h 98"/>
                  <a:gd name="T74" fmla="*/ 96537318 w 135"/>
                  <a:gd name="T75" fmla="*/ 2147483647 h 98"/>
                  <a:gd name="T76" fmla="*/ 0 w 135"/>
                  <a:gd name="T77" fmla="*/ 2147483647 h 98"/>
                  <a:gd name="T78" fmla="*/ 0 w 135"/>
                  <a:gd name="T79" fmla="*/ 2147483647 h 98"/>
                  <a:gd name="T80" fmla="*/ 289401453 w 135"/>
                  <a:gd name="T81" fmla="*/ 2147483647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5" name="Freeform 272"/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12879655" y="2769760"/>
                <a:ext cx="120650" cy="171450"/>
              </a:xfrm>
              <a:custGeom>
                <a:avLst/>
                <a:gdLst>
                  <a:gd name="T0" fmla="*/ 2147483647 w 266"/>
                  <a:gd name="T1" fmla="*/ 1309110682 h 326"/>
                  <a:gd name="T2" fmla="*/ 2147483647 w 266"/>
                  <a:gd name="T3" fmla="*/ 2147483647 h 326"/>
                  <a:gd name="T4" fmla="*/ 2147483647 w 266"/>
                  <a:gd name="T5" fmla="*/ 2147483647 h 326"/>
                  <a:gd name="T6" fmla="*/ 2147483647 w 266"/>
                  <a:gd name="T7" fmla="*/ 2147483647 h 326"/>
                  <a:gd name="T8" fmla="*/ 2147483647 w 266"/>
                  <a:gd name="T9" fmla="*/ 2147483647 h 326"/>
                  <a:gd name="T10" fmla="*/ 2147483647 w 266"/>
                  <a:gd name="T11" fmla="*/ 2147483647 h 326"/>
                  <a:gd name="T12" fmla="*/ 2147483647 w 266"/>
                  <a:gd name="T13" fmla="*/ 2147483647 h 326"/>
                  <a:gd name="T14" fmla="*/ 2147483647 w 266"/>
                  <a:gd name="T15" fmla="*/ 2147483647 h 326"/>
                  <a:gd name="T16" fmla="*/ 2147483647 w 266"/>
                  <a:gd name="T17" fmla="*/ 2147483647 h 326"/>
                  <a:gd name="T18" fmla="*/ 2147483647 w 266"/>
                  <a:gd name="T19" fmla="*/ 2147483647 h 326"/>
                  <a:gd name="T20" fmla="*/ 2147483647 w 266"/>
                  <a:gd name="T21" fmla="*/ 2147483647 h 326"/>
                  <a:gd name="T22" fmla="*/ 2147483647 w 266"/>
                  <a:gd name="T23" fmla="*/ 2147483647 h 326"/>
                  <a:gd name="T24" fmla="*/ 2147483647 w 266"/>
                  <a:gd name="T25" fmla="*/ 2147483647 h 326"/>
                  <a:gd name="T26" fmla="*/ 2147483647 w 266"/>
                  <a:gd name="T27" fmla="*/ 2147483647 h 326"/>
                  <a:gd name="T28" fmla="*/ 2147483647 w 266"/>
                  <a:gd name="T29" fmla="*/ 2147483647 h 326"/>
                  <a:gd name="T30" fmla="*/ 2147483647 w 266"/>
                  <a:gd name="T31" fmla="*/ 2147483647 h 326"/>
                  <a:gd name="T32" fmla="*/ 2147483647 w 266"/>
                  <a:gd name="T33" fmla="*/ 2147483647 h 326"/>
                  <a:gd name="T34" fmla="*/ 2147483647 w 266"/>
                  <a:gd name="T35" fmla="*/ 2147483647 h 326"/>
                  <a:gd name="T36" fmla="*/ 2147483647 w 266"/>
                  <a:gd name="T37" fmla="*/ 2147483647 h 326"/>
                  <a:gd name="T38" fmla="*/ 2147483647 w 266"/>
                  <a:gd name="T39" fmla="*/ 2147483647 h 326"/>
                  <a:gd name="T40" fmla="*/ 2147483647 w 266"/>
                  <a:gd name="T41" fmla="*/ 2147483647 h 326"/>
                  <a:gd name="T42" fmla="*/ 2147483647 w 266"/>
                  <a:gd name="T43" fmla="*/ 2147483647 h 326"/>
                  <a:gd name="T44" fmla="*/ 2147483647 w 266"/>
                  <a:gd name="T45" fmla="*/ 2147483647 h 326"/>
                  <a:gd name="T46" fmla="*/ 2147483647 w 266"/>
                  <a:gd name="T47" fmla="*/ 2147483647 h 326"/>
                  <a:gd name="T48" fmla="*/ 2147483647 w 266"/>
                  <a:gd name="T49" fmla="*/ 2147483647 h 326"/>
                  <a:gd name="T50" fmla="*/ 2147483647 w 266"/>
                  <a:gd name="T51" fmla="*/ 2147483647 h 326"/>
                  <a:gd name="T52" fmla="*/ 2147483647 w 266"/>
                  <a:gd name="T53" fmla="*/ 2147483647 h 326"/>
                  <a:gd name="T54" fmla="*/ 2147483647 w 266"/>
                  <a:gd name="T55" fmla="*/ 2147483647 h 326"/>
                  <a:gd name="T56" fmla="*/ 2147483647 w 266"/>
                  <a:gd name="T57" fmla="*/ 2147483647 h 326"/>
                  <a:gd name="T58" fmla="*/ 2147483647 w 266"/>
                  <a:gd name="T59" fmla="*/ 2147483647 h 326"/>
                  <a:gd name="T60" fmla="*/ 2147483647 w 266"/>
                  <a:gd name="T61" fmla="*/ 2147483647 h 326"/>
                  <a:gd name="T62" fmla="*/ 2147483647 w 266"/>
                  <a:gd name="T63" fmla="*/ 2147483647 h 326"/>
                  <a:gd name="T64" fmla="*/ 2147483647 w 266"/>
                  <a:gd name="T65" fmla="*/ 2147483647 h 326"/>
                  <a:gd name="T66" fmla="*/ 2147483647 w 266"/>
                  <a:gd name="T67" fmla="*/ 2147483647 h 326"/>
                  <a:gd name="T68" fmla="*/ 2147483647 w 266"/>
                  <a:gd name="T69" fmla="*/ 2147483647 h 326"/>
                  <a:gd name="T70" fmla="*/ 2147483647 w 266"/>
                  <a:gd name="T71" fmla="*/ 2147483647 h 326"/>
                  <a:gd name="T72" fmla="*/ 2147483647 w 266"/>
                  <a:gd name="T73" fmla="*/ 2147483647 h 326"/>
                  <a:gd name="T74" fmla="*/ 2147483647 w 266"/>
                  <a:gd name="T75" fmla="*/ 2147483647 h 326"/>
                  <a:gd name="T76" fmla="*/ 2147483647 w 266"/>
                  <a:gd name="T77" fmla="*/ 2147483647 h 326"/>
                  <a:gd name="T78" fmla="*/ 1212966568 w 266"/>
                  <a:gd name="T79" fmla="*/ 2147483647 h 326"/>
                  <a:gd name="T80" fmla="*/ 373189046 w 266"/>
                  <a:gd name="T81" fmla="*/ 2147483647 h 326"/>
                  <a:gd name="T82" fmla="*/ 1772955832 w 266"/>
                  <a:gd name="T83" fmla="*/ 2147483647 h 326"/>
                  <a:gd name="T84" fmla="*/ 2147483647 w 266"/>
                  <a:gd name="T85" fmla="*/ 2147483647 h 326"/>
                  <a:gd name="T86" fmla="*/ 2147483647 w 266"/>
                  <a:gd name="T87" fmla="*/ 2147483647 h 326"/>
                  <a:gd name="T88" fmla="*/ 2147483647 w 266"/>
                  <a:gd name="T89" fmla="*/ 2147483647 h 326"/>
                  <a:gd name="T90" fmla="*/ 2147483647 w 266"/>
                  <a:gd name="T91" fmla="*/ 2147483647 h 326"/>
                  <a:gd name="T92" fmla="*/ 2147483647 w 266"/>
                  <a:gd name="T93" fmla="*/ 2147483647 h 326"/>
                  <a:gd name="T94" fmla="*/ 2147483647 w 266"/>
                  <a:gd name="T95" fmla="*/ 2147483647 h 326"/>
                  <a:gd name="T96" fmla="*/ 2147483647 w 266"/>
                  <a:gd name="T97" fmla="*/ 2147483647 h 326"/>
                  <a:gd name="T98" fmla="*/ 2147483647 w 266"/>
                  <a:gd name="T99" fmla="*/ 581949685 h 326"/>
                  <a:gd name="T100" fmla="*/ 2147483647 w 266"/>
                  <a:gd name="T101" fmla="*/ 0 h 32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6" name="Freeform 273"/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11950968" y="3184097"/>
                <a:ext cx="206375" cy="123825"/>
              </a:xfrm>
              <a:custGeom>
                <a:avLst/>
                <a:gdLst>
                  <a:gd name="T0" fmla="*/ 2147483647 w 471"/>
                  <a:gd name="T1" fmla="*/ 0 h 237"/>
                  <a:gd name="T2" fmla="*/ 2147483647 w 471"/>
                  <a:gd name="T3" fmla="*/ 998263043 h 237"/>
                  <a:gd name="T4" fmla="*/ 2147483647 w 471"/>
                  <a:gd name="T5" fmla="*/ 1854033815 h 237"/>
                  <a:gd name="T6" fmla="*/ 2147483647 w 471"/>
                  <a:gd name="T7" fmla="*/ 2147483647 h 237"/>
                  <a:gd name="T8" fmla="*/ 2147483647 w 471"/>
                  <a:gd name="T9" fmla="*/ 2147483647 h 237"/>
                  <a:gd name="T10" fmla="*/ 2147483647 w 471"/>
                  <a:gd name="T11" fmla="*/ 2147483647 h 237"/>
                  <a:gd name="T12" fmla="*/ 2147483647 w 471"/>
                  <a:gd name="T13" fmla="*/ 2147483647 h 237"/>
                  <a:gd name="T14" fmla="*/ 2147483647 w 471"/>
                  <a:gd name="T15" fmla="*/ 2147483647 h 237"/>
                  <a:gd name="T16" fmla="*/ 2147483647 w 471"/>
                  <a:gd name="T17" fmla="*/ 2147483647 h 237"/>
                  <a:gd name="T18" fmla="*/ 2147483647 w 471"/>
                  <a:gd name="T19" fmla="*/ 2147483647 h 237"/>
                  <a:gd name="T20" fmla="*/ 2147483647 w 471"/>
                  <a:gd name="T21" fmla="*/ 2147483647 h 237"/>
                  <a:gd name="T22" fmla="*/ 2147483647 w 471"/>
                  <a:gd name="T23" fmla="*/ 2147483647 h 237"/>
                  <a:gd name="T24" fmla="*/ 2147483647 w 471"/>
                  <a:gd name="T25" fmla="*/ 2147483647 h 237"/>
                  <a:gd name="T26" fmla="*/ 2147483647 w 471"/>
                  <a:gd name="T27" fmla="*/ 2147483647 h 237"/>
                  <a:gd name="T28" fmla="*/ 2147483647 w 471"/>
                  <a:gd name="T29" fmla="*/ 2147483647 h 237"/>
                  <a:gd name="T30" fmla="*/ 2147483647 w 471"/>
                  <a:gd name="T31" fmla="*/ 2147483647 h 237"/>
                  <a:gd name="T32" fmla="*/ 2147483647 w 471"/>
                  <a:gd name="T33" fmla="*/ 2147483647 h 237"/>
                  <a:gd name="T34" fmla="*/ 2147483647 w 471"/>
                  <a:gd name="T35" fmla="*/ 2147483647 h 237"/>
                  <a:gd name="T36" fmla="*/ 2147483647 w 471"/>
                  <a:gd name="T37" fmla="*/ 2147483647 h 237"/>
                  <a:gd name="T38" fmla="*/ 2147483647 w 471"/>
                  <a:gd name="T39" fmla="*/ 2147483647 h 237"/>
                  <a:gd name="T40" fmla="*/ 2147483647 w 471"/>
                  <a:gd name="T41" fmla="*/ 2147483647 h 237"/>
                  <a:gd name="T42" fmla="*/ 2147483647 w 471"/>
                  <a:gd name="T43" fmla="*/ 2147483647 h 237"/>
                  <a:gd name="T44" fmla="*/ 2147483647 w 471"/>
                  <a:gd name="T45" fmla="*/ 2147483647 h 237"/>
                  <a:gd name="T46" fmla="*/ 2147483647 w 471"/>
                  <a:gd name="T47" fmla="*/ 2147483647 h 237"/>
                  <a:gd name="T48" fmla="*/ 2147483647 w 471"/>
                  <a:gd name="T49" fmla="*/ 2147483647 h 237"/>
                  <a:gd name="T50" fmla="*/ 2147483647 w 471"/>
                  <a:gd name="T51" fmla="*/ 2147483647 h 237"/>
                  <a:gd name="T52" fmla="*/ 2147483647 w 471"/>
                  <a:gd name="T53" fmla="*/ 2147483647 h 237"/>
                  <a:gd name="T54" fmla="*/ 2147483647 w 471"/>
                  <a:gd name="T55" fmla="*/ 2147483647 h 237"/>
                  <a:gd name="T56" fmla="*/ 2147483647 w 471"/>
                  <a:gd name="T57" fmla="*/ 2147483647 h 237"/>
                  <a:gd name="T58" fmla="*/ 2147483647 w 471"/>
                  <a:gd name="T59" fmla="*/ 2147483647 h 237"/>
                  <a:gd name="T60" fmla="*/ 2147483647 w 471"/>
                  <a:gd name="T61" fmla="*/ 2147483647 h 237"/>
                  <a:gd name="T62" fmla="*/ 2147483647 w 471"/>
                  <a:gd name="T63" fmla="*/ 2147483647 h 237"/>
                  <a:gd name="T64" fmla="*/ 2147483647 w 471"/>
                  <a:gd name="T65" fmla="*/ 2147483647 h 237"/>
                  <a:gd name="T66" fmla="*/ 2147483647 w 471"/>
                  <a:gd name="T67" fmla="*/ 2147483647 h 237"/>
                  <a:gd name="T68" fmla="*/ 2147483647 w 471"/>
                  <a:gd name="T69" fmla="*/ 2147483647 h 237"/>
                  <a:gd name="T70" fmla="*/ 2147483647 w 471"/>
                  <a:gd name="T71" fmla="*/ 2147483647 h 237"/>
                  <a:gd name="T72" fmla="*/ 1009469072 w 471"/>
                  <a:gd name="T73" fmla="*/ 2147483647 h 237"/>
                  <a:gd name="T74" fmla="*/ 588824681 w 471"/>
                  <a:gd name="T75" fmla="*/ 0 h 23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71" h="237">
                    <a:moveTo>
                      <a:pt x="7" y="0"/>
                    </a:moveTo>
                    <a:lnTo>
                      <a:pt x="86" y="0"/>
                    </a:lnTo>
                    <a:lnTo>
                      <a:pt x="89" y="4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25" y="23"/>
                    </a:lnTo>
                    <a:lnTo>
                      <a:pt x="147" y="32"/>
                    </a:lnTo>
                    <a:lnTo>
                      <a:pt x="159" y="37"/>
                    </a:lnTo>
                    <a:lnTo>
                      <a:pt x="192" y="58"/>
                    </a:lnTo>
                    <a:lnTo>
                      <a:pt x="223" y="77"/>
                    </a:lnTo>
                    <a:lnTo>
                      <a:pt x="237" y="88"/>
                    </a:lnTo>
                    <a:lnTo>
                      <a:pt x="253" y="97"/>
                    </a:lnTo>
                    <a:lnTo>
                      <a:pt x="267" y="105"/>
                    </a:lnTo>
                    <a:lnTo>
                      <a:pt x="283" y="113"/>
                    </a:lnTo>
                    <a:lnTo>
                      <a:pt x="299" y="121"/>
                    </a:lnTo>
                    <a:lnTo>
                      <a:pt x="316" y="127"/>
                    </a:lnTo>
                    <a:lnTo>
                      <a:pt x="335" y="133"/>
                    </a:lnTo>
                    <a:lnTo>
                      <a:pt x="355" y="139"/>
                    </a:lnTo>
                    <a:lnTo>
                      <a:pt x="376" y="143"/>
                    </a:lnTo>
                    <a:lnTo>
                      <a:pt x="399" y="146"/>
                    </a:lnTo>
                    <a:lnTo>
                      <a:pt x="424" y="148"/>
                    </a:lnTo>
                    <a:lnTo>
                      <a:pt x="451" y="148"/>
                    </a:lnTo>
                    <a:lnTo>
                      <a:pt x="451" y="179"/>
                    </a:lnTo>
                    <a:lnTo>
                      <a:pt x="452" y="187"/>
                    </a:lnTo>
                    <a:lnTo>
                      <a:pt x="457" y="202"/>
                    </a:lnTo>
                    <a:lnTo>
                      <a:pt x="459" y="211"/>
                    </a:lnTo>
                    <a:lnTo>
                      <a:pt x="462" y="219"/>
                    </a:lnTo>
                    <a:lnTo>
                      <a:pt x="467" y="227"/>
                    </a:lnTo>
                    <a:lnTo>
                      <a:pt x="471" y="234"/>
                    </a:lnTo>
                    <a:lnTo>
                      <a:pt x="467" y="236"/>
                    </a:lnTo>
                    <a:lnTo>
                      <a:pt x="459" y="237"/>
                    </a:lnTo>
                    <a:lnTo>
                      <a:pt x="451" y="236"/>
                    </a:lnTo>
                    <a:lnTo>
                      <a:pt x="440" y="235"/>
                    </a:lnTo>
                    <a:lnTo>
                      <a:pt x="416" y="231"/>
                    </a:lnTo>
                    <a:lnTo>
                      <a:pt x="390" y="226"/>
                    </a:lnTo>
                    <a:lnTo>
                      <a:pt x="362" y="219"/>
                    </a:lnTo>
                    <a:lnTo>
                      <a:pt x="337" y="213"/>
                    </a:lnTo>
                    <a:lnTo>
                      <a:pt x="315" y="207"/>
                    </a:lnTo>
                    <a:lnTo>
                      <a:pt x="299" y="204"/>
                    </a:lnTo>
                    <a:lnTo>
                      <a:pt x="294" y="203"/>
                    </a:lnTo>
                    <a:lnTo>
                      <a:pt x="290" y="201"/>
                    </a:lnTo>
                    <a:lnTo>
                      <a:pt x="287" y="199"/>
                    </a:lnTo>
                    <a:lnTo>
                      <a:pt x="283" y="196"/>
                    </a:lnTo>
                    <a:lnTo>
                      <a:pt x="277" y="190"/>
                    </a:lnTo>
                    <a:lnTo>
                      <a:pt x="272" y="184"/>
                    </a:lnTo>
                    <a:lnTo>
                      <a:pt x="267" y="178"/>
                    </a:lnTo>
                    <a:lnTo>
                      <a:pt x="261" y="171"/>
                    </a:lnTo>
                    <a:lnTo>
                      <a:pt x="255" y="166"/>
                    </a:lnTo>
                    <a:lnTo>
                      <a:pt x="246" y="160"/>
                    </a:lnTo>
                    <a:lnTo>
                      <a:pt x="240" y="159"/>
                    </a:lnTo>
                    <a:lnTo>
                      <a:pt x="234" y="158"/>
                    </a:lnTo>
                    <a:lnTo>
                      <a:pt x="227" y="159"/>
                    </a:lnTo>
                    <a:lnTo>
                      <a:pt x="221" y="159"/>
                    </a:lnTo>
                    <a:lnTo>
                      <a:pt x="205" y="163"/>
                    </a:lnTo>
                    <a:lnTo>
                      <a:pt x="191" y="166"/>
                    </a:lnTo>
                    <a:lnTo>
                      <a:pt x="183" y="167"/>
                    </a:lnTo>
                    <a:lnTo>
                      <a:pt x="176" y="168"/>
                    </a:lnTo>
                    <a:lnTo>
                      <a:pt x="169" y="168"/>
                    </a:lnTo>
                    <a:lnTo>
                      <a:pt x="164" y="166"/>
                    </a:lnTo>
                    <a:lnTo>
                      <a:pt x="158" y="164"/>
                    </a:lnTo>
                    <a:lnTo>
                      <a:pt x="153" y="161"/>
                    </a:lnTo>
                    <a:lnTo>
                      <a:pt x="148" y="155"/>
                    </a:lnTo>
                    <a:lnTo>
                      <a:pt x="146" y="148"/>
                    </a:lnTo>
                    <a:lnTo>
                      <a:pt x="139" y="148"/>
                    </a:lnTo>
                    <a:lnTo>
                      <a:pt x="131" y="147"/>
                    </a:lnTo>
                    <a:lnTo>
                      <a:pt x="122" y="145"/>
                    </a:lnTo>
                    <a:lnTo>
                      <a:pt x="113" y="142"/>
                    </a:lnTo>
                    <a:lnTo>
                      <a:pt x="92" y="135"/>
                    </a:lnTo>
                    <a:lnTo>
                      <a:pt x="70" y="126"/>
                    </a:lnTo>
                    <a:lnTo>
                      <a:pt x="48" y="117"/>
                    </a:lnTo>
                    <a:lnTo>
                      <a:pt x="29" y="107"/>
                    </a:lnTo>
                    <a:lnTo>
                      <a:pt x="12" y="96"/>
                    </a:lnTo>
                    <a:lnTo>
                      <a:pt x="0" y="87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7" name="Freeform 274"/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12166868" y="3239660"/>
                <a:ext cx="73025" cy="65087"/>
              </a:xfrm>
              <a:custGeom>
                <a:avLst/>
                <a:gdLst>
                  <a:gd name="T0" fmla="*/ 2147483647 w 167"/>
                  <a:gd name="T1" fmla="*/ 2147483647 h 123"/>
                  <a:gd name="T2" fmla="*/ 2147483647 w 167"/>
                  <a:gd name="T3" fmla="*/ 2147483647 h 123"/>
                  <a:gd name="T4" fmla="*/ 2147483647 w 167"/>
                  <a:gd name="T5" fmla="*/ 2147483647 h 123"/>
                  <a:gd name="T6" fmla="*/ 2147483647 w 167"/>
                  <a:gd name="T7" fmla="*/ 2147483647 h 123"/>
                  <a:gd name="T8" fmla="*/ 2147483647 w 167"/>
                  <a:gd name="T9" fmla="*/ 2147483647 h 123"/>
                  <a:gd name="T10" fmla="*/ 2147483647 w 167"/>
                  <a:gd name="T11" fmla="*/ 2147483647 h 123"/>
                  <a:gd name="T12" fmla="*/ 2147483647 w 167"/>
                  <a:gd name="T13" fmla="*/ 2147483647 h 123"/>
                  <a:gd name="T14" fmla="*/ 2147483647 w 167"/>
                  <a:gd name="T15" fmla="*/ 2147483647 h 123"/>
                  <a:gd name="T16" fmla="*/ 2147483647 w 167"/>
                  <a:gd name="T17" fmla="*/ 2147483647 h 123"/>
                  <a:gd name="T18" fmla="*/ 2147483647 w 167"/>
                  <a:gd name="T19" fmla="*/ 2147483647 h 123"/>
                  <a:gd name="T20" fmla="*/ 2147483647 w 167"/>
                  <a:gd name="T21" fmla="*/ 2147483647 h 123"/>
                  <a:gd name="T22" fmla="*/ 2147483647 w 167"/>
                  <a:gd name="T23" fmla="*/ 2147483647 h 123"/>
                  <a:gd name="T24" fmla="*/ 2147483647 w 167"/>
                  <a:gd name="T25" fmla="*/ 2147483647 h 123"/>
                  <a:gd name="T26" fmla="*/ 2147483647 w 167"/>
                  <a:gd name="T27" fmla="*/ 2147483647 h 123"/>
                  <a:gd name="T28" fmla="*/ 2147483647 w 167"/>
                  <a:gd name="T29" fmla="*/ 2147483647 h 123"/>
                  <a:gd name="T30" fmla="*/ 2147483647 w 167"/>
                  <a:gd name="T31" fmla="*/ 2147483647 h 123"/>
                  <a:gd name="T32" fmla="*/ 2147483647 w 167"/>
                  <a:gd name="T33" fmla="*/ 2147483647 h 123"/>
                  <a:gd name="T34" fmla="*/ 2147483647 w 167"/>
                  <a:gd name="T35" fmla="*/ 2147483647 h 123"/>
                  <a:gd name="T36" fmla="*/ 2147483647 w 167"/>
                  <a:gd name="T37" fmla="*/ 2147483647 h 123"/>
                  <a:gd name="T38" fmla="*/ 2147483647 w 167"/>
                  <a:gd name="T39" fmla="*/ 2147483647 h 123"/>
                  <a:gd name="T40" fmla="*/ 2147483647 w 167"/>
                  <a:gd name="T41" fmla="*/ 2147483647 h 123"/>
                  <a:gd name="T42" fmla="*/ 2147483647 w 167"/>
                  <a:gd name="T43" fmla="*/ 2147483647 h 123"/>
                  <a:gd name="T44" fmla="*/ 2147483647 w 167"/>
                  <a:gd name="T45" fmla="*/ 2147483647 h 123"/>
                  <a:gd name="T46" fmla="*/ 1755879566 w 167"/>
                  <a:gd name="T47" fmla="*/ 2147483647 h 123"/>
                  <a:gd name="T48" fmla="*/ 0 w 167"/>
                  <a:gd name="T49" fmla="*/ 2147483647 h 123"/>
                  <a:gd name="T50" fmla="*/ 167308583 w 167"/>
                  <a:gd name="T51" fmla="*/ 2147483647 h 123"/>
                  <a:gd name="T52" fmla="*/ 417984605 w 167"/>
                  <a:gd name="T53" fmla="*/ 2147483647 h 123"/>
                  <a:gd name="T54" fmla="*/ 752410682 w 167"/>
                  <a:gd name="T55" fmla="*/ 2147483647 h 123"/>
                  <a:gd name="T56" fmla="*/ 1254145343 w 167"/>
                  <a:gd name="T57" fmla="*/ 2147483647 h 123"/>
                  <a:gd name="T58" fmla="*/ 1672321038 w 167"/>
                  <a:gd name="T59" fmla="*/ 2147483647 h 123"/>
                  <a:gd name="T60" fmla="*/ 2147483647 w 167"/>
                  <a:gd name="T61" fmla="*/ 2147483647 h 123"/>
                  <a:gd name="T62" fmla="*/ 2147483647 w 167"/>
                  <a:gd name="T63" fmla="*/ 2147483647 h 123"/>
                  <a:gd name="T64" fmla="*/ 2147483647 w 167"/>
                  <a:gd name="T65" fmla="*/ 2147483647 h 123"/>
                  <a:gd name="T66" fmla="*/ 2147483647 w 167"/>
                  <a:gd name="T67" fmla="*/ 2147483647 h 123"/>
                  <a:gd name="T68" fmla="*/ 2147483647 w 167"/>
                  <a:gd name="T69" fmla="*/ 2147483647 h 123"/>
                  <a:gd name="T70" fmla="*/ 2147483647 w 167"/>
                  <a:gd name="T71" fmla="*/ 1778083178 h 123"/>
                  <a:gd name="T72" fmla="*/ 2147483647 w 167"/>
                  <a:gd name="T73" fmla="*/ 0 h 123"/>
                  <a:gd name="T74" fmla="*/ 2147483647 w 167"/>
                  <a:gd name="T75" fmla="*/ 592787525 h 123"/>
                  <a:gd name="T76" fmla="*/ 2147483647 w 167"/>
                  <a:gd name="T77" fmla="*/ 1037168224 h 123"/>
                  <a:gd name="T78" fmla="*/ 2147483647 w 167"/>
                  <a:gd name="T79" fmla="*/ 1629956279 h 123"/>
                  <a:gd name="T80" fmla="*/ 2147483647 w 167"/>
                  <a:gd name="T81" fmla="*/ 2074336977 h 123"/>
                  <a:gd name="T82" fmla="*/ 2147483647 w 167"/>
                  <a:gd name="T83" fmla="*/ 2147483647 h 123"/>
                  <a:gd name="T84" fmla="*/ 2147483647 w 167"/>
                  <a:gd name="T85" fmla="*/ 2147483647 h 123"/>
                  <a:gd name="T86" fmla="*/ 2147483647 w 167"/>
                  <a:gd name="T87" fmla="*/ 2147483647 h 123"/>
                  <a:gd name="T88" fmla="*/ 2147483647 w 167"/>
                  <a:gd name="T89" fmla="*/ 2147483647 h 123"/>
                  <a:gd name="T90" fmla="*/ 2147483647 w 167"/>
                  <a:gd name="T91" fmla="*/ 2147483647 h 123"/>
                  <a:gd name="T92" fmla="*/ 2147483647 w 167"/>
                  <a:gd name="T93" fmla="*/ 2147483647 h 12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67" h="123">
                    <a:moveTo>
                      <a:pt x="167" y="43"/>
                    </a:moveTo>
                    <a:lnTo>
                      <a:pt x="164" y="54"/>
                    </a:lnTo>
                    <a:lnTo>
                      <a:pt x="161" y="66"/>
                    </a:lnTo>
                    <a:lnTo>
                      <a:pt x="155" y="79"/>
                    </a:lnTo>
                    <a:lnTo>
                      <a:pt x="150" y="93"/>
                    </a:lnTo>
                    <a:lnTo>
                      <a:pt x="146" y="99"/>
                    </a:lnTo>
                    <a:lnTo>
                      <a:pt x="142" y="105"/>
                    </a:lnTo>
                    <a:lnTo>
                      <a:pt x="138" y="110"/>
                    </a:lnTo>
                    <a:lnTo>
                      <a:pt x="132" y="114"/>
                    </a:lnTo>
                    <a:lnTo>
                      <a:pt x="127" y="118"/>
                    </a:lnTo>
                    <a:lnTo>
                      <a:pt x="121" y="121"/>
                    </a:lnTo>
                    <a:lnTo>
                      <a:pt x="115" y="122"/>
                    </a:lnTo>
                    <a:lnTo>
                      <a:pt x="107" y="123"/>
                    </a:lnTo>
                    <a:lnTo>
                      <a:pt x="100" y="122"/>
                    </a:lnTo>
                    <a:lnTo>
                      <a:pt x="92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2" y="109"/>
                    </a:lnTo>
                    <a:lnTo>
                      <a:pt x="81" y="105"/>
                    </a:lnTo>
                    <a:lnTo>
                      <a:pt x="71" y="104"/>
                    </a:lnTo>
                    <a:lnTo>
                      <a:pt x="61" y="103"/>
                    </a:lnTo>
                    <a:lnTo>
                      <a:pt x="51" y="101"/>
                    </a:lnTo>
                    <a:lnTo>
                      <a:pt x="41" y="98"/>
                    </a:lnTo>
                    <a:lnTo>
                      <a:pt x="21" y="92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9" y="56"/>
                    </a:lnTo>
                    <a:lnTo>
                      <a:pt x="15" y="43"/>
                    </a:lnTo>
                    <a:lnTo>
                      <a:pt x="20" y="43"/>
                    </a:lnTo>
                    <a:lnTo>
                      <a:pt x="26" y="42"/>
                    </a:lnTo>
                    <a:lnTo>
                      <a:pt x="30" y="41"/>
                    </a:lnTo>
                    <a:lnTo>
                      <a:pt x="33" y="38"/>
                    </a:lnTo>
                    <a:lnTo>
                      <a:pt x="40" y="33"/>
                    </a:lnTo>
                    <a:lnTo>
                      <a:pt x="45" y="26"/>
                    </a:lnTo>
                    <a:lnTo>
                      <a:pt x="52" y="12"/>
                    </a:lnTo>
                    <a:lnTo>
                      <a:pt x="61" y="0"/>
                    </a:lnTo>
                    <a:lnTo>
                      <a:pt x="64" y="4"/>
                    </a:lnTo>
                    <a:lnTo>
                      <a:pt x="67" y="7"/>
                    </a:lnTo>
                    <a:lnTo>
                      <a:pt x="73" y="11"/>
                    </a:lnTo>
                    <a:lnTo>
                      <a:pt x="78" y="14"/>
                    </a:lnTo>
                    <a:lnTo>
                      <a:pt x="92" y="21"/>
                    </a:lnTo>
                    <a:lnTo>
                      <a:pt x="107" y="28"/>
                    </a:lnTo>
                    <a:lnTo>
                      <a:pt x="122" y="35"/>
                    </a:lnTo>
                    <a:lnTo>
                      <a:pt x="139" y="39"/>
                    </a:lnTo>
                    <a:lnTo>
                      <a:pt x="153" y="42"/>
                    </a:lnTo>
                    <a:lnTo>
                      <a:pt x="167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8" name="Freeform 275"/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12157343" y="3311097"/>
                <a:ext cx="133350" cy="166688"/>
              </a:xfrm>
              <a:custGeom>
                <a:avLst/>
                <a:gdLst>
                  <a:gd name="T0" fmla="*/ 2147483647 w 306"/>
                  <a:gd name="T1" fmla="*/ 2147483647 h 321"/>
                  <a:gd name="T2" fmla="*/ 2147483647 w 306"/>
                  <a:gd name="T3" fmla="*/ 2147483647 h 321"/>
                  <a:gd name="T4" fmla="*/ 2147483647 w 306"/>
                  <a:gd name="T5" fmla="*/ 2147483647 h 321"/>
                  <a:gd name="T6" fmla="*/ 2147483647 w 306"/>
                  <a:gd name="T7" fmla="*/ 2147483647 h 321"/>
                  <a:gd name="T8" fmla="*/ 2147483647 w 306"/>
                  <a:gd name="T9" fmla="*/ 2147483647 h 321"/>
                  <a:gd name="T10" fmla="*/ 2147483647 w 306"/>
                  <a:gd name="T11" fmla="*/ 2147483647 h 321"/>
                  <a:gd name="T12" fmla="*/ 2147483647 w 306"/>
                  <a:gd name="T13" fmla="*/ 2147483647 h 321"/>
                  <a:gd name="T14" fmla="*/ 2147483647 w 306"/>
                  <a:gd name="T15" fmla="*/ 2147483647 h 321"/>
                  <a:gd name="T16" fmla="*/ 2147483647 w 306"/>
                  <a:gd name="T17" fmla="*/ 2147483647 h 321"/>
                  <a:gd name="T18" fmla="*/ 2147483647 w 306"/>
                  <a:gd name="T19" fmla="*/ 2147483647 h 321"/>
                  <a:gd name="T20" fmla="*/ 2147483647 w 306"/>
                  <a:gd name="T21" fmla="*/ 2147483647 h 321"/>
                  <a:gd name="T22" fmla="*/ 2147483647 w 306"/>
                  <a:gd name="T23" fmla="*/ 2147483647 h 321"/>
                  <a:gd name="T24" fmla="*/ 2147483647 w 306"/>
                  <a:gd name="T25" fmla="*/ 2147483647 h 321"/>
                  <a:gd name="T26" fmla="*/ 2147483647 w 306"/>
                  <a:gd name="T27" fmla="*/ 2147483647 h 321"/>
                  <a:gd name="T28" fmla="*/ 2147483647 w 306"/>
                  <a:gd name="T29" fmla="*/ 2147483647 h 321"/>
                  <a:gd name="T30" fmla="*/ 2147483647 w 306"/>
                  <a:gd name="T31" fmla="*/ 2147483647 h 321"/>
                  <a:gd name="T32" fmla="*/ 2147483647 w 306"/>
                  <a:gd name="T33" fmla="*/ 2147483647 h 321"/>
                  <a:gd name="T34" fmla="*/ 2147483647 w 306"/>
                  <a:gd name="T35" fmla="*/ 2147483647 h 321"/>
                  <a:gd name="T36" fmla="*/ 2147483647 w 306"/>
                  <a:gd name="T37" fmla="*/ 2147483647 h 321"/>
                  <a:gd name="T38" fmla="*/ 2147483647 w 306"/>
                  <a:gd name="T39" fmla="*/ 2147483647 h 321"/>
                  <a:gd name="T40" fmla="*/ 2147483647 w 306"/>
                  <a:gd name="T41" fmla="*/ 1680182326 h 321"/>
                  <a:gd name="T42" fmla="*/ 2147483647 w 306"/>
                  <a:gd name="T43" fmla="*/ 560060775 h 321"/>
                  <a:gd name="T44" fmla="*/ 2147483647 w 306"/>
                  <a:gd name="T45" fmla="*/ 0 h 321"/>
                  <a:gd name="T46" fmla="*/ 2147483647 w 306"/>
                  <a:gd name="T47" fmla="*/ 0 h 321"/>
                  <a:gd name="T48" fmla="*/ 2147483647 w 306"/>
                  <a:gd name="T49" fmla="*/ 139947818 h 321"/>
                  <a:gd name="T50" fmla="*/ 1820647596 w 306"/>
                  <a:gd name="T51" fmla="*/ 700008593 h 321"/>
                  <a:gd name="T52" fmla="*/ 827618908 w 306"/>
                  <a:gd name="T53" fmla="*/ 1960347466 h 321"/>
                  <a:gd name="T54" fmla="*/ 82799891 w 306"/>
                  <a:gd name="T55" fmla="*/ 2147483647 h 321"/>
                  <a:gd name="T56" fmla="*/ 165599782 w 306"/>
                  <a:gd name="T57" fmla="*/ 2147483647 h 321"/>
                  <a:gd name="T58" fmla="*/ 1241428362 w 306"/>
                  <a:gd name="T59" fmla="*/ 2147483647 h 321"/>
                  <a:gd name="T60" fmla="*/ 2147483647 w 306"/>
                  <a:gd name="T61" fmla="*/ 2147483647 h 321"/>
                  <a:gd name="T62" fmla="*/ 2147483647 w 306"/>
                  <a:gd name="T63" fmla="*/ 2147483647 h 321"/>
                  <a:gd name="T64" fmla="*/ 2147483647 w 306"/>
                  <a:gd name="T65" fmla="*/ 2147483647 h 321"/>
                  <a:gd name="T66" fmla="*/ 2069047270 w 306"/>
                  <a:gd name="T67" fmla="*/ 2147483647 h 321"/>
                  <a:gd name="T68" fmla="*/ 1406838142 w 306"/>
                  <a:gd name="T69" fmla="*/ 2147483647 h 321"/>
                  <a:gd name="T70" fmla="*/ 1158628471 w 306"/>
                  <a:gd name="T71" fmla="*/ 2147483647 h 321"/>
                  <a:gd name="T72" fmla="*/ 1158628471 w 306"/>
                  <a:gd name="T73" fmla="*/ 2147483647 h 321"/>
                  <a:gd name="T74" fmla="*/ 1489638033 w 306"/>
                  <a:gd name="T75" fmla="*/ 2147483647 h 321"/>
                  <a:gd name="T76" fmla="*/ 2147483647 w 306"/>
                  <a:gd name="T77" fmla="*/ 2147483647 h 321"/>
                  <a:gd name="T78" fmla="*/ 2147483647 w 306"/>
                  <a:gd name="T79" fmla="*/ 2147483647 h 321"/>
                  <a:gd name="T80" fmla="*/ 2147483647 w 306"/>
                  <a:gd name="T81" fmla="*/ 2147483647 h 321"/>
                  <a:gd name="T82" fmla="*/ 2147483647 w 306"/>
                  <a:gd name="T83" fmla="*/ 2147483647 h 321"/>
                  <a:gd name="T84" fmla="*/ 2147483647 w 306"/>
                  <a:gd name="T85" fmla="*/ 2147483647 h 321"/>
                  <a:gd name="T86" fmla="*/ 2147483647 w 306"/>
                  <a:gd name="T87" fmla="*/ 2147483647 h 321"/>
                  <a:gd name="T88" fmla="*/ 2147483647 w 306"/>
                  <a:gd name="T89" fmla="*/ 2147483647 h 321"/>
                  <a:gd name="T90" fmla="*/ 2147483647 w 306"/>
                  <a:gd name="T91" fmla="*/ 2147483647 h 321"/>
                  <a:gd name="T92" fmla="*/ 2147483647 w 306"/>
                  <a:gd name="T93" fmla="*/ 2147483647 h 321"/>
                  <a:gd name="T94" fmla="*/ 2147483647 w 306"/>
                  <a:gd name="T95" fmla="*/ 2147483647 h 321"/>
                  <a:gd name="T96" fmla="*/ 2147483647 w 306"/>
                  <a:gd name="T97" fmla="*/ 2147483647 h 321"/>
                  <a:gd name="T98" fmla="*/ 2147483647 w 306"/>
                  <a:gd name="T99" fmla="*/ 2147483647 h 321"/>
                  <a:gd name="T100" fmla="*/ 2147483647 w 306"/>
                  <a:gd name="T101" fmla="*/ 2147483647 h 321"/>
                  <a:gd name="T102" fmla="*/ 2147483647 w 306"/>
                  <a:gd name="T103" fmla="*/ 2147483647 h 321"/>
                  <a:gd name="T104" fmla="*/ 2147483647 w 306"/>
                  <a:gd name="T105" fmla="*/ 2147483647 h 321"/>
                  <a:gd name="T106" fmla="*/ 2147483647 w 306"/>
                  <a:gd name="T107" fmla="*/ 2147483647 h 321"/>
                  <a:gd name="T108" fmla="*/ 2147483647 w 306"/>
                  <a:gd name="T109" fmla="*/ 2147483647 h 321"/>
                  <a:gd name="T110" fmla="*/ 2147483647 w 306"/>
                  <a:gd name="T111" fmla="*/ 2147483647 h 321"/>
                  <a:gd name="T112" fmla="*/ 2147483647 w 306"/>
                  <a:gd name="T113" fmla="*/ 2147483647 h 321"/>
                  <a:gd name="T114" fmla="*/ 2147483647 w 306"/>
                  <a:gd name="T115" fmla="*/ 2147483647 h 32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39" name="Freeform 276"/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12474843" y="3426985"/>
                <a:ext cx="201612" cy="269875"/>
              </a:xfrm>
              <a:custGeom>
                <a:avLst/>
                <a:gdLst>
                  <a:gd name="T0" fmla="*/ 2147483647 w 471"/>
                  <a:gd name="T1" fmla="*/ 1697011512 h 518"/>
                  <a:gd name="T2" fmla="*/ 2147483647 w 471"/>
                  <a:gd name="T3" fmla="*/ 2147483647 h 518"/>
                  <a:gd name="T4" fmla="*/ 2147483647 w 471"/>
                  <a:gd name="T5" fmla="*/ 2147483647 h 518"/>
                  <a:gd name="T6" fmla="*/ 2117561656 w 471"/>
                  <a:gd name="T7" fmla="*/ 2147483647 h 518"/>
                  <a:gd name="T8" fmla="*/ 627371171 w 471"/>
                  <a:gd name="T9" fmla="*/ 2147483647 h 518"/>
                  <a:gd name="T10" fmla="*/ 548950095 w 471"/>
                  <a:gd name="T11" fmla="*/ 2147483647 h 518"/>
                  <a:gd name="T12" fmla="*/ 2147483647 w 471"/>
                  <a:gd name="T13" fmla="*/ 2147483647 h 518"/>
                  <a:gd name="T14" fmla="*/ 2147483647 w 471"/>
                  <a:gd name="T15" fmla="*/ 2147483647 h 518"/>
                  <a:gd name="T16" fmla="*/ 2147483647 w 471"/>
                  <a:gd name="T17" fmla="*/ 2147483647 h 518"/>
                  <a:gd name="T18" fmla="*/ 2147483647 w 471"/>
                  <a:gd name="T19" fmla="*/ 2147483647 h 518"/>
                  <a:gd name="T20" fmla="*/ 2147483647 w 471"/>
                  <a:gd name="T21" fmla="*/ 2147483647 h 518"/>
                  <a:gd name="T22" fmla="*/ 2147483647 w 471"/>
                  <a:gd name="T23" fmla="*/ 2147483647 h 518"/>
                  <a:gd name="T24" fmla="*/ 2147483647 w 471"/>
                  <a:gd name="T25" fmla="*/ 2147483647 h 518"/>
                  <a:gd name="T26" fmla="*/ 2147483647 w 471"/>
                  <a:gd name="T27" fmla="*/ 2147483647 h 518"/>
                  <a:gd name="T28" fmla="*/ 2147483647 w 471"/>
                  <a:gd name="T29" fmla="*/ 2147483647 h 518"/>
                  <a:gd name="T30" fmla="*/ 2147483647 w 471"/>
                  <a:gd name="T31" fmla="*/ 2147483647 h 518"/>
                  <a:gd name="T32" fmla="*/ 2147483647 w 471"/>
                  <a:gd name="T33" fmla="*/ 2147483647 h 518"/>
                  <a:gd name="T34" fmla="*/ 2147483647 w 471"/>
                  <a:gd name="T35" fmla="*/ 2147483647 h 518"/>
                  <a:gd name="T36" fmla="*/ 2147483647 w 471"/>
                  <a:gd name="T37" fmla="*/ 2147483647 h 518"/>
                  <a:gd name="T38" fmla="*/ 2147483647 w 471"/>
                  <a:gd name="T39" fmla="*/ 2147483647 h 518"/>
                  <a:gd name="T40" fmla="*/ 2147483647 w 471"/>
                  <a:gd name="T41" fmla="*/ 2147483647 h 518"/>
                  <a:gd name="T42" fmla="*/ 2147483647 w 471"/>
                  <a:gd name="T43" fmla="*/ 2147483647 h 518"/>
                  <a:gd name="T44" fmla="*/ 2147483647 w 471"/>
                  <a:gd name="T45" fmla="*/ 2147483647 h 518"/>
                  <a:gd name="T46" fmla="*/ 2147483647 w 471"/>
                  <a:gd name="T47" fmla="*/ 2147483647 h 518"/>
                  <a:gd name="T48" fmla="*/ 2147483647 w 471"/>
                  <a:gd name="T49" fmla="*/ 2147483647 h 518"/>
                  <a:gd name="T50" fmla="*/ 2147483647 w 471"/>
                  <a:gd name="T51" fmla="*/ 2147483647 h 518"/>
                  <a:gd name="T52" fmla="*/ 2147483647 w 471"/>
                  <a:gd name="T53" fmla="*/ 2147483647 h 518"/>
                  <a:gd name="T54" fmla="*/ 2147483647 w 471"/>
                  <a:gd name="T55" fmla="*/ 2147483647 h 518"/>
                  <a:gd name="T56" fmla="*/ 2147483647 w 471"/>
                  <a:gd name="T57" fmla="*/ 2147483647 h 518"/>
                  <a:gd name="T58" fmla="*/ 2147483647 w 471"/>
                  <a:gd name="T59" fmla="*/ 2147483647 h 518"/>
                  <a:gd name="T60" fmla="*/ 2147483647 w 471"/>
                  <a:gd name="T61" fmla="*/ 2147483647 h 518"/>
                  <a:gd name="T62" fmla="*/ 2147483647 w 471"/>
                  <a:gd name="T63" fmla="*/ 2147483647 h 518"/>
                  <a:gd name="T64" fmla="*/ 2147483647 w 471"/>
                  <a:gd name="T65" fmla="*/ 2147483647 h 518"/>
                  <a:gd name="T66" fmla="*/ 2147483647 w 471"/>
                  <a:gd name="T67" fmla="*/ 2147483647 h 518"/>
                  <a:gd name="T68" fmla="*/ 2147483647 w 471"/>
                  <a:gd name="T69" fmla="*/ 2147483647 h 518"/>
                  <a:gd name="T70" fmla="*/ 2147483647 w 471"/>
                  <a:gd name="T71" fmla="*/ 2147483647 h 518"/>
                  <a:gd name="T72" fmla="*/ 2147483647 w 471"/>
                  <a:gd name="T73" fmla="*/ 2147483647 h 518"/>
                  <a:gd name="T74" fmla="*/ 2147483647 w 471"/>
                  <a:gd name="T75" fmla="*/ 2147483647 h 518"/>
                  <a:gd name="T76" fmla="*/ 2147483647 w 471"/>
                  <a:gd name="T77" fmla="*/ 2147483647 h 518"/>
                  <a:gd name="T78" fmla="*/ 2147483647 w 471"/>
                  <a:gd name="T79" fmla="*/ 2147483647 h 518"/>
                  <a:gd name="T80" fmla="*/ 2147483647 w 471"/>
                  <a:gd name="T81" fmla="*/ 2147483647 h 518"/>
                  <a:gd name="T82" fmla="*/ 2147483647 w 471"/>
                  <a:gd name="T83" fmla="*/ 2147483647 h 518"/>
                  <a:gd name="T84" fmla="*/ 2147483647 w 471"/>
                  <a:gd name="T85" fmla="*/ 2147483647 h 518"/>
                  <a:gd name="T86" fmla="*/ 2147483647 w 471"/>
                  <a:gd name="T87" fmla="*/ 1979846764 h 51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0" name="Freeform 277"/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12557393" y="3677810"/>
                <a:ext cx="133350" cy="130175"/>
              </a:xfrm>
              <a:custGeom>
                <a:avLst/>
                <a:gdLst>
                  <a:gd name="T0" fmla="*/ 2147483647 w 293"/>
                  <a:gd name="T1" fmla="*/ 2147483647 h 246"/>
                  <a:gd name="T2" fmla="*/ 2147483647 w 293"/>
                  <a:gd name="T3" fmla="*/ 2147483647 h 246"/>
                  <a:gd name="T4" fmla="*/ 2147483647 w 293"/>
                  <a:gd name="T5" fmla="*/ 2147483647 h 246"/>
                  <a:gd name="T6" fmla="*/ 2147483647 w 293"/>
                  <a:gd name="T7" fmla="*/ 2147483647 h 246"/>
                  <a:gd name="T8" fmla="*/ 2147483647 w 293"/>
                  <a:gd name="T9" fmla="*/ 1481851875 h 246"/>
                  <a:gd name="T10" fmla="*/ 2147483647 w 293"/>
                  <a:gd name="T11" fmla="*/ 889055033 h 246"/>
                  <a:gd name="T12" fmla="*/ 2147483647 w 293"/>
                  <a:gd name="T13" fmla="*/ 296258192 h 246"/>
                  <a:gd name="T14" fmla="*/ 2147483647 w 293"/>
                  <a:gd name="T15" fmla="*/ 2147483647 h 246"/>
                  <a:gd name="T16" fmla="*/ 2147483647 w 293"/>
                  <a:gd name="T17" fmla="*/ 2147483647 h 246"/>
                  <a:gd name="T18" fmla="*/ 2147483647 w 293"/>
                  <a:gd name="T19" fmla="*/ 2147483647 h 246"/>
                  <a:gd name="T20" fmla="*/ 2147483647 w 293"/>
                  <a:gd name="T21" fmla="*/ 2147483647 h 246"/>
                  <a:gd name="T22" fmla="*/ 2147483647 w 293"/>
                  <a:gd name="T23" fmla="*/ 2147483647 h 246"/>
                  <a:gd name="T24" fmla="*/ 2147483647 w 293"/>
                  <a:gd name="T25" fmla="*/ 2147483647 h 246"/>
                  <a:gd name="T26" fmla="*/ 2147483647 w 293"/>
                  <a:gd name="T27" fmla="*/ 2147483647 h 246"/>
                  <a:gd name="T28" fmla="*/ 2147483647 w 293"/>
                  <a:gd name="T29" fmla="*/ 2147483647 h 246"/>
                  <a:gd name="T30" fmla="*/ 2147483647 w 293"/>
                  <a:gd name="T31" fmla="*/ 2147483647 h 246"/>
                  <a:gd name="T32" fmla="*/ 2147483647 w 293"/>
                  <a:gd name="T33" fmla="*/ 2147483647 h 246"/>
                  <a:gd name="T34" fmla="*/ 2147483647 w 293"/>
                  <a:gd name="T35" fmla="*/ 2147483647 h 246"/>
                  <a:gd name="T36" fmla="*/ 2147483647 w 293"/>
                  <a:gd name="T37" fmla="*/ 2147483647 h 246"/>
                  <a:gd name="T38" fmla="*/ 2147483647 w 293"/>
                  <a:gd name="T39" fmla="*/ 2147483647 h 246"/>
                  <a:gd name="T40" fmla="*/ 2147483647 w 293"/>
                  <a:gd name="T41" fmla="*/ 2147483647 h 246"/>
                  <a:gd name="T42" fmla="*/ 2147483647 w 293"/>
                  <a:gd name="T43" fmla="*/ 2147483647 h 246"/>
                  <a:gd name="T44" fmla="*/ 2147483647 w 293"/>
                  <a:gd name="T45" fmla="*/ 2147483647 h 246"/>
                  <a:gd name="T46" fmla="*/ 2147483647 w 293"/>
                  <a:gd name="T47" fmla="*/ 2147483647 h 246"/>
                  <a:gd name="T48" fmla="*/ 2147483647 w 293"/>
                  <a:gd name="T49" fmla="*/ 2147483647 h 246"/>
                  <a:gd name="T50" fmla="*/ 2147483647 w 293"/>
                  <a:gd name="T51" fmla="*/ 2147483647 h 246"/>
                  <a:gd name="T52" fmla="*/ 2147483647 w 293"/>
                  <a:gd name="T53" fmla="*/ 2147483647 h 246"/>
                  <a:gd name="T54" fmla="*/ 2147483647 w 293"/>
                  <a:gd name="T55" fmla="*/ 2147483647 h 246"/>
                  <a:gd name="T56" fmla="*/ 2147483647 w 293"/>
                  <a:gd name="T57" fmla="*/ 2147483647 h 246"/>
                  <a:gd name="T58" fmla="*/ 754173896 w 293"/>
                  <a:gd name="T59" fmla="*/ 2147483647 h 246"/>
                  <a:gd name="T60" fmla="*/ 188491818 w 293"/>
                  <a:gd name="T61" fmla="*/ 2147483647 h 246"/>
                  <a:gd name="T62" fmla="*/ 0 w 293"/>
                  <a:gd name="T63" fmla="*/ 2147483647 h 246"/>
                  <a:gd name="T64" fmla="*/ 188491818 w 293"/>
                  <a:gd name="T65" fmla="*/ 2147483647 h 246"/>
                  <a:gd name="T66" fmla="*/ 754173896 w 293"/>
                  <a:gd name="T67" fmla="*/ 2147483647 h 246"/>
                  <a:gd name="T68" fmla="*/ 1602593473 w 293"/>
                  <a:gd name="T69" fmla="*/ 2147483647 h 246"/>
                  <a:gd name="T70" fmla="*/ 2147483647 w 293"/>
                  <a:gd name="T71" fmla="*/ 2147483647 h 246"/>
                  <a:gd name="T72" fmla="*/ 2147483647 w 293"/>
                  <a:gd name="T73" fmla="*/ 2074368787 h 246"/>
                  <a:gd name="T74" fmla="*/ 2147483647 w 293"/>
                  <a:gd name="T75" fmla="*/ 1778110067 h 246"/>
                  <a:gd name="T76" fmla="*/ 2147483647 w 293"/>
                  <a:gd name="T77" fmla="*/ 1778110067 h 246"/>
                  <a:gd name="T78" fmla="*/ 2147483647 w 293"/>
                  <a:gd name="T79" fmla="*/ 1778110067 h 24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293" h="246">
                    <a:moveTo>
                      <a:pt x="133" y="12"/>
                    </a:moveTo>
                    <a:lnTo>
                      <a:pt x="152" y="19"/>
                    </a:lnTo>
                    <a:lnTo>
                      <a:pt x="166" y="24"/>
                    </a:lnTo>
                    <a:lnTo>
                      <a:pt x="179" y="30"/>
                    </a:lnTo>
                    <a:lnTo>
                      <a:pt x="193" y="37"/>
                    </a:lnTo>
                    <a:lnTo>
                      <a:pt x="196" y="30"/>
                    </a:lnTo>
                    <a:lnTo>
                      <a:pt x="199" y="23"/>
                    </a:lnTo>
                    <a:lnTo>
                      <a:pt x="202" y="18"/>
                    </a:lnTo>
                    <a:lnTo>
                      <a:pt x="205" y="14"/>
                    </a:lnTo>
                    <a:lnTo>
                      <a:pt x="210" y="10"/>
                    </a:lnTo>
                    <a:lnTo>
                      <a:pt x="214" y="8"/>
                    </a:lnTo>
                    <a:lnTo>
                      <a:pt x="219" y="6"/>
                    </a:lnTo>
                    <a:lnTo>
                      <a:pt x="223" y="4"/>
                    </a:lnTo>
                    <a:lnTo>
                      <a:pt x="245" y="2"/>
                    </a:lnTo>
                    <a:lnTo>
                      <a:pt x="272" y="0"/>
                    </a:lnTo>
                    <a:lnTo>
                      <a:pt x="293" y="80"/>
                    </a:lnTo>
                    <a:lnTo>
                      <a:pt x="279" y="93"/>
                    </a:lnTo>
                    <a:lnTo>
                      <a:pt x="266" y="107"/>
                    </a:lnTo>
                    <a:lnTo>
                      <a:pt x="250" y="123"/>
                    </a:lnTo>
                    <a:lnTo>
                      <a:pt x="237" y="141"/>
                    </a:lnTo>
                    <a:lnTo>
                      <a:pt x="231" y="150"/>
                    </a:lnTo>
                    <a:lnTo>
                      <a:pt x="225" y="159"/>
                    </a:lnTo>
                    <a:lnTo>
                      <a:pt x="220" y="169"/>
                    </a:lnTo>
                    <a:lnTo>
                      <a:pt x="215" y="178"/>
                    </a:lnTo>
                    <a:lnTo>
                      <a:pt x="212" y="187"/>
                    </a:lnTo>
                    <a:lnTo>
                      <a:pt x="209" y="197"/>
                    </a:lnTo>
                    <a:lnTo>
                      <a:pt x="206" y="207"/>
                    </a:lnTo>
                    <a:lnTo>
                      <a:pt x="206" y="216"/>
                    </a:lnTo>
                    <a:lnTo>
                      <a:pt x="201" y="216"/>
                    </a:lnTo>
                    <a:lnTo>
                      <a:pt x="196" y="217"/>
                    </a:lnTo>
                    <a:lnTo>
                      <a:pt x="190" y="218"/>
                    </a:lnTo>
                    <a:lnTo>
                      <a:pt x="186" y="220"/>
                    </a:lnTo>
                    <a:lnTo>
                      <a:pt x="178" y="224"/>
                    </a:lnTo>
                    <a:lnTo>
                      <a:pt x="170" y="229"/>
                    </a:lnTo>
                    <a:lnTo>
                      <a:pt x="163" y="234"/>
                    </a:lnTo>
                    <a:lnTo>
                      <a:pt x="154" y="239"/>
                    </a:lnTo>
                    <a:lnTo>
                      <a:pt x="145" y="243"/>
                    </a:lnTo>
                    <a:lnTo>
                      <a:pt x="133" y="246"/>
                    </a:lnTo>
                    <a:lnTo>
                      <a:pt x="118" y="243"/>
                    </a:lnTo>
                    <a:lnTo>
                      <a:pt x="102" y="240"/>
                    </a:lnTo>
                    <a:lnTo>
                      <a:pt x="87" y="236"/>
                    </a:lnTo>
                    <a:lnTo>
                      <a:pt x="71" y="232"/>
                    </a:lnTo>
                    <a:lnTo>
                      <a:pt x="65" y="229"/>
                    </a:lnTo>
                    <a:lnTo>
                      <a:pt x="59" y="226"/>
                    </a:lnTo>
                    <a:lnTo>
                      <a:pt x="54" y="223"/>
                    </a:lnTo>
                    <a:lnTo>
                      <a:pt x="49" y="220"/>
                    </a:lnTo>
                    <a:lnTo>
                      <a:pt x="45" y="216"/>
                    </a:lnTo>
                    <a:lnTo>
                      <a:pt x="43" y="212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44" y="193"/>
                    </a:lnTo>
                    <a:lnTo>
                      <a:pt x="47" y="178"/>
                    </a:lnTo>
                    <a:lnTo>
                      <a:pt x="46" y="170"/>
                    </a:lnTo>
                    <a:lnTo>
                      <a:pt x="45" y="162"/>
                    </a:lnTo>
                    <a:lnTo>
                      <a:pt x="43" y="154"/>
                    </a:lnTo>
                    <a:lnTo>
                      <a:pt x="40" y="147"/>
                    </a:lnTo>
                    <a:lnTo>
                      <a:pt x="32" y="132"/>
                    </a:lnTo>
                    <a:lnTo>
                      <a:pt x="24" y="119"/>
                    </a:lnTo>
                    <a:lnTo>
                      <a:pt x="15" y="106"/>
                    </a:lnTo>
                    <a:lnTo>
                      <a:pt x="8" y="91"/>
                    </a:lnTo>
                    <a:lnTo>
                      <a:pt x="4" y="83"/>
                    </a:lnTo>
                    <a:lnTo>
                      <a:pt x="2" y="74"/>
                    </a:lnTo>
                    <a:lnTo>
                      <a:pt x="1" y="65"/>
                    </a:lnTo>
                    <a:lnTo>
                      <a:pt x="0" y="55"/>
                    </a:lnTo>
                    <a:lnTo>
                      <a:pt x="1" y="50"/>
                    </a:lnTo>
                    <a:lnTo>
                      <a:pt x="2" y="45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6" y="22"/>
                    </a:lnTo>
                    <a:lnTo>
                      <a:pt x="37" y="17"/>
                    </a:lnTo>
                    <a:lnTo>
                      <a:pt x="48" y="14"/>
                    </a:lnTo>
                    <a:lnTo>
                      <a:pt x="58" y="13"/>
                    </a:lnTo>
                    <a:lnTo>
                      <a:pt x="67" y="12"/>
                    </a:lnTo>
                    <a:lnTo>
                      <a:pt x="79" y="12"/>
                    </a:lnTo>
                    <a:lnTo>
                      <a:pt x="96" y="12"/>
                    </a:lnTo>
                    <a:lnTo>
                      <a:pt x="113" y="12"/>
                    </a:lnTo>
                    <a:lnTo>
                      <a:pt x="13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1" name="Freeform 278"/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12959030" y="2914222"/>
                <a:ext cx="85725" cy="130175"/>
              </a:xfrm>
              <a:custGeom>
                <a:avLst/>
                <a:gdLst>
                  <a:gd name="T0" fmla="*/ 1417395152 w 200"/>
                  <a:gd name="T1" fmla="*/ 2147483647 h 246"/>
                  <a:gd name="T2" fmla="*/ 2147483647 w 200"/>
                  <a:gd name="T3" fmla="*/ 2147483647 h 246"/>
                  <a:gd name="T4" fmla="*/ 2147483647 w 200"/>
                  <a:gd name="T5" fmla="*/ 2147483647 h 246"/>
                  <a:gd name="T6" fmla="*/ 2147483647 w 200"/>
                  <a:gd name="T7" fmla="*/ 1333722779 h 246"/>
                  <a:gd name="T8" fmla="*/ 2147483647 w 200"/>
                  <a:gd name="T9" fmla="*/ 148129096 h 246"/>
                  <a:gd name="T10" fmla="*/ 2147483647 w 200"/>
                  <a:gd name="T11" fmla="*/ 1778110067 h 246"/>
                  <a:gd name="T12" fmla="*/ 2147483647 w 200"/>
                  <a:gd name="T13" fmla="*/ 2147483647 h 246"/>
                  <a:gd name="T14" fmla="*/ 2147483647 w 200"/>
                  <a:gd name="T15" fmla="*/ 2147483647 h 246"/>
                  <a:gd name="T16" fmla="*/ 2147483647 w 200"/>
                  <a:gd name="T17" fmla="*/ 2147483647 h 246"/>
                  <a:gd name="T18" fmla="*/ 2147483647 w 200"/>
                  <a:gd name="T19" fmla="*/ 2147483647 h 246"/>
                  <a:gd name="T20" fmla="*/ 2147483647 w 200"/>
                  <a:gd name="T21" fmla="*/ 2147483647 h 246"/>
                  <a:gd name="T22" fmla="*/ 2147483647 w 200"/>
                  <a:gd name="T23" fmla="*/ 2147483647 h 246"/>
                  <a:gd name="T24" fmla="*/ 2147483647 w 200"/>
                  <a:gd name="T25" fmla="*/ 2147483647 h 246"/>
                  <a:gd name="T26" fmla="*/ 2147483647 w 200"/>
                  <a:gd name="T27" fmla="*/ 2147483647 h 246"/>
                  <a:gd name="T28" fmla="*/ 2147483647 w 200"/>
                  <a:gd name="T29" fmla="*/ 2147483647 h 246"/>
                  <a:gd name="T30" fmla="*/ 2147483647 w 200"/>
                  <a:gd name="T31" fmla="*/ 2147483647 h 246"/>
                  <a:gd name="T32" fmla="*/ 2147483647 w 200"/>
                  <a:gd name="T33" fmla="*/ 2147483647 h 246"/>
                  <a:gd name="T34" fmla="*/ 2147483647 w 200"/>
                  <a:gd name="T35" fmla="*/ 2147483647 h 246"/>
                  <a:gd name="T36" fmla="*/ 2147483647 w 200"/>
                  <a:gd name="T37" fmla="*/ 2147483647 h 246"/>
                  <a:gd name="T38" fmla="*/ 2147483647 w 200"/>
                  <a:gd name="T39" fmla="*/ 2147483647 h 246"/>
                  <a:gd name="T40" fmla="*/ 2147483647 w 200"/>
                  <a:gd name="T41" fmla="*/ 2147483647 h 246"/>
                  <a:gd name="T42" fmla="*/ 2147483647 w 200"/>
                  <a:gd name="T43" fmla="*/ 2147483647 h 246"/>
                  <a:gd name="T44" fmla="*/ 2147483647 w 200"/>
                  <a:gd name="T45" fmla="*/ 2147483647 h 246"/>
                  <a:gd name="T46" fmla="*/ 2147483647 w 200"/>
                  <a:gd name="T47" fmla="*/ 2147483647 h 246"/>
                  <a:gd name="T48" fmla="*/ 2147483647 w 200"/>
                  <a:gd name="T49" fmla="*/ 2147483647 h 246"/>
                  <a:gd name="T50" fmla="*/ 2147483647 w 200"/>
                  <a:gd name="T51" fmla="*/ 2147483647 h 246"/>
                  <a:gd name="T52" fmla="*/ 2147483647 w 200"/>
                  <a:gd name="T53" fmla="*/ 2147483647 h 246"/>
                  <a:gd name="T54" fmla="*/ 2147483647 w 200"/>
                  <a:gd name="T55" fmla="*/ 2147483647 h 246"/>
                  <a:gd name="T56" fmla="*/ 2147483647 w 200"/>
                  <a:gd name="T57" fmla="*/ 2147483647 h 246"/>
                  <a:gd name="T58" fmla="*/ 2147483647 w 200"/>
                  <a:gd name="T59" fmla="*/ 2147483647 h 246"/>
                  <a:gd name="T60" fmla="*/ 2147483647 w 200"/>
                  <a:gd name="T61" fmla="*/ 2147483647 h 246"/>
                  <a:gd name="T62" fmla="*/ 2147483647 w 200"/>
                  <a:gd name="T63" fmla="*/ 2147483647 h 246"/>
                  <a:gd name="T64" fmla="*/ 2147483647 w 200"/>
                  <a:gd name="T65" fmla="*/ 2147483647 h 246"/>
                  <a:gd name="T66" fmla="*/ 2147483647 w 200"/>
                  <a:gd name="T67" fmla="*/ 2147483647 h 246"/>
                  <a:gd name="T68" fmla="*/ 1417395152 w 200"/>
                  <a:gd name="T69" fmla="*/ 2147483647 h 246"/>
                  <a:gd name="T70" fmla="*/ 472526487 w 200"/>
                  <a:gd name="T71" fmla="*/ 2147483647 h 246"/>
                  <a:gd name="T72" fmla="*/ 78815565 w 200"/>
                  <a:gd name="T73" fmla="*/ 2147483647 h 246"/>
                  <a:gd name="T74" fmla="*/ 78815565 w 200"/>
                  <a:gd name="T75" fmla="*/ 2147483647 h 246"/>
                  <a:gd name="T76" fmla="*/ 393710493 w 200"/>
                  <a:gd name="T77" fmla="*/ 2147483647 h 246"/>
                  <a:gd name="T78" fmla="*/ 787421415 w 200"/>
                  <a:gd name="T79" fmla="*/ 2147483647 h 246"/>
                  <a:gd name="T80" fmla="*/ 1023684659 w 200"/>
                  <a:gd name="T81" fmla="*/ 2147483647 h 24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2" name="Freeform 279"/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13527355" y="4211210"/>
                <a:ext cx="231775" cy="254000"/>
              </a:xfrm>
              <a:custGeom>
                <a:avLst/>
                <a:gdLst>
                  <a:gd name="T0" fmla="*/ 2147483647 w 538"/>
                  <a:gd name="T1" fmla="*/ 2147483647 h 487"/>
                  <a:gd name="T2" fmla="*/ 2147483647 w 538"/>
                  <a:gd name="T3" fmla="*/ 2147483647 h 487"/>
                  <a:gd name="T4" fmla="*/ 2147483647 w 538"/>
                  <a:gd name="T5" fmla="*/ 2147483647 h 487"/>
                  <a:gd name="T6" fmla="*/ 2147483647 w 538"/>
                  <a:gd name="T7" fmla="*/ 2147483647 h 487"/>
                  <a:gd name="T8" fmla="*/ 2147483647 w 538"/>
                  <a:gd name="T9" fmla="*/ 2147483647 h 487"/>
                  <a:gd name="T10" fmla="*/ 2147483647 w 538"/>
                  <a:gd name="T11" fmla="*/ 2147483647 h 487"/>
                  <a:gd name="T12" fmla="*/ 2147483647 w 538"/>
                  <a:gd name="T13" fmla="*/ 2147483647 h 487"/>
                  <a:gd name="T14" fmla="*/ 2147483647 w 538"/>
                  <a:gd name="T15" fmla="*/ 2147483647 h 487"/>
                  <a:gd name="T16" fmla="*/ 2147483647 w 538"/>
                  <a:gd name="T17" fmla="*/ 2147483647 h 487"/>
                  <a:gd name="T18" fmla="*/ 2147483647 w 538"/>
                  <a:gd name="T19" fmla="*/ 2147483647 h 487"/>
                  <a:gd name="T20" fmla="*/ 2147483647 w 538"/>
                  <a:gd name="T21" fmla="*/ 2147483647 h 487"/>
                  <a:gd name="T22" fmla="*/ 2147483647 w 538"/>
                  <a:gd name="T23" fmla="*/ 2147483647 h 487"/>
                  <a:gd name="T24" fmla="*/ 2147483647 w 538"/>
                  <a:gd name="T25" fmla="*/ 2147483647 h 487"/>
                  <a:gd name="T26" fmla="*/ 2147483647 w 538"/>
                  <a:gd name="T27" fmla="*/ 2147483647 h 487"/>
                  <a:gd name="T28" fmla="*/ 2147483647 w 538"/>
                  <a:gd name="T29" fmla="*/ 2147483647 h 487"/>
                  <a:gd name="T30" fmla="*/ 2147483647 w 538"/>
                  <a:gd name="T31" fmla="*/ 2147483647 h 487"/>
                  <a:gd name="T32" fmla="*/ 2147483647 w 538"/>
                  <a:gd name="T33" fmla="*/ 2147483647 h 487"/>
                  <a:gd name="T34" fmla="*/ 2147483647 w 538"/>
                  <a:gd name="T35" fmla="*/ 2147483647 h 487"/>
                  <a:gd name="T36" fmla="*/ 2147483647 w 538"/>
                  <a:gd name="T37" fmla="*/ 2147483647 h 487"/>
                  <a:gd name="T38" fmla="*/ 2147483647 w 538"/>
                  <a:gd name="T39" fmla="*/ 2147483647 h 487"/>
                  <a:gd name="T40" fmla="*/ 2147483647 w 538"/>
                  <a:gd name="T41" fmla="*/ 2147483647 h 487"/>
                  <a:gd name="T42" fmla="*/ 2147483647 w 538"/>
                  <a:gd name="T43" fmla="*/ 2147483647 h 487"/>
                  <a:gd name="T44" fmla="*/ 2147483647 w 538"/>
                  <a:gd name="T45" fmla="*/ 2147483647 h 487"/>
                  <a:gd name="T46" fmla="*/ 2147483647 w 538"/>
                  <a:gd name="T47" fmla="*/ 2147483647 h 487"/>
                  <a:gd name="T48" fmla="*/ 2147483647 w 538"/>
                  <a:gd name="T49" fmla="*/ 2147483647 h 487"/>
                  <a:gd name="T50" fmla="*/ 2147483647 w 538"/>
                  <a:gd name="T51" fmla="*/ 2147483647 h 487"/>
                  <a:gd name="T52" fmla="*/ 2147483647 w 538"/>
                  <a:gd name="T53" fmla="*/ 2147483647 h 487"/>
                  <a:gd name="T54" fmla="*/ 2147483647 w 538"/>
                  <a:gd name="T55" fmla="*/ 2147483647 h 487"/>
                  <a:gd name="T56" fmla="*/ 2147483647 w 538"/>
                  <a:gd name="T57" fmla="*/ 2147483647 h 487"/>
                  <a:gd name="T58" fmla="*/ 2147483647 w 538"/>
                  <a:gd name="T59" fmla="*/ 2147483647 h 487"/>
                  <a:gd name="T60" fmla="*/ 2147483647 w 538"/>
                  <a:gd name="T61" fmla="*/ 2147483647 h 487"/>
                  <a:gd name="T62" fmla="*/ 2147483647 w 538"/>
                  <a:gd name="T63" fmla="*/ 2147483647 h 487"/>
                  <a:gd name="T64" fmla="*/ 2147483647 w 538"/>
                  <a:gd name="T65" fmla="*/ 2147483647 h 487"/>
                  <a:gd name="T66" fmla="*/ 2147483647 w 538"/>
                  <a:gd name="T67" fmla="*/ 2147483647 h 487"/>
                  <a:gd name="T68" fmla="*/ 2147483647 w 538"/>
                  <a:gd name="T69" fmla="*/ 2147483647 h 487"/>
                  <a:gd name="T70" fmla="*/ 2147483647 w 538"/>
                  <a:gd name="T71" fmla="*/ 2147483647 h 487"/>
                  <a:gd name="T72" fmla="*/ 2147483647 w 538"/>
                  <a:gd name="T73" fmla="*/ 2147483647 h 487"/>
                  <a:gd name="T74" fmla="*/ 2147483647 w 538"/>
                  <a:gd name="T75" fmla="*/ 2147483647 h 487"/>
                  <a:gd name="T76" fmla="*/ 2147483647 w 538"/>
                  <a:gd name="T77" fmla="*/ 2147483647 h 487"/>
                  <a:gd name="T78" fmla="*/ 2147483647 w 538"/>
                  <a:gd name="T79" fmla="*/ 2147483647 h 487"/>
                  <a:gd name="T80" fmla="*/ 2147483647 w 538"/>
                  <a:gd name="T81" fmla="*/ 2147483647 h 487"/>
                  <a:gd name="T82" fmla="*/ 2147483647 w 538"/>
                  <a:gd name="T83" fmla="*/ 2147483647 h 487"/>
                  <a:gd name="T84" fmla="*/ 1599094994 w 538"/>
                  <a:gd name="T85" fmla="*/ 2147483647 h 487"/>
                  <a:gd name="T86" fmla="*/ 1599094994 w 538"/>
                  <a:gd name="T87" fmla="*/ 0 h 48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538" h="487">
                    <a:moveTo>
                      <a:pt x="20" y="0"/>
                    </a:moveTo>
                    <a:lnTo>
                      <a:pt x="58" y="10"/>
                    </a:lnTo>
                    <a:lnTo>
                      <a:pt x="91" y="21"/>
                    </a:lnTo>
                    <a:lnTo>
                      <a:pt x="119" y="30"/>
                    </a:lnTo>
                    <a:lnTo>
                      <a:pt x="142" y="38"/>
                    </a:lnTo>
                    <a:lnTo>
                      <a:pt x="160" y="47"/>
                    </a:lnTo>
                    <a:lnTo>
                      <a:pt x="177" y="55"/>
                    </a:lnTo>
                    <a:lnTo>
                      <a:pt x="190" y="62"/>
                    </a:lnTo>
                    <a:lnTo>
                      <a:pt x="202" y="70"/>
                    </a:lnTo>
                    <a:lnTo>
                      <a:pt x="222" y="86"/>
                    </a:lnTo>
                    <a:lnTo>
                      <a:pt x="242" y="102"/>
                    </a:lnTo>
                    <a:lnTo>
                      <a:pt x="253" y="110"/>
                    </a:lnTo>
                    <a:lnTo>
                      <a:pt x="266" y="118"/>
                    </a:lnTo>
                    <a:lnTo>
                      <a:pt x="281" y="127"/>
                    </a:lnTo>
                    <a:lnTo>
                      <a:pt x="300" y="136"/>
                    </a:lnTo>
                    <a:lnTo>
                      <a:pt x="297" y="152"/>
                    </a:lnTo>
                    <a:lnTo>
                      <a:pt x="297" y="158"/>
                    </a:lnTo>
                    <a:lnTo>
                      <a:pt x="299" y="161"/>
                    </a:lnTo>
                    <a:lnTo>
                      <a:pt x="300" y="167"/>
                    </a:lnTo>
                    <a:lnTo>
                      <a:pt x="314" y="178"/>
                    </a:lnTo>
                    <a:lnTo>
                      <a:pt x="347" y="205"/>
                    </a:lnTo>
                    <a:lnTo>
                      <a:pt x="381" y="231"/>
                    </a:lnTo>
                    <a:lnTo>
                      <a:pt x="399" y="247"/>
                    </a:lnTo>
                    <a:lnTo>
                      <a:pt x="393" y="248"/>
                    </a:lnTo>
                    <a:lnTo>
                      <a:pt x="386" y="250"/>
                    </a:lnTo>
                    <a:lnTo>
                      <a:pt x="382" y="250"/>
                    </a:lnTo>
                    <a:lnTo>
                      <a:pt x="379" y="250"/>
                    </a:lnTo>
                    <a:lnTo>
                      <a:pt x="376" y="249"/>
                    </a:lnTo>
                    <a:lnTo>
                      <a:pt x="372" y="247"/>
                    </a:lnTo>
                    <a:lnTo>
                      <a:pt x="372" y="256"/>
                    </a:lnTo>
                    <a:lnTo>
                      <a:pt x="372" y="265"/>
                    </a:lnTo>
                    <a:lnTo>
                      <a:pt x="372" y="272"/>
                    </a:lnTo>
                    <a:lnTo>
                      <a:pt x="372" y="278"/>
                    </a:lnTo>
                    <a:lnTo>
                      <a:pt x="373" y="285"/>
                    </a:lnTo>
                    <a:lnTo>
                      <a:pt x="375" y="292"/>
                    </a:lnTo>
                    <a:lnTo>
                      <a:pt x="377" y="301"/>
                    </a:lnTo>
                    <a:lnTo>
                      <a:pt x="380" y="309"/>
                    </a:lnTo>
                    <a:lnTo>
                      <a:pt x="384" y="317"/>
                    </a:lnTo>
                    <a:lnTo>
                      <a:pt x="389" y="325"/>
                    </a:lnTo>
                    <a:lnTo>
                      <a:pt x="394" y="333"/>
                    </a:lnTo>
                    <a:lnTo>
                      <a:pt x="401" y="341"/>
                    </a:lnTo>
                    <a:lnTo>
                      <a:pt x="407" y="348"/>
                    </a:lnTo>
                    <a:lnTo>
                      <a:pt x="414" y="355"/>
                    </a:lnTo>
                    <a:lnTo>
                      <a:pt x="421" y="361"/>
                    </a:lnTo>
                    <a:lnTo>
                      <a:pt x="428" y="366"/>
                    </a:lnTo>
                    <a:lnTo>
                      <a:pt x="436" y="371"/>
                    </a:lnTo>
                    <a:lnTo>
                      <a:pt x="444" y="374"/>
                    </a:lnTo>
                    <a:lnTo>
                      <a:pt x="451" y="376"/>
                    </a:lnTo>
                    <a:lnTo>
                      <a:pt x="459" y="376"/>
                    </a:lnTo>
                    <a:lnTo>
                      <a:pt x="459" y="384"/>
                    </a:lnTo>
                    <a:lnTo>
                      <a:pt x="461" y="390"/>
                    </a:lnTo>
                    <a:lnTo>
                      <a:pt x="465" y="396"/>
                    </a:lnTo>
                    <a:lnTo>
                      <a:pt x="468" y="401"/>
                    </a:lnTo>
                    <a:lnTo>
                      <a:pt x="472" y="406"/>
                    </a:lnTo>
                    <a:lnTo>
                      <a:pt x="478" y="411"/>
                    </a:lnTo>
                    <a:lnTo>
                      <a:pt x="483" y="414"/>
                    </a:lnTo>
                    <a:lnTo>
                      <a:pt x="489" y="417"/>
                    </a:lnTo>
                    <a:lnTo>
                      <a:pt x="500" y="423"/>
                    </a:lnTo>
                    <a:lnTo>
                      <a:pt x="510" y="429"/>
                    </a:lnTo>
                    <a:lnTo>
                      <a:pt x="513" y="432"/>
                    </a:lnTo>
                    <a:lnTo>
                      <a:pt x="516" y="436"/>
                    </a:lnTo>
                    <a:lnTo>
                      <a:pt x="518" y="440"/>
                    </a:lnTo>
                    <a:lnTo>
                      <a:pt x="518" y="444"/>
                    </a:lnTo>
                    <a:lnTo>
                      <a:pt x="519" y="446"/>
                    </a:lnTo>
                    <a:lnTo>
                      <a:pt x="522" y="448"/>
                    </a:lnTo>
                    <a:lnTo>
                      <a:pt x="525" y="450"/>
                    </a:lnTo>
                    <a:lnTo>
                      <a:pt x="528" y="452"/>
                    </a:lnTo>
                    <a:lnTo>
                      <a:pt x="536" y="455"/>
                    </a:lnTo>
                    <a:lnTo>
                      <a:pt x="538" y="456"/>
                    </a:lnTo>
                    <a:lnTo>
                      <a:pt x="538" y="461"/>
                    </a:lnTo>
                    <a:lnTo>
                      <a:pt x="536" y="467"/>
                    </a:lnTo>
                    <a:lnTo>
                      <a:pt x="534" y="472"/>
                    </a:lnTo>
                    <a:lnTo>
                      <a:pt x="529" y="477"/>
                    </a:lnTo>
                    <a:lnTo>
                      <a:pt x="525" y="481"/>
                    </a:lnTo>
                    <a:lnTo>
                      <a:pt x="519" y="484"/>
                    </a:lnTo>
                    <a:lnTo>
                      <a:pt x="513" y="487"/>
                    </a:lnTo>
                    <a:lnTo>
                      <a:pt x="505" y="487"/>
                    </a:lnTo>
                    <a:lnTo>
                      <a:pt x="490" y="487"/>
                    </a:lnTo>
                    <a:lnTo>
                      <a:pt x="474" y="485"/>
                    </a:lnTo>
                    <a:lnTo>
                      <a:pt x="461" y="483"/>
                    </a:lnTo>
                    <a:lnTo>
                      <a:pt x="448" y="480"/>
                    </a:lnTo>
                    <a:lnTo>
                      <a:pt x="436" y="476"/>
                    </a:lnTo>
                    <a:lnTo>
                      <a:pt x="425" y="471"/>
                    </a:lnTo>
                    <a:lnTo>
                      <a:pt x="414" y="466"/>
                    </a:lnTo>
                    <a:lnTo>
                      <a:pt x="404" y="459"/>
                    </a:lnTo>
                    <a:lnTo>
                      <a:pt x="395" y="453"/>
                    </a:lnTo>
                    <a:lnTo>
                      <a:pt x="386" y="446"/>
                    </a:lnTo>
                    <a:lnTo>
                      <a:pt x="378" y="438"/>
                    </a:lnTo>
                    <a:lnTo>
                      <a:pt x="369" y="431"/>
                    </a:lnTo>
                    <a:lnTo>
                      <a:pt x="355" y="415"/>
                    </a:lnTo>
                    <a:lnTo>
                      <a:pt x="341" y="398"/>
                    </a:lnTo>
                    <a:lnTo>
                      <a:pt x="326" y="381"/>
                    </a:lnTo>
                    <a:lnTo>
                      <a:pt x="312" y="365"/>
                    </a:lnTo>
                    <a:lnTo>
                      <a:pt x="298" y="350"/>
                    </a:lnTo>
                    <a:lnTo>
                      <a:pt x="282" y="336"/>
                    </a:lnTo>
                    <a:lnTo>
                      <a:pt x="274" y="330"/>
                    </a:lnTo>
                    <a:lnTo>
                      <a:pt x="265" y="325"/>
                    </a:lnTo>
                    <a:lnTo>
                      <a:pt x="256" y="320"/>
                    </a:lnTo>
                    <a:lnTo>
                      <a:pt x="246" y="316"/>
                    </a:lnTo>
                    <a:lnTo>
                      <a:pt x="235" y="313"/>
                    </a:lnTo>
                    <a:lnTo>
                      <a:pt x="224" y="311"/>
                    </a:lnTo>
                    <a:lnTo>
                      <a:pt x="212" y="309"/>
                    </a:lnTo>
                    <a:lnTo>
                      <a:pt x="200" y="309"/>
                    </a:lnTo>
                    <a:lnTo>
                      <a:pt x="189" y="309"/>
                    </a:lnTo>
                    <a:lnTo>
                      <a:pt x="180" y="310"/>
                    </a:lnTo>
                    <a:lnTo>
                      <a:pt x="171" y="311"/>
                    </a:lnTo>
                    <a:lnTo>
                      <a:pt x="165" y="313"/>
                    </a:lnTo>
                    <a:lnTo>
                      <a:pt x="153" y="317"/>
                    </a:lnTo>
                    <a:lnTo>
                      <a:pt x="144" y="322"/>
                    </a:lnTo>
                    <a:lnTo>
                      <a:pt x="130" y="334"/>
                    </a:lnTo>
                    <a:lnTo>
                      <a:pt x="113" y="345"/>
                    </a:lnTo>
                    <a:lnTo>
                      <a:pt x="126" y="352"/>
                    </a:lnTo>
                    <a:lnTo>
                      <a:pt x="134" y="358"/>
                    </a:lnTo>
                    <a:lnTo>
                      <a:pt x="136" y="361"/>
                    </a:lnTo>
                    <a:lnTo>
                      <a:pt x="138" y="363"/>
                    </a:lnTo>
                    <a:lnTo>
                      <a:pt x="140" y="366"/>
                    </a:lnTo>
                    <a:lnTo>
                      <a:pt x="140" y="370"/>
                    </a:lnTo>
                    <a:lnTo>
                      <a:pt x="136" y="380"/>
                    </a:lnTo>
                    <a:lnTo>
                      <a:pt x="130" y="394"/>
                    </a:lnTo>
                    <a:lnTo>
                      <a:pt x="124" y="401"/>
                    </a:lnTo>
                    <a:lnTo>
                      <a:pt x="120" y="407"/>
                    </a:lnTo>
                    <a:lnTo>
                      <a:pt x="117" y="412"/>
                    </a:lnTo>
                    <a:lnTo>
                      <a:pt x="113" y="414"/>
                    </a:lnTo>
                    <a:lnTo>
                      <a:pt x="93" y="395"/>
                    </a:lnTo>
                    <a:lnTo>
                      <a:pt x="70" y="399"/>
                    </a:lnTo>
                    <a:lnTo>
                      <a:pt x="47" y="403"/>
                    </a:lnTo>
                    <a:lnTo>
                      <a:pt x="28" y="406"/>
                    </a:lnTo>
                    <a:lnTo>
                      <a:pt x="20" y="407"/>
                    </a:lnTo>
                    <a:lnTo>
                      <a:pt x="20" y="259"/>
                    </a:lnTo>
                    <a:lnTo>
                      <a:pt x="0" y="234"/>
                    </a:lnTo>
                    <a:lnTo>
                      <a:pt x="20" y="222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3" name="Freeform 280"/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13719443" y="4195335"/>
                <a:ext cx="106362" cy="128587"/>
              </a:xfrm>
              <a:custGeom>
                <a:avLst/>
                <a:gdLst>
                  <a:gd name="T0" fmla="*/ 2147483647 w 253"/>
                  <a:gd name="T1" fmla="*/ 142897792 h 246"/>
                  <a:gd name="T2" fmla="*/ 2147483647 w 253"/>
                  <a:gd name="T3" fmla="*/ 1142636104 h 246"/>
                  <a:gd name="T4" fmla="*/ 2147483647 w 253"/>
                  <a:gd name="T5" fmla="*/ 2147483647 h 246"/>
                  <a:gd name="T6" fmla="*/ 2147483647 w 253"/>
                  <a:gd name="T7" fmla="*/ 2147483647 h 246"/>
                  <a:gd name="T8" fmla="*/ 2147483647 w 253"/>
                  <a:gd name="T9" fmla="*/ 2147483647 h 246"/>
                  <a:gd name="T10" fmla="*/ 2147483647 w 253"/>
                  <a:gd name="T11" fmla="*/ 2147483647 h 246"/>
                  <a:gd name="T12" fmla="*/ 2147483647 w 253"/>
                  <a:gd name="T13" fmla="*/ 2147483647 h 246"/>
                  <a:gd name="T14" fmla="*/ 2147483647 w 253"/>
                  <a:gd name="T15" fmla="*/ 2147483647 h 246"/>
                  <a:gd name="T16" fmla="*/ 2147483647 w 253"/>
                  <a:gd name="T17" fmla="*/ 2147483647 h 246"/>
                  <a:gd name="T18" fmla="*/ 2147483647 w 253"/>
                  <a:gd name="T19" fmla="*/ 2147483647 h 246"/>
                  <a:gd name="T20" fmla="*/ 2147483647 w 253"/>
                  <a:gd name="T21" fmla="*/ 2147483647 h 246"/>
                  <a:gd name="T22" fmla="*/ 2147483647 w 253"/>
                  <a:gd name="T23" fmla="*/ 2147483647 h 246"/>
                  <a:gd name="T24" fmla="*/ 2147483647 w 253"/>
                  <a:gd name="T25" fmla="*/ 2147483647 h 246"/>
                  <a:gd name="T26" fmla="*/ 2147483647 w 253"/>
                  <a:gd name="T27" fmla="*/ 2147483647 h 246"/>
                  <a:gd name="T28" fmla="*/ 2147483647 w 253"/>
                  <a:gd name="T29" fmla="*/ 2147483647 h 246"/>
                  <a:gd name="T30" fmla="*/ 2147483647 w 253"/>
                  <a:gd name="T31" fmla="*/ 2147483647 h 246"/>
                  <a:gd name="T32" fmla="*/ 2147483647 w 253"/>
                  <a:gd name="T33" fmla="*/ 2147483647 h 246"/>
                  <a:gd name="T34" fmla="*/ 2147483647 w 253"/>
                  <a:gd name="T35" fmla="*/ 2147483647 h 246"/>
                  <a:gd name="T36" fmla="*/ 2147483647 w 253"/>
                  <a:gd name="T37" fmla="*/ 2147483647 h 246"/>
                  <a:gd name="T38" fmla="*/ 817240204 w 253"/>
                  <a:gd name="T39" fmla="*/ 2147483647 h 246"/>
                  <a:gd name="T40" fmla="*/ 222867487 w 253"/>
                  <a:gd name="T41" fmla="*/ 2147483647 h 246"/>
                  <a:gd name="T42" fmla="*/ 743010039 w 253"/>
                  <a:gd name="T43" fmla="*/ 2147483647 h 246"/>
                  <a:gd name="T44" fmla="*/ 1634657399 w 253"/>
                  <a:gd name="T45" fmla="*/ 2147483647 h 246"/>
                  <a:gd name="T46" fmla="*/ 2147483647 w 253"/>
                  <a:gd name="T47" fmla="*/ 2147483647 h 246"/>
                  <a:gd name="T48" fmla="*/ 2147483647 w 253"/>
                  <a:gd name="T49" fmla="*/ 2147483647 h 246"/>
                  <a:gd name="T50" fmla="*/ 2147483647 w 253"/>
                  <a:gd name="T51" fmla="*/ 2147483647 h 246"/>
                  <a:gd name="T52" fmla="*/ 2147483647 w 253"/>
                  <a:gd name="T53" fmla="*/ 2147483647 h 246"/>
                  <a:gd name="T54" fmla="*/ 2147483647 w 253"/>
                  <a:gd name="T55" fmla="*/ 2147483647 h 246"/>
                  <a:gd name="T56" fmla="*/ 2147483647 w 253"/>
                  <a:gd name="T57" fmla="*/ 2147483647 h 246"/>
                  <a:gd name="T58" fmla="*/ 2147483647 w 253"/>
                  <a:gd name="T59" fmla="*/ 2147483647 h 246"/>
                  <a:gd name="T60" fmla="*/ 2147483647 w 253"/>
                  <a:gd name="T61" fmla="*/ 2147483647 h 246"/>
                  <a:gd name="T62" fmla="*/ 2147483647 w 253"/>
                  <a:gd name="T63" fmla="*/ 2147483647 h 246"/>
                  <a:gd name="T64" fmla="*/ 2147483647 w 253"/>
                  <a:gd name="T65" fmla="*/ 2147483647 h 246"/>
                  <a:gd name="T66" fmla="*/ 2147483647 w 253"/>
                  <a:gd name="T67" fmla="*/ 2147483647 h 246"/>
                  <a:gd name="T68" fmla="*/ 2147483647 w 253"/>
                  <a:gd name="T69" fmla="*/ 2147483647 h 246"/>
                  <a:gd name="T70" fmla="*/ 2147483647 w 253"/>
                  <a:gd name="T71" fmla="*/ 2147483647 h 246"/>
                  <a:gd name="T72" fmla="*/ 2147483647 w 253"/>
                  <a:gd name="T73" fmla="*/ 2147483647 h 246"/>
                  <a:gd name="T74" fmla="*/ 2147483647 w 253"/>
                  <a:gd name="T75" fmla="*/ 2147483647 h 246"/>
                  <a:gd name="T76" fmla="*/ 2147483647 w 253"/>
                  <a:gd name="T77" fmla="*/ 2147483647 h 246"/>
                  <a:gd name="T78" fmla="*/ 2147483647 w 253"/>
                  <a:gd name="T79" fmla="*/ 2147483647 h 246"/>
                  <a:gd name="T80" fmla="*/ 2147483647 w 253"/>
                  <a:gd name="T81" fmla="*/ 2147483647 h 246"/>
                  <a:gd name="T82" fmla="*/ 2147483647 w 253"/>
                  <a:gd name="T83" fmla="*/ 2147483647 h 246"/>
                  <a:gd name="T84" fmla="*/ 2147483647 w 253"/>
                  <a:gd name="T85" fmla="*/ 2147483647 h 246"/>
                  <a:gd name="T86" fmla="*/ 2147483647 w 253"/>
                  <a:gd name="T87" fmla="*/ 2147483647 h 246"/>
                  <a:gd name="T88" fmla="*/ 2147483647 w 253"/>
                  <a:gd name="T89" fmla="*/ 2147483647 h 246"/>
                  <a:gd name="T90" fmla="*/ 2147483647 w 253"/>
                  <a:gd name="T91" fmla="*/ 2147483647 h 246"/>
                  <a:gd name="T92" fmla="*/ 2147483647 w 253"/>
                  <a:gd name="T93" fmla="*/ 2147483647 h 246"/>
                  <a:gd name="T94" fmla="*/ 2147483647 w 253"/>
                  <a:gd name="T95" fmla="*/ 2147483647 h 246"/>
                  <a:gd name="T96" fmla="*/ 2147483647 w 253"/>
                  <a:gd name="T97" fmla="*/ 2147483647 h 246"/>
                  <a:gd name="T98" fmla="*/ 2147483647 w 253"/>
                  <a:gd name="T99" fmla="*/ 2147483647 h 246"/>
                  <a:gd name="T100" fmla="*/ 2147483647 w 253"/>
                  <a:gd name="T101" fmla="*/ 1571056103 h 246"/>
                  <a:gd name="T102" fmla="*/ 2147483647 w 253"/>
                  <a:gd name="T103" fmla="*/ 1713954418 h 246"/>
                  <a:gd name="T104" fmla="*/ 2147483647 w 253"/>
                  <a:gd name="T105" fmla="*/ 2147483647 h 246"/>
                  <a:gd name="T106" fmla="*/ 2147483647 w 253"/>
                  <a:gd name="T107" fmla="*/ 714216106 h 246"/>
                  <a:gd name="T108" fmla="*/ 2147483647 w 253"/>
                  <a:gd name="T109" fmla="*/ 142897792 h 246"/>
                  <a:gd name="T110" fmla="*/ 2147483647 w 253"/>
                  <a:gd name="T111" fmla="*/ 0 h 24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53" h="246">
                    <a:moveTo>
                      <a:pt x="127" y="0"/>
                    </a:moveTo>
                    <a:lnTo>
                      <a:pt x="136" y="1"/>
                    </a:lnTo>
                    <a:lnTo>
                      <a:pt x="146" y="4"/>
                    </a:lnTo>
                    <a:lnTo>
                      <a:pt x="157" y="8"/>
                    </a:lnTo>
                    <a:lnTo>
                      <a:pt x="168" y="14"/>
                    </a:lnTo>
                    <a:lnTo>
                      <a:pt x="179" y="21"/>
                    </a:lnTo>
                    <a:lnTo>
                      <a:pt x="189" y="28"/>
                    </a:lnTo>
                    <a:lnTo>
                      <a:pt x="199" y="37"/>
                    </a:lnTo>
                    <a:lnTo>
                      <a:pt x="209" y="47"/>
                    </a:lnTo>
                    <a:lnTo>
                      <a:pt x="218" y="57"/>
                    </a:lnTo>
                    <a:lnTo>
                      <a:pt x="227" y="66"/>
                    </a:lnTo>
                    <a:lnTo>
                      <a:pt x="234" y="76"/>
                    </a:lnTo>
                    <a:lnTo>
                      <a:pt x="240" y="85"/>
                    </a:lnTo>
                    <a:lnTo>
                      <a:pt x="245" y="94"/>
                    </a:lnTo>
                    <a:lnTo>
                      <a:pt x="250" y="103"/>
                    </a:lnTo>
                    <a:lnTo>
                      <a:pt x="252" y="111"/>
                    </a:lnTo>
                    <a:lnTo>
                      <a:pt x="253" y="117"/>
                    </a:lnTo>
                    <a:lnTo>
                      <a:pt x="252" y="128"/>
                    </a:lnTo>
                    <a:lnTo>
                      <a:pt x="248" y="140"/>
                    </a:lnTo>
                    <a:lnTo>
                      <a:pt x="243" y="151"/>
                    </a:lnTo>
                    <a:lnTo>
                      <a:pt x="236" y="163"/>
                    </a:lnTo>
                    <a:lnTo>
                      <a:pt x="229" y="174"/>
                    </a:lnTo>
                    <a:lnTo>
                      <a:pt x="219" y="185"/>
                    </a:lnTo>
                    <a:lnTo>
                      <a:pt x="209" y="195"/>
                    </a:lnTo>
                    <a:lnTo>
                      <a:pt x="197" y="204"/>
                    </a:lnTo>
                    <a:lnTo>
                      <a:pt x="184" y="214"/>
                    </a:lnTo>
                    <a:lnTo>
                      <a:pt x="171" y="222"/>
                    </a:lnTo>
                    <a:lnTo>
                      <a:pt x="157" y="229"/>
                    </a:lnTo>
                    <a:lnTo>
                      <a:pt x="143" y="235"/>
                    </a:lnTo>
                    <a:lnTo>
                      <a:pt x="129" y="240"/>
                    </a:lnTo>
                    <a:lnTo>
                      <a:pt x="115" y="243"/>
                    </a:lnTo>
                    <a:lnTo>
                      <a:pt x="100" y="245"/>
                    </a:lnTo>
                    <a:lnTo>
                      <a:pt x="86" y="246"/>
                    </a:lnTo>
                    <a:lnTo>
                      <a:pt x="74" y="245"/>
                    </a:lnTo>
                    <a:lnTo>
                      <a:pt x="64" y="243"/>
                    </a:lnTo>
                    <a:lnTo>
                      <a:pt x="53" y="240"/>
                    </a:lnTo>
                    <a:lnTo>
                      <a:pt x="43" y="237"/>
                    </a:lnTo>
                    <a:lnTo>
                      <a:pt x="33" y="234"/>
                    </a:lnTo>
                    <a:lnTo>
                      <a:pt x="22" y="231"/>
                    </a:lnTo>
                    <a:lnTo>
                      <a:pt x="11" y="229"/>
                    </a:lnTo>
                    <a:lnTo>
                      <a:pt x="0" y="228"/>
                    </a:lnTo>
                    <a:lnTo>
                      <a:pt x="3" y="219"/>
                    </a:lnTo>
                    <a:lnTo>
                      <a:pt x="6" y="212"/>
                    </a:lnTo>
                    <a:lnTo>
                      <a:pt x="10" y="205"/>
                    </a:lnTo>
                    <a:lnTo>
                      <a:pt x="16" y="200"/>
                    </a:lnTo>
                    <a:lnTo>
                      <a:pt x="22" y="196"/>
                    </a:lnTo>
                    <a:lnTo>
                      <a:pt x="29" y="193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0" y="197"/>
                    </a:lnTo>
                    <a:lnTo>
                      <a:pt x="53" y="209"/>
                    </a:lnTo>
                    <a:lnTo>
                      <a:pt x="60" y="207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72" y="198"/>
                    </a:lnTo>
                    <a:lnTo>
                      <a:pt x="75" y="190"/>
                    </a:lnTo>
                    <a:lnTo>
                      <a:pt x="79" y="179"/>
                    </a:lnTo>
                    <a:lnTo>
                      <a:pt x="84" y="180"/>
                    </a:lnTo>
                    <a:lnTo>
                      <a:pt x="88" y="181"/>
                    </a:lnTo>
                    <a:lnTo>
                      <a:pt x="91" y="181"/>
                    </a:lnTo>
                    <a:lnTo>
                      <a:pt x="95" y="181"/>
                    </a:lnTo>
                    <a:lnTo>
                      <a:pt x="98" y="179"/>
                    </a:lnTo>
                    <a:lnTo>
                      <a:pt x="99" y="179"/>
                    </a:lnTo>
                    <a:lnTo>
                      <a:pt x="106" y="178"/>
                    </a:lnTo>
                    <a:lnTo>
                      <a:pt x="112" y="177"/>
                    </a:lnTo>
                    <a:lnTo>
                      <a:pt x="120" y="174"/>
                    </a:lnTo>
                    <a:lnTo>
                      <a:pt x="130" y="171"/>
                    </a:lnTo>
                    <a:lnTo>
                      <a:pt x="149" y="164"/>
                    </a:lnTo>
                    <a:lnTo>
                      <a:pt x="169" y="153"/>
                    </a:lnTo>
                    <a:lnTo>
                      <a:pt x="179" y="147"/>
                    </a:lnTo>
                    <a:lnTo>
                      <a:pt x="188" y="141"/>
                    </a:lnTo>
                    <a:lnTo>
                      <a:pt x="197" y="135"/>
                    </a:lnTo>
                    <a:lnTo>
                      <a:pt x="205" y="129"/>
                    </a:lnTo>
                    <a:lnTo>
                      <a:pt x="210" y="123"/>
                    </a:lnTo>
                    <a:lnTo>
                      <a:pt x="216" y="117"/>
                    </a:lnTo>
                    <a:lnTo>
                      <a:pt x="218" y="111"/>
                    </a:lnTo>
                    <a:lnTo>
                      <a:pt x="219" y="105"/>
                    </a:lnTo>
                    <a:lnTo>
                      <a:pt x="219" y="98"/>
                    </a:lnTo>
                    <a:lnTo>
                      <a:pt x="217" y="92"/>
                    </a:lnTo>
                    <a:lnTo>
                      <a:pt x="214" y="88"/>
                    </a:lnTo>
                    <a:lnTo>
                      <a:pt x="212" y="84"/>
                    </a:lnTo>
                    <a:lnTo>
                      <a:pt x="210" y="80"/>
                    </a:lnTo>
                    <a:lnTo>
                      <a:pt x="208" y="76"/>
                    </a:lnTo>
                    <a:lnTo>
                      <a:pt x="207" y="72"/>
                    </a:lnTo>
                    <a:lnTo>
                      <a:pt x="206" y="68"/>
                    </a:lnTo>
                    <a:lnTo>
                      <a:pt x="201" y="67"/>
                    </a:lnTo>
                    <a:lnTo>
                      <a:pt x="196" y="67"/>
                    </a:lnTo>
                    <a:lnTo>
                      <a:pt x="191" y="65"/>
                    </a:lnTo>
                    <a:lnTo>
                      <a:pt x="188" y="63"/>
                    </a:lnTo>
                    <a:lnTo>
                      <a:pt x="184" y="61"/>
                    </a:lnTo>
                    <a:lnTo>
                      <a:pt x="182" y="57"/>
                    </a:lnTo>
                    <a:lnTo>
                      <a:pt x="180" y="54"/>
                    </a:lnTo>
                    <a:lnTo>
                      <a:pt x="179" y="49"/>
                    </a:lnTo>
                    <a:lnTo>
                      <a:pt x="140" y="49"/>
                    </a:lnTo>
                    <a:lnTo>
                      <a:pt x="138" y="47"/>
                    </a:lnTo>
                    <a:lnTo>
                      <a:pt x="136" y="44"/>
                    </a:lnTo>
                    <a:lnTo>
                      <a:pt x="136" y="39"/>
                    </a:lnTo>
                    <a:lnTo>
                      <a:pt x="136" y="36"/>
                    </a:lnTo>
                    <a:lnTo>
                      <a:pt x="139" y="27"/>
                    </a:lnTo>
                    <a:lnTo>
                      <a:pt x="140" y="18"/>
                    </a:lnTo>
                    <a:lnTo>
                      <a:pt x="124" y="14"/>
                    </a:lnTo>
                    <a:lnTo>
                      <a:pt x="110" y="11"/>
                    </a:lnTo>
                    <a:lnTo>
                      <a:pt x="104" y="11"/>
                    </a:lnTo>
                    <a:lnTo>
                      <a:pt x="97" y="12"/>
                    </a:lnTo>
                    <a:lnTo>
                      <a:pt x="91" y="15"/>
                    </a:lnTo>
                    <a:lnTo>
                      <a:pt x="86" y="18"/>
                    </a:lnTo>
                    <a:lnTo>
                      <a:pt x="96" y="10"/>
                    </a:lnTo>
                    <a:lnTo>
                      <a:pt x="104" y="5"/>
                    </a:lnTo>
                    <a:lnTo>
                      <a:pt x="108" y="3"/>
                    </a:lnTo>
                    <a:lnTo>
                      <a:pt x="113" y="1"/>
                    </a:lnTo>
                    <a:lnTo>
                      <a:pt x="119" y="0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4" name="Freeform 281"/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11995418" y="3828622"/>
                <a:ext cx="63500" cy="119063"/>
              </a:xfrm>
              <a:custGeom>
                <a:avLst/>
                <a:gdLst>
                  <a:gd name="T0" fmla="*/ 2147483647 w 141"/>
                  <a:gd name="T1" fmla="*/ 2147483647 h 228"/>
                  <a:gd name="T2" fmla="*/ 2147483647 w 141"/>
                  <a:gd name="T3" fmla="*/ 2147483647 h 228"/>
                  <a:gd name="T4" fmla="*/ 2147483647 w 141"/>
                  <a:gd name="T5" fmla="*/ 2147483647 h 228"/>
                  <a:gd name="T6" fmla="*/ 2009533160 w 141"/>
                  <a:gd name="T7" fmla="*/ 2147483647 h 228"/>
                  <a:gd name="T8" fmla="*/ 1461515550 w 141"/>
                  <a:gd name="T9" fmla="*/ 2147483647 h 228"/>
                  <a:gd name="T10" fmla="*/ 913497940 w 141"/>
                  <a:gd name="T11" fmla="*/ 2147483647 h 228"/>
                  <a:gd name="T12" fmla="*/ 456749195 w 141"/>
                  <a:gd name="T13" fmla="*/ 2147483647 h 228"/>
                  <a:gd name="T14" fmla="*/ 182740390 w 141"/>
                  <a:gd name="T15" fmla="*/ 2147483647 h 228"/>
                  <a:gd name="T16" fmla="*/ 0 w 141"/>
                  <a:gd name="T17" fmla="*/ 2147483647 h 228"/>
                  <a:gd name="T18" fmla="*/ 182740390 w 141"/>
                  <a:gd name="T19" fmla="*/ 2147483647 h 228"/>
                  <a:gd name="T20" fmla="*/ 365277670 w 141"/>
                  <a:gd name="T21" fmla="*/ 2147483647 h 228"/>
                  <a:gd name="T22" fmla="*/ 548017610 w 141"/>
                  <a:gd name="T23" fmla="*/ 2147483647 h 228"/>
                  <a:gd name="T24" fmla="*/ 822026415 w 141"/>
                  <a:gd name="T25" fmla="*/ 2147483647 h 228"/>
                  <a:gd name="T26" fmla="*/ 1644052830 w 141"/>
                  <a:gd name="T27" fmla="*/ 2147483647 h 228"/>
                  <a:gd name="T28" fmla="*/ 2147483647 w 141"/>
                  <a:gd name="T29" fmla="*/ 0 h 228"/>
                  <a:gd name="T30" fmla="*/ 2147483647 w 141"/>
                  <a:gd name="T31" fmla="*/ 2147483647 h 228"/>
                  <a:gd name="T32" fmla="*/ 2147483647 w 141"/>
                  <a:gd name="T33" fmla="*/ 2147483647 h 228"/>
                  <a:gd name="T34" fmla="*/ 2147483647 w 141"/>
                  <a:gd name="T35" fmla="*/ 2147483647 h 228"/>
                  <a:gd name="T36" fmla="*/ 2147483647 w 141"/>
                  <a:gd name="T37" fmla="*/ 2147483647 h 228"/>
                  <a:gd name="T38" fmla="*/ 2147483647 w 141"/>
                  <a:gd name="T39" fmla="*/ 2147483647 h 228"/>
                  <a:gd name="T40" fmla="*/ 2147483647 w 141"/>
                  <a:gd name="T41" fmla="*/ 2147483647 h 228"/>
                  <a:gd name="T42" fmla="*/ 2147483647 w 141"/>
                  <a:gd name="T43" fmla="*/ 2147483647 h 228"/>
                  <a:gd name="T44" fmla="*/ 2147483647 w 141"/>
                  <a:gd name="T45" fmla="*/ 2147483647 h 228"/>
                  <a:gd name="T46" fmla="*/ 2147483647 w 141"/>
                  <a:gd name="T47" fmla="*/ 2147483647 h 228"/>
                  <a:gd name="T48" fmla="*/ 2147483647 w 141"/>
                  <a:gd name="T49" fmla="*/ 2147483647 h 228"/>
                  <a:gd name="T50" fmla="*/ 2147483647 w 141"/>
                  <a:gd name="T51" fmla="*/ 2147483647 h 228"/>
                  <a:gd name="T52" fmla="*/ 2147483647 w 141"/>
                  <a:gd name="T53" fmla="*/ 2147483647 h 228"/>
                  <a:gd name="T54" fmla="*/ 2147483647 w 141"/>
                  <a:gd name="T55" fmla="*/ 2147483647 h 228"/>
                  <a:gd name="T56" fmla="*/ 2147483647 w 141"/>
                  <a:gd name="T57" fmla="*/ 2147483647 h 228"/>
                  <a:gd name="T58" fmla="*/ 2147483647 w 141"/>
                  <a:gd name="T59" fmla="*/ 2147483647 h 228"/>
                  <a:gd name="T60" fmla="*/ 2147483647 w 141"/>
                  <a:gd name="T61" fmla="*/ 2147483647 h 228"/>
                  <a:gd name="T62" fmla="*/ 2147483647 w 141"/>
                  <a:gd name="T63" fmla="*/ 2147483647 h 228"/>
                  <a:gd name="T64" fmla="*/ 2147483647 w 141"/>
                  <a:gd name="T65" fmla="*/ 2147483647 h 228"/>
                  <a:gd name="T66" fmla="*/ 2147483647 w 141"/>
                  <a:gd name="T67" fmla="*/ 2147483647 h 228"/>
                  <a:gd name="T68" fmla="*/ 2147483647 w 141"/>
                  <a:gd name="T69" fmla="*/ 2147483647 h 228"/>
                  <a:gd name="T70" fmla="*/ 2147483647 w 141"/>
                  <a:gd name="T71" fmla="*/ 2147483647 h 228"/>
                  <a:gd name="T72" fmla="*/ 2147483647 w 141"/>
                  <a:gd name="T73" fmla="*/ 2147483647 h 228"/>
                  <a:gd name="T74" fmla="*/ 2147483647 w 141"/>
                  <a:gd name="T75" fmla="*/ 2147483647 h 228"/>
                  <a:gd name="T76" fmla="*/ 2147483647 w 141"/>
                  <a:gd name="T77" fmla="*/ 2147483647 h 228"/>
                  <a:gd name="T78" fmla="*/ 2147483647 w 141"/>
                  <a:gd name="T79" fmla="*/ 2147483647 h 228"/>
                  <a:gd name="T80" fmla="*/ 2147483647 w 141"/>
                  <a:gd name="T81" fmla="*/ 2147483647 h 22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145" name="Group 282"/>
              <p:cNvGrpSpPr>
                <a:grpSpLocks/>
              </p:cNvGrpSpPr>
              <p:nvPr>
                <p:custDataLst>
                  <p:tags r:id="rId141"/>
                </p:custDataLst>
              </p:nvPr>
            </p:nvGrpSpPr>
            <p:grpSpPr bwMode="auto">
              <a:xfrm>
                <a:off x="12935218" y="3539697"/>
                <a:ext cx="233362" cy="439738"/>
                <a:chOff x="5062" y="2295"/>
                <a:chExt cx="177" cy="279"/>
              </a:xfrm>
            </p:grpSpPr>
            <p:sp>
              <p:nvSpPr>
                <p:cNvPr id="332" name="Freeform 283"/>
                <p:cNvSpPr>
                  <a:spLocks/>
                </p:cNvSpPr>
                <p:nvPr/>
              </p:nvSpPr>
              <p:spPr bwMode="auto">
                <a:xfrm>
                  <a:off x="5154" y="2449"/>
                  <a:ext cx="19" cy="37"/>
                </a:xfrm>
                <a:custGeom>
                  <a:avLst/>
                  <a:gdLst>
                    <a:gd name="T0" fmla="*/ 1 w 60"/>
                    <a:gd name="T1" fmla="*/ 4 h 110"/>
                    <a:gd name="T2" fmla="*/ 1 w 60"/>
                    <a:gd name="T3" fmla="*/ 4 h 110"/>
                    <a:gd name="T4" fmla="*/ 2 w 60"/>
                    <a:gd name="T5" fmla="*/ 4 h 110"/>
                    <a:gd name="T6" fmla="*/ 2 w 60"/>
                    <a:gd name="T7" fmla="*/ 4 h 110"/>
                    <a:gd name="T8" fmla="*/ 2 w 60"/>
                    <a:gd name="T9" fmla="*/ 4 h 110"/>
                    <a:gd name="T10" fmla="*/ 2 w 60"/>
                    <a:gd name="T11" fmla="*/ 3 h 110"/>
                    <a:gd name="T12" fmla="*/ 2 w 60"/>
                    <a:gd name="T13" fmla="*/ 3 h 110"/>
                    <a:gd name="T14" fmla="*/ 2 w 60"/>
                    <a:gd name="T15" fmla="*/ 3 h 110"/>
                    <a:gd name="T16" fmla="*/ 2 w 60"/>
                    <a:gd name="T17" fmla="*/ 3 h 110"/>
                    <a:gd name="T18" fmla="*/ 2 w 60"/>
                    <a:gd name="T19" fmla="*/ 2 h 110"/>
                    <a:gd name="T20" fmla="*/ 2 w 60"/>
                    <a:gd name="T21" fmla="*/ 2 h 110"/>
                    <a:gd name="T22" fmla="*/ 2 w 60"/>
                    <a:gd name="T23" fmla="*/ 1 h 110"/>
                    <a:gd name="T24" fmla="*/ 2 w 60"/>
                    <a:gd name="T25" fmla="*/ 1 h 110"/>
                    <a:gd name="T26" fmla="*/ 2 w 60"/>
                    <a:gd name="T27" fmla="*/ 1 h 110"/>
                    <a:gd name="T28" fmla="*/ 2 w 60"/>
                    <a:gd name="T29" fmla="*/ 0 h 110"/>
                    <a:gd name="T30" fmla="*/ 1 w 60"/>
                    <a:gd name="T31" fmla="*/ 0 h 110"/>
                    <a:gd name="T32" fmla="*/ 1 w 60"/>
                    <a:gd name="T33" fmla="*/ 0 h 110"/>
                    <a:gd name="T34" fmla="*/ 1 w 60"/>
                    <a:gd name="T35" fmla="*/ 0 h 110"/>
                    <a:gd name="T36" fmla="*/ 1 w 60"/>
                    <a:gd name="T37" fmla="*/ 0 h 110"/>
                    <a:gd name="T38" fmla="*/ 1 w 60"/>
                    <a:gd name="T39" fmla="*/ 0 h 110"/>
                    <a:gd name="T40" fmla="*/ 1 w 60"/>
                    <a:gd name="T41" fmla="*/ 1 h 110"/>
                    <a:gd name="T42" fmla="*/ 1 w 60"/>
                    <a:gd name="T43" fmla="*/ 1 h 110"/>
                    <a:gd name="T44" fmla="*/ 1 w 60"/>
                    <a:gd name="T45" fmla="*/ 1 h 110"/>
                    <a:gd name="T46" fmla="*/ 0 w 60"/>
                    <a:gd name="T47" fmla="*/ 2 h 110"/>
                    <a:gd name="T48" fmla="*/ 0 w 60"/>
                    <a:gd name="T49" fmla="*/ 2 h 110"/>
                    <a:gd name="T50" fmla="*/ 0 w 60"/>
                    <a:gd name="T51" fmla="*/ 2 h 110"/>
                    <a:gd name="T52" fmla="*/ 0 w 60"/>
                    <a:gd name="T53" fmla="*/ 3 h 110"/>
                    <a:gd name="T54" fmla="*/ 0 w 60"/>
                    <a:gd name="T55" fmla="*/ 3 h 110"/>
                    <a:gd name="T56" fmla="*/ 0 w 60"/>
                    <a:gd name="T57" fmla="*/ 3 h 110"/>
                    <a:gd name="T58" fmla="*/ 0 w 60"/>
                    <a:gd name="T59" fmla="*/ 3 h 110"/>
                    <a:gd name="T60" fmla="*/ 0 w 60"/>
                    <a:gd name="T61" fmla="*/ 3 h 110"/>
                    <a:gd name="T62" fmla="*/ 0 w 60"/>
                    <a:gd name="T63" fmla="*/ 3 h 110"/>
                    <a:gd name="T64" fmla="*/ 0 w 60"/>
                    <a:gd name="T65" fmla="*/ 4 h 110"/>
                    <a:gd name="T66" fmla="*/ 1 w 60"/>
                    <a:gd name="T67" fmla="*/ 4 h 110"/>
                    <a:gd name="T68" fmla="*/ 1 w 60"/>
                    <a:gd name="T69" fmla="*/ 4 h 110"/>
                    <a:gd name="T70" fmla="*/ 1 w 60"/>
                    <a:gd name="T71" fmla="*/ 4 h 110"/>
                    <a:gd name="T72" fmla="*/ 1 w 60"/>
                    <a:gd name="T73" fmla="*/ 4 h 11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60" h="110">
                      <a:moveTo>
                        <a:pt x="39" y="110"/>
                      </a:moveTo>
                      <a:lnTo>
                        <a:pt x="42" y="109"/>
                      </a:lnTo>
                      <a:lnTo>
                        <a:pt x="46" y="106"/>
                      </a:lnTo>
                      <a:lnTo>
                        <a:pt x="49" y="101"/>
                      </a:lnTo>
                      <a:lnTo>
                        <a:pt x="52" y="96"/>
                      </a:lnTo>
                      <a:lnTo>
                        <a:pt x="54" y="90"/>
                      </a:lnTo>
                      <a:lnTo>
                        <a:pt x="57" y="84"/>
                      </a:lnTo>
                      <a:lnTo>
                        <a:pt x="59" y="78"/>
                      </a:lnTo>
                      <a:lnTo>
                        <a:pt x="60" y="73"/>
                      </a:lnTo>
                      <a:lnTo>
                        <a:pt x="59" y="60"/>
                      </a:lnTo>
                      <a:lnTo>
                        <a:pt x="58" y="48"/>
                      </a:lnTo>
                      <a:lnTo>
                        <a:pt x="57" y="38"/>
                      </a:lnTo>
                      <a:lnTo>
                        <a:pt x="54" y="29"/>
                      </a:lnTo>
                      <a:lnTo>
                        <a:pt x="51" y="21"/>
                      </a:lnTo>
                      <a:lnTo>
                        <a:pt x="48" y="13"/>
                      </a:lnTo>
                      <a:lnTo>
                        <a:pt x="45" y="6"/>
                      </a:lnTo>
                      <a:lnTo>
                        <a:pt x="39" y="0"/>
                      </a:lnTo>
                      <a:lnTo>
                        <a:pt x="35" y="3"/>
                      </a:lnTo>
                      <a:lnTo>
                        <a:pt x="30" y="8"/>
                      </a:lnTo>
                      <a:lnTo>
                        <a:pt x="27" y="13"/>
                      </a:lnTo>
                      <a:lnTo>
                        <a:pt x="24" y="18"/>
                      </a:lnTo>
                      <a:lnTo>
                        <a:pt x="18" y="29"/>
                      </a:lnTo>
                      <a:lnTo>
                        <a:pt x="15" y="40"/>
                      </a:lnTo>
                      <a:lnTo>
                        <a:pt x="10" y="51"/>
                      </a:lnTo>
                      <a:lnTo>
                        <a:pt x="7" y="62"/>
                      </a:lnTo>
                      <a:lnTo>
                        <a:pt x="6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8"/>
                      </a:lnTo>
                      <a:lnTo>
                        <a:pt x="3" y="84"/>
                      </a:lnTo>
                      <a:lnTo>
                        <a:pt x="7" y="90"/>
                      </a:lnTo>
                      <a:lnTo>
                        <a:pt x="12" y="96"/>
                      </a:lnTo>
                      <a:lnTo>
                        <a:pt x="18" y="101"/>
                      </a:lnTo>
                      <a:lnTo>
                        <a:pt x="25" y="106"/>
                      </a:lnTo>
                      <a:lnTo>
                        <a:pt x="32" y="109"/>
                      </a:lnTo>
                      <a:lnTo>
                        <a:pt x="39" y="11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3" name="Freeform 284"/>
                <p:cNvSpPr>
                  <a:spLocks/>
                </p:cNvSpPr>
                <p:nvPr/>
              </p:nvSpPr>
              <p:spPr bwMode="auto">
                <a:xfrm>
                  <a:off x="5189" y="2422"/>
                  <a:ext cx="24" cy="25"/>
                </a:xfrm>
                <a:custGeom>
                  <a:avLst/>
                  <a:gdLst>
                    <a:gd name="T0" fmla="*/ 0 w 72"/>
                    <a:gd name="T1" fmla="*/ 0 h 75"/>
                    <a:gd name="T2" fmla="*/ 0 w 72"/>
                    <a:gd name="T3" fmla="*/ 1 h 75"/>
                    <a:gd name="T4" fmla="*/ 1 w 72"/>
                    <a:gd name="T5" fmla="*/ 1 h 75"/>
                    <a:gd name="T6" fmla="*/ 1 w 72"/>
                    <a:gd name="T7" fmla="*/ 1 h 75"/>
                    <a:gd name="T8" fmla="*/ 1 w 72"/>
                    <a:gd name="T9" fmla="*/ 1 h 75"/>
                    <a:gd name="T10" fmla="*/ 1 w 72"/>
                    <a:gd name="T11" fmla="*/ 2 h 75"/>
                    <a:gd name="T12" fmla="*/ 2 w 72"/>
                    <a:gd name="T13" fmla="*/ 2 h 75"/>
                    <a:gd name="T14" fmla="*/ 2 w 72"/>
                    <a:gd name="T15" fmla="*/ 2 h 75"/>
                    <a:gd name="T16" fmla="*/ 2 w 72"/>
                    <a:gd name="T17" fmla="*/ 3 h 75"/>
                    <a:gd name="T18" fmla="*/ 3 w 72"/>
                    <a:gd name="T19" fmla="*/ 3 h 75"/>
                    <a:gd name="T20" fmla="*/ 2 w 72"/>
                    <a:gd name="T21" fmla="*/ 2 h 75"/>
                    <a:gd name="T22" fmla="*/ 2 w 72"/>
                    <a:gd name="T23" fmla="*/ 1 h 75"/>
                    <a:gd name="T24" fmla="*/ 2 w 72"/>
                    <a:gd name="T25" fmla="*/ 1 h 75"/>
                    <a:gd name="T26" fmla="*/ 2 w 72"/>
                    <a:gd name="T27" fmla="*/ 1 h 75"/>
                    <a:gd name="T28" fmla="*/ 2 w 72"/>
                    <a:gd name="T29" fmla="*/ 0 h 75"/>
                    <a:gd name="T30" fmla="*/ 3 w 72"/>
                    <a:gd name="T31" fmla="*/ 0 h 75"/>
                    <a:gd name="T32" fmla="*/ 2 w 72"/>
                    <a:gd name="T33" fmla="*/ 0 h 75"/>
                    <a:gd name="T34" fmla="*/ 1 w 72"/>
                    <a:gd name="T35" fmla="*/ 0 h 75"/>
                    <a:gd name="T36" fmla="*/ 1 w 72"/>
                    <a:gd name="T37" fmla="*/ 0 h 75"/>
                    <a:gd name="T38" fmla="*/ 0 w 72"/>
                    <a:gd name="T39" fmla="*/ 0 h 75"/>
                    <a:gd name="T40" fmla="*/ 0 w 72"/>
                    <a:gd name="T41" fmla="*/ 0 h 75"/>
                    <a:gd name="T42" fmla="*/ 0 w 72"/>
                    <a:gd name="T43" fmla="*/ 0 h 75"/>
                    <a:gd name="T44" fmla="*/ 0 w 72"/>
                    <a:gd name="T45" fmla="*/ 0 h 75"/>
                    <a:gd name="T46" fmla="*/ 0 w 72"/>
                    <a:gd name="T47" fmla="*/ 0 h 7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72" h="75">
                      <a:moveTo>
                        <a:pt x="0" y="13"/>
                      </a:moveTo>
                      <a:lnTo>
                        <a:pt x="8" y="18"/>
                      </a:lnTo>
                      <a:lnTo>
                        <a:pt x="15" y="25"/>
                      </a:lnTo>
                      <a:lnTo>
                        <a:pt x="23" y="32"/>
                      </a:lnTo>
                      <a:lnTo>
                        <a:pt x="31" y="40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5" y="65"/>
                      </a:lnTo>
                      <a:lnTo>
                        <a:pt x="46" y="75"/>
                      </a:lnTo>
                      <a:lnTo>
                        <a:pt x="72" y="75"/>
                      </a:lnTo>
                      <a:lnTo>
                        <a:pt x="65" y="50"/>
                      </a:lnTo>
                      <a:lnTo>
                        <a:pt x="60" y="34"/>
                      </a:lnTo>
                      <a:lnTo>
                        <a:pt x="60" y="27"/>
                      </a:lnTo>
                      <a:lnTo>
                        <a:pt x="63" y="19"/>
                      </a:lnTo>
                      <a:lnTo>
                        <a:pt x="67" y="11"/>
                      </a:lnTo>
                      <a:lnTo>
                        <a:pt x="72" y="1"/>
                      </a:lnTo>
                      <a:lnTo>
                        <a:pt x="52" y="0"/>
                      </a:lnTo>
                      <a:lnTo>
                        <a:pt x="32" y="0"/>
                      </a:lnTo>
                      <a:lnTo>
                        <a:pt x="22" y="1"/>
                      </a:lnTo>
                      <a:lnTo>
                        <a:pt x="13" y="3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2" y="10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4" name="Freeform 285"/>
                <p:cNvSpPr>
                  <a:spLocks/>
                </p:cNvSpPr>
                <p:nvPr/>
              </p:nvSpPr>
              <p:spPr bwMode="auto">
                <a:xfrm>
                  <a:off x="5160" y="2389"/>
                  <a:ext cx="5" cy="16"/>
                </a:xfrm>
                <a:custGeom>
                  <a:avLst/>
                  <a:gdLst>
                    <a:gd name="T0" fmla="*/ 1 w 15"/>
                    <a:gd name="T1" fmla="*/ 2 h 49"/>
                    <a:gd name="T2" fmla="*/ 1 w 15"/>
                    <a:gd name="T3" fmla="*/ 1 h 49"/>
                    <a:gd name="T4" fmla="*/ 1 w 15"/>
                    <a:gd name="T5" fmla="*/ 1 h 49"/>
                    <a:gd name="T6" fmla="*/ 1 w 15"/>
                    <a:gd name="T7" fmla="*/ 0 h 49"/>
                    <a:gd name="T8" fmla="*/ 0 w 15"/>
                    <a:gd name="T9" fmla="*/ 0 h 49"/>
                    <a:gd name="T10" fmla="*/ 0 w 15"/>
                    <a:gd name="T11" fmla="*/ 0 h 49"/>
                    <a:gd name="T12" fmla="*/ 0 w 15"/>
                    <a:gd name="T13" fmla="*/ 0 h 49"/>
                    <a:gd name="T14" fmla="*/ 0 w 15"/>
                    <a:gd name="T15" fmla="*/ 0 h 49"/>
                    <a:gd name="T16" fmla="*/ 0 w 15"/>
                    <a:gd name="T17" fmla="*/ 1 h 49"/>
                    <a:gd name="T18" fmla="*/ 0 w 15"/>
                    <a:gd name="T19" fmla="*/ 1 h 49"/>
                    <a:gd name="T20" fmla="*/ 0 w 15"/>
                    <a:gd name="T21" fmla="*/ 1 h 49"/>
                    <a:gd name="T22" fmla="*/ 0 w 15"/>
                    <a:gd name="T23" fmla="*/ 1 h 49"/>
                    <a:gd name="T24" fmla="*/ 0 w 15"/>
                    <a:gd name="T25" fmla="*/ 2 h 49"/>
                    <a:gd name="T26" fmla="*/ 0 w 15"/>
                    <a:gd name="T27" fmla="*/ 2 h 49"/>
                    <a:gd name="T28" fmla="*/ 0 w 15"/>
                    <a:gd name="T29" fmla="*/ 2 h 49"/>
                    <a:gd name="T30" fmla="*/ 0 w 15"/>
                    <a:gd name="T31" fmla="*/ 2 h 49"/>
                    <a:gd name="T32" fmla="*/ 1 w 15"/>
                    <a:gd name="T33" fmla="*/ 2 h 4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5" h="49">
                      <a:moveTo>
                        <a:pt x="15" y="49"/>
                      </a:moveTo>
                      <a:lnTo>
                        <a:pt x="15" y="33"/>
                      </a:lnTo>
                      <a:lnTo>
                        <a:pt x="15" y="19"/>
                      </a:lnTo>
                      <a:lnTo>
                        <a:pt x="14" y="13"/>
                      </a:lnTo>
                      <a:lnTo>
                        <a:pt x="13" y="7"/>
                      </a:lnTo>
                      <a:lnTo>
                        <a:pt x="11" y="3"/>
                      </a:lnTo>
                      <a:lnTo>
                        <a:pt x="9" y="0"/>
                      </a:lnTo>
                      <a:lnTo>
                        <a:pt x="4" y="7"/>
                      </a:lnTo>
                      <a:lnTo>
                        <a:pt x="2" y="15"/>
                      </a:lnTo>
                      <a:lnTo>
                        <a:pt x="0" y="23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4" y="42"/>
                      </a:lnTo>
                      <a:lnTo>
                        <a:pt x="7" y="44"/>
                      </a:lnTo>
                      <a:lnTo>
                        <a:pt x="9" y="46"/>
                      </a:lnTo>
                      <a:lnTo>
                        <a:pt x="12" y="48"/>
                      </a:lnTo>
                      <a:lnTo>
                        <a:pt x="15" y="4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5" name="Freeform 286"/>
                <p:cNvSpPr>
                  <a:spLocks/>
                </p:cNvSpPr>
                <p:nvPr/>
              </p:nvSpPr>
              <p:spPr bwMode="auto">
                <a:xfrm>
                  <a:off x="5139" y="2387"/>
                  <a:ext cx="15" cy="13"/>
                </a:xfrm>
                <a:custGeom>
                  <a:avLst/>
                  <a:gdLst>
                    <a:gd name="T0" fmla="*/ 1 w 47"/>
                    <a:gd name="T1" fmla="*/ 0 h 40"/>
                    <a:gd name="T2" fmla="*/ 0 w 47"/>
                    <a:gd name="T3" fmla="*/ 1 h 40"/>
                    <a:gd name="T4" fmla="*/ 0 w 47"/>
                    <a:gd name="T5" fmla="*/ 1 h 40"/>
                    <a:gd name="T6" fmla="*/ 0 w 47"/>
                    <a:gd name="T7" fmla="*/ 1 h 40"/>
                    <a:gd name="T8" fmla="*/ 1 w 47"/>
                    <a:gd name="T9" fmla="*/ 1 h 40"/>
                    <a:gd name="T10" fmla="*/ 1 w 47"/>
                    <a:gd name="T11" fmla="*/ 1 h 40"/>
                    <a:gd name="T12" fmla="*/ 1 w 47"/>
                    <a:gd name="T13" fmla="*/ 1 h 40"/>
                    <a:gd name="T14" fmla="*/ 1 w 47"/>
                    <a:gd name="T15" fmla="*/ 1 h 40"/>
                    <a:gd name="T16" fmla="*/ 1 w 47"/>
                    <a:gd name="T17" fmla="*/ 1 h 40"/>
                    <a:gd name="T18" fmla="*/ 2 w 47"/>
                    <a:gd name="T19" fmla="*/ 1 h 40"/>
                    <a:gd name="T20" fmla="*/ 2 w 47"/>
                    <a:gd name="T21" fmla="*/ 0 h 40"/>
                    <a:gd name="T22" fmla="*/ 1 w 47"/>
                    <a:gd name="T23" fmla="*/ 0 h 40"/>
                    <a:gd name="T24" fmla="*/ 1 w 47"/>
                    <a:gd name="T25" fmla="*/ 0 h 40"/>
                    <a:gd name="T26" fmla="*/ 1 w 47"/>
                    <a:gd name="T27" fmla="*/ 0 h 40"/>
                    <a:gd name="T28" fmla="*/ 1 w 47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47" h="40">
                      <a:moveTo>
                        <a:pt x="20" y="6"/>
                      </a:moveTo>
                      <a:lnTo>
                        <a:pt x="0" y="37"/>
                      </a:lnTo>
                      <a:lnTo>
                        <a:pt x="6" y="39"/>
                      </a:lnTo>
                      <a:lnTo>
                        <a:pt x="12" y="40"/>
                      </a:lnTo>
                      <a:lnTo>
                        <a:pt x="19" y="39"/>
                      </a:lnTo>
                      <a:lnTo>
                        <a:pt x="26" y="38"/>
                      </a:lnTo>
                      <a:lnTo>
                        <a:pt x="32" y="36"/>
                      </a:lnTo>
                      <a:lnTo>
                        <a:pt x="39" y="33"/>
                      </a:lnTo>
                      <a:lnTo>
                        <a:pt x="43" y="30"/>
                      </a:lnTo>
                      <a:lnTo>
                        <a:pt x="47" y="25"/>
                      </a:lnTo>
                      <a:lnTo>
                        <a:pt x="47" y="0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6" y="3"/>
                      </a:lnTo>
                      <a:lnTo>
                        <a:pt x="2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6" name="Freeform 287"/>
                <p:cNvSpPr>
                  <a:spLocks/>
                </p:cNvSpPr>
                <p:nvPr/>
              </p:nvSpPr>
              <p:spPr bwMode="auto">
                <a:xfrm>
                  <a:off x="5184" y="2465"/>
                  <a:ext cx="13" cy="10"/>
                </a:xfrm>
                <a:custGeom>
                  <a:avLst/>
                  <a:gdLst>
                    <a:gd name="T0" fmla="*/ 0 w 39"/>
                    <a:gd name="T1" fmla="*/ 0 h 31"/>
                    <a:gd name="T2" fmla="*/ 0 w 39"/>
                    <a:gd name="T3" fmla="*/ 0 h 31"/>
                    <a:gd name="T4" fmla="*/ 0 w 39"/>
                    <a:gd name="T5" fmla="*/ 0 h 31"/>
                    <a:gd name="T6" fmla="*/ 0 w 39"/>
                    <a:gd name="T7" fmla="*/ 1 h 31"/>
                    <a:gd name="T8" fmla="*/ 1 w 39"/>
                    <a:gd name="T9" fmla="*/ 1 h 31"/>
                    <a:gd name="T10" fmla="*/ 1 w 39"/>
                    <a:gd name="T11" fmla="*/ 1 h 31"/>
                    <a:gd name="T12" fmla="*/ 1 w 39"/>
                    <a:gd name="T13" fmla="*/ 1 h 31"/>
                    <a:gd name="T14" fmla="*/ 1 w 39"/>
                    <a:gd name="T15" fmla="*/ 1 h 31"/>
                    <a:gd name="T16" fmla="*/ 1 w 39"/>
                    <a:gd name="T17" fmla="*/ 1 h 31"/>
                    <a:gd name="T18" fmla="*/ 1 w 39"/>
                    <a:gd name="T19" fmla="*/ 1 h 31"/>
                    <a:gd name="T20" fmla="*/ 1 w 39"/>
                    <a:gd name="T21" fmla="*/ 1 h 31"/>
                    <a:gd name="T22" fmla="*/ 1 w 39"/>
                    <a:gd name="T23" fmla="*/ 0 h 31"/>
                    <a:gd name="T24" fmla="*/ 0 w 39"/>
                    <a:gd name="T25" fmla="*/ 0 h 3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0" y="0"/>
                      </a:move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2" y="19"/>
                      </a:lnTo>
                      <a:lnTo>
                        <a:pt x="17" y="23"/>
                      </a:lnTo>
                      <a:lnTo>
                        <a:pt x="23" y="26"/>
                      </a:lnTo>
                      <a:lnTo>
                        <a:pt x="28" y="29"/>
                      </a:lnTo>
                      <a:lnTo>
                        <a:pt x="34" y="31"/>
                      </a:lnTo>
                      <a:lnTo>
                        <a:pt x="39" y="31"/>
                      </a:lnTo>
                      <a:lnTo>
                        <a:pt x="33" y="22"/>
                      </a:lnTo>
                      <a:lnTo>
                        <a:pt x="25" y="14"/>
                      </a:lnTo>
                      <a:lnTo>
                        <a:pt x="16" y="7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7" name="Freeform 288"/>
                <p:cNvSpPr>
                  <a:spLocks/>
                </p:cNvSpPr>
                <p:nvPr/>
              </p:nvSpPr>
              <p:spPr bwMode="auto">
                <a:xfrm>
                  <a:off x="5172" y="2410"/>
                  <a:ext cx="10" cy="6"/>
                </a:xfrm>
                <a:custGeom>
                  <a:avLst/>
                  <a:gdLst>
                    <a:gd name="T0" fmla="*/ 0 w 34"/>
                    <a:gd name="T1" fmla="*/ 0 h 19"/>
                    <a:gd name="T2" fmla="*/ 1 w 34"/>
                    <a:gd name="T3" fmla="*/ 1 h 19"/>
                    <a:gd name="T4" fmla="*/ 1 w 34"/>
                    <a:gd name="T5" fmla="*/ 0 h 19"/>
                    <a:gd name="T6" fmla="*/ 1 w 34"/>
                    <a:gd name="T7" fmla="*/ 0 h 19"/>
                    <a:gd name="T8" fmla="*/ 0 w 34"/>
                    <a:gd name="T9" fmla="*/ 0 h 19"/>
                    <a:gd name="T10" fmla="*/ 0 w 34"/>
                    <a:gd name="T11" fmla="*/ 0 h 19"/>
                    <a:gd name="T12" fmla="*/ 0 w 34"/>
                    <a:gd name="T13" fmla="*/ 0 h 1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34" h="19">
                      <a:moveTo>
                        <a:pt x="0" y="0"/>
                      </a:moveTo>
                      <a:lnTo>
                        <a:pt x="34" y="19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8" name="Freeform 289"/>
                <p:cNvSpPr>
                  <a:spLocks/>
                </p:cNvSpPr>
                <p:nvPr/>
              </p:nvSpPr>
              <p:spPr bwMode="auto">
                <a:xfrm>
                  <a:off x="5180" y="2471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13" y="6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9" name="Freeform 290"/>
                <p:cNvSpPr>
                  <a:spLocks/>
                </p:cNvSpPr>
                <p:nvPr/>
              </p:nvSpPr>
              <p:spPr bwMode="auto">
                <a:xfrm>
                  <a:off x="5062" y="2447"/>
                  <a:ext cx="42" cy="55"/>
                </a:xfrm>
                <a:custGeom>
                  <a:avLst/>
                  <a:gdLst>
                    <a:gd name="T0" fmla="*/ 4 w 126"/>
                    <a:gd name="T1" fmla="*/ 0 h 166"/>
                    <a:gd name="T2" fmla="*/ 4 w 126"/>
                    <a:gd name="T3" fmla="*/ 0 h 166"/>
                    <a:gd name="T4" fmla="*/ 4 w 126"/>
                    <a:gd name="T5" fmla="*/ 0 h 166"/>
                    <a:gd name="T6" fmla="*/ 5 w 126"/>
                    <a:gd name="T7" fmla="*/ 0 h 166"/>
                    <a:gd name="T8" fmla="*/ 5 w 126"/>
                    <a:gd name="T9" fmla="*/ 1 h 166"/>
                    <a:gd name="T10" fmla="*/ 5 w 126"/>
                    <a:gd name="T11" fmla="*/ 1 h 166"/>
                    <a:gd name="T12" fmla="*/ 5 w 126"/>
                    <a:gd name="T13" fmla="*/ 1 h 166"/>
                    <a:gd name="T14" fmla="*/ 5 w 126"/>
                    <a:gd name="T15" fmla="*/ 1 h 166"/>
                    <a:gd name="T16" fmla="*/ 4 w 126"/>
                    <a:gd name="T17" fmla="*/ 2 h 166"/>
                    <a:gd name="T18" fmla="*/ 4 w 126"/>
                    <a:gd name="T19" fmla="*/ 2 h 166"/>
                    <a:gd name="T20" fmla="*/ 4 w 126"/>
                    <a:gd name="T21" fmla="*/ 2 h 166"/>
                    <a:gd name="T22" fmla="*/ 3 w 126"/>
                    <a:gd name="T23" fmla="*/ 3 h 166"/>
                    <a:gd name="T24" fmla="*/ 3 w 126"/>
                    <a:gd name="T25" fmla="*/ 4 h 166"/>
                    <a:gd name="T26" fmla="*/ 2 w 126"/>
                    <a:gd name="T27" fmla="*/ 5 h 166"/>
                    <a:gd name="T28" fmla="*/ 1 w 126"/>
                    <a:gd name="T29" fmla="*/ 5 h 166"/>
                    <a:gd name="T30" fmla="*/ 1 w 126"/>
                    <a:gd name="T31" fmla="*/ 6 h 166"/>
                    <a:gd name="T32" fmla="*/ 1 w 126"/>
                    <a:gd name="T33" fmla="*/ 6 h 166"/>
                    <a:gd name="T34" fmla="*/ 0 w 126"/>
                    <a:gd name="T35" fmla="*/ 6 h 166"/>
                    <a:gd name="T36" fmla="*/ 0 w 126"/>
                    <a:gd name="T37" fmla="*/ 6 h 166"/>
                    <a:gd name="T38" fmla="*/ 0 w 126"/>
                    <a:gd name="T39" fmla="*/ 6 h 166"/>
                    <a:gd name="T40" fmla="*/ 0 w 126"/>
                    <a:gd name="T41" fmla="*/ 6 h 166"/>
                    <a:gd name="T42" fmla="*/ 0 w 126"/>
                    <a:gd name="T43" fmla="*/ 5 h 166"/>
                    <a:gd name="T44" fmla="*/ 0 w 126"/>
                    <a:gd name="T45" fmla="*/ 5 h 166"/>
                    <a:gd name="T46" fmla="*/ 0 w 126"/>
                    <a:gd name="T47" fmla="*/ 5 h 166"/>
                    <a:gd name="T48" fmla="*/ 0 w 126"/>
                    <a:gd name="T49" fmla="*/ 5 h 166"/>
                    <a:gd name="T50" fmla="*/ 0 w 126"/>
                    <a:gd name="T51" fmla="*/ 5 h 166"/>
                    <a:gd name="T52" fmla="*/ 1 w 126"/>
                    <a:gd name="T53" fmla="*/ 4 h 166"/>
                    <a:gd name="T54" fmla="*/ 1 w 126"/>
                    <a:gd name="T55" fmla="*/ 4 h 166"/>
                    <a:gd name="T56" fmla="*/ 1 w 126"/>
                    <a:gd name="T57" fmla="*/ 4 h 166"/>
                    <a:gd name="T58" fmla="*/ 1 w 126"/>
                    <a:gd name="T59" fmla="*/ 4 h 166"/>
                    <a:gd name="T60" fmla="*/ 2 w 126"/>
                    <a:gd name="T61" fmla="*/ 4 h 166"/>
                    <a:gd name="T62" fmla="*/ 2 w 126"/>
                    <a:gd name="T63" fmla="*/ 3 h 166"/>
                    <a:gd name="T64" fmla="*/ 2 w 126"/>
                    <a:gd name="T65" fmla="*/ 3 h 166"/>
                    <a:gd name="T66" fmla="*/ 2 w 126"/>
                    <a:gd name="T67" fmla="*/ 2 h 166"/>
                    <a:gd name="T68" fmla="*/ 3 w 126"/>
                    <a:gd name="T69" fmla="*/ 2 h 166"/>
                    <a:gd name="T70" fmla="*/ 3 w 126"/>
                    <a:gd name="T71" fmla="*/ 1 h 166"/>
                    <a:gd name="T72" fmla="*/ 3 w 126"/>
                    <a:gd name="T73" fmla="*/ 1 h 166"/>
                    <a:gd name="T74" fmla="*/ 3 w 126"/>
                    <a:gd name="T75" fmla="*/ 1 h 166"/>
                    <a:gd name="T76" fmla="*/ 4 w 126"/>
                    <a:gd name="T77" fmla="*/ 0 h 166"/>
                    <a:gd name="T78" fmla="*/ 4 w 126"/>
                    <a:gd name="T79" fmla="*/ 0 h 166"/>
                    <a:gd name="T80" fmla="*/ 4 w 126"/>
                    <a:gd name="T81" fmla="*/ 0 h 16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126" h="166">
                      <a:moveTo>
                        <a:pt x="113" y="0"/>
                      </a:moveTo>
                      <a:lnTo>
                        <a:pt x="117" y="5"/>
                      </a:lnTo>
                      <a:lnTo>
                        <a:pt x="121" y="10"/>
                      </a:lnTo>
                      <a:lnTo>
                        <a:pt x="124" y="13"/>
                      </a:lnTo>
                      <a:lnTo>
                        <a:pt x="125" y="17"/>
                      </a:lnTo>
                      <a:lnTo>
                        <a:pt x="126" y="20"/>
                      </a:lnTo>
                      <a:lnTo>
                        <a:pt x="126" y="25"/>
                      </a:lnTo>
                      <a:lnTo>
                        <a:pt x="123" y="32"/>
                      </a:lnTo>
                      <a:lnTo>
                        <a:pt x="118" y="41"/>
                      </a:lnTo>
                      <a:lnTo>
                        <a:pt x="113" y="50"/>
                      </a:lnTo>
                      <a:lnTo>
                        <a:pt x="106" y="61"/>
                      </a:lnTo>
                      <a:lnTo>
                        <a:pt x="91" y="83"/>
                      </a:lnTo>
                      <a:lnTo>
                        <a:pt x="72" y="104"/>
                      </a:lnTo>
                      <a:lnTo>
                        <a:pt x="53" y="126"/>
                      </a:lnTo>
                      <a:lnTo>
                        <a:pt x="34" y="144"/>
                      </a:lnTo>
                      <a:lnTo>
                        <a:pt x="25" y="152"/>
                      </a:lnTo>
                      <a:lnTo>
                        <a:pt x="16" y="158"/>
                      </a:lnTo>
                      <a:lnTo>
                        <a:pt x="7" y="163"/>
                      </a:lnTo>
                      <a:lnTo>
                        <a:pt x="0" y="166"/>
                      </a:lnTo>
                      <a:lnTo>
                        <a:pt x="0" y="160"/>
                      </a:lnTo>
                      <a:lnTo>
                        <a:pt x="0" y="153"/>
                      </a:lnTo>
                      <a:lnTo>
                        <a:pt x="0" y="145"/>
                      </a:lnTo>
                      <a:lnTo>
                        <a:pt x="0" y="136"/>
                      </a:lnTo>
                      <a:lnTo>
                        <a:pt x="3" y="131"/>
                      </a:lnTo>
                      <a:lnTo>
                        <a:pt x="6" y="128"/>
                      </a:lnTo>
                      <a:lnTo>
                        <a:pt x="12" y="124"/>
                      </a:lnTo>
                      <a:lnTo>
                        <a:pt x="16" y="121"/>
                      </a:lnTo>
                      <a:lnTo>
                        <a:pt x="26" y="116"/>
                      </a:lnTo>
                      <a:lnTo>
                        <a:pt x="33" y="110"/>
                      </a:lnTo>
                      <a:lnTo>
                        <a:pt x="40" y="104"/>
                      </a:lnTo>
                      <a:lnTo>
                        <a:pt x="48" y="96"/>
                      </a:lnTo>
                      <a:lnTo>
                        <a:pt x="53" y="89"/>
                      </a:lnTo>
                      <a:lnTo>
                        <a:pt x="58" y="82"/>
                      </a:lnTo>
                      <a:lnTo>
                        <a:pt x="67" y="66"/>
                      </a:lnTo>
                      <a:lnTo>
                        <a:pt x="72" y="50"/>
                      </a:lnTo>
                      <a:lnTo>
                        <a:pt x="79" y="36"/>
                      </a:lnTo>
                      <a:lnTo>
                        <a:pt x="87" y="23"/>
                      </a:lnTo>
                      <a:lnTo>
                        <a:pt x="92" y="16"/>
                      </a:lnTo>
                      <a:lnTo>
                        <a:pt x="97" y="11"/>
                      </a:lnTo>
                      <a:lnTo>
                        <a:pt x="104" y="5"/>
                      </a:lnTo>
                      <a:lnTo>
                        <a:pt x="1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0" name="Freeform 291"/>
                <p:cNvSpPr>
                  <a:spLocks/>
                </p:cNvSpPr>
                <p:nvPr/>
              </p:nvSpPr>
              <p:spPr bwMode="auto">
                <a:xfrm>
                  <a:off x="5154" y="2465"/>
                  <a:ext cx="85" cy="86"/>
                </a:xfrm>
                <a:custGeom>
                  <a:avLst/>
                  <a:gdLst>
                    <a:gd name="T0" fmla="*/ 0 w 259"/>
                    <a:gd name="T1" fmla="*/ 7 h 259"/>
                    <a:gd name="T2" fmla="*/ 0 w 259"/>
                    <a:gd name="T3" fmla="*/ 6 h 259"/>
                    <a:gd name="T4" fmla="*/ 0 w 259"/>
                    <a:gd name="T5" fmla="*/ 5 h 259"/>
                    <a:gd name="T6" fmla="*/ 0 w 259"/>
                    <a:gd name="T7" fmla="*/ 5 h 259"/>
                    <a:gd name="T8" fmla="*/ 1 w 259"/>
                    <a:gd name="T9" fmla="*/ 5 h 259"/>
                    <a:gd name="T10" fmla="*/ 1 w 259"/>
                    <a:gd name="T11" fmla="*/ 4 h 259"/>
                    <a:gd name="T12" fmla="*/ 2 w 259"/>
                    <a:gd name="T13" fmla="*/ 4 h 259"/>
                    <a:gd name="T14" fmla="*/ 2 w 259"/>
                    <a:gd name="T15" fmla="*/ 3 h 259"/>
                    <a:gd name="T16" fmla="*/ 2 w 259"/>
                    <a:gd name="T17" fmla="*/ 3 h 259"/>
                    <a:gd name="T18" fmla="*/ 3 w 259"/>
                    <a:gd name="T19" fmla="*/ 3 h 259"/>
                    <a:gd name="T20" fmla="*/ 3 w 259"/>
                    <a:gd name="T21" fmla="*/ 3 h 259"/>
                    <a:gd name="T22" fmla="*/ 4 w 259"/>
                    <a:gd name="T23" fmla="*/ 4 h 259"/>
                    <a:gd name="T24" fmla="*/ 4 w 259"/>
                    <a:gd name="T25" fmla="*/ 4 h 259"/>
                    <a:gd name="T26" fmla="*/ 4 w 259"/>
                    <a:gd name="T27" fmla="*/ 4 h 259"/>
                    <a:gd name="T28" fmla="*/ 5 w 259"/>
                    <a:gd name="T29" fmla="*/ 4 h 259"/>
                    <a:gd name="T30" fmla="*/ 5 w 259"/>
                    <a:gd name="T31" fmla="*/ 3 h 259"/>
                    <a:gd name="T32" fmla="*/ 6 w 259"/>
                    <a:gd name="T33" fmla="*/ 3 h 259"/>
                    <a:gd name="T34" fmla="*/ 6 w 259"/>
                    <a:gd name="T35" fmla="*/ 2 h 259"/>
                    <a:gd name="T36" fmla="*/ 7 w 259"/>
                    <a:gd name="T37" fmla="*/ 1 h 259"/>
                    <a:gd name="T38" fmla="*/ 7 w 259"/>
                    <a:gd name="T39" fmla="*/ 0 h 259"/>
                    <a:gd name="T40" fmla="*/ 7 w 259"/>
                    <a:gd name="T41" fmla="*/ 0 h 259"/>
                    <a:gd name="T42" fmla="*/ 8 w 259"/>
                    <a:gd name="T43" fmla="*/ 1 h 259"/>
                    <a:gd name="T44" fmla="*/ 8 w 259"/>
                    <a:gd name="T45" fmla="*/ 1 h 259"/>
                    <a:gd name="T46" fmla="*/ 8 w 259"/>
                    <a:gd name="T47" fmla="*/ 2 h 259"/>
                    <a:gd name="T48" fmla="*/ 8 w 259"/>
                    <a:gd name="T49" fmla="*/ 2 h 259"/>
                    <a:gd name="T50" fmla="*/ 8 w 259"/>
                    <a:gd name="T51" fmla="*/ 3 h 259"/>
                    <a:gd name="T52" fmla="*/ 8 w 259"/>
                    <a:gd name="T53" fmla="*/ 3 h 259"/>
                    <a:gd name="T54" fmla="*/ 8 w 259"/>
                    <a:gd name="T55" fmla="*/ 4 h 259"/>
                    <a:gd name="T56" fmla="*/ 9 w 259"/>
                    <a:gd name="T57" fmla="*/ 4 h 259"/>
                    <a:gd name="T58" fmla="*/ 9 w 259"/>
                    <a:gd name="T59" fmla="*/ 4 h 259"/>
                    <a:gd name="T60" fmla="*/ 9 w 259"/>
                    <a:gd name="T61" fmla="*/ 5 h 259"/>
                    <a:gd name="T62" fmla="*/ 9 w 259"/>
                    <a:gd name="T63" fmla="*/ 6 h 259"/>
                    <a:gd name="T64" fmla="*/ 9 w 259"/>
                    <a:gd name="T65" fmla="*/ 9 h 259"/>
                    <a:gd name="T66" fmla="*/ 9 w 259"/>
                    <a:gd name="T67" fmla="*/ 8 h 259"/>
                    <a:gd name="T68" fmla="*/ 9 w 259"/>
                    <a:gd name="T69" fmla="*/ 8 h 259"/>
                    <a:gd name="T70" fmla="*/ 9 w 259"/>
                    <a:gd name="T71" fmla="*/ 7 h 259"/>
                    <a:gd name="T72" fmla="*/ 8 w 259"/>
                    <a:gd name="T73" fmla="*/ 7 h 259"/>
                    <a:gd name="T74" fmla="*/ 7 w 259"/>
                    <a:gd name="T75" fmla="*/ 7 h 259"/>
                    <a:gd name="T76" fmla="*/ 7 w 259"/>
                    <a:gd name="T77" fmla="*/ 7 h 259"/>
                    <a:gd name="T78" fmla="*/ 7 w 259"/>
                    <a:gd name="T79" fmla="*/ 8 h 259"/>
                    <a:gd name="T80" fmla="*/ 7 w 259"/>
                    <a:gd name="T81" fmla="*/ 10 h 259"/>
                    <a:gd name="T82" fmla="*/ 4 w 259"/>
                    <a:gd name="T83" fmla="*/ 9 h 259"/>
                    <a:gd name="T84" fmla="*/ 4 w 259"/>
                    <a:gd name="T85" fmla="*/ 8 h 259"/>
                    <a:gd name="T86" fmla="*/ 4 w 259"/>
                    <a:gd name="T87" fmla="*/ 8 h 259"/>
                    <a:gd name="T88" fmla="*/ 4 w 259"/>
                    <a:gd name="T89" fmla="*/ 7 h 259"/>
                    <a:gd name="T90" fmla="*/ 4 w 259"/>
                    <a:gd name="T91" fmla="*/ 7 h 259"/>
                    <a:gd name="T92" fmla="*/ 4 w 259"/>
                    <a:gd name="T93" fmla="*/ 7 h 259"/>
                    <a:gd name="T94" fmla="*/ 4 w 259"/>
                    <a:gd name="T95" fmla="*/ 6 h 259"/>
                    <a:gd name="T96" fmla="*/ 3 w 259"/>
                    <a:gd name="T97" fmla="*/ 6 h 259"/>
                    <a:gd name="T98" fmla="*/ 1 w 259"/>
                    <a:gd name="T99" fmla="*/ 6 h 259"/>
                    <a:gd name="T100" fmla="*/ 1 w 259"/>
                    <a:gd name="T101" fmla="*/ 6 h 259"/>
                    <a:gd name="T102" fmla="*/ 1 w 259"/>
                    <a:gd name="T103" fmla="*/ 6 h 259"/>
                    <a:gd name="T104" fmla="*/ 0 w 259"/>
                    <a:gd name="T105" fmla="*/ 7 h 25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259" h="259">
                      <a:moveTo>
                        <a:pt x="13" y="192"/>
                      </a:moveTo>
                      <a:lnTo>
                        <a:pt x="8" y="182"/>
                      </a:lnTo>
                      <a:lnTo>
                        <a:pt x="4" y="173"/>
                      </a:lnTo>
                      <a:lnTo>
                        <a:pt x="1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6" y="130"/>
                      </a:lnTo>
                      <a:lnTo>
                        <a:pt x="13" y="128"/>
                      </a:lnTo>
                      <a:lnTo>
                        <a:pt x="19" y="126"/>
                      </a:lnTo>
                      <a:lnTo>
                        <a:pt x="24" y="123"/>
                      </a:lnTo>
                      <a:lnTo>
                        <a:pt x="34" y="117"/>
                      </a:lnTo>
                      <a:lnTo>
                        <a:pt x="41" y="108"/>
                      </a:lnTo>
                      <a:lnTo>
                        <a:pt x="48" y="100"/>
                      </a:lnTo>
                      <a:lnTo>
                        <a:pt x="56" y="93"/>
                      </a:lnTo>
                      <a:lnTo>
                        <a:pt x="60" y="91"/>
                      </a:lnTo>
                      <a:lnTo>
                        <a:pt x="63" y="89"/>
                      </a:lnTo>
                      <a:lnTo>
                        <a:pt x="68" y="87"/>
                      </a:lnTo>
                      <a:lnTo>
                        <a:pt x="73" y="87"/>
                      </a:lnTo>
                      <a:lnTo>
                        <a:pt x="83" y="87"/>
                      </a:lnTo>
                      <a:lnTo>
                        <a:pt x="93" y="87"/>
                      </a:lnTo>
                      <a:lnTo>
                        <a:pt x="94" y="93"/>
                      </a:lnTo>
                      <a:lnTo>
                        <a:pt x="97" y="101"/>
                      </a:lnTo>
                      <a:lnTo>
                        <a:pt x="101" y="105"/>
                      </a:lnTo>
                      <a:lnTo>
                        <a:pt x="104" y="108"/>
                      </a:lnTo>
                      <a:lnTo>
                        <a:pt x="108" y="110"/>
                      </a:lnTo>
                      <a:lnTo>
                        <a:pt x="113" y="111"/>
                      </a:lnTo>
                      <a:lnTo>
                        <a:pt x="120" y="110"/>
                      </a:lnTo>
                      <a:lnTo>
                        <a:pt x="127" y="108"/>
                      </a:lnTo>
                      <a:lnTo>
                        <a:pt x="135" y="104"/>
                      </a:lnTo>
                      <a:lnTo>
                        <a:pt x="141" y="99"/>
                      </a:lnTo>
                      <a:lnTo>
                        <a:pt x="148" y="93"/>
                      </a:lnTo>
                      <a:lnTo>
                        <a:pt x="153" y="86"/>
                      </a:lnTo>
                      <a:lnTo>
                        <a:pt x="160" y="78"/>
                      </a:lnTo>
                      <a:lnTo>
                        <a:pt x="165" y="70"/>
                      </a:lnTo>
                      <a:lnTo>
                        <a:pt x="174" y="51"/>
                      </a:lnTo>
                      <a:lnTo>
                        <a:pt x="183" y="33"/>
                      </a:lnTo>
                      <a:lnTo>
                        <a:pt x="188" y="16"/>
                      </a:lnTo>
                      <a:lnTo>
                        <a:pt x="193" y="0"/>
                      </a:lnTo>
                      <a:lnTo>
                        <a:pt x="195" y="4"/>
                      </a:lnTo>
                      <a:lnTo>
                        <a:pt x="198" y="9"/>
                      </a:lnTo>
                      <a:lnTo>
                        <a:pt x="202" y="12"/>
                      </a:lnTo>
                      <a:lnTo>
                        <a:pt x="206" y="15"/>
                      </a:lnTo>
                      <a:lnTo>
                        <a:pt x="213" y="18"/>
                      </a:lnTo>
                      <a:lnTo>
                        <a:pt x="219" y="19"/>
                      </a:lnTo>
                      <a:lnTo>
                        <a:pt x="219" y="32"/>
                      </a:lnTo>
                      <a:lnTo>
                        <a:pt x="219" y="44"/>
                      </a:lnTo>
                      <a:lnTo>
                        <a:pt x="219" y="52"/>
                      </a:lnTo>
                      <a:lnTo>
                        <a:pt x="219" y="55"/>
                      </a:lnTo>
                      <a:lnTo>
                        <a:pt x="227" y="61"/>
                      </a:lnTo>
                      <a:lnTo>
                        <a:pt x="231" y="66"/>
                      </a:lnTo>
                      <a:lnTo>
                        <a:pt x="234" y="70"/>
                      </a:lnTo>
                      <a:lnTo>
                        <a:pt x="239" y="75"/>
                      </a:lnTo>
                      <a:lnTo>
                        <a:pt x="234" y="88"/>
                      </a:lnTo>
                      <a:lnTo>
                        <a:pt x="233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7" y="110"/>
                      </a:lnTo>
                      <a:lnTo>
                        <a:pt x="239" y="111"/>
                      </a:lnTo>
                      <a:lnTo>
                        <a:pt x="243" y="121"/>
                      </a:lnTo>
                      <a:lnTo>
                        <a:pt x="247" y="129"/>
                      </a:lnTo>
                      <a:lnTo>
                        <a:pt x="249" y="137"/>
                      </a:lnTo>
                      <a:lnTo>
                        <a:pt x="251" y="145"/>
                      </a:lnTo>
                      <a:lnTo>
                        <a:pt x="254" y="161"/>
                      </a:lnTo>
                      <a:lnTo>
                        <a:pt x="259" y="179"/>
                      </a:lnTo>
                      <a:lnTo>
                        <a:pt x="245" y="235"/>
                      </a:lnTo>
                      <a:lnTo>
                        <a:pt x="241" y="230"/>
                      </a:lnTo>
                      <a:lnTo>
                        <a:pt x="239" y="222"/>
                      </a:lnTo>
                      <a:lnTo>
                        <a:pt x="238" y="215"/>
                      </a:lnTo>
                      <a:lnTo>
                        <a:pt x="237" y="208"/>
                      </a:lnTo>
                      <a:lnTo>
                        <a:pt x="238" y="196"/>
                      </a:lnTo>
                      <a:lnTo>
                        <a:pt x="239" y="192"/>
                      </a:lnTo>
                      <a:lnTo>
                        <a:pt x="231" y="191"/>
                      </a:lnTo>
                      <a:lnTo>
                        <a:pt x="222" y="188"/>
                      </a:lnTo>
                      <a:lnTo>
                        <a:pt x="213" y="184"/>
                      </a:lnTo>
                      <a:lnTo>
                        <a:pt x="206" y="179"/>
                      </a:lnTo>
                      <a:lnTo>
                        <a:pt x="199" y="189"/>
                      </a:lnTo>
                      <a:lnTo>
                        <a:pt x="194" y="199"/>
                      </a:lnTo>
                      <a:lnTo>
                        <a:pt x="191" y="209"/>
                      </a:lnTo>
                      <a:lnTo>
                        <a:pt x="188" y="219"/>
                      </a:lnTo>
                      <a:lnTo>
                        <a:pt x="186" y="240"/>
                      </a:lnTo>
                      <a:lnTo>
                        <a:pt x="185" y="259"/>
                      </a:lnTo>
                      <a:lnTo>
                        <a:pt x="132" y="259"/>
                      </a:lnTo>
                      <a:lnTo>
                        <a:pt x="124" y="242"/>
                      </a:lnTo>
                      <a:lnTo>
                        <a:pt x="115" y="226"/>
                      </a:lnTo>
                      <a:lnTo>
                        <a:pt x="110" y="220"/>
                      </a:lnTo>
                      <a:lnTo>
                        <a:pt x="105" y="214"/>
                      </a:lnTo>
                      <a:lnTo>
                        <a:pt x="99" y="209"/>
                      </a:lnTo>
                      <a:lnTo>
                        <a:pt x="93" y="204"/>
                      </a:lnTo>
                      <a:lnTo>
                        <a:pt x="97" y="196"/>
                      </a:lnTo>
                      <a:lnTo>
                        <a:pt x="102" y="190"/>
                      </a:lnTo>
                      <a:lnTo>
                        <a:pt x="105" y="186"/>
                      </a:lnTo>
                      <a:lnTo>
                        <a:pt x="108" y="183"/>
                      </a:lnTo>
                      <a:lnTo>
                        <a:pt x="112" y="180"/>
                      </a:lnTo>
                      <a:lnTo>
                        <a:pt x="114" y="177"/>
                      </a:lnTo>
                      <a:lnTo>
                        <a:pt x="117" y="173"/>
                      </a:lnTo>
                      <a:lnTo>
                        <a:pt x="119" y="166"/>
                      </a:lnTo>
                      <a:lnTo>
                        <a:pt x="93" y="154"/>
                      </a:lnTo>
                      <a:lnTo>
                        <a:pt x="32" y="154"/>
                      </a:lnTo>
                      <a:lnTo>
                        <a:pt x="28" y="155"/>
                      </a:lnTo>
                      <a:lnTo>
                        <a:pt x="24" y="158"/>
                      </a:lnTo>
                      <a:lnTo>
                        <a:pt x="20" y="163"/>
                      </a:lnTo>
                      <a:lnTo>
                        <a:pt x="18" y="168"/>
                      </a:lnTo>
                      <a:lnTo>
                        <a:pt x="16" y="175"/>
                      </a:lnTo>
                      <a:lnTo>
                        <a:pt x="14" y="181"/>
                      </a:lnTo>
                      <a:lnTo>
                        <a:pt x="13" y="187"/>
                      </a:lnTo>
                      <a:lnTo>
                        <a:pt x="13" y="19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1" name="Freeform 292"/>
                <p:cNvSpPr>
                  <a:spLocks/>
                </p:cNvSpPr>
                <p:nvPr/>
              </p:nvSpPr>
              <p:spPr bwMode="auto">
                <a:xfrm>
                  <a:off x="5104" y="2395"/>
                  <a:ext cx="23" cy="31"/>
                </a:xfrm>
                <a:custGeom>
                  <a:avLst/>
                  <a:gdLst>
                    <a:gd name="T0" fmla="*/ 2 w 72"/>
                    <a:gd name="T1" fmla="*/ 2 h 92"/>
                    <a:gd name="T2" fmla="*/ 2 w 72"/>
                    <a:gd name="T3" fmla="*/ 3 h 92"/>
                    <a:gd name="T4" fmla="*/ 2 w 72"/>
                    <a:gd name="T5" fmla="*/ 3 h 92"/>
                    <a:gd name="T6" fmla="*/ 2 w 72"/>
                    <a:gd name="T7" fmla="*/ 3 h 92"/>
                    <a:gd name="T8" fmla="*/ 2 w 72"/>
                    <a:gd name="T9" fmla="*/ 3 h 92"/>
                    <a:gd name="T10" fmla="*/ 2 w 72"/>
                    <a:gd name="T11" fmla="*/ 3 h 92"/>
                    <a:gd name="T12" fmla="*/ 1 w 72"/>
                    <a:gd name="T13" fmla="*/ 2 h 92"/>
                    <a:gd name="T14" fmla="*/ 1 w 72"/>
                    <a:gd name="T15" fmla="*/ 2 h 92"/>
                    <a:gd name="T16" fmla="*/ 1 w 72"/>
                    <a:gd name="T17" fmla="*/ 1 h 92"/>
                    <a:gd name="T18" fmla="*/ 1 w 72"/>
                    <a:gd name="T19" fmla="*/ 1 h 92"/>
                    <a:gd name="T20" fmla="*/ 0 w 72"/>
                    <a:gd name="T21" fmla="*/ 0 h 92"/>
                    <a:gd name="T22" fmla="*/ 0 w 72"/>
                    <a:gd name="T23" fmla="*/ 0 h 92"/>
                    <a:gd name="T24" fmla="*/ 1 w 72"/>
                    <a:gd name="T25" fmla="*/ 0 h 92"/>
                    <a:gd name="T26" fmla="*/ 1 w 72"/>
                    <a:gd name="T27" fmla="*/ 1 h 92"/>
                    <a:gd name="T28" fmla="*/ 2 w 72"/>
                    <a:gd name="T29" fmla="*/ 1 h 92"/>
                    <a:gd name="T30" fmla="*/ 2 w 72"/>
                    <a:gd name="T31" fmla="*/ 1 h 92"/>
                    <a:gd name="T32" fmla="*/ 2 w 72"/>
                    <a:gd name="T33" fmla="*/ 1 h 92"/>
                    <a:gd name="T34" fmla="*/ 2 w 72"/>
                    <a:gd name="T35" fmla="*/ 2 h 9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72" h="92">
                      <a:moveTo>
                        <a:pt x="72" y="43"/>
                      </a:moveTo>
                      <a:lnTo>
                        <a:pt x="72" y="92"/>
                      </a:lnTo>
                      <a:lnTo>
                        <a:pt x="65" y="86"/>
                      </a:lnTo>
                      <a:lnTo>
                        <a:pt x="58" y="81"/>
                      </a:lnTo>
                      <a:lnTo>
                        <a:pt x="51" y="75"/>
                      </a:lnTo>
                      <a:lnTo>
                        <a:pt x="46" y="69"/>
                      </a:lnTo>
                      <a:lnTo>
                        <a:pt x="38" y="58"/>
                      </a:lnTo>
                      <a:lnTo>
                        <a:pt x="32" y="46"/>
                      </a:lnTo>
                      <a:lnTo>
                        <a:pt x="25" y="34"/>
                      </a:lnTo>
                      <a:lnTo>
                        <a:pt x="19" y="23"/>
                      </a:lnTo>
                      <a:lnTo>
                        <a:pt x="11" y="12"/>
                      </a:lnTo>
                      <a:lnTo>
                        <a:pt x="0" y="0"/>
                      </a:lnTo>
                      <a:lnTo>
                        <a:pt x="25" y="12"/>
                      </a:lnTo>
                      <a:lnTo>
                        <a:pt x="44" y="21"/>
                      </a:lnTo>
                      <a:lnTo>
                        <a:pt x="51" y="26"/>
                      </a:lnTo>
                      <a:lnTo>
                        <a:pt x="58" y="31"/>
                      </a:lnTo>
                      <a:lnTo>
                        <a:pt x="66" y="36"/>
                      </a:lnTo>
                      <a:lnTo>
                        <a:pt x="72" y="4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2" name="Freeform 293"/>
                <p:cNvSpPr>
                  <a:spLocks/>
                </p:cNvSpPr>
                <p:nvPr/>
              </p:nvSpPr>
              <p:spPr bwMode="auto">
                <a:xfrm>
                  <a:off x="5143" y="2436"/>
                  <a:ext cx="16" cy="21"/>
                </a:xfrm>
                <a:custGeom>
                  <a:avLst/>
                  <a:gdLst>
                    <a:gd name="T0" fmla="*/ 0 w 46"/>
                    <a:gd name="T1" fmla="*/ 0 h 62"/>
                    <a:gd name="T2" fmla="*/ 1 w 46"/>
                    <a:gd name="T3" fmla="*/ 0 h 62"/>
                    <a:gd name="T4" fmla="*/ 1 w 46"/>
                    <a:gd name="T5" fmla="*/ 0 h 62"/>
                    <a:gd name="T6" fmla="*/ 2 w 46"/>
                    <a:gd name="T7" fmla="*/ 0 h 62"/>
                    <a:gd name="T8" fmla="*/ 2 w 46"/>
                    <a:gd name="T9" fmla="*/ 0 h 62"/>
                    <a:gd name="T10" fmla="*/ 2 w 46"/>
                    <a:gd name="T11" fmla="*/ 0 h 62"/>
                    <a:gd name="T12" fmla="*/ 2 w 46"/>
                    <a:gd name="T13" fmla="*/ 1 h 62"/>
                    <a:gd name="T14" fmla="*/ 2 w 46"/>
                    <a:gd name="T15" fmla="*/ 1 h 62"/>
                    <a:gd name="T16" fmla="*/ 2 w 46"/>
                    <a:gd name="T17" fmla="*/ 1 h 62"/>
                    <a:gd name="T18" fmla="*/ 2 w 46"/>
                    <a:gd name="T19" fmla="*/ 2 h 62"/>
                    <a:gd name="T20" fmla="*/ 2 w 46"/>
                    <a:gd name="T21" fmla="*/ 2 h 62"/>
                    <a:gd name="T22" fmla="*/ 2 w 46"/>
                    <a:gd name="T23" fmla="*/ 2 h 62"/>
                    <a:gd name="T24" fmla="*/ 2 w 46"/>
                    <a:gd name="T25" fmla="*/ 2 h 62"/>
                    <a:gd name="T26" fmla="*/ 1 w 46"/>
                    <a:gd name="T27" fmla="*/ 2 h 62"/>
                    <a:gd name="T28" fmla="*/ 1 w 46"/>
                    <a:gd name="T29" fmla="*/ 2 h 62"/>
                    <a:gd name="T30" fmla="*/ 1 w 46"/>
                    <a:gd name="T31" fmla="*/ 2 h 62"/>
                    <a:gd name="T32" fmla="*/ 1 w 46"/>
                    <a:gd name="T33" fmla="*/ 2 h 62"/>
                    <a:gd name="T34" fmla="*/ 1 w 46"/>
                    <a:gd name="T35" fmla="*/ 2 h 62"/>
                    <a:gd name="T36" fmla="*/ 1 w 46"/>
                    <a:gd name="T37" fmla="*/ 2 h 62"/>
                    <a:gd name="T38" fmla="*/ 0 w 46"/>
                    <a:gd name="T39" fmla="*/ 2 h 62"/>
                    <a:gd name="T40" fmla="*/ 0 w 46"/>
                    <a:gd name="T41" fmla="*/ 2 h 62"/>
                    <a:gd name="T42" fmla="*/ 0 w 46"/>
                    <a:gd name="T43" fmla="*/ 2 h 62"/>
                    <a:gd name="T44" fmla="*/ 0 w 46"/>
                    <a:gd name="T45" fmla="*/ 2 h 62"/>
                    <a:gd name="T46" fmla="*/ 0 w 46"/>
                    <a:gd name="T47" fmla="*/ 1 h 62"/>
                    <a:gd name="T48" fmla="*/ 0 w 46"/>
                    <a:gd name="T49" fmla="*/ 1 h 62"/>
                    <a:gd name="T50" fmla="*/ 0 w 46"/>
                    <a:gd name="T51" fmla="*/ 1 h 62"/>
                    <a:gd name="T52" fmla="*/ 0 w 46"/>
                    <a:gd name="T53" fmla="*/ 0 h 62"/>
                    <a:gd name="T54" fmla="*/ 0 w 46"/>
                    <a:gd name="T55" fmla="*/ 0 h 6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46" h="62">
                      <a:moveTo>
                        <a:pt x="6" y="6"/>
                      </a:moveTo>
                      <a:lnTo>
                        <a:pt x="19" y="5"/>
                      </a:lnTo>
                      <a:lnTo>
                        <a:pt x="31" y="3"/>
                      </a:lnTo>
                      <a:lnTo>
                        <a:pt x="39" y="1"/>
                      </a:lnTo>
                      <a:lnTo>
                        <a:pt x="46" y="0"/>
                      </a:lnTo>
                      <a:lnTo>
                        <a:pt x="46" y="9"/>
                      </a:lnTo>
                      <a:lnTo>
                        <a:pt x="46" y="18"/>
                      </a:lnTo>
                      <a:lnTo>
                        <a:pt x="46" y="27"/>
                      </a:lnTo>
                      <a:lnTo>
                        <a:pt x="46" y="38"/>
                      </a:lnTo>
                      <a:lnTo>
                        <a:pt x="45" y="46"/>
                      </a:lnTo>
                      <a:lnTo>
                        <a:pt x="41" y="54"/>
                      </a:lnTo>
                      <a:lnTo>
                        <a:pt x="39" y="57"/>
                      </a:lnTo>
                      <a:lnTo>
                        <a:pt x="37" y="60"/>
                      </a:lnTo>
                      <a:lnTo>
                        <a:pt x="35" y="61"/>
                      </a:lnTo>
                      <a:lnTo>
                        <a:pt x="33" y="62"/>
                      </a:lnTo>
                      <a:lnTo>
                        <a:pt x="27" y="61"/>
                      </a:lnTo>
                      <a:lnTo>
                        <a:pt x="22" y="60"/>
                      </a:lnTo>
                      <a:lnTo>
                        <a:pt x="17" y="59"/>
                      </a:lnTo>
                      <a:lnTo>
                        <a:pt x="14" y="57"/>
                      </a:lnTo>
                      <a:lnTo>
                        <a:pt x="11" y="54"/>
                      </a:lnTo>
                      <a:lnTo>
                        <a:pt x="7" y="51"/>
                      </a:lnTo>
                      <a:lnTo>
                        <a:pt x="5" y="47"/>
                      </a:lnTo>
                      <a:lnTo>
                        <a:pt x="4" y="44"/>
                      </a:lnTo>
                      <a:lnTo>
                        <a:pt x="1" y="34"/>
                      </a:lnTo>
                      <a:lnTo>
                        <a:pt x="0" y="25"/>
                      </a:lnTo>
                      <a:lnTo>
                        <a:pt x="0" y="16"/>
                      </a:lnTo>
                      <a:lnTo>
                        <a:pt x="0" y="6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3" name="Freeform 294"/>
                <p:cNvSpPr>
                  <a:spLocks/>
                </p:cNvSpPr>
                <p:nvPr/>
              </p:nvSpPr>
              <p:spPr bwMode="auto">
                <a:xfrm>
                  <a:off x="5089" y="2295"/>
                  <a:ext cx="50" cy="98"/>
                </a:xfrm>
                <a:custGeom>
                  <a:avLst/>
                  <a:gdLst>
                    <a:gd name="T0" fmla="*/ 2 w 152"/>
                    <a:gd name="T1" fmla="*/ 0 h 296"/>
                    <a:gd name="T2" fmla="*/ 2 w 152"/>
                    <a:gd name="T3" fmla="*/ 0 h 296"/>
                    <a:gd name="T4" fmla="*/ 3 w 152"/>
                    <a:gd name="T5" fmla="*/ 1 h 296"/>
                    <a:gd name="T6" fmla="*/ 3 w 152"/>
                    <a:gd name="T7" fmla="*/ 1 h 296"/>
                    <a:gd name="T8" fmla="*/ 4 w 152"/>
                    <a:gd name="T9" fmla="*/ 1 h 296"/>
                    <a:gd name="T10" fmla="*/ 4 w 152"/>
                    <a:gd name="T11" fmla="*/ 1 h 296"/>
                    <a:gd name="T12" fmla="*/ 4 w 152"/>
                    <a:gd name="T13" fmla="*/ 0 h 296"/>
                    <a:gd name="T14" fmla="*/ 4 w 152"/>
                    <a:gd name="T15" fmla="*/ 1 h 296"/>
                    <a:gd name="T16" fmla="*/ 5 w 152"/>
                    <a:gd name="T17" fmla="*/ 2 h 296"/>
                    <a:gd name="T18" fmla="*/ 5 w 152"/>
                    <a:gd name="T19" fmla="*/ 3 h 296"/>
                    <a:gd name="T20" fmla="*/ 5 w 152"/>
                    <a:gd name="T21" fmla="*/ 3 h 296"/>
                    <a:gd name="T22" fmla="*/ 5 w 152"/>
                    <a:gd name="T23" fmla="*/ 4 h 296"/>
                    <a:gd name="T24" fmla="*/ 5 w 152"/>
                    <a:gd name="T25" fmla="*/ 4 h 296"/>
                    <a:gd name="T26" fmla="*/ 5 w 152"/>
                    <a:gd name="T27" fmla="*/ 5 h 296"/>
                    <a:gd name="T28" fmla="*/ 4 w 152"/>
                    <a:gd name="T29" fmla="*/ 6 h 296"/>
                    <a:gd name="T30" fmla="*/ 4 w 152"/>
                    <a:gd name="T31" fmla="*/ 6 h 296"/>
                    <a:gd name="T32" fmla="*/ 4 w 152"/>
                    <a:gd name="T33" fmla="*/ 7 h 296"/>
                    <a:gd name="T34" fmla="*/ 4 w 152"/>
                    <a:gd name="T35" fmla="*/ 8 h 296"/>
                    <a:gd name="T36" fmla="*/ 4 w 152"/>
                    <a:gd name="T37" fmla="*/ 8 h 296"/>
                    <a:gd name="T38" fmla="*/ 4 w 152"/>
                    <a:gd name="T39" fmla="*/ 8 h 296"/>
                    <a:gd name="T40" fmla="*/ 5 w 152"/>
                    <a:gd name="T41" fmla="*/ 8 h 296"/>
                    <a:gd name="T42" fmla="*/ 5 w 152"/>
                    <a:gd name="T43" fmla="*/ 9 h 296"/>
                    <a:gd name="T44" fmla="*/ 5 w 152"/>
                    <a:gd name="T45" fmla="*/ 10 h 296"/>
                    <a:gd name="T46" fmla="*/ 5 w 152"/>
                    <a:gd name="T47" fmla="*/ 10 h 296"/>
                    <a:gd name="T48" fmla="*/ 4 w 152"/>
                    <a:gd name="T49" fmla="*/ 11 h 296"/>
                    <a:gd name="T50" fmla="*/ 4 w 152"/>
                    <a:gd name="T51" fmla="*/ 11 h 296"/>
                    <a:gd name="T52" fmla="*/ 3 w 152"/>
                    <a:gd name="T53" fmla="*/ 11 h 296"/>
                    <a:gd name="T54" fmla="*/ 3 w 152"/>
                    <a:gd name="T55" fmla="*/ 10 h 296"/>
                    <a:gd name="T56" fmla="*/ 2 w 152"/>
                    <a:gd name="T57" fmla="*/ 10 h 296"/>
                    <a:gd name="T58" fmla="*/ 2 w 152"/>
                    <a:gd name="T59" fmla="*/ 10 h 296"/>
                    <a:gd name="T60" fmla="*/ 3 w 152"/>
                    <a:gd name="T61" fmla="*/ 9 h 296"/>
                    <a:gd name="T62" fmla="*/ 3 w 152"/>
                    <a:gd name="T63" fmla="*/ 9 h 296"/>
                    <a:gd name="T64" fmla="*/ 2 w 152"/>
                    <a:gd name="T65" fmla="*/ 9 h 296"/>
                    <a:gd name="T66" fmla="*/ 1 w 152"/>
                    <a:gd name="T67" fmla="*/ 8 h 296"/>
                    <a:gd name="T68" fmla="*/ 1 w 152"/>
                    <a:gd name="T69" fmla="*/ 8 h 296"/>
                    <a:gd name="T70" fmla="*/ 1 w 152"/>
                    <a:gd name="T71" fmla="*/ 8 h 296"/>
                    <a:gd name="T72" fmla="*/ 0 w 152"/>
                    <a:gd name="T73" fmla="*/ 7 h 296"/>
                    <a:gd name="T74" fmla="*/ 0 w 152"/>
                    <a:gd name="T75" fmla="*/ 6 h 296"/>
                    <a:gd name="T76" fmla="*/ 0 w 152"/>
                    <a:gd name="T77" fmla="*/ 6 h 296"/>
                    <a:gd name="T78" fmla="*/ 0 w 152"/>
                    <a:gd name="T79" fmla="*/ 5 h 296"/>
                    <a:gd name="T80" fmla="*/ 1 w 152"/>
                    <a:gd name="T81" fmla="*/ 4 h 296"/>
                    <a:gd name="T82" fmla="*/ 1 w 152"/>
                    <a:gd name="T83" fmla="*/ 2 h 296"/>
                    <a:gd name="T84" fmla="*/ 1 w 152"/>
                    <a:gd name="T85" fmla="*/ 1 h 296"/>
                    <a:gd name="T86" fmla="*/ 1 w 152"/>
                    <a:gd name="T87" fmla="*/ 0 h 29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152" h="296">
                      <a:moveTo>
                        <a:pt x="26" y="0"/>
                      </a:moveTo>
                      <a:lnTo>
                        <a:pt x="59" y="0"/>
                      </a:lnTo>
                      <a:lnTo>
                        <a:pt x="62" y="4"/>
                      </a:lnTo>
                      <a:lnTo>
                        <a:pt x="66" y="9"/>
                      </a:lnTo>
                      <a:lnTo>
                        <a:pt x="71" y="13"/>
                      </a:lnTo>
                      <a:lnTo>
                        <a:pt x="77" y="17"/>
                      </a:lnTo>
                      <a:lnTo>
                        <a:pt x="82" y="21"/>
                      </a:lnTo>
                      <a:lnTo>
                        <a:pt x="88" y="23"/>
                      </a:lnTo>
                      <a:lnTo>
                        <a:pt x="93" y="24"/>
                      </a:lnTo>
                      <a:lnTo>
                        <a:pt x="99" y="25"/>
                      </a:lnTo>
                      <a:lnTo>
                        <a:pt x="104" y="24"/>
                      </a:lnTo>
                      <a:lnTo>
                        <a:pt x="108" y="21"/>
                      </a:lnTo>
                      <a:lnTo>
                        <a:pt x="114" y="17"/>
                      </a:lnTo>
                      <a:lnTo>
                        <a:pt x="118" y="12"/>
                      </a:lnTo>
                      <a:lnTo>
                        <a:pt x="119" y="23"/>
                      </a:lnTo>
                      <a:lnTo>
                        <a:pt x="122" y="35"/>
                      </a:lnTo>
                      <a:lnTo>
                        <a:pt x="126" y="49"/>
                      </a:lnTo>
                      <a:lnTo>
                        <a:pt x="130" y="62"/>
                      </a:lnTo>
                      <a:lnTo>
                        <a:pt x="136" y="76"/>
                      </a:lnTo>
                      <a:lnTo>
                        <a:pt x="141" y="86"/>
                      </a:lnTo>
                      <a:lnTo>
                        <a:pt x="144" y="91"/>
                      </a:lnTo>
                      <a:lnTo>
                        <a:pt x="147" y="94"/>
                      </a:lnTo>
                      <a:lnTo>
                        <a:pt x="149" y="97"/>
                      </a:lnTo>
                      <a:lnTo>
                        <a:pt x="152" y="99"/>
                      </a:lnTo>
                      <a:lnTo>
                        <a:pt x="148" y="110"/>
                      </a:lnTo>
                      <a:lnTo>
                        <a:pt x="143" y="120"/>
                      </a:lnTo>
                      <a:lnTo>
                        <a:pt x="137" y="131"/>
                      </a:lnTo>
                      <a:lnTo>
                        <a:pt x="129" y="140"/>
                      </a:lnTo>
                      <a:lnTo>
                        <a:pt x="123" y="149"/>
                      </a:lnTo>
                      <a:lnTo>
                        <a:pt x="117" y="157"/>
                      </a:lnTo>
                      <a:lnTo>
                        <a:pt x="114" y="165"/>
                      </a:lnTo>
                      <a:lnTo>
                        <a:pt x="112" y="172"/>
                      </a:lnTo>
                      <a:lnTo>
                        <a:pt x="113" y="187"/>
                      </a:lnTo>
                      <a:lnTo>
                        <a:pt x="115" y="197"/>
                      </a:lnTo>
                      <a:lnTo>
                        <a:pt x="115" y="201"/>
                      </a:lnTo>
                      <a:lnTo>
                        <a:pt x="115" y="205"/>
                      </a:lnTo>
                      <a:lnTo>
                        <a:pt x="114" y="210"/>
                      </a:lnTo>
                      <a:lnTo>
                        <a:pt x="112" y="216"/>
                      </a:lnTo>
                      <a:lnTo>
                        <a:pt x="118" y="216"/>
                      </a:lnTo>
                      <a:lnTo>
                        <a:pt x="126" y="216"/>
                      </a:lnTo>
                      <a:lnTo>
                        <a:pt x="136" y="216"/>
                      </a:lnTo>
                      <a:lnTo>
                        <a:pt x="146" y="216"/>
                      </a:lnTo>
                      <a:lnTo>
                        <a:pt x="139" y="235"/>
                      </a:lnTo>
                      <a:lnTo>
                        <a:pt x="136" y="252"/>
                      </a:lnTo>
                      <a:lnTo>
                        <a:pt x="135" y="259"/>
                      </a:lnTo>
                      <a:lnTo>
                        <a:pt x="136" y="267"/>
                      </a:lnTo>
                      <a:lnTo>
                        <a:pt x="139" y="275"/>
                      </a:lnTo>
                      <a:lnTo>
                        <a:pt x="146" y="283"/>
                      </a:lnTo>
                      <a:lnTo>
                        <a:pt x="136" y="288"/>
                      </a:lnTo>
                      <a:lnTo>
                        <a:pt x="125" y="291"/>
                      </a:lnTo>
                      <a:lnTo>
                        <a:pt x="115" y="295"/>
                      </a:lnTo>
                      <a:lnTo>
                        <a:pt x="105" y="296"/>
                      </a:lnTo>
                      <a:lnTo>
                        <a:pt x="94" y="296"/>
                      </a:lnTo>
                      <a:lnTo>
                        <a:pt x="85" y="294"/>
                      </a:lnTo>
                      <a:lnTo>
                        <a:pt x="79" y="291"/>
                      </a:lnTo>
                      <a:lnTo>
                        <a:pt x="73" y="288"/>
                      </a:lnTo>
                      <a:lnTo>
                        <a:pt x="70" y="284"/>
                      </a:lnTo>
                      <a:lnTo>
                        <a:pt x="67" y="280"/>
                      </a:lnTo>
                      <a:lnTo>
                        <a:pt x="66" y="276"/>
                      </a:lnTo>
                      <a:lnTo>
                        <a:pt x="66" y="271"/>
                      </a:lnTo>
                      <a:lnTo>
                        <a:pt x="76" y="262"/>
                      </a:lnTo>
                      <a:lnTo>
                        <a:pt x="85" y="253"/>
                      </a:lnTo>
                      <a:lnTo>
                        <a:pt x="77" y="251"/>
                      </a:lnTo>
                      <a:lnTo>
                        <a:pt x="69" y="249"/>
                      </a:lnTo>
                      <a:lnTo>
                        <a:pt x="60" y="246"/>
                      </a:lnTo>
                      <a:lnTo>
                        <a:pt x="52" y="242"/>
                      </a:lnTo>
                      <a:lnTo>
                        <a:pt x="45" y="236"/>
                      </a:lnTo>
                      <a:lnTo>
                        <a:pt x="38" y="231"/>
                      </a:lnTo>
                      <a:lnTo>
                        <a:pt x="32" y="226"/>
                      </a:lnTo>
                      <a:lnTo>
                        <a:pt x="25" y="219"/>
                      </a:lnTo>
                      <a:lnTo>
                        <a:pt x="20" y="213"/>
                      </a:lnTo>
                      <a:lnTo>
                        <a:pt x="14" y="205"/>
                      </a:lnTo>
                      <a:lnTo>
                        <a:pt x="10" y="198"/>
                      </a:lnTo>
                      <a:lnTo>
                        <a:pt x="6" y="190"/>
                      </a:lnTo>
                      <a:lnTo>
                        <a:pt x="3" y="180"/>
                      </a:lnTo>
                      <a:lnTo>
                        <a:pt x="1" y="172"/>
                      </a:lnTo>
                      <a:lnTo>
                        <a:pt x="0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26" y="130"/>
                      </a:lnTo>
                      <a:lnTo>
                        <a:pt x="27" y="106"/>
                      </a:lnTo>
                      <a:lnTo>
                        <a:pt x="31" y="67"/>
                      </a:lnTo>
                      <a:lnTo>
                        <a:pt x="32" y="46"/>
                      </a:lnTo>
                      <a:lnTo>
                        <a:pt x="32" y="27"/>
                      </a:lnTo>
                      <a:lnTo>
                        <a:pt x="31" y="18"/>
                      </a:lnTo>
                      <a:lnTo>
                        <a:pt x="29" y="10"/>
                      </a:lnTo>
                      <a:lnTo>
                        <a:pt x="28" y="4"/>
                      </a:lnTo>
                      <a:lnTo>
                        <a:pt x="2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4" name="Freeform 295"/>
                <p:cNvSpPr>
                  <a:spLocks/>
                </p:cNvSpPr>
                <p:nvPr/>
              </p:nvSpPr>
              <p:spPr bwMode="auto">
                <a:xfrm>
                  <a:off x="5189" y="2442"/>
                  <a:ext cx="8" cy="13"/>
                </a:xfrm>
                <a:custGeom>
                  <a:avLst/>
                  <a:gdLst>
                    <a:gd name="T0" fmla="*/ 1 w 26"/>
                    <a:gd name="T1" fmla="*/ 1 h 38"/>
                    <a:gd name="T2" fmla="*/ 1 w 26"/>
                    <a:gd name="T3" fmla="*/ 0 h 38"/>
                    <a:gd name="T4" fmla="*/ 1 w 26"/>
                    <a:gd name="T5" fmla="*/ 0 h 38"/>
                    <a:gd name="T6" fmla="*/ 0 w 26"/>
                    <a:gd name="T7" fmla="*/ 0 h 38"/>
                    <a:gd name="T8" fmla="*/ 0 w 26"/>
                    <a:gd name="T9" fmla="*/ 0 h 38"/>
                    <a:gd name="T10" fmla="*/ 0 w 26"/>
                    <a:gd name="T11" fmla="*/ 0 h 38"/>
                    <a:gd name="T12" fmla="*/ 1 w 26"/>
                    <a:gd name="T13" fmla="*/ 1 h 38"/>
                    <a:gd name="T14" fmla="*/ 1 w 26"/>
                    <a:gd name="T15" fmla="*/ 1 h 3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6" h="38">
                      <a:moveTo>
                        <a:pt x="26" y="38"/>
                      </a:moveTo>
                      <a:lnTo>
                        <a:pt x="26" y="0"/>
                      </a:lnTo>
                      <a:lnTo>
                        <a:pt x="21" y="1"/>
                      </a:lnTo>
                      <a:lnTo>
                        <a:pt x="13" y="4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8" y="30"/>
                      </a:lnTo>
                      <a:lnTo>
                        <a:pt x="26" y="3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5" name="Freeform 296"/>
                <p:cNvSpPr>
                  <a:spLocks/>
                </p:cNvSpPr>
                <p:nvPr/>
              </p:nvSpPr>
              <p:spPr bwMode="auto">
                <a:xfrm>
                  <a:off x="5165" y="2420"/>
                  <a:ext cx="10" cy="10"/>
                </a:xfrm>
                <a:custGeom>
                  <a:avLst/>
                  <a:gdLst>
                    <a:gd name="T0" fmla="*/ 0 w 34"/>
                    <a:gd name="T1" fmla="*/ 1 h 31"/>
                    <a:gd name="T2" fmla="*/ 0 w 34"/>
                    <a:gd name="T3" fmla="*/ 1 h 31"/>
                    <a:gd name="T4" fmla="*/ 0 w 34"/>
                    <a:gd name="T5" fmla="*/ 1 h 31"/>
                    <a:gd name="T6" fmla="*/ 1 w 34"/>
                    <a:gd name="T7" fmla="*/ 1 h 31"/>
                    <a:gd name="T8" fmla="*/ 1 w 34"/>
                    <a:gd name="T9" fmla="*/ 1 h 31"/>
                    <a:gd name="T10" fmla="*/ 1 w 34"/>
                    <a:gd name="T11" fmla="*/ 1 h 31"/>
                    <a:gd name="T12" fmla="*/ 1 w 34"/>
                    <a:gd name="T13" fmla="*/ 1 h 31"/>
                    <a:gd name="T14" fmla="*/ 1 w 34"/>
                    <a:gd name="T15" fmla="*/ 0 h 31"/>
                    <a:gd name="T16" fmla="*/ 1 w 34"/>
                    <a:gd name="T17" fmla="*/ 0 h 31"/>
                    <a:gd name="T18" fmla="*/ 0 w 34"/>
                    <a:gd name="T19" fmla="*/ 0 h 31"/>
                    <a:gd name="T20" fmla="*/ 0 w 34"/>
                    <a:gd name="T21" fmla="*/ 0 h 31"/>
                    <a:gd name="T22" fmla="*/ 0 w 34"/>
                    <a:gd name="T23" fmla="*/ 1 h 31"/>
                    <a:gd name="T24" fmla="*/ 0 w 34"/>
                    <a:gd name="T25" fmla="*/ 1 h 31"/>
                    <a:gd name="T26" fmla="*/ 0 w 34"/>
                    <a:gd name="T27" fmla="*/ 1 h 31"/>
                    <a:gd name="T28" fmla="*/ 0 w 34"/>
                    <a:gd name="T29" fmla="*/ 1 h 3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4" h="31">
                      <a:moveTo>
                        <a:pt x="0" y="18"/>
                      </a:moveTo>
                      <a:lnTo>
                        <a:pt x="8" y="22"/>
                      </a:lnTo>
                      <a:lnTo>
                        <a:pt x="17" y="26"/>
                      </a:lnTo>
                      <a:lnTo>
                        <a:pt x="27" y="30"/>
                      </a:lnTo>
                      <a:lnTo>
                        <a:pt x="34" y="31"/>
                      </a:lnTo>
                      <a:lnTo>
                        <a:pt x="33" y="24"/>
                      </a:lnTo>
                      <a:lnTo>
                        <a:pt x="30" y="15"/>
                      </a:lnTo>
                      <a:lnTo>
                        <a:pt x="26" y="6"/>
                      </a:lnTo>
                      <a:lnTo>
                        <a:pt x="20" y="0"/>
                      </a:lnTo>
                      <a:lnTo>
                        <a:pt x="16" y="5"/>
                      </a:lnTo>
                      <a:lnTo>
                        <a:pt x="10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8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6" name="Freeform 297"/>
                <p:cNvSpPr>
                  <a:spLocks/>
                </p:cNvSpPr>
                <p:nvPr/>
              </p:nvSpPr>
              <p:spPr bwMode="auto">
                <a:xfrm>
                  <a:off x="5139" y="2418"/>
                  <a:ext cx="6" cy="12"/>
                </a:xfrm>
                <a:custGeom>
                  <a:avLst/>
                  <a:gdLst>
                    <a:gd name="T0" fmla="*/ 0 w 20"/>
                    <a:gd name="T1" fmla="*/ 0 h 37"/>
                    <a:gd name="T2" fmla="*/ 0 w 20"/>
                    <a:gd name="T3" fmla="*/ 1 h 37"/>
                    <a:gd name="T4" fmla="*/ 0 w 20"/>
                    <a:gd name="T5" fmla="*/ 1 h 37"/>
                    <a:gd name="T6" fmla="*/ 1 w 20"/>
                    <a:gd name="T7" fmla="*/ 1 h 37"/>
                    <a:gd name="T8" fmla="*/ 1 w 20"/>
                    <a:gd name="T9" fmla="*/ 0 h 37"/>
                    <a:gd name="T10" fmla="*/ 0 w 20"/>
                    <a:gd name="T11" fmla="*/ 0 h 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" h="37">
                      <a:moveTo>
                        <a:pt x="0" y="6"/>
                      </a:moveTo>
                      <a:lnTo>
                        <a:pt x="0" y="37"/>
                      </a:lnTo>
                      <a:lnTo>
                        <a:pt x="7" y="33"/>
                      </a:lnTo>
                      <a:lnTo>
                        <a:pt x="20" y="30"/>
                      </a:lnTo>
                      <a:lnTo>
                        <a:pt x="20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7" name="Line 298"/>
                <p:cNvSpPr>
                  <a:spLocks noChangeShapeType="1"/>
                </p:cNvSpPr>
                <p:nvPr/>
              </p:nvSpPr>
              <p:spPr bwMode="auto">
                <a:xfrm>
                  <a:off x="5180" y="2449"/>
                  <a:ext cx="1" cy="10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8" name="Freeform 299"/>
                <p:cNvSpPr>
                  <a:spLocks/>
                </p:cNvSpPr>
                <p:nvPr/>
              </p:nvSpPr>
              <p:spPr bwMode="auto">
                <a:xfrm>
                  <a:off x="5180" y="2453"/>
                  <a:ext cx="4" cy="6"/>
                </a:xfrm>
                <a:custGeom>
                  <a:avLst/>
                  <a:gdLst>
                    <a:gd name="T0" fmla="*/ 0 w 13"/>
                    <a:gd name="T1" fmla="*/ 1 h 18"/>
                    <a:gd name="T2" fmla="*/ 0 w 13"/>
                    <a:gd name="T3" fmla="*/ 0 h 18"/>
                    <a:gd name="T4" fmla="*/ 0 w 13"/>
                    <a:gd name="T5" fmla="*/ 0 h 18"/>
                    <a:gd name="T6" fmla="*/ 0 w 13"/>
                    <a:gd name="T7" fmla="*/ 0 h 18"/>
                    <a:gd name="T8" fmla="*/ 0 w 13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" y="13"/>
                      </a:lnTo>
                      <a:lnTo>
                        <a:pt x="3" y="9"/>
                      </a:lnTo>
                      <a:lnTo>
                        <a:pt x="7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49" name="Line 300"/>
                <p:cNvSpPr>
                  <a:spLocks noChangeShapeType="1"/>
                </p:cNvSpPr>
                <p:nvPr/>
              </p:nvSpPr>
              <p:spPr bwMode="auto">
                <a:xfrm flipH="1" flipV="1">
                  <a:off x="5178" y="2447"/>
                  <a:ext cx="6" cy="6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0" name="Freeform 301"/>
                <p:cNvSpPr>
                  <a:spLocks/>
                </p:cNvSpPr>
                <p:nvPr/>
              </p:nvSpPr>
              <p:spPr bwMode="auto">
                <a:xfrm>
                  <a:off x="5116" y="2564"/>
                  <a:ext cx="9" cy="10"/>
                </a:xfrm>
                <a:custGeom>
                  <a:avLst/>
                  <a:gdLst>
                    <a:gd name="T0" fmla="*/ 0 w 27"/>
                    <a:gd name="T1" fmla="*/ 0 h 31"/>
                    <a:gd name="T2" fmla="*/ 1 w 27"/>
                    <a:gd name="T3" fmla="*/ 1 h 31"/>
                    <a:gd name="T4" fmla="*/ 1 w 27"/>
                    <a:gd name="T5" fmla="*/ 0 h 3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7" h="31">
                      <a:moveTo>
                        <a:pt x="0" y="0"/>
                      </a:moveTo>
                      <a:lnTo>
                        <a:pt x="20" y="31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1" name="Freeform 302"/>
                <p:cNvSpPr>
                  <a:spLocks/>
                </p:cNvSpPr>
                <p:nvPr/>
              </p:nvSpPr>
              <p:spPr bwMode="auto">
                <a:xfrm>
                  <a:off x="5119" y="2568"/>
                  <a:ext cx="6" cy="1"/>
                </a:xfrm>
                <a:custGeom>
                  <a:avLst/>
                  <a:gdLst>
                    <a:gd name="T0" fmla="*/ 1 w 20"/>
                    <a:gd name="T1" fmla="*/ 0 h 1"/>
                    <a:gd name="T2" fmla="*/ 0 w 20"/>
                    <a:gd name="T3" fmla="*/ 0 h 1"/>
                    <a:gd name="T4" fmla="*/ 0 w 20"/>
                    <a:gd name="T5" fmla="*/ 0 h 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0" h="1">
                      <a:moveTo>
                        <a:pt x="20" y="0"/>
                      </a:move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2" name="Freeform 303"/>
                <p:cNvSpPr>
                  <a:spLocks/>
                </p:cNvSpPr>
                <p:nvPr/>
              </p:nvSpPr>
              <p:spPr bwMode="auto">
                <a:xfrm>
                  <a:off x="5127" y="2557"/>
                  <a:ext cx="12" cy="5"/>
                </a:xfrm>
                <a:custGeom>
                  <a:avLst/>
                  <a:gdLst>
                    <a:gd name="T0" fmla="*/ 0 w 34"/>
                    <a:gd name="T1" fmla="*/ 1 h 13"/>
                    <a:gd name="T2" fmla="*/ 0 w 34"/>
                    <a:gd name="T3" fmla="*/ 1 h 13"/>
                    <a:gd name="T4" fmla="*/ 0 w 34"/>
                    <a:gd name="T5" fmla="*/ 1 h 13"/>
                    <a:gd name="T6" fmla="*/ 1 w 34"/>
                    <a:gd name="T7" fmla="*/ 1 h 13"/>
                    <a:gd name="T8" fmla="*/ 1 w 34"/>
                    <a:gd name="T9" fmla="*/ 0 h 13"/>
                    <a:gd name="T10" fmla="*/ 1 w 34"/>
                    <a:gd name="T11" fmla="*/ 0 h 13"/>
                    <a:gd name="T12" fmla="*/ 1 w 34"/>
                    <a:gd name="T13" fmla="*/ 0 h 13"/>
                    <a:gd name="T14" fmla="*/ 1 w 34"/>
                    <a:gd name="T15" fmla="*/ 0 h 13"/>
                    <a:gd name="T16" fmla="*/ 1 w 34"/>
                    <a:gd name="T17" fmla="*/ 0 h 1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4" h="13">
                      <a:moveTo>
                        <a:pt x="0" y="13"/>
                      </a:move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6" y="10"/>
                      </a:lnTo>
                      <a:lnTo>
                        <a:pt x="20" y="7"/>
                      </a:lnTo>
                      <a:lnTo>
                        <a:pt x="28" y="2"/>
                      </a:lnTo>
                      <a:lnTo>
                        <a:pt x="34" y="0"/>
                      </a:lnTo>
                      <a:lnTo>
                        <a:pt x="25" y="0"/>
                      </a:lnTo>
                      <a:lnTo>
                        <a:pt x="15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3" name="Freeform 304"/>
                <p:cNvSpPr>
                  <a:spLocks/>
                </p:cNvSpPr>
                <p:nvPr/>
              </p:nvSpPr>
              <p:spPr bwMode="auto">
                <a:xfrm>
                  <a:off x="5127" y="2547"/>
                  <a:ext cx="12" cy="6"/>
                </a:xfrm>
                <a:custGeom>
                  <a:avLst/>
                  <a:gdLst>
                    <a:gd name="T0" fmla="*/ 1 w 34"/>
                    <a:gd name="T1" fmla="*/ 1 h 18"/>
                    <a:gd name="T2" fmla="*/ 1 w 34"/>
                    <a:gd name="T3" fmla="*/ 0 h 18"/>
                    <a:gd name="T4" fmla="*/ 1 w 34"/>
                    <a:gd name="T5" fmla="*/ 0 h 18"/>
                    <a:gd name="T6" fmla="*/ 1 w 34"/>
                    <a:gd name="T7" fmla="*/ 0 h 18"/>
                    <a:gd name="T8" fmla="*/ 0 w 34"/>
                    <a:gd name="T9" fmla="*/ 0 h 18"/>
                    <a:gd name="T10" fmla="*/ 0 w 34"/>
                    <a:gd name="T11" fmla="*/ 0 h 18"/>
                    <a:gd name="T12" fmla="*/ 1 w 34"/>
                    <a:gd name="T13" fmla="*/ 1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34" h="18">
                      <a:moveTo>
                        <a:pt x="34" y="18"/>
                      </a:move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34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4" name="Freeform 305"/>
                <p:cNvSpPr>
                  <a:spLocks/>
                </p:cNvSpPr>
                <p:nvPr/>
              </p:nvSpPr>
              <p:spPr bwMode="auto">
                <a:xfrm>
                  <a:off x="5141" y="2535"/>
                  <a:ext cx="20" cy="8"/>
                </a:xfrm>
                <a:custGeom>
                  <a:avLst/>
                  <a:gdLst>
                    <a:gd name="T0" fmla="*/ 2 w 59"/>
                    <a:gd name="T1" fmla="*/ 1 h 25"/>
                    <a:gd name="T2" fmla="*/ 2 w 59"/>
                    <a:gd name="T3" fmla="*/ 0 h 25"/>
                    <a:gd name="T4" fmla="*/ 2 w 59"/>
                    <a:gd name="T5" fmla="*/ 0 h 25"/>
                    <a:gd name="T6" fmla="*/ 2 w 59"/>
                    <a:gd name="T7" fmla="*/ 0 h 25"/>
                    <a:gd name="T8" fmla="*/ 1 w 59"/>
                    <a:gd name="T9" fmla="*/ 0 h 25"/>
                    <a:gd name="T10" fmla="*/ 1 w 59"/>
                    <a:gd name="T11" fmla="*/ 0 h 25"/>
                    <a:gd name="T12" fmla="*/ 0 w 59"/>
                    <a:gd name="T13" fmla="*/ 0 h 25"/>
                    <a:gd name="T14" fmla="*/ 0 w 59"/>
                    <a:gd name="T15" fmla="*/ 0 h 25"/>
                    <a:gd name="T16" fmla="*/ 0 w 59"/>
                    <a:gd name="T17" fmla="*/ 0 h 25"/>
                    <a:gd name="T18" fmla="*/ 0 w 59"/>
                    <a:gd name="T19" fmla="*/ 0 h 25"/>
                    <a:gd name="T20" fmla="*/ 1 w 59"/>
                    <a:gd name="T21" fmla="*/ 1 h 25"/>
                    <a:gd name="T22" fmla="*/ 1 w 59"/>
                    <a:gd name="T23" fmla="*/ 1 h 25"/>
                    <a:gd name="T24" fmla="*/ 1 w 59"/>
                    <a:gd name="T25" fmla="*/ 1 h 25"/>
                    <a:gd name="T26" fmla="*/ 2 w 59"/>
                    <a:gd name="T27" fmla="*/ 1 h 25"/>
                    <a:gd name="T28" fmla="*/ 2 w 59"/>
                    <a:gd name="T29" fmla="*/ 1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59" h="25">
                      <a:moveTo>
                        <a:pt x="53" y="25"/>
                      </a:moveTo>
                      <a:lnTo>
                        <a:pt x="56" y="12"/>
                      </a:lnTo>
                      <a:lnTo>
                        <a:pt x="59" y="0"/>
                      </a:lnTo>
                      <a:lnTo>
                        <a:pt x="44" y="0"/>
                      </a:lnTo>
                      <a:lnTo>
                        <a:pt x="27" y="0"/>
                      </a:lnTo>
                      <a:lnTo>
                        <a:pt x="19" y="1"/>
                      </a:lnTo>
                      <a:lnTo>
                        <a:pt x="12" y="2"/>
                      </a:lnTo>
                      <a:lnTo>
                        <a:pt x="5" y="4"/>
                      </a:lnTo>
                      <a:lnTo>
                        <a:pt x="0" y="6"/>
                      </a:lnTo>
                      <a:lnTo>
                        <a:pt x="13" y="14"/>
                      </a:lnTo>
                      <a:lnTo>
                        <a:pt x="26" y="20"/>
                      </a:lnTo>
                      <a:lnTo>
                        <a:pt x="33" y="22"/>
                      </a:lnTo>
                      <a:lnTo>
                        <a:pt x="38" y="24"/>
                      </a:lnTo>
                      <a:lnTo>
                        <a:pt x="46" y="25"/>
                      </a:lnTo>
                      <a:lnTo>
                        <a:pt x="53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55" name="Line 306"/>
                <p:cNvSpPr>
                  <a:spLocks noChangeShapeType="1"/>
                </p:cNvSpPr>
                <p:nvPr/>
              </p:nvSpPr>
              <p:spPr bwMode="auto">
                <a:xfrm flipV="1">
                  <a:off x="5191" y="2516"/>
                  <a:ext cx="6" cy="2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146" name="Freeform 307"/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13279705" y="4358847"/>
                <a:ext cx="14288" cy="55563"/>
              </a:xfrm>
              <a:custGeom>
                <a:avLst/>
                <a:gdLst>
                  <a:gd name="T0" fmla="*/ 0 w 33"/>
                  <a:gd name="T1" fmla="*/ 2147483647 h 43"/>
                  <a:gd name="T2" fmla="*/ 81171427 w 33"/>
                  <a:gd name="T3" fmla="*/ 2147483647 h 43"/>
                  <a:gd name="T4" fmla="*/ 162342854 w 33"/>
                  <a:gd name="T5" fmla="*/ 2147483647 h 43"/>
                  <a:gd name="T6" fmla="*/ 405856702 w 33"/>
                  <a:gd name="T7" fmla="*/ 2147483647 h 43"/>
                  <a:gd name="T8" fmla="*/ 730542409 w 33"/>
                  <a:gd name="T9" fmla="*/ 2147483647 h 43"/>
                  <a:gd name="T10" fmla="*/ 1136399111 w 33"/>
                  <a:gd name="T11" fmla="*/ 2147483647 h 43"/>
                  <a:gd name="T12" fmla="*/ 1623240196 w 33"/>
                  <a:gd name="T13" fmla="*/ 2147483647 h 43"/>
                  <a:gd name="T14" fmla="*/ 2110268325 w 33"/>
                  <a:gd name="T15" fmla="*/ 2147483647 h 43"/>
                  <a:gd name="T16" fmla="*/ 2147483647 w 33"/>
                  <a:gd name="T17" fmla="*/ 0 h 43"/>
                  <a:gd name="T18" fmla="*/ 2147483647 w 33"/>
                  <a:gd name="T19" fmla="*/ 2147483647 h 43"/>
                  <a:gd name="T20" fmla="*/ 1866754044 w 33"/>
                  <a:gd name="T21" fmla="*/ 2147483647 h 43"/>
                  <a:gd name="T22" fmla="*/ 1460897343 w 33"/>
                  <a:gd name="T23" fmla="*/ 2147483647 h 43"/>
                  <a:gd name="T24" fmla="*/ 1298741965 w 33"/>
                  <a:gd name="T25" fmla="*/ 2147483647 h 43"/>
                  <a:gd name="T26" fmla="*/ 1298741965 w 33"/>
                  <a:gd name="T27" fmla="*/ 2147483647 h 43"/>
                  <a:gd name="T28" fmla="*/ 1298741965 w 33"/>
                  <a:gd name="T29" fmla="*/ 2147483647 h 43"/>
                  <a:gd name="T30" fmla="*/ 1136399111 w 33"/>
                  <a:gd name="T31" fmla="*/ 2147483647 h 43"/>
                  <a:gd name="T32" fmla="*/ 811713836 w 33"/>
                  <a:gd name="T33" fmla="*/ 2147483647 h 43"/>
                  <a:gd name="T34" fmla="*/ 0 w 33"/>
                  <a:gd name="T35" fmla="*/ 2147483647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3" h="43">
                    <a:moveTo>
                      <a:pt x="0" y="43"/>
                    </a:moveTo>
                    <a:lnTo>
                      <a:pt x="1" y="34"/>
                    </a:lnTo>
                    <a:lnTo>
                      <a:pt x="2" y="27"/>
                    </a:lnTo>
                    <a:lnTo>
                      <a:pt x="5" y="21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0" y="5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23" y="27"/>
                    </a:lnTo>
                    <a:lnTo>
                      <a:pt x="18" y="29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0" y="41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7" name="Freeform 308"/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13355905" y="4298522"/>
                <a:ext cx="22225" cy="58738"/>
              </a:xfrm>
              <a:custGeom>
                <a:avLst/>
                <a:gdLst>
                  <a:gd name="T0" fmla="*/ 0 w 54"/>
                  <a:gd name="T1" fmla="*/ 2147483647 h 92"/>
                  <a:gd name="T2" fmla="*/ 69790204 w 54"/>
                  <a:gd name="T3" fmla="*/ 2147483647 h 92"/>
                  <a:gd name="T4" fmla="*/ 139410428 w 54"/>
                  <a:gd name="T5" fmla="*/ 2147483647 h 92"/>
                  <a:gd name="T6" fmla="*/ 209200632 w 54"/>
                  <a:gd name="T7" fmla="*/ 2147483647 h 92"/>
                  <a:gd name="T8" fmla="*/ 418231696 w 54"/>
                  <a:gd name="T9" fmla="*/ 2147483647 h 92"/>
                  <a:gd name="T10" fmla="*/ 766843169 w 54"/>
                  <a:gd name="T11" fmla="*/ 2147483647 h 92"/>
                  <a:gd name="T12" fmla="*/ 1254865069 w 54"/>
                  <a:gd name="T13" fmla="*/ 2147483647 h 92"/>
                  <a:gd name="T14" fmla="*/ 2147483647 w 54"/>
                  <a:gd name="T15" fmla="*/ 1821683732 h 92"/>
                  <a:gd name="T16" fmla="*/ 2147483647 w 54"/>
                  <a:gd name="T17" fmla="*/ 0 h 92"/>
                  <a:gd name="T18" fmla="*/ 2147483647 w 54"/>
                  <a:gd name="T19" fmla="*/ 2147483647 h 92"/>
                  <a:gd name="T20" fmla="*/ 2147483647 w 54"/>
                  <a:gd name="T21" fmla="*/ 2147483647 h 92"/>
                  <a:gd name="T22" fmla="*/ 2147483647 w 54"/>
                  <a:gd name="T23" fmla="*/ 2147483647 h 92"/>
                  <a:gd name="T24" fmla="*/ 2147483647 w 54"/>
                  <a:gd name="T25" fmla="*/ 2147483647 h 92"/>
                  <a:gd name="T26" fmla="*/ 2147483647 w 54"/>
                  <a:gd name="T27" fmla="*/ 2147483647 h 92"/>
                  <a:gd name="T28" fmla="*/ 2147483647 w 54"/>
                  <a:gd name="T29" fmla="*/ 2147483647 h 92"/>
                  <a:gd name="T30" fmla="*/ 1952087602 w 54"/>
                  <a:gd name="T31" fmla="*/ 2147483647 h 92"/>
                  <a:gd name="T32" fmla="*/ 1812676762 w 54"/>
                  <a:gd name="T33" fmla="*/ 2147483647 h 92"/>
                  <a:gd name="T34" fmla="*/ 1812676762 w 54"/>
                  <a:gd name="T35" fmla="*/ 2147483647 h 92"/>
                  <a:gd name="T36" fmla="*/ 1673266334 w 54"/>
                  <a:gd name="T37" fmla="*/ 2147483647 h 92"/>
                  <a:gd name="T38" fmla="*/ 1394275497 w 54"/>
                  <a:gd name="T39" fmla="*/ 2147483647 h 92"/>
                  <a:gd name="T40" fmla="*/ 976043801 w 54"/>
                  <a:gd name="T41" fmla="*/ 2147483647 h 92"/>
                  <a:gd name="T42" fmla="*/ 557811693 w 54"/>
                  <a:gd name="T43" fmla="*/ 2147483647 h 92"/>
                  <a:gd name="T44" fmla="*/ 348611061 w 54"/>
                  <a:gd name="T45" fmla="*/ 2147483647 h 92"/>
                  <a:gd name="T46" fmla="*/ 139410428 w 54"/>
                  <a:gd name="T47" fmla="*/ 2147483647 h 92"/>
                  <a:gd name="T48" fmla="*/ 69790204 w 54"/>
                  <a:gd name="T49" fmla="*/ 2147483647 h 92"/>
                  <a:gd name="T50" fmla="*/ 0 w 54"/>
                  <a:gd name="T51" fmla="*/ 2147483647 h 9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54" h="92">
                    <a:moveTo>
                      <a:pt x="0" y="55"/>
                    </a:moveTo>
                    <a:lnTo>
                      <a:pt x="1" y="51"/>
                    </a:lnTo>
                    <a:lnTo>
                      <a:pt x="2" y="46"/>
                    </a:lnTo>
                    <a:lnTo>
                      <a:pt x="3" y="42"/>
                    </a:lnTo>
                    <a:lnTo>
                      <a:pt x="6" y="37"/>
                    </a:lnTo>
                    <a:lnTo>
                      <a:pt x="11" y="29"/>
                    </a:lnTo>
                    <a:lnTo>
                      <a:pt x="18" y="21"/>
                    </a:lnTo>
                    <a:lnTo>
                      <a:pt x="31" y="7"/>
                    </a:lnTo>
                    <a:lnTo>
                      <a:pt x="41" y="0"/>
                    </a:lnTo>
                    <a:lnTo>
                      <a:pt x="54" y="12"/>
                    </a:lnTo>
                    <a:lnTo>
                      <a:pt x="51" y="21"/>
                    </a:lnTo>
                    <a:lnTo>
                      <a:pt x="47" y="29"/>
                    </a:lnTo>
                    <a:lnTo>
                      <a:pt x="44" y="35"/>
                    </a:lnTo>
                    <a:lnTo>
                      <a:pt x="41" y="41"/>
                    </a:lnTo>
                    <a:lnTo>
                      <a:pt x="33" y="49"/>
                    </a:lnTo>
                    <a:lnTo>
                      <a:pt x="28" y="55"/>
                    </a:lnTo>
                    <a:lnTo>
                      <a:pt x="26" y="64"/>
                    </a:lnTo>
                    <a:lnTo>
                      <a:pt x="26" y="74"/>
                    </a:lnTo>
                    <a:lnTo>
                      <a:pt x="24" y="83"/>
                    </a:lnTo>
                    <a:lnTo>
                      <a:pt x="20" y="92"/>
                    </a:lnTo>
                    <a:lnTo>
                      <a:pt x="14" y="83"/>
                    </a:lnTo>
                    <a:lnTo>
                      <a:pt x="8" y="74"/>
                    </a:lnTo>
                    <a:lnTo>
                      <a:pt x="5" y="70"/>
                    </a:lnTo>
                    <a:lnTo>
                      <a:pt x="2" y="64"/>
                    </a:lnTo>
                    <a:lnTo>
                      <a:pt x="1" y="60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8" name="Freeform 309"/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13403530" y="4177872"/>
                <a:ext cx="23813" cy="57150"/>
              </a:xfrm>
              <a:custGeom>
                <a:avLst/>
                <a:gdLst>
                  <a:gd name="T0" fmla="*/ 0 w 60"/>
                  <a:gd name="T1" fmla="*/ 0 h 18"/>
                  <a:gd name="T2" fmla="*/ 1187830938 w 60"/>
                  <a:gd name="T3" fmla="*/ 2147483647 h 18"/>
                  <a:gd name="T4" fmla="*/ 2147483647 w 60"/>
                  <a:gd name="T5" fmla="*/ 2147483647 h 18"/>
                  <a:gd name="T6" fmla="*/ 2147483647 w 60"/>
                  <a:gd name="T7" fmla="*/ 2147483647 h 18"/>
                  <a:gd name="T8" fmla="*/ 2147483647 w 60"/>
                  <a:gd name="T9" fmla="*/ 2147483647 h 18"/>
                  <a:gd name="T10" fmla="*/ 2147483647 w 60"/>
                  <a:gd name="T11" fmla="*/ 2147483647 h 18"/>
                  <a:gd name="T12" fmla="*/ 2147483647 w 60"/>
                  <a:gd name="T13" fmla="*/ 2147483647 h 18"/>
                  <a:gd name="T14" fmla="*/ 2147483647 w 60"/>
                  <a:gd name="T15" fmla="*/ 2147483647 h 18"/>
                  <a:gd name="T16" fmla="*/ 1437809493 w 60"/>
                  <a:gd name="T17" fmla="*/ 2147483647 h 18"/>
                  <a:gd name="T18" fmla="*/ 625182533 w 60"/>
                  <a:gd name="T19" fmla="*/ 2147483647 h 18"/>
                  <a:gd name="T20" fmla="*/ 0 w 60"/>
                  <a:gd name="T21" fmla="*/ 2147483647 h 18"/>
                  <a:gd name="T22" fmla="*/ 0 w 60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0" h="18">
                    <a:moveTo>
                      <a:pt x="0" y="0"/>
                    </a:moveTo>
                    <a:lnTo>
                      <a:pt x="19" y="4"/>
                    </a:lnTo>
                    <a:lnTo>
                      <a:pt x="37" y="9"/>
                    </a:lnTo>
                    <a:lnTo>
                      <a:pt x="45" y="11"/>
                    </a:lnTo>
                    <a:lnTo>
                      <a:pt x="51" y="13"/>
                    </a:lnTo>
                    <a:lnTo>
                      <a:pt x="56" y="16"/>
                    </a:lnTo>
                    <a:lnTo>
                      <a:pt x="60" y="18"/>
                    </a:lnTo>
                    <a:lnTo>
                      <a:pt x="38" y="18"/>
                    </a:lnTo>
                    <a:lnTo>
                      <a:pt x="23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49" name="Freeform 310"/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13387655" y="4147710"/>
                <a:ext cx="25400" cy="57150"/>
              </a:xfrm>
              <a:custGeom>
                <a:avLst/>
                <a:gdLst>
                  <a:gd name="T0" fmla="*/ 0 w 66"/>
                  <a:gd name="T1" fmla="*/ 2147483647 h 18"/>
                  <a:gd name="T2" fmla="*/ 2147483647 w 66"/>
                  <a:gd name="T3" fmla="*/ 2147483647 h 18"/>
                  <a:gd name="T4" fmla="*/ 2147483647 w 66"/>
                  <a:gd name="T5" fmla="*/ 2147483647 h 18"/>
                  <a:gd name="T6" fmla="*/ 2147483647 w 66"/>
                  <a:gd name="T7" fmla="*/ 2147483647 h 18"/>
                  <a:gd name="T8" fmla="*/ 1995019524 w 66"/>
                  <a:gd name="T9" fmla="*/ 2147483647 h 18"/>
                  <a:gd name="T10" fmla="*/ 1653037388 w 66"/>
                  <a:gd name="T11" fmla="*/ 2147483647 h 18"/>
                  <a:gd name="T12" fmla="*/ 1424950391 w 66"/>
                  <a:gd name="T13" fmla="*/ 2147483647 h 18"/>
                  <a:gd name="T14" fmla="*/ 1082968255 w 66"/>
                  <a:gd name="T15" fmla="*/ 0 h 18"/>
                  <a:gd name="T16" fmla="*/ 0 w 66"/>
                  <a:gd name="T17" fmla="*/ 2147483647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6" h="18">
                    <a:moveTo>
                      <a:pt x="0" y="18"/>
                    </a:moveTo>
                    <a:lnTo>
                      <a:pt x="66" y="18"/>
                    </a:lnTo>
                    <a:lnTo>
                      <a:pt x="52" y="13"/>
                    </a:lnTo>
                    <a:lnTo>
                      <a:pt x="40" y="7"/>
                    </a:lnTo>
                    <a:lnTo>
                      <a:pt x="35" y="4"/>
                    </a:lnTo>
                    <a:lnTo>
                      <a:pt x="29" y="2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0" name="Freeform 311"/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13213030" y="4044522"/>
                <a:ext cx="7938" cy="57150"/>
              </a:xfrm>
              <a:custGeom>
                <a:avLst/>
                <a:gdLst>
                  <a:gd name="T0" fmla="*/ 0 w 17"/>
                  <a:gd name="T1" fmla="*/ 2147483647 h 42"/>
                  <a:gd name="T2" fmla="*/ 1323466786 w 17"/>
                  <a:gd name="T3" fmla="*/ 2147483647 h 42"/>
                  <a:gd name="T4" fmla="*/ 1425288445 w 17"/>
                  <a:gd name="T5" fmla="*/ 2147483647 h 42"/>
                  <a:gd name="T6" fmla="*/ 1628932699 w 17"/>
                  <a:gd name="T7" fmla="*/ 2147483647 h 42"/>
                  <a:gd name="T8" fmla="*/ 1730754359 w 17"/>
                  <a:gd name="T9" fmla="*/ 2147483647 h 42"/>
                  <a:gd name="T10" fmla="*/ 1628932699 w 17"/>
                  <a:gd name="T11" fmla="*/ 2147483647 h 42"/>
                  <a:gd name="T12" fmla="*/ 1628932699 w 17"/>
                  <a:gd name="T13" fmla="*/ 2147483647 h 42"/>
                  <a:gd name="T14" fmla="*/ 1323466786 w 17"/>
                  <a:gd name="T15" fmla="*/ 0 h 42"/>
                  <a:gd name="T16" fmla="*/ 0 w 17"/>
                  <a:gd name="T17" fmla="*/ 2147483647 h 4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" h="42">
                    <a:moveTo>
                      <a:pt x="0" y="36"/>
                    </a:moveTo>
                    <a:lnTo>
                      <a:pt x="13" y="42"/>
                    </a:lnTo>
                    <a:lnTo>
                      <a:pt x="14" y="33"/>
                    </a:lnTo>
                    <a:lnTo>
                      <a:pt x="16" y="23"/>
                    </a:lnTo>
                    <a:lnTo>
                      <a:pt x="17" y="18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3" y="0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1" name="Freeform 312"/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13140005" y="4179460"/>
                <a:ext cx="30163" cy="58737"/>
              </a:xfrm>
              <a:custGeom>
                <a:avLst/>
                <a:gdLst>
                  <a:gd name="T0" fmla="*/ 441213891 w 72"/>
                  <a:gd name="T1" fmla="*/ 2147483647 h 29"/>
                  <a:gd name="T2" fmla="*/ 1102859823 w 72"/>
                  <a:gd name="T3" fmla="*/ 2147483647 h 29"/>
                  <a:gd name="T4" fmla="*/ 1764505337 w 72"/>
                  <a:gd name="T5" fmla="*/ 2147483647 h 29"/>
                  <a:gd name="T6" fmla="*/ 2147483647 w 72"/>
                  <a:gd name="T7" fmla="*/ 2147483647 h 29"/>
                  <a:gd name="T8" fmla="*/ 2147483647 w 72"/>
                  <a:gd name="T9" fmla="*/ 2147483647 h 29"/>
                  <a:gd name="T10" fmla="*/ 2147483647 w 72"/>
                  <a:gd name="T11" fmla="*/ 2147483647 h 29"/>
                  <a:gd name="T12" fmla="*/ 2147483647 w 72"/>
                  <a:gd name="T13" fmla="*/ 2147483647 h 29"/>
                  <a:gd name="T14" fmla="*/ 2147483647 w 72"/>
                  <a:gd name="T15" fmla="*/ 2147483647 h 29"/>
                  <a:gd name="T16" fmla="*/ 2147483647 w 72"/>
                  <a:gd name="T17" fmla="*/ 2147483647 h 29"/>
                  <a:gd name="T18" fmla="*/ 2147483647 w 72"/>
                  <a:gd name="T19" fmla="*/ 0 h 29"/>
                  <a:gd name="T20" fmla="*/ 2147483647 w 72"/>
                  <a:gd name="T21" fmla="*/ 0 h 29"/>
                  <a:gd name="T22" fmla="*/ 2147483647 w 72"/>
                  <a:gd name="T23" fmla="*/ 2147483647 h 29"/>
                  <a:gd name="T24" fmla="*/ 1985112492 w 72"/>
                  <a:gd name="T25" fmla="*/ 2147483647 h 29"/>
                  <a:gd name="T26" fmla="*/ 1544073714 w 72"/>
                  <a:gd name="T27" fmla="*/ 2147483647 h 29"/>
                  <a:gd name="T28" fmla="*/ 882252669 w 72"/>
                  <a:gd name="T29" fmla="*/ 2147483647 h 29"/>
                  <a:gd name="T30" fmla="*/ 0 w 72"/>
                  <a:gd name="T31" fmla="*/ 2147483647 h 29"/>
                  <a:gd name="T32" fmla="*/ 220607155 w 72"/>
                  <a:gd name="T33" fmla="*/ 2147483647 h 29"/>
                  <a:gd name="T34" fmla="*/ 441213891 w 72"/>
                  <a:gd name="T35" fmla="*/ 2147483647 h 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29">
                    <a:moveTo>
                      <a:pt x="6" y="29"/>
                    </a:moveTo>
                    <a:lnTo>
                      <a:pt x="15" y="26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39" y="24"/>
                    </a:lnTo>
                    <a:lnTo>
                      <a:pt x="55" y="27"/>
                    </a:lnTo>
                    <a:lnTo>
                      <a:pt x="72" y="29"/>
                    </a:lnTo>
                    <a:lnTo>
                      <a:pt x="72" y="4"/>
                    </a:lnTo>
                    <a:lnTo>
                      <a:pt x="58" y="1"/>
                    </a:lnTo>
                    <a:lnTo>
                      <a:pt x="47" y="0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2" y="5"/>
                    </a:lnTo>
                    <a:lnTo>
                      <a:pt x="0" y="4"/>
                    </a:lnTo>
                    <a:lnTo>
                      <a:pt x="3" y="16"/>
                    </a:lnTo>
                    <a:lnTo>
                      <a:pt x="6" y="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2" name="Freeform 313"/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13147943" y="4365197"/>
                <a:ext cx="19050" cy="55563"/>
              </a:xfrm>
              <a:custGeom>
                <a:avLst/>
                <a:gdLst>
                  <a:gd name="T0" fmla="*/ 0 w 46"/>
                  <a:gd name="T1" fmla="*/ 0 h 37"/>
                  <a:gd name="T2" fmla="*/ 639195417 w 46"/>
                  <a:gd name="T3" fmla="*/ 2147483647 h 37"/>
                  <a:gd name="T4" fmla="*/ 1420567611 w 46"/>
                  <a:gd name="T5" fmla="*/ 2147483647 h 37"/>
                  <a:gd name="T6" fmla="*/ 2147483647 w 46"/>
                  <a:gd name="T7" fmla="*/ 2147483647 h 37"/>
                  <a:gd name="T8" fmla="*/ 2147483647 w 46"/>
                  <a:gd name="T9" fmla="*/ 2147483647 h 37"/>
                  <a:gd name="T10" fmla="*/ 2147483647 w 46"/>
                  <a:gd name="T11" fmla="*/ 2147483647 h 37"/>
                  <a:gd name="T12" fmla="*/ 2059763442 w 46"/>
                  <a:gd name="T13" fmla="*/ 2147483647 h 37"/>
                  <a:gd name="T14" fmla="*/ 1491570274 w 46"/>
                  <a:gd name="T15" fmla="*/ 2147483647 h 37"/>
                  <a:gd name="T16" fmla="*/ 923377520 w 46"/>
                  <a:gd name="T17" fmla="*/ 2147483647 h 37"/>
                  <a:gd name="T18" fmla="*/ 639195417 w 46"/>
                  <a:gd name="T19" fmla="*/ 2147483647 h 37"/>
                  <a:gd name="T20" fmla="*/ 497190091 w 46"/>
                  <a:gd name="T21" fmla="*/ 2147483647 h 37"/>
                  <a:gd name="T22" fmla="*/ 355184765 w 46"/>
                  <a:gd name="T23" fmla="*/ 2147483647 h 37"/>
                  <a:gd name="T24" fmla="*/ 213007989 w 46"/>
                  <a:gd name="T25" fmla="*/ 2147483647 h 37"/>
                  <a:gd name="T26" fmla="*/ 71002663 w 46"/>
                  <a:gd name="T27" fmla="*/ 2147483647 h 37"/>
                  <a:gd name="T28" fmla="*/ 0 w 46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37">
                    <a:moveTo>
                      <a:pt x="0" y="0"/>
                    </a:moveTo>
                    <a:lnTo>
                      <a:pt x="9" y="9"/>
                    </a:lnTo>
                    <a:lnTo>
                      <a:pt x="20" y="15"/>
                    </a:lnTo>
                    <a:lnTo>
                      <a:pt x="31" y="20"/>
                    </a:lnTo>
                    <a:lnTo>
                      <a:pt x="46" y="25"/>
                    </a:lnTo>
                    <a:lnTo>
                      <a:pt x="37" y="29"/>
                    </a:lnTo>
                    <a:lnTo>
                      <a:pt x="29" y="33"/>
                    </a:lnTo>
                    <a:lnTo>
                      <a:pt x="21" y="36"/>
                    </a:lnTo>
                    <a:lnTo>
                      <a:pt x="13" y="37"/>
                    </a:lnTo>
                    <a:lnTo>
                      <a:pt x="9" y="36"/>
                    </a:lnTo>
                    <a:lnTo>
                      <a:pt x="7" y="33"/>
                    </a:lnTo>
                    <a:lnTo>
                      <a:pt x="5" y="29"/>
                    </a:lnTo>
                    <a:lnTo>
                      <a:pt x="3" y="23"/>
                    </a:lnTo>
                    <a:lnTo>
                      <a:pt x="1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3" name="Freeform 314"/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13260655" y="4184222"/>
                <a:ext cx="11113" cy="57150"/>
              </a:xfrm>
              <a:custGeom>
                <a:avLst/>
                <a:gdLst>
                  <a:gd name="T0" fmla="*/ 0 w 26"/>
                  <a:gd name="T1" fmla="*/ 0 h 19"/>
                  <a:gd name="T2" fmla="*/ 2030239527 w 26"/>
                  <a:gd name="T3" fmla="*/ 2147483647 h 19"/>
                  <a:gd name="T4" fmla="*/ 2030239527 w 26"/>
                  <a:gd name="T5" fmla="*/ 2147483647 h 19"/>
                  <a:gd name="T6" fmla="*/ 2030239527 w 26"/>
                  <a:gd name="T7" fmla="*/ 0 h 19"/>
                  <a:gd name="T8" fmla="*/ 1171228562 w 26"/>
                  <a:gd name="T9" fmla="*/ 0 h 19"/>
                  <a:gd name="T10" fmla="*/ 0 w 26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19">
                    <a:moveTo>
                      <a:pt x="0" y="0"/>
                    </a:moveTo>
                    <a:lnTo>
                      <a:pt x="26" y="1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4" name="Freeform 315"/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13120955" y="4179460"/>
                <a:ext cx="19050" cy="58737"/>
              </a:xfrm>
              <a:custGeom>
                <a:avLst/>
                <a:gdLst>
                  <a:gd name="T0" fmla="*/ 173895045 w 43"/>
                  <a:gd name="T1" fmla="*/ 0 h 31"/>
                  <a:gd name="T2" fmla="*/ 86947301 w 43"/>
                  <a:gd name="T3" fmla="*/ 2147483647 h 31"/>
                  <a:gd name="T4" fmla="*/ 0 w 43"/>
                  <a:gd name="T5" fmla="*/ 2147483647 h 31"/>
                  <a:gd name="T6" fmla="*/ 0 w 43"/>
                  <a:gd name="T7" fmla="*/ 2147483647 h 31"/>
                  <a:gd name="T8" fmla="*/ 0 w 43"/>
                  <a:gd name="T9" fmla="*/ 2147483647 h 31"/>
                  <a:gd name="T10" fmla="*/ 0 w 43"/>
                  <a:gd name="T11" fmla="*/ 2147483647 h 31"/>
                  <a:gd name="T12" fmla="*/ 173895045 w 43"/>
                  <a:gd name="T13" fmla="*/ 2147483647 h 31"/>
                  <a:gd name="T14" fmla="*/ 1130316687 w 43"/>
                  <a:gd name="T15" fmla="*/ 2147483647 h 31"/>
                  <a:gd name="T16" fmla="*/ 2147483647 w 43"/>
                  <a:gd name="T17" fmla="*/ 2147483647 h 31"/>
                  <a:gd name="T18" fmla="*/ 2147483647 w 43"/>
                  <a:gd name="T19" fmla="*/ 2147483647 h 31"/>
                  <a:gd name="T20" fmla="*/ 2147483647 w 43"/>
                  <a:gd name="T21" fmla="*/ 0 h 31"/>
                  <a:gd name="T22" fmla="*/ 173895045 w 43"/>
                  <a:gd name="T23" fmla="*/ 0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3" h="31">
                    <a:moveTo>
                      <a:pt x="2" y="0"/>
                    </a:moveTo>
                    <a:lnTo>
                      <a:pt x="1" y="12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13" y="22"/>
                    </a:lnTo>
                    <a:lnTo>
                      <a:pt x="25" y="13"/>
                    </a:lnTo>
                    <a:lnTo>
                      <a:pt x="35" y="5"/>
                    </a:lnTo>
                    <a:lnTo>
                      <a:pt x="43" y="0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5" name="Freeform 316"/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13165405" y="4227085"/>
                <a:ext cx="30163" cy="57150"/>
              </a:xfrm>
              <a:custGeom>
                <a:avLst/>
                <a:gdLst>
                  <a:gd name="T0" fmla="*/ 306637908 w 71"/>
                  <a:gd name="T1" fmla="*/ 2147483647 h 49"/>
                  <a:gd name="T2" fmla="*/ 306637908 w 71"/>
                  <a:gd name="T3" fmla="*/ 2147483647 h 49"/>
                  <a:gd name="T4" fmla="*/ 383342417 w 71"/>
                  <a:gd name="T5" fmla="*/ 2147483647 h 49"/>
                  <a:gd name="T6" fmla="*/ 536751435 w 71"/>
                  <a:gd name="T7" fmla="*/ 2147483647 h 49"/>
                  <a:gd name="T8" fmla="*/ 689980324 w 71"/>
                  <a:gd name="T9" fmla="*/ 2147483647 h 49"/>
                  <a:gd name="T10" fmla="*/ 1073503294 w 71"/>
                  <a:gd name="T11" fmla="*/ 2147483647 h 49"/>
                  <a:gd name="T12" fmla="*/ 1380141202 w 71"/>
                  <a:gd name="T13" fmla="*/ 2147483647 h 49"/>
                  <a:gd name="T14" fmla="*/ 1763483618 w 71"/>
                  <a:gd name="T15" fmla="*/ 2147483647 h 49"/>
                  <a:gd name="T16" fmla="*/ 2147483647 w 71"/>
                  <a:gd name="T17" fmla="*/ 2147483647 h 49"/>
                  <a:gd name="T18" fmla="*/ 2147483647 w 71"/>
                  <a:gd name="T19" fmla="*/ 2147483647 h 49"/>
                  <a:gd name="T20" fmla="*/ 2147483647 w 71"/>
                  <a:gd name="T21" fmla="*/ 2147483647 h 49"/>
                  <a:gd name="T22" fmla="*/ 2147483647 w 71"/>
                  <a:gd name="T23" fmla="*/ 2147483647 h 49"/>
                  <a:gd name="T24" fmla="*/ 2147483647 w 71"/>
                  <a:gd name="T25" fmla="*/ 2147483647 h 49"/>
                  <a:gd name="T26" fmla="*/ 2147483647 w 71"/>
                  <a:gd name="T27" fmla="*/ 2147483647 h 49"/>
                  <a:gd name="T28" fmla="*/ 2147483647 w 71"/>
                  <a:gd name="T29" fmla="*/ 2147483647 h 49"/>
                  <a:gd name="T30" fmla="*/ 2147483647 w 71"/>
                  <a:gd name="T31" fmla="*/ 2147483647 h 49"/>
                  <a:gd name="T32" fmla="*/ 2147483647 w 71"/>
                  <a:gd name="T33" fmla="*/ 2147483647 h 49"/>
                  <a:gd name="T34" fmla="*/ 2147483647 w 71"/>
                  <a:gd name="T35" fmla="*/ 2147483647 h 49"/>
                  <a:gd name="T36" fmla="*/ 2147483647 w 71"/>
                  <a:gd name="T37" fmla="*/ 2147483647 h 49"/>
                  <a:gd name="T38" fmla="*/ 2147483647 w 71"/>
                  <a:gd name="T39" fmla="*/ 2147483647 h 49"/>
                  <a:gd name="T40" fmla="*/ 1610074176 w 71"/>
                  <a:gd name="T41" fmla="*/ 2147483647 h 49"/>
                  <a:gd name="T42" fmla="*/ 1073503294 w 71"/>
                  <a:gd name="T43" fmla="*/ 2147483647 h 49"/>
                  <a:gd name="T44" fmla="*/ 306637908 w 71"/>
                  <a:gd name="T45" fmla="*/ 0 h 49"/>
                  <a:gd name="T46" fmla="*/ 229933399 w 71"/>
                  <a:gd name="T47" fmla="*/ 1586130603 h 49"/>
                  <a:gd name="T48" fmla="*/ 76704509 w 71"/>
                  <a:gd name="T49" fmla="*/ 2147483647 h 49"/>
                  <a:gd name="T50" fmla="*/ 0 w 71"/>
                  <a:gd name="T51" fmla="*/ 2147483647 h 49"/>
                  <a:gd name="T52" fmla="*/ 0 w 71"/>
                  <a:gd name="T53" fmla="*/ 2147483647 h 49"/>
                  <a:gd name="T54" fmla="*/ 76704509 w 71"/>
                  <a:gd name="T55" fmla="*/ 2147483647 h 49"/>
                  <a:gd name="T56" fmla="*/ 306637908 w 71"/>
                  <a:gd name="T57" fmla="*/ 2147483647 h 4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1" h="49">
                    <a:moveTo>
                      <a:pt x="4" y="12"/>
                    </a:moveTo>
                    <a:lnTo>
                      <a:pt x="4" y="18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9" y="37"/>
                    </a:lnTo>
                    <a:lnTo>
                      <a:pt x="14" y="41"/>
                    </a:lnTo>
                    <a:lnTo>
                      <a:pt x="18" y="46"/>
                    </a:lnTo>
                    <a:lnTo>
                      <a:pt x="23" y="48"/>
                    </a:lnTo>
                    <a:lnTo>
                      <a:pt x="30" y="49"/>
                    </a:lnTo>
                    <a:lnTo>
                      <a:pt x="35" y="48"/>
                    </a:lnTo>
                    <a:lnTo>
                      <a:pt x="40" y="46"/>
                    </a:lnTo>
                    <a:lnTo>
                      <a:pt x="45" y="42"/>
                    </a:lnTo>
                    <a:lnTo>
                      <a:pt x="50" y="37"/>
                    </a:lnTo>
                    <a:lnTo>
                      <a:pt x="60" y="28"/>
                    </a:lnTo>
                    <a:lnTo>
                      <a:pt x="71" y="18"/>
                    </a:lnTo>
                    <a:lnTo>
                      <a:pt x="61" y="12"/>
                    </a:lnTo>
                    <a:lnTo>
                      <a:pt x="52" y="9"/>
                    </a:lnTo>
                    <a:lnTo>
                      <a:pt x="44" y="7"/>
                    </a:lnTo>
                    <a:lnTo>
                      <a:pt x="37" y="6"/>
                    </a:lnTo>
                    <a:lnTo>
                      <a:pt x="29" y="6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4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6" name="Freeform 317"/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12966968" y="4430285"/>
                <a:ext cx="46037" cy="58737"/>
              </a:xfrm>
              <a:custGeom>
                <a:avLst/>
                <a:gdLst>
                  <a:gd name="T0" fmla="*/ 2147483647 w 112"/>
                  <a:gd name="T1" fmla="*/ 2147483647 h 26"/>
                  <a:gd name="T2" fmla="*/ 2147483647 w 112"/>
                  <a:gd name="T3" fmla="*/ 2147483647 h 26"/>
                  <a:gd name="T4" fmla="*/ 2147483647 w 112"/>
                  <a:gd name="T5" fmla="*/ 2147483647 h 26"/>
                  <a:gd name="T6" fmla="*/ 2147483647 w 112"/>
                  <a:gd name="T7" fmla="*/ 2147483647 h 26"/>
                  <a:gd name="T8" fmla="*/ 2147483647 w 112"/>
                  <a:gd name="T9" fmla="*/ 2147483647 h 26"/>
                  <a:gd name="T10" fmla="*/ 2147483647 w 112"/>
                  <a:gd name="T11" fmla="*/ 2147483647 h 26"/>
                  <a:gd name="T12" fmla="*/ 2147483647 w 112"/>
                  <a:gd name="T13" fmla="*/ 2147483647 h 26"/>
                  <a:gd name="T14" fmla="*/ 2147483647 w 112"/>
                  <a:gd name="T15" fmla="*/ 2147483647 h 26"/>
                  <a:gd name="T16" fmla="*/ 2147483647 w 112"/>
                  <a:gd name="T17" fmla="*/ 2147483647 h 26"/>
                  <a:gd name="T18" fmla="*/ 2147483647 w 112"/>
                  <a:gd name="T19" fmla="*/ 2147483647 h 26"/>
                  <a:gd name="T20" fmla="*/ 2147483647 w 112"/>
                  <a:gd name="T21" fmla="*/ 2147483647 h 26"/>
                  <a:gd name="T22" fmla="*/ 2147483647 w 112"/>
                  <a:gd name="T23" fmla="*/ 2147483647 h 26"/>
                  <a:gd name="T24" fmla="*/ 2147483647 w 112"/>
                  <a:gd name="T25" fmla="*/ 2147483647 h 26"/>
                  <a:gd name="T26" fmla="*/ 2147483647 w 112"/>
                  <a:gd name="T27" fmla="*/ 2147483647 h 26"/>
                  <a:gd name="T28" fmla="*/ 2147483647 w 112"/>
                  <a:gd name="T29" fmla="*/ 2147483647 h 26"/>
                  <a:gd name="T30" fmla="*/ 2147483647 w 112"/>
                  <a:gd name="T31" fmla="*/ 2147483647 h 26"/>
                  <a:gd name="T32" fmla="*/ 2147483647 w 112"/>
                  <a:gd name="T33" fmla="*/ 2147483647 h 26"/>
                  <a:gd name="T34" fmla="*/ 1111234940 w 112"/>
                  <a:gd name="T35" fmla="*/ 2147483647 h 26"/>
                  <a:gd name="T36" fmla="*/ 0 w 112"/>
                  <a:gd name="T37" fmla="*/ 2147483647 h 26"/>
                  <a:gd name="T38" fmla="*/ 347208177 w 112"/>
                  <a:gd name="T39" fmla="*/ 2147483647 h 26"/>
                  <a:gd name="T40" fmla="*/ 763857824 w 112"/>
                  <a:gd name="T41" fmla="*/ 2147483647 h 26"/>
                  <a:gd name="T42" fmla="*/ 1250117882 w 112"/>
                  <a:gd name="T43" fmla="*/ 2147483647 h 26"/>
                  <a:gd name="T44" fmla="*/ 1736209412 w 112"/>
                  <a:gd name="T45" fmla="*/ 0 h 26"/>
                  <a:gd name="T46" fmla="*/ 2147483647 w 112"/>
                  <a:gd name="T47" fmla="*/ 2147483647 h 26"/>
                  <a:gd name="T48" fmla="*/ 2147483647 w 112"/>
                  <a:gd name="T49" fmla="*/ 2147483647 h 2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12" h="26">
                    <a:moveTo>
                      <a:pt x="46" y="2"/>
                    </a:moveTo>
                    <a:lnTo>
                      <a:pt x="56" y="2"/>
                    </a:lnTo>
                    <a:lnTo>
                      <a:pt x="66" y="3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2" y="9"/>
                    </a:lnTo>
                    <a:lnTo>
                      <a:pt x="100" y="12"/>
                    </a:lnTo>
                    <a:lnTo>
                      <a:pt x="106" y="16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5" y="23"/>
                    </a:lnTo>
                    <a:lnTo>
                      <a:pt x="101" y="25"/>
                    </a:lnTo>
                    <a:lnTo>
                      <a:pt x="95" y="25"/>
                    </a:lnTo>
                    <a:lnTo>
                      <a:pt x="87" y="26"/>
                    </a:lnTo>
                    <a:lnTo>
                      <a:pt x="79" y="26"/>
                    </a:lnTo>
                    <a:lnTo>
                      <a:pt x="66" y="24"/>
                    </a:lnTo>
                    <a:lnTo>
                      <a:pt x="41" y="19"/>
                    </a:lnTo>
                    <a:lnTo>
                      <a:pt x="16" y="13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2"/>
                    </a:lnTo>
                    <a:lnTo>
                      <a:pt x="18" y="1"/>
                    </a:lnTo>
                    <a:lnTo>
                      <a:pt x="25" y="0"/>
                    </a:lnTo>
                    <a:lnTo>
                      <a:pt x="37" y="1"/>
                    </a:lnTo>
                    <a:lnTo>
                      <a:pt x="46" y="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7" name="Freeform 318"/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13065393" y="4468385"/>
                <a:ext cx="14287" cy="58737"/>
              </a:xfrm>
              <a:custGeom>
                <a:avLst/>
                <a:gdLst>
                  <a:gd name="T0" fmla="*/ 0 w 41"/>
                  <a:gd name="T1" fmla="*/ 0 h 25"/>
                  <a:gd name="T2" fmla="*/ 1734824064 w 41"/>
                  <a:gd name="T3" fmla="*/ 0 h 25"/>
                  <a:gd name="T4" fmla="*/ 1184760974 w 41"/>
                  <a:gd name="T5" fmla="*/ 2147483647 h 25"/>
                  <a:gd name="T6" fmla="*/ 761588746 w 41"/>
                  <a:gd name="T7" fmla="*/ 2147483647 h 25"/>
                  <a:gd name="T8" fmla="*/ 380794199 w 41"/>
                  <a:gd name="T9" fmla="*/ 2147483647 h 25"/>
                  <a:gd name="T10" fmla="*/ 0 w 41"/>
                  <a:gd name="T11" fmla="*/ 2147483647 h 25"/>
                  <a:gd name="T12" fmla="*/ 0 w 41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1" h="25">
                    <a:moveTo>
                      <a:pt x="0" y="0"/>
                    </a:moveTo>
                    <a:lnTo>
                      <a:pt x="41" y="0"/>
                    </a:lnTo>
                    <a:lnTo>
                      <a:pt x="28" y="8"/>
                    </a:lnTo>
                    <a:lnTo>
                      <a:pt x="18" y="15"/>
                    </a:lnTo>
                    <a:lnTo>
                      <a:pt x="9" y="20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8" name="Freeform 319"/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12898705" y="4400122"/>
                <a:ext cx="36513" cy="55563"/>
              </a:xfrm>
              <a:custGeom>
                <a:avLst/>
                <a:gdLst>
                  <a:gd name="T0" fmla="*/ 0 w 81"/>
                  <a:gd name="T1" fmla="*/ 2147483647 h 31"/>
                  <a:gd name="T2" fmla="*/ 0 w 81"/>
                  <a:gd name="T3" fmla="*/ 2147483647 h 31"/>
                  <a:gd name="T4" fmla="*/ 0 w 81"/>
                  <a:gd name="T5" fmla="*/ 2147483647 h 31"/>
                  <a:gd name="T6" fmla="*/ 0 w 81"/>
                  <a:gd name="T7" fmla="*/ 2147483647 h 31"/>
                  <a:gd name="T8" fmla="*/ 183287146 w 81"/>
                  <a:gd name="T9" fmla="*/ 2147483647 h 31"/>
                  <a:gd name="T10" fmla="*/ 274727418 w 81"/>
                  <a:gd name="T11" fmla="*/ 2147483647 h 31"/>
                  <a:gd name="T12" fmla="*/ 366370540 w 81"/>
                  <a:gd name="T13" fmla="*/ 2147483647 h 31"/>
                  <a:gd name="T14" fmla="*/ 732741532 w 81"/>
                  <a:gd name="T15" fmla="*/ 2147483647 h 31"/>
                  <a:gd name="T16" fmla="*/ 1282399218 w 81"/>
                  <a:gd name="T17" fmla="*/ 0 h 31"/>
                  <a:gd name="T18" fmla="*/ 2147483647 w 81"/>
                  <a:gd name="T19" fmla="*/ 2147483647 h 31"/>
                  <a:gd name="T20" fmla="*/ 2147483647 w 81"/>
                  <a:gd name="T21" fmla="*/ 2147483647 h 31"/>
                  <a:gd name="T22" fmla="*/ 2147483647 w 81"/>
                  <a:gd name="T23" fmla="*/ 2147483647 h 31"/>
                  <a:gd name="T24" fmla="*/ 2147483647 w 81"/>
                  <a:gd name="T25" fmla="*/ 2147483647 h 31"/>
                  <a:gd name="T26" fmla="*/ 2147483647 w 81"/>
                  <a:gd name="T27" fmla="*/ 2147483647 h 31"/>
                  <a:gd name="T28" fmla="*/ 2147483647 w 81"/>
                  <a:gd name="T29" fmla="*/ 2147483647 h 31"/>
                  <a:gd name="T30" fmla="*/ 2147483647 w 81"/>
                  <a:gd name="T31" fmla="*/ 2147483647 h 31"/>
                  <a:gd name="T32" fmla="*/ 2147483647 w 81"/>
                  <a:gd name="T33" fmla="*/ 2147483647 h 31"/>
                  <a:gd name="T34" fmla="*/ 2147483647 w 81"/>
                  <a:gd name="T35" fmla="*/ 2147483647 h 31"/>
                  <a:gd name="T36" fmla="*/ 2147483647 w 81"/>
                  <a:gd name="T37" fmla="*/ 2147483647 h 31"/>
                  <a:gd name="T38" fmla="*/ 2147483647 w 81"/>
                  <a:gd name="T39" fmla="*/ 2147483647 h 31"/>
                  <a:gd name="T40" fmla="*/ 2147483647 w 81"/>
                  <a:gd name="T41" fmla="*/ 2147483647 h 31"/>
                  <a:gd name="T42" fmla="*/ 2147483647 w 81"/>
                  <a:gd name="T43" fmla="*/ 2147483647 h 31"/>
                  <a:gd name="T44" fmla="*/ 2147483647 w 81"/>
                  <a:gd name="T45" fmla="*/ 2147483647 h 31"/>
                  <a:gd name="T46" fmla="*/ 0 w 81"/>
                  <a:gd name="T47" fmla="*/ 2147483647 h 3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81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lnTo>
                      <a:pt x="41" y="1"/>
                    </a:lnTo>
                    <a:lnTo>
                      <a:pt x="56" y="1"/>
                    </a:lnTo>
                    <a:lnTo>
                      <a:pt x="65" y="1"/>
                    </a:lnTo>
                    <a:lnTo>
                      <a:pt x="73" y="1"/>
                    </a:lnTo>
                    <a:lnTo>
                      <a:pt x="81" y="1"/>
                    </a:lnTo>
                    <a:lnTo>
                      <a:pt x="73" y="6"/>
                    </a:lnTo>
                    <a:lnTo>
                      <a:pt x="67" y="10"/>
                    </a:lnTo>
                    <a:lnTo>
                      <a:pt x="64" y="14"/>
                    </a:lnTo>
                    <a:lnTo>
                      <a:pt x="62" y="18"/>
                    </a:lnTo>
                    <a:lnTo>
                      <a:pt x="59" y="21"/>
                    </a:lnTo>
                    <a:lnTo>
                      <a:pt x="54" y="23"/>
                    </a:lnTo>
                    <a:lnTo>
                      <a:pt x="47" y="25"/>
                    </a:lnTo>
                    <a:lnTo>
                      <a:pt x="34" y="25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59" name="Freeform 320"/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12943155" y="4385835"/>
                <a:ext cx="39688" cy="55562"/>
              </a:xfrm>
              <a:custGeom>
                <a:avLst/>
                <a:gdLst>
                  <a:gd name="T0" fmla="*/ 177379496 w 89"/>
                  <a:gd name="T1" fmla="*/ 2147483647 h 49"/>
                  <a:gd name="T2" fmla="*/ 2147483647 w 89"/>
                  <a:gd name="T3" fmla="*/ 2147483647 h 49"/>
                  <a:gd name="T4" fmla="*/ 2147483647 w 89"/>
                  <a:gd name="T5" fmla="*/ 2147483647 h 49"/>
                  <a:gd name="T6" fmla="*/ 2147483647 w 89"/>
                  <a:gd name="T7" fmla="*/ 2147483647 h 49"/>
                  <a:gd name="T8" fmla="*/ 2147483647 w 89"/>
                  <a:gd name="T9" fmla="*/ 2147483647 h 49"/>
                  <a:gd name="T10" fmla="*/ 2147483647 w 89"/>
                  <a:gd name="T11" fmla="*/ 2147483647 h 49"/>
                  <a:gd name="T12" fmla="*/ 2147483647 w 89"/>
                  <a:gd name="T13" fmla="*/ 2147483647 h 49"/>
                  <a:gd name="T14" fmla="*/ 2147483647 w 89"/>
                  <a:gd name="T15" fmla="*/ 2147483647 h 49"/>
                  <a:gd name="T16" fmla="*/ 1418836635 w 89"/>
                  <a:gd name="T17" fmla="*/ 2147483647 h 49"/>
                  <a:gd name="T18" fmla="*/ 798008400 w 89"/>
                  <a:gd name="T19" fmla="*/ 0 h 49"/>
                  <a:gd name="T20" fmla="*/ 354758992 w 89"/>
                  <a:gd name="T21" fmla="*/ 2147483647 h 49"/>
                  <a:gd name="T22" fmla="*/ 88689748 w 89"/>
                  <a:gd name="T23" fmla="*/ 2147483647 h 49"/>
                  <a:gd name="T24" fmla="*/ 0 w 89"/>
                  <a:gd name="T25" fmla="*/ 2147483647 h 49"/>
                  <a:gd name="T26" fmla="*/ 0 w 89"/>
                  <a:gd name="T27" fmla="*/ 2147483647 h 49"/>
                  <a:gd name="T28" fmla="*/ 0 w 89"/>
                  <a:gd name="T29" fmla="*/ 2147483647 h 49"/>
                  <a:gd name="T30" fmla="*/ 177379496 w 89"/>
                  <a:gd name="T31" fmla="*/ 2147483647 h 4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49">
                    <a:moveTo>
                      <a:pt x="2" y="49"/>
                    </a:moveTo>
                    <a:lnTo>
                      <a:pt x="89" y="49"/>
                    </a:lnTo>
                    <a:lnTo>
                      <a:pt x="78" y="41"/>
                    </a:lnTo>
                    <a:lnTo>
                      <a:pt x="68" y="35"/>
                    </a:lnTo>
                    <a:lnTo>
                      <a:pt x="57" y="30"/>
                    </a:lnTo>
                    <a:lnTo>
                      <a:pt x="46" y="25"/>
                    </a:lnTo>
                    <a:lnTo>
                      <a:pt x="36" y="21"/>
                    </a:lnTo>
                    <a:lnTo>
                      <a:pt x="26" y="14"/>
                    </a:lnTo>
                    <a:lnTo>
                      <a:pt x="16" y="8"/>
                    </a:lnTo>
                    <a:lnTo>
                      <a:pt x="9" y="0"/>
                    </a:lnTo>
                    <a:lnTo>
                      <a:pt x="4" y="10"/>
                    </a:lnTo>
                    <a:lnTo>
                      <a:pt x="1" y="23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0" name="Freeform 321"/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12995543" y="4395360"/>
                <a:ext cx="36512" cy="58737"/>
              </a:xfrm>
              <a:custGeom>
                <a:avLst/>
                <a:gdLst>
                  <a:gd name="T0" fmla="*/ 0 w 86"/>
                  <a:gd name="T1" fmla="*/ 2147483647 h 46"/>
                  <a:gd name="T2" fmla="*/ 1071403882 w 86"/>
                  <a:gd name="T3" fmla="*/ 2147483647 h 46"/>
                  <a:gd name="T4" fmla="*/ 1913169362 w 86"/>
                  <a:gd name="T5" fmla="*/ 2147483647 h 46"/>
                  <a:gd name="T6" fmla="*/ 2147483647 w 86"/>
                  <a:gd name="T7" fmla="*/ 2147483647 h 46"/>
                  <a:gd name="T8" fmla="*/ 2147483647 w 86"/>
                  <a:gd name="T9" fmla="*/ 2147483647 h 46"/>
                  <a:gd name="T10" fmla="*/ 2147483647 w 86"/>
                  <a:gd name="T11" fmla="*/ 2147483647 h 46"/>
                  <a:gd name="T12" fmla="*/ 2147483647 w 86"/>
                  <a:gd name="T13" fmla="*/ 2147483647 h 46"/>
                  <a:gd name="T14" fmla="*/ 2147483647 w 86"/>
                  <a:gd name="T15" fmla="*/ 2147483647 h 46"/>
                  <a:gd name="T16" fmla="*/ 2147483647 w 86"/>
                  <a:gd name="T17" fmla="*/ 2147483647 h 46"/>
                  <a:gd name="T18" fmla="*/ 2147483647 w 86"/>
                  <a:gd name="T19" fmla="*/ 2147483647 h 46"/>
                  <a:gd name="T20" fmla="*/ 2147483647 w 86"/>
                  <a:gd name="T21" fmla="*/ 2147483647 h 46"/>
                  <a:gd name="T22" fmla="*/ 2147483647 w 86"/>
                  <a:gd name="T23" fmla="*/ 2147483647 h 46"/>
                  <a:gd name="T24" fmla="*/ 2147483647 w 86"/>
                  <a:gd name="T25" fmla="*/ 2147483647 h 46"/>
                  <a:gd name="T26" fmla="*/ 2147483647 w 86"/>
                  <a:gd name="T27" fmla="*/ 2147483647 h 46"/>
                  <a:gd name="T28" fmla="*/ 2147483647 w 86"/>
                  <a:gd name="T29" fmla="*/ 2147483647 h 46"/>
                  <a:gd name="T30" fmla="*/ 2147483647 w 86"/>
                  <a:gd name="T31" fmla="*/ 2147483647 h 46"/>
                  <a:gd name="T32" fmla="*/ 2147483647 w 86"/>
                  <a:gd name="T33" fmla="*/ 2147483647 h 46"/>
                  <a:gd name="T34" fmla="*/ 2147483647 w 86"/>
                  <a:gd name="T35" fmla="*/ 2147483647 h 46"/>
                  <a:gd name="T36" fmla="*/ 2147483647 w 86"/>
                  <a:gd name="T37" fmla="*/ 2147483647 h 46"/>
                  <a:gd name="T38" fmla="*/ 2147483647 w 86"/>
                  <a:gd name="T39" fmla="*/ 2147483647 h 46"/>
                  <a:gd name="T40" fmla="*/ 2147483647 w 86"/>
                  <a:gd name="T41" fmla="*/ 2082086192 h 46"/>
                  <a:gd name="T42" fmla="*/ 2147483647 w 86"/>
                  <a:gd name="T43" fmla="*/ 0 h 46"/>
                  <a:gd name="T44" fmla="*/ 2147483647 w 86"/>
                  <a:gd name="T45" fmla="*/ 0 h 46"/>
                  <a:gd name="T46" fmla="*/ 1989775359 w 86"/>
                  <a:gd name="T47" fmla="*/ 2082086192 h 46"/>
                  <a:gd name="T48" fmla="*/ 1454073842 w 86"/>
                  <a:gd name="T49" fmla="*/ 2147483647 h 46"/>
                  <a:gd name="T50" fmla="*/ 1071403882 w 86"/>
                  <a:gd name="T51" fmla="*/ 2147483647 h 46"/>
                  <a:gd name="T52" fmla="*/ 612127501 w 86"/>
                  <a:gd name="T53" fmla="*/ 2147483647 h 46"/>
                  <a:gd name="T54" fmla="*/ 306063963 w 86"/>
                  <a:gd name="T55" fmla="*/ 2147483647 h 46"/>
                  <a:gd name="T56" fmla="*/ 0 w 86"/>
                  <a:gd name="T57" fmla="*/ 2147483647 h 4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6" h="46">
                    <a:moveTo>
                      <a:pt x="0" y="21"/>
                    </a:moveTo>
                    <a:lnTo>
                      <a:pt x="14" y="26"/>
                    </a:lnTo>
                    <a:lnTo>
                      <a:pt x="25" y="29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1" y="29"/>
                    </a:lnTo>
                    <a:lnTo>
                      <a:pt x="46" y="27"/>
                    </a:lnTo>
                    <a:lnTo>
                      <a:pt x="46" y="36"/>
                    </a:lnTo>
                    <a:lnTo>
                      <a:pt x="46" y="46"/>
                    </a:lnTo>
                    <a:lnTo>
                      <a:pt x="56" y="45"/>
                    </a:lnTo>
                    <a:lnTo>
                      <a:pt x="67" y="43"/>
                    </a:lnTo>
                    <a:lnTo>
                      <a:pt x="77" y="40"/>
                    </a:lnTo>
                    <a:lnTo>
                      <a:pt x="86" y="40"/>
                    </a:lnTo>
                    <a:lnTo>
                      <a:pt x="83" y="32"/>
                    </a:lnTo>
                    <a:lnTo>
                      <a:pt x="80" y="25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4" y="9"/>
                    </a:lnTo>
                    <a:lnTo>
                      <a:pt x="58" y="6"/>
                    </a:lnTo>
                    <a:lnTo>
                      <a:pt x="51" y="3"/>
                    </a:lnTo>
                    <a:lnTo>
                      <a:pt x="46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6" y="1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4" y="15"/>
                    </a:lnTo>
                    <a:lnTo>
                      <a:pt x="0" y="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1" name="Freeform 322"/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13047930" y="4400122"/>
                <a:ext cx="25400" cy="55563"/>
              </a:xfrm>
              <a:custGeom>
                <a:avLst/>
                <a:gdLst>
                  <a:gd name="T0" fmla="*/ 0 w 59"/>
                  <a:gd name="T1" fmla="*/ 0 h 18"/>
                  <a:gd name="T2" fmla="*/ 0 w 59"/>
                  <a:gd name="T3" fmla="*/ 2147483647 h 18"/>
                  <a:gd name="T4" fmla="*/ 2147483647 w 59"/>
                  <a:gd name="T5" fmla="*/ 2147483647 h 18"/>
                  <a:gd name="T6" fmla="*/ 2147483647 w 59"/>
                  <a:gd name="T7" fmla="*/ 2147483647 h 18"/>
                  <a:gd name="T8" fmla="*/ 2147483647 w 59"/>
                  <a:gd name="T9" fmla="*/ 2147483647 h 18"/>
                  <a:gd name="T10" fmla="*/ 2147483647 w 59"/>
                  <a:gd name="T11" fmla="*/ 2147483647 h 18"/>
                  <a:gd name="T12" fmla="*/ 2147483647 w 59"/>
                  <a:gd name="T13" fmla="*/ 2147483647 h 18"/>
                  <a:gd name="T14" fmla="*/ 2147483647 w 59"/>
                  <a:gd name="T15" fmla="*/ 2147483647 h 18"/>
                  <a:gd name="T16" fmla="*/ 1755332007 w 59"/>
                  <a:gd name="T17" fmla="*/ 2147483647 h 18"/>
                  <a:gd name="T18" fmla="*/ 1117029576 w 59"/>
                  <a:gd name="T19" fmla="*/ 2147483647 h 18"/>
                  <a:gd name="T20" fmla="*/ 558607563 w 59"/>
                  <a:gd name="T21" fmla="*/ 2147483647 h 18"/>
                  <a:gd name="T22" fmla="*/ 0 w 59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9" h="18">
                    <a:moveTo>
                      <a:pt x="0" y="0"/>
                    </a:moveTo>
                    <a:lnTo>
                      <a:pt x="0" y="18"/>
                    </a:lnTo>
                    <a:lnTo>
                      <a:pt x="39" y="18"/>
                    </a:lnTo>
                    <a:lnTo>
                      <a:pt x="59" y="6"/>
                    </a:lnTo>
                    <a:lnTo>
                      <a:pt x="51" y="5"/>
                    </a:lnTo>
                    <a:lnTo>
                      <a:pt x="45" y="4"/>
                    </a:lnTo>
                    <a:lnTo>
                      <a:pt x="37" y="5"/>
                    </a:lnTo>
                    <a:lnTo>
                      <a:pt x="29" y="6"/>
                    </a:lnTo>
                    <a:lnTo>
                      <a:pt x="22" y="6"/>
                    </a:lnTo>
                    <a:lnTo>
                      <a:pt x="14" y="5"/>
                    </a:lnTo>
                    <a:lnTo>
                      <a:pt x="7" y="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2" name="Freeform 323"/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13120955" y="4392185"/>
                <a:ext cx="1588" cy="55562"/>
              </a:xfrm>
              <a:custGeom>
                <a:avLst/>
                <a:gdLst>
                  <a:gd name="T0" fmla="*/ 250283092 w 4"/>
                  <a:gd name="T1" fmla="*/ 2147483647 h 19"/>
                  <a:gd name="T2" fmla="*/ 250283092 w 4"/>
                  <a:gd name="T3" fmla="*/ 0 h 19"/>
                  <a:gd name="T4" fmla="*/ 125141546 w 4"/>
                  <a:gd name="T5" fmla="*/ 2147483647 h 19"/>
                  <a:gd name="T6" fmla="*/ 62570773 w 4"/>
                  <a:gd name="T7" fmla="*/ 2147483647 h 19"/>
                  <a:gd name="T8" fmla="*/ 0 w 4"/>
                  <a:gd name="T9" fmla="*/ 2147483647 h 19"/>
                  <a:gd name="T10" fmla="*/ 0 w 4"/>
                  <a:gd name="T11" fmla="*/ 2147483647 h 19"/>
                  <a:gd name="T12" fmla="*/ 0 w 4"/>
                  <a:gd name="T13" fmla="*/ 2147483647 h 19"/>
                  <a:gd name="T14" fmla="*/ 62570773 w 4"/>
                  <a:gd name="T15" fmla="*/ 2147483647 h 19"/>
                  <a:gd name="T16" fmla="*/ 125141546 w 4"/>
                  <a:gd name="T17" fmla="*/ 2147483647 h 19"/>
                  <a:gd name="T18" fmla="*/ 250283092 w 4"/>
                  <a:gd name="T19" fmla="*/ 2147483647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6"/>
                    </a:lnTo>
                    <a:lnTo>
                      <a:pt x="2" y="19"/>
                    </a:lnTo>
                    <a:lnTo>
                      <a:pt x="4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3" name="Freeform 324"/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12695505" y="4206447"/>
                <a:ext cx="20638" cy="58738"/>
              </a:xfrm>
              <a:custGeom>
                <a:avLst/>
                <a:gdLst>
                  <a:gd name="T0" fmla="*/ 0 w 46"/>
                  <a:gd name="T1" fmla="*/ 2147483647 h 50"/>
                  <a:gd name="T2" fmla="*/ 632247822 w 46"/>
                  <a:gd name="T3" fmla="*/ 0 h 50"/>
                  <a:gd name="T4" fmla="*/ 2077098948 w 46"/>
                  <a:gd name="T5" fmla="*/ 2147483647 h 50"/>
                  <a:gd name="T6" fmla="*/ 2147483647 w 46"/>
                  <a:gd name="T7" fmla="*/ 2147483647 h 50"/>
                  <a:gd name="T8" fmla="*/ 2147483647 w 46"/>
                  <a:gd name="T9" fmla="*/ 2147483647 h 50"/>
                  <a:gd name="T10" fmla="*/ 2147483647 w 46"/>
                  <a:gd name="T11" fmla="*/ 2147483647 h 50"/>
                  <a:gd name="T12" fmla="*/ 2147483647 w 46"/>
                  <a:gd name="T13" fmla="*/ 2147483647 h 50"/>
                  <a:gd name="T14" fmla="*/ 2147483647 w 46"/>
                  <a:gd name="T15" fmla="*/ 2147483647 h 50"/>
                  <a:gd name="T16" fmla="*/ 2147483647 w 46"/>
                  <a:gd name="T17" fmla="*/ 2147483647 h 50"/>
                  <a:gd name="T18" fmla="*/ 1896542918 w 46"/>
                  <a:gd name="T19" fmla="*/ 2147483647 h 50"/>
                  <a:gd name="T20" fmla="*/ 722425563 w 46"/>
                  <a:gd name="T21" fmla="*/ 2147483647 h 50"/>
                  <a:gd name="T22" fmla="*/ 0 w 46"/>
                  <a:gd name="T23" fmla="*/ 2147483647 h 5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6" h="50">
                    <a:moveTo>
                      <a:pt x="0" y="50"/>
                    </a:moveTo>
                    <a:lnTo>
                      <a:pt x="7" y="0"/>
                    </a:lnTo>
                    <a:lnTo>
                      <a:pt x="23" y="8"/>
                    </a:lnTo>
                    <a:lnTo>
                      <a:pt x="34" y="14"/>
                    </a:lnTo>
                    <a:lnTo>
                      <a:pt x="37" y="18"/>
                    </a:lnTo>
                    <a:lnTo>
                      <a:pt x="41" y="22"/>
                    </a:lnTo>
                    <a:lnTo>
                      <a:pt x="44" y="30"/>
                    </a:lnTo>
                    <a:lnTo>
                      <a:pt x="46" y="38"/>
                    </a:lnTo>
                    <a:lnTo>
                      <a:pt x="34" y="42"/>
                    </a:lnTo>
                    <a:lnTo>
                      <a:pt x="21" y="46"/>
                    </a:lnTo>
                    <a:lnTo>
                      <a:pt x="8" y="49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4" name="Freeform 325"/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12641530" y="4179460"/>
                <a:ext cx="30163" cy="58737"/>
              </a:xfrm>
              <a:custGeom>
                <a:avLst/>
                <a:gdLst>
                  <a:gd name="T0" fmla="*/ 0 w 66"/>
                  <a:gd name="T1" fmla="*/ 0 h 80"/>
                  <a:gd name="T2" fmla="*/ 954503108 w 66"/>
                  <a:gd name="T3" fmla="*/ 0 h 80"/>
                  <a:gd name="T4" fmla="*/ 1718105960 w 66"/>
                  <a:gd name="T5" fmla="*/ 0 h 80"/>
                  <a:gd name="T6" fmla="*/ 2147483647 w 66"/>
                  <a:gd name="T7" fmla="*/ 0 h 80"/>
                  <a:gd name="T8" fmla="*/ 2147483647 w 66"/>
                  <a:gd name="T9" fmla="*/ 0 h 80"/>
                  <a:gd name="T10" fmla="*/ 2147483647 w 66"/>
                  <a:gd name="T11" fmla="*/ 2147483647 h 80"/>
                  <a:gd name="T12" fmla="*/ 2147483647 w 66"/>
                  <a:gd name="T13" fmla="*/ 2147483647 h 80"/>
                  <a:gd name="T14" fmla="*/ 2147483647 w 66"/>
                  <a:gd name="T15" fmla="*/ 2147483647 h 80"/>
                  <a:gd name="T16" fmla="*/ 2147483647 w 66"/>
                  <a:gd name="T17" fmla="*/ 2147483647 h 80"/>
                  <a:gd name="T18" fmla="*/ 2147483647 w 66"/>
                  <a:gd name="T19" fmla="*/ 2147483647 h 80"/>
                  <a:gd name="T20" fmla="*/ 2147483647 w 66"/>
                  <a:gd name="T21" fmla="*/ 2147483647 h 80"/>
                  <a:gd name="T22" fmla="*/ 2147483647 w 66"/>
                  <a:gd name="T23" fmla="*/ 2147483647 h 80"/>
                  <a:gd name="T24" fmla="*/ 2147483647 w 66"/>
                  <a:gd name="T25" fmla="*/ 2147483647 h 80"/>
                  <a:gd name="T26" fmla="*/ 2147483647 w 66"/>
                  <a:gd name="T27" fmla="*/ 2147483647 h 80"/>
                  <a:gd name="T28" fmla="*/ 2147483647 w 66"/>
                  <a:gd name="T29" fmla="*/ 2147483647 h 80"/>
                  <a:gd name="T30" fmla="*/ 2147483647 w 66"/>
                  <a:gd name="T31" fmla="*/ 2147483647 h 80"/>
                  <a:gd name="T32" fmla="*/ 2147483647 w 66"/>
                  <a:gd name="T33" fmla="*/ 2147483647 h 80"/>
                  <a:gd name="T34" fmla="*/ 0 w 66"/>
                  <a:gd name="T35" fmla="*/ 2147483647 h 80"/>
                  <a:gd name="T36" fmla="*/ 0 w 66"/>
                  <a:gd name="T37" fmla="*/ 0 h 8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6" h="80">
                    <a:moveTo>
                      <a:pt x="0" y="0"/>
                    </a:moveTo>
                    <a:lnTo>
                      <a:pt x="10" y="0"/>
                    </a:lnTo>
                    <a:lnTo>
                      <a:pt x="18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7"/>
                    </a:lnTo>
                    <a:lnTo>
                      <a:pt x="34" y="14"/>
                    </a:lnTo>
                    <a:lnTo>
                      <a:pt x="36" y="21"/>
                    </a:lnTo>
                    <a:lnTo>
                      <a:pt x="38" y="27"/>
                    </a:lnTo>
                    <a:lnTo>
                      <a:pt x="44" y="36"/>
                    </a:lnTo>
                    <a:lnTo>
                      <a:pt x="49" y="45"/>
                    </a:lnTo>
                    <a:lnTo>
                      <a:pt x="56" y="52"/>
                    </a:lnTo>
                    <a:lnTo>
                      <a:pt x="61" y="60"/>
                    </a:lnTo>
                    <a:lnTo>
                      <a:pt x="62" y="65"/>
                    </a:lnTo>
                    <a:lnTo>
                      <a:pt x="65" y="69"/>
                    </a:lnTo>
                    <a:lnTo>
                      <a:pt x="66" y="75"/>
                    </a:lnTo>
                    <a:lnTo>
                      <a:pt x="66" y="80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5" name="Freeform 326"/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12476430" y="4163585"/>
                <a:ext cx="7938" cy="57150"/>
              </a:xfrm>
              <a:custGeom>
                <a:avLst/>
                <a:gdLst>
                  <a:gd name="T0" fmla="*/ 1250469965 w 20"/>
                  <a:gd name="T1" fmla="*/ 2147483647 h 48"/>
                  <a:gd name="T2" fmla="*/ 1250469965 w 20"/>
                  <a:gd name="T3" fmla="*/ 2147483647 h 48"/>
                  <a:gd name="T4" fmla="*/ 1187930829 w 20"/>
                  <a:gd name="T5" fmla="*/ 2147483647 h 48"/>
                  <a:gd name="T6" fmla="*/ 1000313024 w 20"/>
                  <a:gd name="T7" fmla="*/ 2147483647 h 48"/>
                  <a:gd name="T8" fmla="*/ 875391924 w 20"/>
                  <a:gd name="T9" fmla="*/ 2147483647 h 48"/>
                  <a:gd name="T10" fmla="*/ 750313652 w 20"/>
                  <a:gd name="T11" fmla="*/ 2147483647 h 48"/>
                  <a:gd name="T12" fmla="*/ 562695846 w 20"/>
                  <a:gd name="T13" fmla="*/ 2147483647 h 48"/>
                  <a:gd name="T14" fmla="*/ 250156941 w 20"/>
                  <a:gd name="T15" fmla="*/ 2147483647 h 48"/>
                  <a:gd name="T16" fmla="*/ 0 w 20"/>
                  <a:gd name="T17" fmla="*/ 0 h 48"/>
                  <a:gd name="T18" fmla="*/ 0 w 20"/>
                  <a:gd name="T19" fmla="*/ 2147483647 h 48"/>
                  <a:gd name="T20" fmla="*/ 125078669 w 20"/>
                  <a:gd name="T21" fmla="*/ 2147483647 h 48"/>
                  <a:gd name="T22" fmla="*/ 250156941 w 20"/>
                  <a:gd name="T23" fmla="*/ 2147483647 h 48"/>
                  <a:gd name="T24" fmla="*/ 500156710 w 20"/>
                  <a:gd name="T25" fmla="*/ 2147483647 h 48"/>
                  <a:gd name="T26" fmla="*/ 875391924 w 20"/>
                  <a:gd name="T27" fmla="*/ 2147483647 h 48"/>
                  <a:gd name="T28" fmla="*/ 1250469965 w 20"/>
                  <a:gd name="T29" fmla="*/ 2147483647 h 4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0" h="48">
                    <a:moveTo>
                      <a:pt x="20" y="48"/>
                    </a:moveTo>
                    <a:lnTo>
                      <a:pt x="20" y="39"/>
                    </a:lnTo>
                    <a:lnTo>
                      <a:pt x="19" y="32"/>
                    </a:lnTo>
                    <a:lnTo>
                      <a:pt x="16" y="25"/>
                    </a:lnTo>
                    <a:lnTo>
                      <a:pt x="14" y="19"/>
                    </a:lnTo>
                    <a:lnTo>
                      <a:pt x="12" y="14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7"/>
                    </a:lnTo>
                    <a:lnTo>
                      <a:pt x="4" y="24"/>
                    </a:lnTo>
                    <a:lnTo>
                      <a:pt x="8" y="31"/>
                    </a:lnTo>
                    <a:lnTo>
                      <a:pt x="14" y="41"/>
                    </a:lnTo>
                    <a:lnTo>
                      <a:pt x="20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6" name="Line 327" descr="Horizontal dunkel"/>
              <p:cNvSpPr>
                <a:spLocks noChangeShapeType="1"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12501830" y="4200097"/>
                <a:ext cx="4763" cy="6350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7" name="Freeform 328"/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12498655" y="4200097"/>
                <a:ext cx="7938" cy="57150"/>
              </a:xfrm>
              <a:custGeom>
                <a:avLst/>
                <a:gdLst>
                  <a:gd name="T0" fmla="*/ 1250469965 w 20"/>
                  <a:gd name="T1" fmla="*/ 2147483647 h 12"/>
                  <a:gd name="T2" fmla="*/ 1250469965 w 20"/>
                  <a:gd name="T3" fmla="*/ 2147483647 h 12"/>
                  <a:gd name="T4" fmla="*/ 1125391693 w 20"/>
                  <a:gd name="T5" fmla="*/ 2147483647 h 12"/>
                  <a:gd name="T6" fmla="*/ 937931457 w 20"/>
                  <a:gd name="T7" fmla="*/ 2147483647 h 12"/>
                  <a:gd name="T8" fmla="*/ 812852788 w 20"/>
                  <a:gd name="T9" fmla="*/ 2147483647 h 12"/>
                  <a:gd name="T10" fmla="*/ 437617177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20" y="8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8" name="Freeform 329"/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12400230" y="4044522"/>
                <a:ext cx="22225" cy="57150"/>
              </a:xfrm>
              <a:custGeom>
                <a:avLst/>
                <a:gdLst>
                  <a:gd name="T0" fmla="*/ 516107273 w 53"/>
                  <a:gd name="T1" fmla="*/ 0 h 30"/>
                  <a:gd name="T2" fmla="*/ 811176437 w 53"/>
                  <a:gd name="T3" fmla="*/ 2147483647 h 30"/>
                  <a:gd name="T4" fmla="*/ 1696032103 w 53"/>
                  <a:gd name="T5" fmla="*/ 2147483647 h 30"/>
                  <a:gd name="T6" fmla="*/ 2147483647 w 53"/>
                  <a:gd name="T7" fmla="*/ 2147483647 h 30"/>
                  <a:gd name="T8" fmla="*/ 2147483647 w 53"/>
                  <a:gd name="T9" fmla="*/ 2147483647 h 30"/>
                  <a:gd name="T10" fmla="*/ 2147483647 w 53"/>
                  <a:gd name="T11" fmla="*/ 2147483647 h 30"/>
                  <a:gd name="T12" fmla="*/ 2147483647 w 53"/>
                  <a:gd name="T13" fmla="*/ 2147483647 h 30"/>
                  <a:gd name="T14" fmla="*/ 2147483647 w 53"/>
                  <a:gd name="T15" fmla="*/ 2147483647 h 30"/>
                  <a:gd name="T16" fmla="*/ 1917245915 w 53"/>
                  <a:gd name="T17" fmla="*/ 2147483647 h 30"/>
                  <a:gd name="T18" fmla="*/ 1548497521 w 53"/>
                  <a:gd name="T19" fmla="*/ 2147483647 h 30"/>
                  <a:gd name="T20" fmla="*/ 1106069478 w 53"/>
                  <a:gd name="T21" fmla="*/ 2147483647 h 30"/>
                  <a:gd name="T22" fmla="*/ 663641855 w 53"/>
                  <a:gd name="T23" fmla="*/ 2147483647 h 30"/>
                  <a:gd name="T24" fmla="*/ 0 w 53"/>
                  <a:gd name="T25" fmla="*/ 2147483647 h 30"/>
                  <a:gd name="T26" fmla="*/ 516107273 w 53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3" h="30">
                    <a:moveTo>
                      <a:pt x="7" y="0"/>
                    </a:moveTo>
                    <a:lnTo>
                      <a:pt x="11" y="4"/>
                    </a:lnTo>
                    <a:lnTo>
                      <a:pt x="23" y="13"/>
                    </a:lnTo>
                    <a:lnTo>
                      <a:pt x="37" y="23"/>
                    </a:lnTo>
                    <a:lnTo>
                      <a:pt x="46" y="30"/>
                    </a:lnTo>
                    <a:lnTo>
                      <a:pt x="49" y="18"/>
                    </a:lnTo>
                    <a:lnTo>
                      <a:pt x="53" y="6"/>
                    </a:lnTo>
                    <a:lnTo>
                      <a:pt x="37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69" name="Freeform 330"/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12928868" y="4408060"/>
                <a:ext cx="11112" cy="57150"/>
              </a:xfrm>
              <a:custGeom>
                <a:avLst/>
                <a:gdLst>
                  <a:gd name="T0" fmla="*/ 0 w 33"/>
                  <a:gd name="T1" fmla="*/ 2147483647 h 31"/>
                  <a:gd name="T2" fmla="*/ 152730063 w 33"/>
                  <a:gd name="T3" fmla="*/ 2147483647 h 31"/>
                  <a:gd name="T4" fmla="*/ 267248988 w 33"/>
                  <a:gd name="T5" fmla="*/ 2147483647 h 31"/>
                  <a:gd name="T6" fmla="*/ 839958100 w 33"/>
                  <a:gd name="T7" fmla="*/ 2147483647 h 31"/>
                  <a:gd name="T8" fmla="*/ 1259936814 w 33"/>
                  <a:gd name="T9" fmla="*/ 2147483647 h 31"/>
                  <a:gd name="T10" fmla="*/ 1259936814 w 33"/>
                  <a:gd name="T11" fmla="*/ 0 h 31"/>
                  <a:gd name="T12" fmla="*/ 1030898627 w 33"/>
                  <a:gd name="T13" fmla="*/ 0 h 31"/>
                  <a:gd name="T14" fmla="*/ 725438839 w 33"/>
                  <a:gd name="T15" fmla="*/ 0 h 31"/>
                  <a:gd name="T16" fmla="*/ 381768249 w 33"/>
                  <a:gd name="T17" fmla="*/ 0 h 31"/>
                  <a:gd name="T18" fmla="*/ 0 w 33"/>
                  <a:gd name="T19" fmla="*/ 0 h 31"/>
                  <a:gd name="T20" fmla="*/ 0 w 33"/>
                  <a:gd name="T21" fmla="*/ 2147483647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6"/>
                    </a:moveTo>
                    <a:lnTo>
                      <a:pt x="4" y="21"/>
                    </a:lnTo>
                    <a:lnTo>
                      <a:pt x="7" y="31"/>
                    </a:lnTo>
                    <a:lnTo>
                      <a:pt x="22" y="31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0" name="Freeform 331"/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13444805" y="4365197"/>
                <a:ext cx="28575" cy="55563"/>
              </a:xfrm>
              <a:custGeom>
                <a:avLst/>
                <a:gdLst>
                  <a:gd name="T0" fmla="*/ 1614314731 w 65"/>
                  <a:gd name="T1" fmla="*/ 2147483647 h 68"/>
                  <a:gd name="T2" fmla="*/ 1359402871 w 65"/>
                  <a:gd name="T3" fmla="*/ 2147483647 h 68"/>
                  <a:gd name="T4" fmla="*/ 1189525815 w 65"/>
                  <a:gd name="T5" fmla="*/ 2147483647 h 68"/>
                  <a:gd name="T6" fmla="*/ 934613515 w 65"/>
                  <a:gd name="T7" fmla="*/ 2147483647 h 68"/>
                  <a:gd name="T8" fmla="*/ 594666412 w 65"/>
                  <a:gd name="T9" fmla="*/ 2147483647 h 68"/>
                  <a:gd name="T10" fmla="*/ 339754112 w 65"/>
                  <a:gd name="T11" fmla="*/ 2147483647 h 68"/>
                  <a:gd name="T12" fmla="*/ 169877056 w 65"/>
                  <a:gd name="T13" fmla="*/ 2147483647 h 68"/>
                  <a:gd name="T14" fmla="*/ 0 w 65"/>
                  <a:gd name="T15" fmla="*/ 2147483647 h 68"/>
                  <a:gd name="T16" fmla="*/ 0 w 65"/>
                  <a:gd name="T17" fmla="*/ 2147483647 h 68"/>
                  <a:gd name="T18" fmla="*/ 0 w 65"/>
                  <a:gd name="T19" fmla="*/ 2147483647 h 68"/>
                  <a:gd name="T20" fmla="*/ 169877056 w 65"/>
                  <a:gd name="T21" fmla="*/ 2147483647 h 68"/>
                  <a:gd name="T22" fmla="*/ 424789356 w 65"/>
                  <a:gd name="T23" fmla="*/ 2147483647 h 68"/>
                  <a:gd name="T24" fmla="*/ 764736459 w 65"/>
                  <a:gd name="T25" fmla="*/ 2147483647 h 68"/>
                  <a:gd name="T26" fmla="*/ 1274367628 w 65"/>
                  <a:gd name="T27" fmla="*/ 2147483647 h 68"/>
                  <a:gd name="T28" fmla="*/ 1869227031 w 65"/>
                  <a:gd name="T29" fmla="*/ 2147483647 h 68"/>
                  <a:gd name="T30" fmla="*/ 2147483647 w 65"/>
                  <a:gd name="T31" fmla="*/ 1090951724 h 68"/>
                  <a:gd name="T32" fmla="*/ 2147483647 w 65"/>
                  <a:gd name="T33" fmla="*/ 0 h 68"/>
                  <a:gd name="T34" fmla="*/ 2147483647 w 65"/>
                  <a:gd name="T35" fmla="*/ 0 h 68"/>
                  <a:gd name="T36" fmla="*/ 2147483647 w 65"/>
                  <a:gd name="T37" fmla="*/ 0 h 68"/>
                  <a:gd name="T38" fmla="*/ 2147483647 w 65"/>
                  <a:gd name="T39" fmla="*/ 2147483647 h 68"/>
                  <a:gd name="T40" fmla="*/ 2147483647 w 65"/>
                  <a:gd name="T41" fmla="*/ 2147483647 h 68"/>
                  <a:gd name="T42" fmla="*/ 2147483647 w 65"/>
                  <a:gd name="T43" fmla="*/ 2147483647 h 68"/>
                  <a:gd name="T44" fmla="*/ 2147483647 w 65"/>
                  <a:gd name="T45" fmla="*/ 2147483647 h 68"/>
                  <a:gd name="T46" fmla="*/ 2147483647 w 65"/>
                  <a:gd name="T47" fmla="*/ 2147483647 h 68"/>
                  <a:gd name="T48" fmla="*/ 2147483647 w 65"/>
                  <a:gd name="T49" fmla="*/ 2147483647 h 68"/>
                  <a:gd name="T50" fmla="*/ 1614314731 w 65"/>
                  <a:gd name="T51" fmla="*/ 2147483647 h 6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5" h="68">
                    <a:moveTo>
                      <a:pt x="19" y="68"/>
                    </a:moveTo>
                    <a:lnTo>
                      <a:pt x="16" y="68"/>
                    </a:lnTo>
                    <a:lnTo>
                      <a:pt x="14" y="66"/>
                    </a:lnTo>
                    <a:lnTo>
                      <a:pt x="11" y="64"/>
                    </a:lnTo>
                    <a:lnTo>
                      <a:pt x="7" y="61"/>
                    </a:lnTo>
                    <a:lnTo>
                      <a:pt x="4" y="59"/>
                    </a:lnTo>
                    <a:lnTo>
                      <a:pt x="2" y="55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5" y="21"/>
                    </a:lnTo>
                    <a:lnTo>
                      <a:pt x="9" y="14"/>
                    </a:lnTo>
                    <a:lnTo>
                      <a:pt x="15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9" y="0"/>
                    </a:lnTo>
                    <a:lnTo>
                      <a:pt x="52" y="0"/>
                    </a:lnTo>
                    <a:lnTo>
                      <a:pt x="65" y="0"/>
                    </a:lnTo>
                    <a:lnTo>
                      <a:pt x="65" y="43"/>
                    </a:lnTo>
                    <a:lnTo>
                      <a:pt x="56" y="52"/>
                    </a:lnTo>
                    <a:lnTo>
                      <a:pt x="45" y="61"/>
                    </a:lnTo>
                    <a:lnTo>
                      <a:pt x="39" y="64"/>
                    </a:lnTo>
                    <a:lnTo>
                      <a:pt x="34" y="66"/>
                    </a:lnTo>
                    <a:lnTo>
                      <a:pt x="27" y="68"/>
                    </a:lnTo>
                    <a:lnTo>
                      <a:pt x="19" y="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1" name="Freeform 332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12382768" y="3947685"/>
                <a:ext cx="274637" cy="368300"/>
              </a:xfrm>
              <a:custGeom>
                <a:avLst/>
                <a:gdLst>
                  <a:gd name="T0" fmla="*/ 2147483647 w 625"/>
                  <a:gd name="T1" fmla="*/ 2147483647 h 694"/>
                  <a:gd name="T2" fmla="*/ 2147483647 w 625"/>
                  <a:gd name="T3" fmla="*/ 2147483647 h 694"/>
                  <a:gd name="T4" fmla="*/ 2147483647 w 625"/>
                  <a:gd name="T5" fmla="*/ 2147483647 h 694"/>
                  <a:gd name="T6" fmla="*/ 2147483647 w 625"/>
                  <a:gd name="T7" fmla="*/ 2147483647 h 694"/>
                  <a:gd name="T8" fmla="*/ 2147483647 w 625"/>
                  <a:gd name="T9" fmla="*/ 2147483647 h 694"/>
                  <a:gd name="T10" fmla="*/ 2147483647 w 625"/>
                  <a:gd name="T11" fmla="*/ 2147483647 h 694"/>
                  <a:gd name="T12" fmla="*/ 2147483647 w 625"/>
                  <a:gd name="T13" fmla="*/ 2147483647 h 694"/>
                  <a:gd name="T14" fmla="*/ 2147483647 w 625"/>
                  <a:gd name="T15" fmla="*/ 2147483647 h 694"/>
                  <a:gd name="T16" fmla="*/ 2147483647 w 625"/>
                  <a:gd name="T17" fmla="*/ 2147483647 h 694"/>
                  <a:gd name="T18" fmla="*/ 2147483647 w 625"/>
                  <a:gd name="T19" fmla="*/ 2147483647 h 694"/>
                  <a:gd name="T20" fmla="*/ 2147483647 w 625"/>
                  <a:gd name="T21" fmla="*/ 2147483647 h 694"/>
                  <a:gd name="T22" fmla="*/ 2147483647 w 625"/>
                  <a:gd name="T23" fmla="*/ 2147483647 h 694"/>
                  <a:gd name="T24" fmla="*/ 2147483647 w 625"/>
                  <a:gd name="T25" fmla="*/ 2147483647 h 694"/>
                  <a:gd name="T26" fmla="*/ 2147483647 w 625"/>
                  <a:gd name="T27" fmla="*/ 2147483647 h 694"/>
                  <a:gd name="T28" fmla="*/ 2147483647 w 625"/>
                  <a:gd name="T29" fmla="*/ 2147483647 h 694"/>
                  <a:gd name="T30" fmla="*/ 2147483647 w 625"/>
                  <a:gd name="T31" fmla="*/ 2147483647 h 694"/>
                  <a:gd name="T32" fmla="*/ 2147483647 w 625"/>
                  <a:gd name="T33" fmla="*/ 2147483647 h 694"/>
                  <a:gd name="T34" fmla="*/ 2147483647 w 625"/>
                  <a:gd name="T35" fmla="*/ 2147483647 h 694"/>
                  <a:gd name="T36" fmla="*/ 2147483647 w 625"/>
                  <a:gd name="T37" fmla="*/ 2147483647 h 694"/>
                  <a:gd name="T38" fmla="*/ 2147483647 w 625"/>
                  <a:gd name="T39" fmla="*/ 2147483647 h 694"/>
                  <a:gd name="T40" fmla="*/ 2147483647 w 625"/>
                  <a:gd name="T41" fmla="*/ 2147483647 h 694"/>
                  <a:gd name="T42" fmla="*/ 2147483647 w 625"/>
                  <a:gd name="T43" fmla="*/ 2147483647 h 694"/>
                  <a:gd name="T44" fmla="*/ 2147483647 w 625"/>
                  <a:gd name="T45" fmla="*/ 2147483647 h 694"/>
                  <a:gd name="T46" fmla="*/ 2147483647 w 625"/>
                  <a:gd name="T47" fmla="*/ 2147483647 h 694"/>
                  <a:gd name="T48" fmla="*/ 2147483647 w 625"/>
                  <a:gd name="T49" fmla="*/ 2147483647 h 694"/>
                  <a:gd name="T50" fmla="*/ 2147483647 w 625"/>
                  <a:gd name="T51" fmla="*/ 2147483647 h 694"/>
                  <a:gd name="T52" fmla="*/ 2147483647 w 625"/>
                  <a:gd name="T53" fmla="*/ 2147483647 h 694"/>
                  <a:gd name="T54" fmla="*/ 2147483647 w 625"/>
                  <a:gd name="T55" fmla="*/ 2147483647 h 694"/>
                  <a:gd name="T56" fmla="*/ 2147483647 w 625"/>
                  <a:gd name="T57" fmla="*/ 2147483647 h 694"/>
                  <a:gd name="T58" fmla="*/ 2147483647 w 625"/>
                  <a:gd name="T59" fmla="*/ 2147483647 h 694"/>
                  <a:gd name="T60" fmla="*/ 2147483647 w 625"/>
                  <a:gd name="T61" fmla="*/ 2147483647 h 694"/>
                  <a:gd name="T62" fmla="*/ 2147483647 w 625"/>
                  <a:gd name="T63" fmla="*/ 2147483647 h 694"/>
                  <a:gd name="T64" fmla="*/ 2147483647 w 625"/>
                  <a:gd name="T65" fmla="*/ 2147483647 h 694"/>
                  <a:gd name="T66" fmla="*/ 2147483647 w 625"/>
                  <a:gd name="T67" fmla="*/ 2147483647 h 694"/>
                  <a:gd name="T68" fmla="*/ 1951552945 w 625"/>
                  <a:gd name="T69" fmla="*/ 2147483647 h 694"/>
                  <a:gd name="T70" fmla="*/ 424217053 w 625"/>
                  <a:gd name="T71" fmla="*/ 2147483647 h 694"/>
                  <a:gd name="T72" fmla="*/ 848434107 w 625"/>
                  <a:gd name="T73" fmla="*/ 597907985 h 694"/>
                  <a:gd name="T74" fmla="*/ 2147483647 w 625"/>
                  <a:gd name="T75" fmla="*/ 1942990531 h 694"/>
                  <a:gd name="T76" fmla="*/ 2147483647 w 625"/>
                  <a:gd name="T77" fmla="*/ 2147483647 h 694"/>
                  <a:gd name="T78" fmla="*/ 2147483647 w 625"/>
                  <a:gd name="T79" fmla="*/ 2147483647 h 694"/>
                  <a:gd name="T80" fmla="*/ 2147483647 w 625"/>
                  <a:gd name="T81" fmla="*/ 2147483647 h 694"/>
                  <a:gd name="T82" fmla="*/ 2147483647 w 625"/>
                  <a:gd name="T83" fmla="*/ 2147483647 h 694"/>
                  <a:gd name="T84" fmla="*/ 2147483647 w 625"/>
                  <a:gd name="T85" fmla="*/ 2147483647 h 694"/>
                  <a:gd name="T86" fmla="*/ 2147483647 w 625"/>
                  <a:gd name="T87" fmla="*/ 2147483647 h 694"/>
                  <a:gd name="T88" fmla="*/ 2147483647 w 625"/>
                  <a:gd name="T89" fmla="*/ 2147483647 h 694"/>
                  <a:gd name="T90" fmla="*/ 2147483647 w 625"/>
                  <a:gd name="T91" fmla="*/ 2147483647 h 694"/>
                  <a:gd name="T92" fmla="*/ 2147483647 w 625"/>
                  <a:gd name="T93" fmla="*/ 2147483647 h 694"/>
                  <a:gd name="T94" fmla="*/ 2147483647 w 625"/>
                  <a:gd name="T95" fmla="*/ 2147483647 h 694"/>
                  <a:gd name="T96" fmla="*/ 2147483647 w 625"/>
                  <a:gd name="T97" fmla="*/ 2147483647 h 694"/>
                  <a:gd name="T98" fmla="*/ 2147483647 w 625"/>
                  <a:gd name="T99" fmla="*/ 2147483647 h 694"/>
                  <a:gd name="T100" fmla="*/ 2147483647 w 625"/>
                  <a:gd name="T101" fmla="*/ 2147483647 h 6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625" h="694">
                    <a:moveTo>
                      <a:pt x="433" y="265"/>
                    </a:moveTo>
                    <a:lnTo>
                      <a:pt x="512" y="333"/>
                    </a:lnTo>
                    <a:lnTo>
                      <a:pt x="502" y="337"/>
                    </a:lnTo>
                    <a:lnTo>
                      <a:pt x="493" y="341"/>
                    </a:lnTo>
                    <a:lnTo>
                      <a:pt x="489" y="341"/>
                    </a:lnTo>
                    <a:lnTo>
                      <a:pt x="484" y="341"/>
                    </a:lnTo>
                    <a:lnTo>
                      <a:pt x="481" y="341"/>
                    </a:lnTo>
                    <a:lnTo>
                      <a:pt x="479" y="339"/>
                    </a:lnTo>
                    <a:lnTo>
                      <a:pt x="479" y="382"/>
                    </a:lnTo>
                    <a:lnTo>
                      <a:pt x="493" y="392"/>
                    </a:lnTo>
                    <a:lnTo>
                      <a:pt x="507" y="402"/>
                    </a:lnTo>
                    <a:lnTo>
                      <a:pt x="515" y="404"/>
                    </a:lnTo>
                    <a:lnTo>
                      <a:pt x="524" y="406"/>
                    </a:lnTo>
                    <a:lnTo>
                      <a:pt x="528" y="405"/>
                    </a:lnTo>
                    <a:lnTo>
                      <a:pt x="534" y="405"/>
                    </a:lnTo>
                    <a:lnTo>
                      <a:pt x="539" y="403"/>
                    </a:lnTo>
                    <a:lnTo>
                      <a:pt x="545" y="402"/>
                    </a:lnTo>
                    <a:lnTo>
                      <a:pt x="550" y="424"/>
                    </a:lnTo>
                    <a:lnTo>
                      <a:pt x="554" y="443"/>
                    </a:lnTo>
                    <a:lnTo>
                      <a:pt x="558" y="451"/>
                    </a:lnTo>
                    <a:lnTo>
                      <a:pt x="560" y="459"/>
                    </a:lnTo>
                    <a:lnTo>
                      <a:pt x="563" y="465"/>
                    </a:lnTo>
                    <a:lnTo>
                      <a:pt x="568" y="470"/>
                    </a:lnTo>
                    <a:lnTo>
                      <a:pt x="572" y="474"/>
                    </a:lnTo>
                    <a:lnTo>
                      <a:pt x="576" y="478"/>
                    </a:lnTo>
                    <a:lnTo>
                      <a:pt x="582" y="481"/>
                    </a:lnTo>
                    <a:lnTo>
                      <a:pt x="588" y="483"/>
                    </a:lnTo>
                    <a:lnTo>
                      <a:pt x="596" y="485"/>
                    </a:lnTo>
                    <a:lnTo>
                      <a:pt x="605" y="486"/>
                    </a:lnTo>
                    <a:lnTo>
                      <a:pt x="614" y="487"/>
                    </a:lnTo>
                    <a:lnTo>
                      <a:pt x="625" y="487"/>
                    </a:lnTo>
                    <a:lnTo>
                      <a:pt x="625" y="496"/>
                    </a:lnTo>
                    <a:lnTo>
                      <a:pt x="625" y="505"/>
                    </a:lnTo>
                    <a:lnTo>
                      <a:pt x="625" y="515"/>
                    </a:lnTo>
                    <a:lnTo>
                      <a:pt x="625" y="525"/>
                    </a:lnTo>
                    <a:lnTo>
                      <a:pt x="625" y="539"/>
                    </a:lnTo>
                    <a:lnTo>
                      <a:pt x="622" y="557"/>
                    </a:lnTo>
                    <a:lnTo>
                      <a:pt x="620" y="579"/>
                    </a:lnTo>
                    <a:lnTo>
                      <a:pt x="618" y="603"/>
                    </a:lnTo>
                    <a:lnTo>
                      <a:pt x="616" y="628"/>
                    </a:lnTo>
                    <a:lnTo>
                      <a:pt x="614" y="651"/>
                    </a:lnTo>
                    <a:lnTo>
                      <a:pt x="611" y="672"/>
                    </a:lnTo>
                    <a:lnTo>
                      <a:pt x="611" y="691"/>
                    </a:lnTo>
                    <a:lnTo>
                      <a:pt x="582" y="692"/>
                    </a:lnTo>
                    <a:lnTo>
                      <a:pt x="562" y="693"/>
                    </a:lnTo>
                    <a:lnTo>
                      <a:pt x="553" y="694"/>
                    </a:lnTo>
                    <a:lnTo>
                      <a:pt x="546" y="693"/>
                    </a:lnTo>
                    <a:lnTo>
                      <a:pt x="539" y="693"/>
                    </a:lnTo>
                    <a:lnTo>
                      <a:pt x="531" y="691"/>
                    </a:lnTo>
                    <a:lnTo>
                      <a:pt x="392" y="567"/>
                    </a:lnTo>
                    <a:lnTo>
                      <a:pt x="394" y="564"/>
                    </a:lnTo>
                    <a:lnTo>
                      <a:pt x="396" y="560"/>
                    </a:lnTo>
                    <a:lnTo>
                      <a:pt x="397" y="556"/>
                    </a:lnTo>
                    <a:lnTo>
                      <a:pt x="397" y="552"/>
                    </a:lnTo>
                    <a:lnTo>
                      <a:pt x="397" y="547"/>
                    </a:lnTo>
                    <a:lnTo>
                      <a:pt x="396" y="543"/>
                    </a:lnTo>
                    <a:lnTo>
                      <a:pt x="394" y="539"/>
                    </a:lnTo>
                    <a:lnTo>
                      <a:pt x="392" y="537"/>
                    </a:lnTo>
                    <a:lnTo>
                      <a:pt x="366" y="513"/>
                    </a:lnTo>
                    <a:lnTo>
                      <a:pt x="338" y="488"/>
                    </a:lnTo>
                    <a:lnTo>
                      <a:pt x="326" y="476"/>
                    </a:lnTo>
                    <a:lnTo>
                      <a:pt x="315" y="465"/>
                    </a:lnTo>
                    <a:lnTo>
                      <a:pt x="305" y="453"/>
                    </a:lnTo>
                    <a:lnTo>
                      <a:pt x="300" y="444"/>
                    </a:lnTo>
                    <a:lnTo>
                      <a:pt x="295" y="432"/>
                    </a:lnTo>
                    <a:lnTo>
                      <a:pt x="293" y="419"/>
                    </a:lnTo>
                    <a:lnTo>
                      <a:pt x="292" y="407"/>
                    </a:lnTo>
                    <a:lnTo>
                      <a:pt x="292" y="393"/>
                    </a:lnTo>
                    <a:lnTo>
                      <a:pt x="291" y="381"/>
                    </a:lnTo>
                    <a:lnTo>
                      <a:pt x="289" y="370"/>
                    </a:lnTo>
                    <a:lnTo>
                      <a:pt x="288" y="365"/>
                    </a:lnTo>
                    <a:lnTo>
                      <a:pt x="285" y="360"/>
                    </a:lnTo>
                    <a:lnTo>
                      <a:pt x="282" y="356"/>
                    </a:lnTo>
                    <a:lnTo>
                      <a:pt x="279" y="352"/>
                    </a:lnTo>
                    <a:lnTo>
                      <a:pt x="268" y="342"/>
                    </a:lnTo>
                    <a:lnTo>
                      <a:pt x="258" y="332"/>
                    </a:lnTo>
                    <a:lnTo>
                      <a:pt x="249" y="321"/>
                    </a:lnTo>
                    <a:lnTo>
                      <a:pt x="241" y="310"/>
                    </a:lnTo>
                    <a:lnTo>
                      <a:pt x="235" y="297"/>
                    </a:lnTo>
                    <a:lnTo>
                      <a:pt x="229" y="283"/>
                    </a:lnTo>
                    <a:lnTo>
                      <a:pt x="224" y="269"/>
                    </a:lnTo>
                    <a:lnTo>
                      <a:pt x="220" y="253"/>
                    </a:lnTo>
                    <a:lnTo>
                      <a:pt x="216" y="246"/>
                    </a:lnTo>
                    <a:lnTo>
                      <a:pt x="213" y="238"/>
                    </a:lnTo>
                    <a:lnTo>
                      <a:pt x="207" y="231"/>
                    </a:lnTo>
                    <a:lnTo>
                      <a:pt x="202" y="224"/>
                    </a:lnTo>
                    <a:lnTo>
                      <a:pt x="190" y="212"/>
                    </a:lnTo>
                    <a:lnTo>
                      <a:pt x="177" y="199"/>
                    </a:lnTo>
                    <a:lnTo>
                      <a:pt x="162" y="187"/>
                    </a:lnTo>
                    <a:lnTo>
                      <a:pt x="150" y="171"/>
                    </a:lnTo>
                    <a:lnTo>
                      <a:pt x="145" y="164"/>
                    </a:lnTo>
                    <a:lnTo>
                      <a:pt x="140" y="155"/>
                    </a:lnTo>
                    <a:lnTo>
                      <a:pt x="136" y="146"/>
                    </a:lnTo>
                    <a:lnTo>
                      <a:pt x="133" y="136"/>
                    </a:lnTo>
                    <a:lnTo>
                      <a:pt x="123" y="135"/>
                    </a:lnTo>
                    <a:lnTo>
                      <a:pt x="112" y="132"/>
                    </a:lnTo>
                    <a:lnTo>
                      <a:pt x="102" y="128"/>
                    </a:lnTo>
                    <a:lnTo>
                      <a:pt x="91" y="121"/>
                    </a:lnTo>
                    <a:lnTo>
                      <a:pt x="80" y="113"/>
                    </a:lnTo>
                    <a:lnTo>
                      <a:pt x="69" y="104"/>
                    </a:lnTo>
                    <a:lnTo>
                      <a:pt x="59" y="95"/>
                    </a:lnTo>
                    <a:lnTo>
                      <a:pt x="49" y="85"/>
                    </a:lnTo>
                    <a:lnTo>
                      <a:pt x="39" y="74"/>
                    </a:lnTo>
                    <a:lnTo>
                      <a:pt x="31" y="62"/>
                    </a:lnTo>
                    <a:lnTo>
                      <a:pt x="23" y="51"/>
                    </a:lnTo>
                    <a:lnTo>
                      <a:pt x="16" y="40"/>
                    </a:lnTo>
                    <a:lnTo>
                      <a:pt x="10" y="29"/>
                    </a:lnTo>
                    <a:lnTo>
                      <a:pt x="5" y="19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0" y="7"/>
                    </a:lnTo>
                    <a:lnTo>
                      <a:pt x="28" y="10"/>
                    </a:lnTo>
                    <a:lnTo>
                      <a:pt x="37" y="13"/>
                    </a:lnTo>
                    <a:lnTo>
                      <a:pt x="54" y="15"/>
                    </a:lnTo>
                    <a:lnTo>
                      <a:pt x="69" y="16"/>
                    </a:lnTo>
                    <a:lnTo>
                      <a:pt x="84" y="16"/>
                    </a:lnTo>
                    <a:lnTo>
                      <a:pt x="100" y="17"/>
                    </a:lnTo>
                    <a:lnTo>
                      <a:pt x="108" y="19"/>
                    </a:lnTo>
                    <a:lnTo>
                      <a:pt x="116" y="20"/>
                    </a:lnTo>
                    <a:lnTo>
                      <a:pt x="124" y="22"/>
                    </a:lnTo>
                    <a:lnTo>
                      <a:pt x="133" y="25"/>
                    </a:lnTo>
                    <a:lnTo>
                      <a:pt x="138" y="27"/>
                    </a:lnTo>
                    <a:lnTo>
                      <a:pt x="144" y="31"/>
                    </a:lnTo>
                    <a:lnTo>
                      <a:pt x="149" y="36"/>
                    </a:lnTo>
                    <a:lnTo>
                      <a:pt x="156" y="42"/>
                    </a:lnTo>
                    <a:lnTo>
                      <a:pt x="169" y="57"/>
                    </a:lnTo>
                    <a:lnTo>
                      <a:pt x="181" y="76"/>
                    </a:lnTo>
                    <a:lnTo>
                      <a:pt x="204" y="109"/>
                    </a:lnTo>
                    <a:lnTo>
                      <a:pt x="220" y="130"/>
                    </a:lnTo>
                    <a:lnTo>
                      <a:pt x="237" y="147"/>
                    </a:lnTo>
                    <a:lnTo>
                      <a:pt x="254" y="163"/>
                    </a:lnTo>
                    <a:lnTo>
                      <a:pt x="271" y="181"/>
                    </a:lnTo>
                    <a:lnTo>
                      <a:pt x="289" y="196"/>
                    </a:lnTo>
                    <a:lnTo>
                      <a:pt x="299" y="202"/>
                    </a:lnTo>
                    <a:lnTo>
                      <a:pt x="308" y="209"/>
                    </a:lnTo>
                    <a:lnTo>
                      <a:pt x="318" y="214"/>
                    </a:lnTo>
                    <a:lnTo>
                      <a:pt x="329" y="219"/>
                    </a:lnTo>
                    <a:lnTo>
                      <a:pt x="341" y="223"/>
                    </a:lnTo>
                    <a:lnTo>
                      <a:pt x="353" y="226"/>
                    </a:lnTo>
                    <a:lnTo>
                      <a:pt x="366" y="227"/>
                    </a:lnTo>
                    <a:lnTo>
                      <a:pt x="379" y="228"/>
                    </a:lnTo>
                    <a:lnTo>
                      <a:pt x="383" y="229"/>
                    </a:lnTo>
                    <a:lnTo>
                      <a:pt x="388" y="230"/>
                    </a:lnTo>
                    <a:lnTo>
                      <a:pt x="392" y="231"/>
                    </a:lnTo>
                    <a:lnTo>
                      <a:pt x="395" y="235"/>
                    </a:lnTo>
                    <a:lnTo>
                      <a:pt x="401" y="241"/>
                    </a:lnTo>
                    <a:lnTo>
                      <a:pt x="405" y="247"/>
                    </a:lnTo>
                    <a:lnTo>
                      <a:pt x="411" y="254"/>
                    </a:lnTo>
                    <a:lnTo>
                      <a:pt x="416" y="260"/>
                    </a:lnTo>
                    <a:lnTo>
                      <a:pt x="419" y="262"/>
                    </a:lnTo>
                    <a:lnTo>
                      <a:pt x="423" y="264"/>
                    </a:lnTo>
                    <a:lnTo>
                      <a:pt x="427" y="265"/>
                    </a:lnTo>
                    <a:lnTo>
                      <a:pt x="433" y="26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2" name="Freeform 333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12724080" y="3996897"/>
                <a:ext cx="254000" cy="257175"/>
              </a:xfrm>
              <a:custGeom>
                <a:avLst/>
                <a:gdLst>
                  <a:gd name="T0" fmla="*/ 2147483647 w 585"/>
                  <a:gd name="T1" fmla="*/ 2147483647 h 493"/>
                  <a:gd name="T2" fmla="*/ 2147483647 w 585"/>
                  <a:gd name="T3" fmla="*/ 2147483647 h 493"/>
                  <a:gd name="T4" fmla="*/ 2147483647 w 585"/>
                  <a:gd name="T5" fmla="*/ 2147483647 h 493"/>
                  <a:gd name="T6" fmla="*/ 2147483647 w 585"/>
                  <a:gd name="T7" fmla="*/ 2147483647 h 493"/>
                  <a:gd name="T8" fmla="*/ 2147483647 w 585"/>
                  <a:gd name="T9" fmla="*/ 2147483647 h 493"/>
                  <a:gd name="T10" fmla="*/ 2147483647 w 585"/>
                  <a:gd name="T11" fmla="*/ 2147483647 h 493"/>
                  <a:gd name="T12" fmla="*/ 2147483647 w 585"/>
                  <a:gd name="T13" fmla="*/ 2147483647 h 493"/>
                  <a:gd name="T14" fmla="*/ 2147483647 w 585"/>
                  <a:gd name="T15" fmla="*/ 2147483647 h 493"/>
                  <a:gd name="T16" fmla="*/ 2147483647 w 585"/>
                  <a:gd name="T17" fmla="*/ 2147483647 h 493"/>
                  <a:gd name="T18" fmla="*/ 2147483647 w 585"/>
                  <a:gd name="T19" fmla="*/ 2147483647 h 493"/>
                  <a:gd name="T20" fmla="*/ 2147483647 w 585"/>
                  <a:gd name="T21" fmla="*/ 2147483647 h 493"/>
                  <a:gd name="T22" fmla="*/ 2147483647 w 585"/>
                  <a:gd name="T23" fmla="*/ 2147483647 h 493"/>
                  <a:gd name="T24" fmla="*/ 2147483647 w 585"/>
                  <a:gd name="T25" fmla="*/ 2147483647 h 493"/>
                  <a:gd name="T26" fmla="*/ 2147483647 w 585"/>
                  <a:gd name="T27" fmla="*/ 2147483647 h 493"/>
                  <a:gd name="T28" fmla="*/ 2147483647 w 585"/>
                  <a:gd name="T29" fmla="*/ 2147483647 h 493"/>
                  <a:gd name="T30" fmla="*/ 2147483647 w 585"/>
                  <a:gd name="T31" fmla="*/ 2147483647 h 493"/>
                  <a:gd name="T32" fmla="*/ 2147483647 w 585"/>
                  <a:gd name="T33" fmla="*/ 2147483647 h 493"/>
                  <a:gd name="T34" fmla="*/ 2147483647 w 585"/>
                  <a:gd name="T35" fmla="*/ 2147483647 h 493"/>
                  <a:gd name="T36" fmla="*/ 2147483647 w 585"/>
                  <a:gd name="T37" fmla="*/ 2147483647 h 493"/>
                  <a:gd name="T38" fmla="*/ 2147483647 w 585"/>
                  <a:gd name="T39" fmla="*/ 2147483647 h 493"/>
                  <a:gd name="T40" fmla="*/ 2147483647 w 585"/>
                  <a:gd name="T41" fmla="*/ 2147483647 h 493"/>
                  <a:gd name="T42" fmla="*/ 2147483647 w 585"/>
                  <a:gd name="T43" fmla="*/ 2147483647 h 493"/>
                  <a:gd name="T44" fmla="*/ 2147483647 w 585"/>
                  <a:gd name="T45" fmla="*/ 2147483647 h 493"/>
                  <a:gd name="T46" fmla="*/ 2147483647 w 585"/>
                  <a:gd name="T47" fmla="*/ 2147483647 h 493"/>
                  <a:gd name="T48" fmla="*/ 2147483647 w 585"/>
                  <a:gd name="T49" fmla="*/ 2147483647 h 493"/>
                  <a:gd name="T50" fmla="*/ 2147483647 w 585"/>
                  <a:gd name="T51" fmla="*/ 2147483647 h 493"/>
                  <a:gd name="T52" fmla="*/ 2147483647 w 585"/>
                  <a:gd name="T53" fmla="*/ 2147483647 h 493"/>
                  <a:gd name="T54" fmla="*/ 2147483647 w 585"/>
                  <a:gd name="T55" fmla="*/ 2147483647 h 493"/>
                  <a:gd name="T56" fmla="*/ 2147483647 w 585"/>
                  <a:gd name="T57" fmla="*/ 2147483647 h 493"/>
                  <a:gd name="T58" fmla="*/ 2147483647 w 585"/>
                  <a:gd name="T59" fmla="*/ 2147483647 h 493"/>
                  <a:gd name="T60" fmla="*/ 982185436 w 585"/>
                  <a:gd name="T61" fmla="*/ 2147483647 h 493"/>
                  <a:gd name="T62" fmla="*/ 409275193 w 585"/>
                  <a:gd name="T63" fmla="*/ 2147483647 h 493"/>
                  <a:gd name="T64" fmla="*/ 2147483647 w 585"/>
                  <a:gd name="T65" fmla="*/ 2147483647 h 493"/>
                  <a:gd name="T66" fmla="*/ 2147483647 w 585"/>
                  <a:gd name="T67" fmla="*/ 2147483647 h 493"/>
                  <a:gd name="T68" fmla="*/ 2147483647 w 585"/>
                  <a:gd name="T69" fmla="*/ 2147483647 h 493"/>
                  <a:gd name="T70" fmla="*/ 2147483647 w 585"/>
                  <a:gd name="T71" fmla="*/ 2147483647 h 493"/>
                  <a:gd name="T72" fmla="*/ 2147483647 w 585"/>
                  <a:gd name="T73" fmla="*/ 2147483647 h 493"/>
                  <a:gd name="T74" fmla="*/ 2147483647 w 585"/>
                  <a:gd name="T75" fmla="*/ 2147483647 h 493"/>
                  <a:gd name="T76" fmla="*/ 2147483647 w 585"/>
                  <a:gd name="T77" fmla="*/ 2147483647 h 493"/>
                  <a:gd name="T78" fmla="*/ 2147483647 w 585"/>
                  <a:gd name="T79" fmla="*/ 2147483647 h 493"/>
                  <a:gd name="T80" fmla="*/ 2147483647 w 585"/>
                  <a:gd name="T81" fmla="*/ 2147483647 h 493"/>
                  <a:gd name="T82" fmla="*/ 2147483647 w 585"/>
                  <a:gd name="T83" fmla="*/ 2147483647 h 493"/>
                  <a:gd name="T84" fmla="*/ 2147483647 w 585"/>
                  <a:gd name="T85" fmla="*/ 2147483647 h 493"/>
                  <a:gd name="T86" fmla="*/ 2147483647 w 585"/>
                  <a:gd name="T87" fmla="*/ 2147483647 h 493"/>
                  <a:gd name="T88" fmla="*/ 2147483647 w 585"/>
                  <a:gd name="T89" fmla="*/ 2147483647 h 493"/>
                  <a:gd name="T90" fmla="*/ 2147483647 w 585"/>
                  <a:gd name="T91" fmla="*/ 2147483647 h 493"/>
                  <a:gd name="T92" fmla="*/ 2147483647 w 585"/>
                  <a:gd name="T93" fmla="*/ 2147483647 h 493"/>
                  <a:gd name="T94" fmla="*/ 2147483647 w 585"/>
                  <a:gd name="T95" fmla="*/ 851741691 h 493"/>
                  <a:gd name="T96" fmla="*/ 2147483647 w 585"/>
                  <a:gd name="T97" fmla="*/ 283823129 h 4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85" h="493">
                    <a:moveTo>
                      <a:pt x="525" y="12"/>
                    </a:moveTo>
                    <a:lnTo>
                      <a:pt x="524" y="17"/>
                    </a:lnTo>
                    <a:lnTo>
                      <a:pt x="520" y="22"/>
                    </a:lnTo>
                    <a:lnTo>
                      <a:pt x="516" y="28"/>
                    </a:lnTo>
                    <a:lnTo>
                      <a:pt x="510" y="33"/>
                    </a:lnTo>
                    <a:lnTo>
                      <a:pt x="497" y="45"/>
                    </a:lnTo>
                    <a:lnTo>
                      <a:pt x="485" y="55"/>
                    </a:lnTo>
                    <a:lnTo>
                      <a:pt x="495" y="55"/>
                    </a:lnTo>
                    <a:lnTo>
                      <a:pt x="505" y="55"/>
                    </a:lnTo>
                    <a:lnTo>
                      <a:pt x="506" y="68"/>
                    </a:lnTo>
                    <a:lnTo>
                      <a:pt x="508" y="81"/>
                    </a:lnTo>
                    <a:lnTo>
                      <a:pt x="512" y="93"/>
                    </a:lnTo>
                    <a:lnTo>
                      <a:pt x="516" y="103"/>
                    </a:lnTo>
                    <a:lnTo>
                      <a:pt x="520" y="112"/>
                    </a:lnTo>
                    <a:lnTo>
                      <a:pt x="527" y="121"/>
                    </a:lnTo>
                    <a:lnTo>
                      <a:pt x="534" y="130"/>
                    </a:lnTo>
                    <a:lnTo>
                      <a:pt x="540" y="138"/>
                    </a:lnTo>
                    <a:lnTo>
                      <a:pt x="553" y="155"/>
                    </a:lnTo>
                    <a:lnTo>
                      <a:pt x="566" y="170"/>
                    </a:lnTo>
                    <a:lnTo>
                      <a:pt x="573" y="177"/>
                    </a:lnTo>
                    <a:lnTo>
                      <a:pt x="577" y="185"/>
                    </a:lnTo>
                    <a:lnTo>
                      <a:pt x="582" y="194"/>
                    </a:lnTo>
                    <a:lnTo>
                      <a:pt x="585" y="204"/>
                    </a:lnTo>
                    <a:lnTo>
                      <a:pt x="580" y="205"/>
                    </a:lnTo>
                    <a:lnTo>
                      <a:pt x="574" y="206"/>
                    </a:lnTo>
                    <a:lnTo>
                      <a:pt x="568" y="206"/>
                    </a:lnTo>
                    <a:lnTo>
                      <a:pt x="561" y="206"/>
                    </a:lnTo>
                    <a:lnTo>
                      <a:pt x="547" y="204"/>
                    </a:lnTo>
                    <a:lnTo>
                      <a:pt x="531" y="204"/>
                    </a:lnTo>
                    <a:lnTo>
                      <a:pt x="524" y="217"/>
                    </a:lnTo>
                    <a:lnTo>
                      <a:pt x="518" y="229"/>
                    </a:lnTo>
                    <a:lnTo>
                      <a:pt x="516" y="233"/>
                    </a:lnTo>
                    <a:lnTo>
                      <a:pt x="513" y="237"/>
                    </a:lnTo>
                    <a:lnTo>
                      <a:pt x="509" y="239"/>
                    </a:lnTo>
                    <a:lnTo>
                      <a:pt x="505" y="240"/>
                    </a:lnTo>
                    <a:lnTo>
                      <a:pt x="506" y="246"/>
                    </a:lnTo>
                    <a:lnTo>
                      <a:pt x="508" y="253"/>
                    </a:lnTo>
                    <a:lnTo>
                      <a:pt x="512" y="259"/>
                    </a:lnTo>
                    <a:lnTo>
                      <a:pt x="515" y="265"/>
                    </a:lnTo>
                    <a:lnTo>
                      <a:pt x="518" y="271"/>
                    </a:lnTo>
                    <a:lnTo>
                      <a:pt x="521" y="277"/>
                    </a:lnTo>
                    <a:lnTo>
                      <a:pt x="524" y="283"/>
                    </a:lnTo>
                    <a:lnTo>
                      <a:pt x="525" y="289"/>
                    </a:lnTo>
                    <a:lnTo>
                      <a:pt x="525" y="294"/>
                    </a:lnTo>
                    <a:lnTo>
                      <a:pt x="523" y="297"/>
                    </a:lnTo>
                    <a:lnTo>
                      <a:pt x="519" y="301"/>
                    </a:lnTo>
                    <a:lnTo>
                      <a:pt x="516" y="304"/>
                    </a:lnTo>
                    <a:lnTo>
                      <a:pt x="505" y="308"/>
                    </a:lnTo>
                    <a:lnTo>
                      <a:pt x="494" y="312"/>
                    </a:lnTo>
                    <a:lnTo>
                      <a:pt x="481" y="316"/>
                    </a:lnTo>
                    <a:lnTo>
                      <a:pt x="469" y="319"/>
                    </a:lnTo>
                    <a:lnTo>
                      <a:pt x="459" y="323"/>
                    </a:lnTo>
                    <a:lnTo>
                      <a:pt x="452" y="327"/>
                    </a:lnTo>
                    <a:lnTo>
                      <a:pt x="448" y="334"/>
                    </a:lnTo>
                    <a:lnTo>
                      <a:pt x="446" y="344"/>
                    </a:lnTo>
                    <a:lnTo>
                      <a:pt x="443" y="354"/>
                    </a:lnTo>
                    <a:lnTo>
                      <a:pt x="443" y="365"/>
                    </a:lnTo>
                    <a:lnTo>
                      <a:pt x="445" y="386"/>
                    </a:lnTo>
                    <a:lnTo>
                      <a:pt x="446" y="400"/>
                    </a:lnTo>
                    <a:lnTo>
                      <a:pt x="445" y="415"/>
                    </a:lnTo>
                    <a:lnTo>
                      <a:pt x="442" y="428"/>
                    </a:lnTo>
                    <a:lnTo>
                      <a:pt x="439" y="439"/>
                    </a:lnTo>
                    <a:lnTo>
                      <a:pt x="436" y="447"/>
                    </a:lnTo>
                    <a:lnTo>
                      <a:pt x="430" y="454"/>
                    </a:lnTo>
                    <a:lnTo>
                      <a:pt x="425" y="459"/>
                    </a:lnTo>
                    <a:lnTo>
                      <a:pt x="419" y="464"/>
                    </a:lnTo>
                    <a:lnTo>
                      <a:pt x="413" y="467"/>
                    </a:lnTo>
                    <a:lnTo>
                      <a:pt x="400" y="472"/>
                    </a:lnTo>
                    <a:lnTo>
                      <a:pt x="386" y="477"/>
                    </a:lnTo>
                    <a:lnTo>
                      <a:pt x="380" y="480"/>
                    </a:lnTo>
                    <a:lnTo>
                      <a:pt x="374" y="484"/>
                    </a:lnTo>
                    <a:lnTo>
                      <a:pt x="370" y="488"/>
                    </a:lnTo>
                    <a:lnTo>
                      <a:pt x="366" y="493"/>
                    </a:lnTo>
                    <a:lnTo>
                      <a:pt x="356" y="493"/>
                    </a:lnTo>
                    <a:lnTo>
                      <a:pt x="346" y="493"/>
                    </a:lnTo>
                    <a:lnTo>
                      <a:pt x="341" y="493"/>
                    </a:lnTo>
                    <a:lnTo>
                      <a:pt x="337" y="492"/>
                    </a:lnTo>
                    <a:lnTo>
                      <a:pt x="334" y="491"/>
                    </a:lnTo>
                    <a:lnTo>
                      <a:pt x="331" y="489"/>
                    </a:lnTo>
                    <a:lnTo>
                      <a:pt x="329" y="487"/>
                    </a:lnTo>
                    <a:lnTo>
                      <a:pt x="328" y="484"/>
                    </a:lnTo>
                    <a:lnTo>
                      <a:pt x="327" y="482"/>
                    </a:lnTo>
                    <a:lnTo>
                      <a:pt x="326" y="478"/>
                    </a:lnTo>
                    <a:lnTo>
                      <a:pt x="327" y="471"/>
                    </a:lnTo>
                    <a:lnTo>
                      <a:pt x="328" y="464"/>
                    </a:lnTo>
                    <a:lnTo>
                      <a:pt x="330" y="457"/>
                    </a:lnTo>
                    <a:lnTo>
                      <a:pt x="333" y="450"/>
                    </a:lnTo>
                    <a:lnTo>
                      <a:pt x="304" y="451"/>
                    </a:lnTo>
                    <a:lnTo>
                      <a:pt x="279" y="454"/>
                    </a:lnTo>
                    <a:lnTo>
                      <a:pt x="267" y="455"/>
                    </a:lnTo>
                    <a:lnTo>
                      <a:pt x="257" y="455"/>
                    </a:lnTo>
                    <a:lnTo>
                      <a:pt x="251" y="454"/>
                    </a:lnTo>
                    <a:lnTo>
                      <a:pt x="247" y="453"/>
                    </a:lnTo>
                    <a:lnTo>
                      <a:pt x="244" y="452"/>
                    </a:lnTo>
                    <a:lnTo>
                      <a:pt x="239" y="450"/>
                    </a:lnTo>
                    <a:lnTo>
                      <a:pt x="219" y="462"/>
                    </a:lnTo>
                    <a:lnTo>
                      <a:pt x="207" y="455"/>
                    </a:lnTo>
                    <a:lnTo>
                      <a:pt x="192" y="447"/>
                    </a:lnTo>
                    <a:lnTo>
                      <a:pt x="183" y="444"/>
                    </a:lnTo>
                    <a:lnTo>
                      <a:pt x="176" y="440"/>
                    </a:lnTo>
                    <a:lnTo>
                      <a:pt x="168" y="438"/>
                    </a:lnTo>
                    <a:lnTo>
                      <a:pt x="159" y="438"/>
                    </a:lnTo>
                    <a:lnTo>
                      <a:pt x="144" y="437"/>
                    </a:lnTo>
                    <a:lnTo>
                      <a:pt x="122" y="436"/>
                    </a:lnTo>
                    <a:lnTo>
                      <a:pt x="111" y="435"/>
                    </a:lnTo>
                    <a:lnTo>
                      <a:pt x="102" y="432"/>
                    </a:lnTo>
                    <a:lnTo>
                      <a:pt x="98" y="431"/>
                    </a:lnTo>
                    <a:lnTo>
                      <a:pt x="95" y="429"/>
                    </a:lnTo>
                    <a:lnTo>
                      <a:pt x="93" y="428"/>
                    </a:lnTo>
                    <a:lnTo>
                      <a:pt x="93" y="424"/>
                    </a:lnTo>
                    <a:lnTo>
                      <a:pt x="87" y="393"/>
                    </a:lnTo>
                    <a:lnTo>
                      <a:pt x="81" y="366"/>
                    </a:lnTo>
                    <a:lnTo>
                      <a:pt x="75" y="346"/>
                    </a:lnTo>
                    <a:lnTo>
                      <a:pt x="69" y="331"/>
                    </a:lnTo>
                    <a:lnTo>
                      <a:pt x="64" y="320"/>
                    </a:lnTo>
                    <a:lnTo>
                      <a:pt x="58" y="310"/>
                    </a:lnTo>
                    <a:lnTo>
                      <a:pt x="53" y="304"/>
                    </a:lnTo>
                    <a:lnTo>
                      <a:pt x="47" y="300"/>
                    </a:lnTo>
                    <a:lnTo>
                      <a:pt x="41" y="296"/>
                    </a:lnTo>
                    <a:lnTo>
                      <a:pt x="35" y="292"/>
                    </a:lnTo>
                    <a:lnTo>
                      <a:pt x="30" y="288"/>
                    </a:lnTo>
                    <a:lnTo>
                      <a:pt x="24" y="281"/>
                    </a:lnTo>
                    <a:lnTo>
                      <a:pt x="19" y="272"/>
                    </a:lnTo>
                    <a:lnTo>
                      <a:pt x="12" y="260"/>
                    </a:lnTo>
                    <a:lnTo>
                      <a:pt x="6" y="243"/>
                    </a:lnTo>
                    <a:lnTo>
                      <a:pt x="0" y="222"/>
                    </a:lnTo>
                    <a:lnTo>
                      <a:pt x="2" y="215"/>
                    </a:lnTo>
                    <a:lnTo>
                      <a:pt x="5" y="204"/>
                    </a:lnTo>
                    <a:lnTo>
                      <a:pt x="11" y="191"/>
                    </a:lnTo>
                    <a:lnTo>
                      <a:pt x="17" y="177"/>
                    </a:lnTo>
                    <a:lnTo>
                      <a:pt x="24" y="164"/>
                    </a:lnTo>
                    <a:lnTo>
                      <a:pt x="31" y="153"/>
                    </a:lnTo>
                    <a:lnTo>
                      <a:pt x="36" y="144"/>
                    </a:lnTo>
                    <a:lnTo>
                      <a:pt x="41" y="141"/>
                    </a:lnTo>
                    <a:lnTo>
                      <a:pt x="46" y="141"/>
                    </a:lnTo>
                    <a:lnTo>
                      <a:pt x="54" y="141"/>
                    </a:lnTo>
                    <a:lnTo>
                      <a:pt x="64" y="141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5" y="152"/>
                    </a:lnTo>
                    <a:lnTo>
                      <a:pt x="77" y="158"/>
                    </a:lnTo>
                    <a:lnTo>
                      <a:pt x="80" y="164"/>
                    </a:lnTo>
                    <a:lnTo>
                      <a:pt x="88" y="176"/>
                    </a:lnTo>
                    <a:lnTo>
                      <a:pt x="97" y="187"/>
                    </a:lnTo>
                    <a:lnTo>
                      <a:pt x="107" y="198"/>
                    </a:lnTo>
                    <a:lnTo>
                      <a:pt x="118" y="208"/>
                    </a:lnTo>
                    <a:lnTo>
                      <a:pt x="124" y="211"/>
                    </a:lnTo>
                    <a:lnTo>
                      <a:pt x="129" y="214"/>
                    </a:lnTo>
                    <a:lnTo>
                      <a:pt x="135" y="215"/>
                    </a:lnTo>
                    <a:lnTo>
                      <a:pt x="139" y="216"/>
                    </a:lnTo>
                    <a:lnTo>
                      <a:pt x="155" y="215"/>
                    </a:lnTo>
                    <a:lnTo>
                      <a:pt x="170" y="213"/>
                    </a:lnTo>
                    <a:lnTo>
                      <a:pt x="184" y="209"/>
                    </a:lnTo>
                    <a:lnTo>
                      <a:pt x="199" y="204"/>
                    </a:lnTo>
                    <a:lnTo>
                      <a:pt x="211" y="196"/>
                    </a:lnTo>
                    <a:lnTo>
                      <a:pt x="221" y="189"/>
                    </a:lnTo>
                    <a:lnTo>
                      <a:pt x="225" y="185"/>
                    </a:lnTo>
                    <a:lnTo>
                      <a:pt x="228" y="181"/>
                    </a:lnTo>
                    <a:lnTo>
                      <a:pt x="230" y="177"/>
                    </a:lnTo>
                    <a:lnTo>
                      <a:pt x="233" y="172"/>
                    </a:lnTo>
                    <a:lnTo>
                      <a:pt x="256" y="175"/>
                    </a:lnTo>
                    <a:lnTo>
                      <a:pt x="273" y="176"/>
                    </a:lnTo>
                    <a:lnTo>
                      <a:pt x="281" y="177"/>
                    </a:lnTo>
                    <a:lnTo>
                      <a:pt x="288" y="178"/>
                    </a:lnTo>
                    <a:lnTo>
                      <a:pt x="294" y="181"/>
                    </a:lnTo>
                    <a:lnTo>
                      <a:pt x="300" y="184"/>
                    </a:lnTo>
                    <a:lnTo>
                      <a:pt x="326" y="184"/>
                    </a:lnTo>
                    <a:lnTo>
                      <a:pt x="326" y="181"/>
                    </a:lnTo>
                    <a:lnTo>
                      <a:pt x="327" y="178"/>
                    </a:lnTo>
                    <a:lnTo>
                      <a:pt x="329" y="176"/>
                    </a:lnTo>
                    <a:lnTo>
                      <a:pt x="331" y="174"/>
                    </a:lnTo>
                    <a:lnTo>
                      <a:pt x="337" y="170"/>
                    </a:lnTo>
                    <a:lnTo>
                      <a:pt x="344" y="167"/>
                    </a:lnTo>
                    <a:lnTo>
                      <a:pt x="350" y="164"/>
                    </a:lnTo>
                    <a:lnTo>
                      <a:pt x="357" y="162"/>
                    </a:lnTo>
                    <a:lnTo>
                      <a:pt x="362" y="158"/>
                    </a:lnTo>
                    <a:lnTo>
                      <a:pt x="366" y="154"/>
                    </a:lnTo>
                    <a:lnTo>
                      <a:pt x="372" y="149"/>
                    </a:lnTo>
                    <a:lnTo>
                      <a:pt x="378" y="143"/>
                    </a:lnTo>
                    <a:lnTo>
                      <a:pt x="383" y="136"/>
                    </a:lnTo>
                    <a:lnTo>
                      <a:pt x="389" y="129"/>
                    </a:lnTo>
                    <a:lnTo>
                      <a:pt x="400" y="114"/>
                    </a:lnTo>
                    <a:lnTo>
                      <a:pt x="408" y="97"/>
                    </a:lnTo>
                    <a:lnTo>
                      <a:pt x="415" y="79"/>
                    </a:lnTo>
                    <a:lnTo>
                      <a:pt x="420" y="62"/>
                    </a:lnTo>
                    <a:lnTo>
                      <a:pt x="424" y="46"/>
                    </a:lnTo>
                    <a:lnTo>
                      <a:pt x="426" y="30"/>
                    </a:lnTo>
                    <a:lnTo>
                      <a:pt x="427" y="25"/>
                    </a:lnTo>
                    <a:lnTo>
                      <a:pt x="429" y="20"/>
                    </a:lnTo>
                    <a:lnTo>
                      <a:pt x="435" y="15"/>
                    </a:lnTo>
                    <a:lnTo>
                      <a:pt x="440" y="11"/>
                    </a:lnTo>
                    <a:lnTo>
                      <a:pt x="447" y="6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5" y="0"/>
                    </a:lnTo>
                    <a:lnTo>
                      <a:pt x="479" y="2"/>
                    </a:lnTo>
                    <a:lnTo>
                      <a:pt x="495" y="6"/>
                    </a:lnTo>
                    <a:lnTo>
                      <a:pt x="512" y="10"/>
                    </a:lnTo>
                    <a:lnTo>
                      <a:pt x="525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3" name="Freeform 334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13079680" y="4403297"/>
                <a:ext cx="92075" cy="57150"/>
              </a:xfrm>
              <a:custGeom>
                <a:avLst/>
                <a:gdLst>
                  <a:gd name="T0" fmla="*/ 0 w 212"/>
                  <a:gd name="T1" fmla="*/ 2147483647 h 105"/>
                  <a:gd name="T2" fmla="*/ 1310792729 w 212"/>
                  <a:gd name="T3" fmla="*/ 2147483647 h 105"/>
                  <a:gd name="T4" fmla="*/ 2147483647 w 212"/>
                  <a:gd name="T5" fmla="*/ 2147483647 h 105"/>
                  <a:gd name="T6" fmla="*/ 2147483647 w 212"/>
                  <a:gd name="T7" fmla="*/ 2147483647 h 105"/>
                  <a:gd name="T8" fmla="*/ 2147483647 w 212"/>
                  <a:gd name="T9" fmla="*/ 2147483647 h 105"/>
                  <a:gd name="T10" fmla="*/ 2147483647 w 212"/>
                  <a:gd name="T11" fmla="*/ 2147483647 h 105"/>
                  <a:gd name="T12" fmla="*/ 2147483647 w 212"/>
                  <a:gd name="T13" fmla="*/ 2147483647 h 105"/>
                  <a:gd name="T14" fmla="*/ 2147483647 w 212"/>
                  <a:gd name="T15" fmla="*/ 2147483647 h 105"/>
                  <a:gd name="T16" fmla="*/ 2147483647 w 212"/>
                  <a:gd name="T17" fmla="*/ 2147483647 h 105"/>
                  <a:gd name="T18" fmla="*/ 2147483647 w 212"/>
                  <a:gd name="T19" fmla="*/ 2147483647 h 105"/>
                  <a:gd name="T20" fmla="*/ 2147483647 w 212"/>
                  <a:gd name="T21" fmla="*/ 2147483647 h 105"/>
                  <a:gd name="T22" fmla="*/ 2147483647 w 212"/>
                  <a:gd name="T23" fmla="*/ 1289859171 h 105"/>
                  <a:gd name="T24" fmla="*/ 2147483647 w 212"/>
                  <a:gd name="T25" fmla="*/ 0 h 105"/>
                  <a:gd name="T26" fmla="*/ 2147483647 w 212"/>
                  <a:gd name="T27" fmla="*/ 0 h 105"/>
                  <a:gd name="T28" fmla="*/ 2147483647 w 212"/>
                  <a:gd name="T29" fmla="*/ 1451313909 h 105"/>
                  <a:gd name="T30" fmla="*/ 2147483647 w 212"/>
                  <a:gd name="T31" fmla="*/ 2147483647 h 105"/>
                  <a:gd name="T32" fmla="*/ 2147483647 w 212"/>
                  <a:gd name="T33" fmla="*/ 2147483647 h 105"/>
                  <a:gd name="T34" fmla="*/ 2147483647 w 212"/>
                  <a:gd name="T35" fmla="*/ 2147483647 h 105"/>
                  <a:gd name="T36" fmla="*/ 2147483647 w 212"/>
                  <a:gd name="T37" fmla="*/ 2147483647 h 105"/>
                  <a:gd name="T38" fmla="*/ 2147483647 w 212"/>
                  <a:gd name="T39" fmla="*/ 2147483647 h 105"/>
                  <a:gd name="T40" fmla="*/ 2147483647 w 212"/>
                  <a:gd name="T41" fmla="*/ 2147483647 h 105"/>
                  <a:gd name="T42" fmla="*/ 2147483647 w 212"/>
                  <a:gd name="T43" fmla="*/ 2147483647 h 105"/>
                  <a:gd name="T44" fmla="*/ 1884229315 w 212"/>
                  <a:gd name="T45" fmla="*/ 2147483647 h 105"/>
                  <a:gd name="T46" fmla="*/ 0 w 212"/>
                  <a:gd name="T47" fmla="*/ 2147483647 h 10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12" h="105">
                    <a:moveTo>
                      <a:pt x="0" y="105"/>
                    </a:moveTo>
                    <a:lnTo>
                      <a:pt x="16" y="85"/>
                    </a:lnTo>
                    <a:lnTo>
                      <a:pt x="35" y="68"/>
                    </a:lnTo>
                    <a:lnTo>
                      <a:pt x="44" y="60"/>
                    </a:lnTo>
                    <a:lnTo>
                      <a:pt x="54" y="53"/>
                    </a:lnTo>
                    <a:lnTo>
                      <a:pt x="64" y="46"/>
                    </a:lnTo>
                    <a:lnTo>
                      <a:pt x="73" y="38"/>
                    </a:lnTo>
                    <a:lnTo>
                      <a:pt x="83" y="32"/>
                    </a:lnTo>
                    <a:lnTo>
                      <a:pt x="94" y="27"/>
                    </a:lnTo>
                    <a:lnTo>
                      <a:pt x="106" y="21"/>
                    </a:lnTo>
                    <a:lnTo>
                      <a:pt x="118" y="16"/>
                    </a:lnTo>
                    <a:lnTo>
                      <a:pt x="144" y="8"/>
                    </a:lnTo>
                    <a:lnTo>
                      <a:pt x="172" y="0"/>
                    </a:lnTo>
                    <a:lnTo>
                      <a:pt x="212" y="0"/>
                    </a:lnTo>
                    <a:lnTo>
                      <a:pt x="202" y="9"/>
                    </a:lnTo>
                    <a:lnTo>
                      <a:pt x="190" y="18"/>
                    </a:lnTo>
                    <a:lnTo>
                      <a:pt x="178" y="27"/>
                    </a:lnTo>
                    <a:lnTo>
                      <a:pt x="165" y="35"/>
                    </a:lnTo>
                    <a:lnTo>
                      <a:pt x="137" y="52"/>
                    </a:lnTo>
                    <a:lnTo>
                      <a:pt x="109" y="66"/>
                    </a:lnTo>
                    <a:lnTo>
                      <a:pt x="79" y="79"/>
                    </a:lnTo>
                    <a:lnTo>
                      <a:pt x="50" y="90"/>
                    </a:lnTo>
                    <a:lnTo>
                      <a:pt x="23" y="99"/>
                    </a:lnTo>
                    <a:lnTo>
                      <a:pt x="0" y="10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4" name="Freeform 335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13195568" y="4069922"/>
                <a:ext cx="42862" cy="88900"/>
              </a:xfrm>
              <a:custGeom>
                <a:avLst/>
                <a:gdLst>
                  <a:gd name="T0" fmla="*/ 0 w 92"/>
                  <a:gd name="T1" fmla="*/ 2147483647 h 166"/>
                  <a:gd name="T2" fmla="*/ 0 w 92"/>
                  <a:gd name="T3" fmla="*/ 2147483647 h 166"/>
                  <a:gd name="T4" fmla="*/ 505520485 w 92"/>
                  <a:gd name="T5" fmla="*/ 2147483647 h 166"/>
                  <a:gd name="T6" fmla="*/ 1213552738 w 92"/>
                  <a:gd name="T7" fmla="*/ 2147483647 h 166"/>
                  <a:gd name="T8" fmla="*/ 1415630762 w 92"/>
                  <a:gd name="T9" fmla="*/ 2147483647 h 166"/>
                  <a:gd name="T10" fmla="*/ 1719073222 w 92"/>
                  <a:gd name="T11" fmla="*/ 2147483647 h 166"/>
                  <a:gd name="T12" fmla="*/ 1820220554 w 92"/>
                  <a:gd name="T13" fmla="*/ 2147483647 h 166"/>
                  <a:gd name="T14" fmla="*/ 1921368352 w 92"/>
                  <a:gd name="T15" fmla="*/ 2147483647 h 166"/>
                  <a:gd name="T16" fmla="*/ 2022515683 w 92"/>
                  <a:gd name="T17" fmla="*/ 2147483647 h 166"/>
                  <a:gd name="T18" fmla="*/ 2147483647 w 92"/>
                  <a:gd name="T19" fmla="*/ 2147483647 h 166"/>
                  <a:gd name="T20" fmla="*/ 2147483647 w 92"/>
                  <a:gd name="T21" fmla="*/ 2147483647 h 166"/>
                  <a:gd name="T22" fmla="*/ 2147483647 w 92"/>
                  <a:gd name="T23" fmla="*/ 2147483647 h 166"/>
                  <a:gd name="T24" fmla="*/ 2147483647 w 92"/>
                  <a:gd name="T25" fmla="*/ 2147483647 h 166"/>
                  <a:gd name="T26" fmla="*/ 2147483647 w 92"/>
                  <a:gd name="T27" fmla="*/ 2147483647 h 166"/>
                  <a:gd name="T28" fmla="*/ 2147483647 w 92"/>
                  <a:gd name="T29" fmla="*/ 2147483647 h 166"/>
                  <a:gd name="T30" fmla="*/ 2147483647 w 92"/>
                  <a:gd name="T31" fmla="*/ 2147483647 h 166"/>
                  <a:gd name="T32" fmla="*/ 2147483647 w 92"/>
                  <a:gd name="T33" fmla="*/ 2147483647 h 166"/>
                  <a:gd name="T34" fmla="*/ 2147483647 w 92"/>
                  <a:gd name="T35" fmla="*/ 2147483647 h 166"/>
                  <a:gd name="T36" fmla="*/ 2147483647 w 92"/>
                  <a:gd name="T37" fmla="*/ 2147483647 h 166"/>
                  <a:gd name="T38" fmla="*/ 2147483647 w 92"/>
                  <a:gd name="T39" fmla="*/ 2147483647 h 166"/>
                  <a:gd name="T40" fmla="*/ 2147483647 w 92"/>
                  <a:gd name="T41" fmla="*/ 2147483647 h 166"/>
                  <a:gd name="T42" fmla="*/ 2147483647 w 92"/>
                  <a:gd name="T43" fmla="*/ 2147483647 h 166"/>
                  <a:gd name="T44" fmla="*/ 2147483647 w 92"/>
                  <a:gd name="T45" fmla="*/ 2147483647 h 166"/>
                  <a:gd name="T46" fmla="*/ 2147483647 w 92"/>
                  <a:gd name="T47" fmla="*/ 2147483647 h 166"/>
                  <a:gd name="T48" fmla="*/ 2147483647 w 92"/>
                  <a:gd name="T49" fmla="*/ 2147483647 h 166"/>
                  <a:gd name="T50" fmla="*/ 2147483647 w 92"/>
                  <a:gd name="T51" fmla="*/ 2147483647 h 166"/>
                  <a:gd name="T52" fmla="*/ 2147483647 w 92"/>
                  <a:gd name="T53" fmla="*/ 2147483647 h 166"/>
                  <a:gd name="T54" fmla="*/ 2147483647 w 92"/>
                  <a:gd name="T55" fmla="*/ 2147483647 h 166"/>
                  <a:gd name="T56" fmla="*/ 2147483647 w 92"/>
                  <a:gd name="T57" fmla="*/ 2147483647 h 166"/>
                  <a:gd name="T58" fmla="*/ 2147483647 w 92"/>
                  <a:gd name="T59" fmla="*/ 2147483647 h 166"/>
                  <a:gd name="T60" fmla="*/ 2147483647 w 92"/>
                  <a:gd name="T61" fmla="*/ 2147483647 h 166"/>
                  <a:gd name="T62" fmla="*/ 2147483647 w 92"/>
                  <a:gd name="T63" fmla="*/ 2147483647 h 166"/>
                  <a:gd name="T64" fmla="*/ 2147483647 w 92"/>
                  <a:gd name="T65" fmla="*/ 2147483647 h 166"/>
                  <a:gd name="T66" fmla="*/ 2147483647 w 92"/>
                  <a:gd name="T67" fmla="*/ 2147483647 h 166"/>
                  <a:gd name="T68" fmla="*/ 2147483647 w 92"/>
                  <a:gd name="T69" fmla="*/ 2147483647 h 166"/>
                  <a:gd name="T70" fmla="*/ 2147483647 w 92"/>
                  <a:gd name="T71" fmla="*/ 1996739521 h 166"/>
                  <a:gd name="T72" fmla="*/ 2147483647 w 92"/>
                  <a:gd name="T73" fmla="*/ 2147483647 h 166"/>
                  <a:gd name="T74" fmla="*/ 2147483647 w 92"/>
                  <a:gd name="T75" fmla="*/ 2147483647 h 166"/>
                  <a:gd name="T76" fmla="*/ 2147483647 w 92"/>
                  <a:gd name="T77" fmla="*/ 2147483647 h 166"/>
                  <a:gd name="T78" fmla="*/ 2147483647 w 92"/>
                  <a:gd name="T79" fmla="*/ 2147483647 h 166"/>
                  <a:gd name="T80" fmla="*/ 2147483647 w 92"/>
                  <a:gd name="T81" fmla="*/ 2147483647 h 166"/>
                  <a:gd name="T82" fmla="*/ 2147483647 w 92"/>
                  <a:gd name="T83" fmla="*/ 1689570742 h 166"/>
                  <a:gd name="T84" fmla="*/ 2147483647 w 92"/>
                  <a:gd name="T85" fmla="*/ 1075233718 h 166"/>
                  <a:gd name="T86" fmla="*/ 1617925891 w 92"/>
                  <a:gd name="T87" fmla="*/ 460896159 h 166"/>
                  <a:gd name="T88" fmla="*/ 808962945 w 92"/>
                  <a:gd name="T89" fmla="*/ 153727915 h 166"/>
                  <a:gd name="T90" fmla="*/ 0 w 92"/>
                  <a:gd name="T91" fmla="*/ 0 h 166"/>
                  <a:gd name="T92" fmla="*/ 0 w 92"/>
                  <a:gd name="T93" fmla="*/ 1535842827 h 166"/>
                  <a:gd name="T94" fmla="*/ 0 w 92"/>
                  <a:gd name="T95" fmla="*/ 2147483647 h 166"/>
                  <a:gd name="T96" fmla="*/ 0 w 92"/>
                  <a:gd name="T97" fmla="*/ 2147483647 h 166"/>
                  <a:gd name="T98" fmla="*/ 0 w 92"/>
                  <a:gd name="T99" fmla="*/ 2147483647 h 166"/>
                  <a:gd name="T100" fmla="*/ 0 w 92"/>
                  <a:gd name="T101" fmla="*/ 2147483647 h 166"/>
                  <a:gd name="T102" fmla="*/ 0 w 92"/>
                  <a:gd name="T103" fmla="*/ 2147483647 h 16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2" h="166">
                    <a:moveTo>
                      <a:pt x="0" y="81"/>
                    </a:moveTo>
                    <a:lnTo>
                      <a:pt x="0" y="148"/>
                    </a:lnTo>
                    <a:lnTo>
                      <a:pt x="5" y="144"/>
                    </a:lnTo>
                    <a:lnTo>
                      <a:pt x="12" y="139"/>
                    </a:lnTo>
                    <a:lnTo>
                      <a:pt x="14" y="137"/>
                    </a:lnTo>
                    <a:lnTo>
                      <a:pt x="17" y="135"/>
                    </a:lnTo>
                    <a:lnTo>
                      <a:pt x="18" y="132"/>
                    </a:lnTo>
                    <a:lnTo>
                      <a:pt x="19" y="130"/>
                    </a:lnTo>
                    <a:lnTo>
                      <a:pt x="20" y="138"/>
                    </a:lnTo>
                    <a:lnTo>
                      <a:pt x="24" y="148"/>
                    </a:lnTo>
                    <a:lnTo>
                      <a:pt x="27" y="154"/>
                    </a:lnTo>
                    <a:lnTo>
                      <a:pt x="30" y="159"/>
                    </a:lnTo>
                    <a:lnTo>
                      <a:pt x="35" y="163"/>
                    </a:lnTo>
                    <a:lnTo>
                      <a:pt x="39" y="166"/>
                    </a:lnTo>
                    <a:lnTo>
                      <a:pt x="41" y="158"/>
                    </a:lnTo>
                    <a:lnTo>
                      <a:pt x="41" y="148"/>
                    </a:lnTo>
                    <a:lnTo>
                      <a:pt x="41" y="137"/>
                    </a:lnTo>
                    <a:lnTo>
                      <a:pt x="41" y="126"/>
                    </a:lnTo>
                    <a:lnTo>
                      <a:pt x="40" y="107"/>
                    </a:lnTo>
                    <a:lnTo>
                      <a:pt x="39" y="99"/>
                    </a:lnTo>
                    <a:lnTo>
                      <a:pt x="48" y="100"/>
                    </a:lnTo>
                    <a:lnTo>
                      <a:pt x="57" y="102"/>
                    </a:lnTo>
                    <a:lnTo>
                      <a:pt x="64" y="105"/>
                    </a:lnTo>
                    <a:lnTo>
                      <a:pt x="71" y="108"/>
                    </a:lnTo>
                    <a:lnTo>
                      <a:pt x="76" y="111"/>
                    </a:lnTo>
                    <a:lnTo>
                      <a:pt x="82" y="114"/>
                    </a:lnTo>
                    <a:lnTo>
                      <a:pt x="87" y="116"/>
                    </a:lnTo>
                    <a:lnTo>
                      <a:pt x="92" y="118"/>
                    </a:lnTo>
                    <a:lnTo>
                      <a:pt x="85" y="103"/>
                    </a:lnTo>
                    <a:lnTo>
                      <a:pt x="81" y="89"/>
                    </a:lnTo>
                    <a:lnTo>
                      <a:pt x="76" y="75"/>
                    </a:lnTo>
                    <a:lnTo>
                      <a:pt x="73" y="60"/>
                    </a:lnTo>
                    <a:lnTo>
                      <a:pt x="70" y="47"/>
                    </a:lnTo>
                    <a:lnTo>
                      <a:pt x="67" y="34"/>
                    </a:lnTo>
                    <a:lnTo>
                      <a:pt x="63" y="23"/>
                    </a:lnTo>
                    <a:lnTo>
                      <a:pt x="59" y="13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0" y="23"/>
                    </a:lnTo>
                    <a:lnTo>
                      <a:pt x="42" y="19"/>
                    </a:lnTo>
                    <a:lnTo>
                      <a:pt x="35" y="15"/>
                    </a:lnTo>
                    <a:lnTo>
                      <a:pt x="29" y="11"/>
                    </a:lnTo>
                    <a:lnTo>
                      <a:pt x="23" y="7"/>
                    </a:lnTo>
                    <a:lnTo>
                      <a:pt x="16" y="3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33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5" name="Freeform 336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13208268" y="4214385"/>
                <a:ext cx="71437" cy="55562"/>
              </a:xfrm>
              <a:custGeom>
                <a:avLst/>
                <a:gdLst>
                  <a:gd name="T0" fmla="*/ 557808499 w 166"/>
                  <a:gd name="T1" fmla="*/ 0 h 62"/>
                  <a:gd name="T2" fmla="*/ 1115802475 w 166"/>
                  <a:gd name="T3" fmla="*/ 2147483647 h 62"/>
                  <a:gd name="T4" fmla="*/ 1753430202 w 166"/>
                  <a:gd name="T5" fmla="*/ 2147483647 h 62"/>
                  <a:gd name="T6" fmla="*/ 2147483647 w 166"/>
                  <a:gd name="T7" fmla="*/ 2147483647 h 62"/>
                  <a:gd name="T8" fmla="*/ 2147483647 w 166"/>
                  <a:gd name="T9" fmla="*/ 2147483647 h 62"/>
                  <a:gd name="T10" fmla="*/ 2147483647 w 166"/>
                  <a:gd name="T11" fmla="*/ 2147483647 h 62"/>
                  <a:gd name="T12" fmla="*/ 2147483647 w 166"/>
                  <a:gd name="T13" fmla="*/ 2147483647 h 62"/>
                  <a:gd name="T14" fmla="*/ 2147483647 w 166"/>
                  <a:gd name="T15" fmla="*/ 2147483647 h 62"/>
                  <a:gd name="T16" fmla="*/ 2147483647 w 166"/>
                  <a:gd name="T17" fmla="*/ 2147483647 h 62"/>
                  <a:gd name="T18" fmla="*/ 2147483647 w 166"/>
                  <a:gd name="T19" fmla="*/ 719582566 h 62"/>
                  <a:gd name="T20" fmla="*/ 2147483647 w 166"/>
                  <a:gd name="T21" fmla="*/ 0 h 62"/>
                  <a:gd name="T22" fmla="*/ 2147483647 w 166"/>
                  <a:gd name="T23" fmla="*/ 719582566 h 62"/>
                  <a:gd name="T24" fmla="*/ 2147483647 w 166"/>
                  <a:gd name="T25" fmla="*/ 1439164236 h 62"/>
                  <a:gd name="T26" fmla="*/ 2147483647 w 166"/>
                  <a:gd name="T27" fmla="*/ 2147483647 h 62"/>
                  <a:gd name="T28" fmla="*/ 2147483647 w 166"/>
                  <a:gd name="T29" fmla="*/ 2147483647 h 62"/>
                  <a:gd name="T30" fmla="*/ 2147483647 w 166"/>
                  <a:gd name="T31" fmla="*/ 2147483647 h 62"/>
                  <a:gd name="T32" fmla="*/ 2147483647 w 166"/>
                  <a:gd name="T33" fmla="*/ 2147483647 h 62"/>
                  <a:gd name="T34" fmla="*/ 2147483647 w 166"/>
                  <a:gd name="T35" fmla="*/ 2147483647 h 62"/>
                  <a:gd name="T36" fmla="*/ 2147483647 w 166"/>
                  <a:gd name="T37" fmla="*/ 2147483647 h 62"/>
                  <a:gd name="T38" fmla="*/ 2147483647 w 166"/>
                  <a:gd name="T39" fmla="*/ 2147483647 h 62"/>
                  <a:gd name="T40" fmla="*/ 2147483647 w 166"/>
                  <a:gd name="T41" fmla="*/ 2147483647 h 62"/>
                  <a:gd name="T42" fmla="*/ 2147483647 w 166"/>
                  <a:gd name="T43" fmla="*/ 2147483647 h 62"/>
                  <a:gd name="T44" fmla="*/ 2147483647 w 166"/>
                  <a:gd name="T45" fmla="*/ 2147483647 h 62"/>
                  <a:gd name="T46" fmla="*/ 2147483647 w 166"/>
                  <a:gd name="T47" fmla="*/ 2147483647 h 62"/>
                  <a:gd name="T48" fmla="*/ 2147483647 w 166"/>
                  <a:gd name="T49" fmla="*/ 2147483647 h 62"/>
                  <a:gd name="T50" fmla="*/ 2147483647 w 166"/>
                  <a:gd name="T51" fmla="*/ 2147483647 h 62"/>
                  <a:gd name="T52" fmla="*/ 2147483647 w 166"/>
                  <a:gd name="T53" fmla="*/ 2147483647 h 62"/>
                  <a:gd name="T54" fmla="*/ 2147483647 w 166"/>
                  <a:gd name="T55" fmla="*/ 2147483647 h 62"/>
                  <a:gd name="T56" fmla="*/ 2147483647 w 166"/>
                  <a:gd name="T57" fmla="*/ 2147483647 h 62"/>
                  <a:gd name="T58" fmla="*/ 2147483647 w 166"/>
                  <a:gd name="T59" fmla="*/ 2147483647 h 62"/>
                  <a:gd name="T60" fmla="*/ 2147483647 w 166"/>
                  <a:gd name="T61" fmla="*/ 2147483647 h 62"/>
                  <a:gd name="T62" fmla="*/ 2147483647 w 166"/>
                  <a:gd name="T63" fmla="*/ 2147483647 h 62"/>
                  <a:gd name="T64" fmla="*/ 2147483647 w 166"/>
                  <a:gd name="T65" fmla="*/ 2147483647 h 62"/>
                  <a:gd name="T66" fmla="*/ 2147483647 w 166"/>
                  <a:gd name="T67" fmla="*/ 2147483647 h 62"/>
                  <a:gd name="T68" fmla="*/ 2147483647 w 166"/>
                  <a:gd name="T69" fmla="*/ 2147483647 h 62"/>
                  <a:gd name="T70" fmla="*/ 2147483647 w 166"/>
                  <a:gd name="T71" fmla="*/ 2147483647 h 62"/>
                  <a:gd name="T72" fmla="*/ 2147483647 w 166"/>
                  <a:gd name="T73" fmla="*/ 2147483647 h 62"/>
                  <a:gd name="T74" fmla="*/ 2072151542 w 166"/>
                  <a:gd name="T75" fmla="*/ 2147483647 h 62"/>
                  <a:gd name="T76" fmla="*/ 1514343043 w 166"/>
                  <a:gd name="T77" fmla="*/ 2147483647 h 62"/>
                  <a:gd name="T78" fmla="*/ 956349067 w 166"/>
                  <a:gd name="T79" fmla="*/ 2147483647 h 62"/>
                  <a:gd name="T80" fmla="*/ 557808499 w 166"/>
                  <a:gd name="T81" fmla="*/ 2147483647 h 62"/>
                  <a:gd name="T82" fmla="*/ 159453409 w 166"/>
                  <a:gd name="T83" fmla="*/ 2147483647 h 62"/>
                  <a:gd name="T84" fmla="*/ 79634181 w 166"/>
                  <a:gd name="T85" fmla="*/ 2147483647 h 62"/>
                  <a:gd name="T86" fmla="*/ 0 w 166"/>
                  <a:gd name="T87" fmla="*/ 2147483647 h 62"/>
                  <a:gd name="T88" fmla="*/ 79634181 w 166"/>
                  <a:gd name="T89" fmla="*/ 2147483647 h 62"/>
                  <a:gd name="T90" fmla="*/ 318721340 w 166"/>
                  <a:gd name="T91" fmla="*/ 2147483647 h 62"/>
                  <a:gd name="T92" fmla="*/ 557808499 w 166"/>
                  <a:gd name="T93" fmla="*/ 0 h 6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66" h="62">
                    <a:moveTo>
                      <a:pt x="7" y="0"/>
                    </a:moveTo>
                    <a:lnTo>
                      <a:pt x="14" y="3"/>
                    </a:lnTo>
                    <a:lnTo>
                      <a:pt x="22" y="6"/>
                    </a:lnTo>
                    <a:lnTo>
                      <a:pt x="30" y="7"/>
                    </a:lnTo>
                    <a:lnTo>
                      <a:pt x="36" y="8"/>
                    </a:lnTo>
                    <a:lnTo>
                      <a:pt x="48" y="8"/>
                    </a:lnTo>
                    <a:lnTo>
                      <a:pt x="58" y="7"/>
                    </a:lnTo>
                    <a:lnTo>
                      <a:pt x="69" y="5"/>
                    </a:lnTo>
                    <a:lnTo>
                      <a:pt x="80" y="3"/>
                    </a:lnTo>
                    <a:lnTo>
                      <a:pt x="92" y="1"/>
                    </a:lnTo>
                    <a:lnTo>
                      <a:pt x="106" y="0"/>
                    </a:lnTo>
                    <a:lnTo>
                      <a:pt x="111" y="1"/>
                    </a:lnTo>
                    <a:lnTo>
                      <a:pt x="115" y="2"/>
                    </a:lnTo>
                    <a:lnTo>
                      <a:pt x="120" y="5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8" y="26"/>
                    </a:lnTo>
                    <a:lnTo>
                      <a:pt x="145" y="36"/>
                    </a:lnTo>
                    <a:lnTo>
                      <a:pt x="151" y="45"/>
                    </a:lnTo>
                    <a:lnTo>
                      <a:pt x="155" y="49"/>
                    </a:lnTo>
                    <a:lnTo>
                      <a:pt x="158" y="52"/>
                    </a:lnTo>
                    <a:lnTo>
                      <a:pt x="162" y="54"/>
                    </a:lnTo>
                    <a:lnTo>
                      <a:pt x="166" y="56"/>
                    </a:lnTo>
                    <a:lnTo>
                      <a:pt x="159" y="57"/>
                    </a:lnTo>
                    <a:lnTo>
                      <a:pt x="151" y="59"/>
                    </a:lnTo>
                    <a:lnTo>
                      <a:pt x="143" y="61"/>
                    </a:lnTo>
                    <a:lnTo>
                      <a:pt x="133" y="62"/>
                    </a:lnTo>
                    <a:lnTo>
                      <a:pt x="125" y="61"/>
                    </a:lnTo>
                    <a:lnTo>
                      <a:pt x="119" y="58"/>
                    </a:lnTo>
                    <a:lnTo>
                      <a:pt x="112" y="54"/>
                    </a:lnTo>
                    <a:lnTo>
                      <a:pt x="106" y="50"/>
                    </a:lnTo>
                    <a:lnTo>
                      <a:pt x="100" y="45"/>
                    </a:lnTo>
                    <a:lnTo>
                      <a:pt x="93" y="41"/>
                    </a:lnTo>
                    <a:lnTo>
                      <a:pt x="87" y="39"/>
                    </a:lnTo>
                    <a:lnTo>
                      <a:pt x="79" y="38"/>
                    </a:lnTo>
                    <a:lnTo>
                      <a:pt x="56" y="38"/>
                    </a:lnTo>
                    <a:lnTo>
                      <a:pt x="35" y="39"/>
                    </a:lnTo>
                    <a:lnTo>
                      <a:pt x="26" y="41"/>
                    </a:lnTo>
                    <a:lnTo>
                      <a:pt x="19" y="43"/>
                    </a:lnTo>
                    <a:lnTo>
                      <a:pt x="12" y="46"/>
                    </a:lnTo>
                    <a:lnTo>
                      <a:pt x="7" y="50"/>
                    </a:lnTo>
                    <a:lnTo>
                      <a:pt x="2" y="45"/>
                    </a:lnTo>
                    <a:lnTo>
                      <a:pt x="1" y="40"/>
                    </a:lnTo>
                    <a:lnTo>
                      <a:pt x="0" y="34"/>
                    </a:lnTo>
                    <a:lnTo>
                      <a:pt x="1" y="28"/>
                    </a:lnTo>
                    <a:lnTo>
                      <a:pt x="4" y="15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6" name="Freeform 337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13284468" y="4138185"/>
                <a:ext cx="85725" cy="63500"/>
              </a:xfrm>
              <a:custGeom>
                <a:avLst/>
                <a:gdLst>
                  <a:gd name="T0" fmla="*/ 2147483647 w 193"/>
                  <a:gd name="T1" fmla="*/ 2147483647 h 121"/>
                  <a:gd name="T2" fmla="*/ 2147483647 w 193"/>
                  <a:gd name="T3" fmla="*/ 2147483647 h 121"/>
                  <a:gd name="T4" fmla="*/ 2147483647 w 193"/>
                  <a:gd name="T5" fmla="*/ 1734520343 h 121"/>
                  <a:gd name="T6" fmla="*/ 2147483647 w 193"/>
                  <a:gd name="T7" fmla="*/ 578081434 h 121"/>
                  <a:gd name="T8" fmla="*/ 2147483647 w 193"/>
                  <a:gd name="T9" fmla="*/ 144589500 h 121"/>
                  <a:gd name="T10" fmla="*/ 2147483647 w 193"/>
                  <a:gd name="T11" fmla="*/ 144589500 h 121"/>
                  <a:gd name="T12" fmla="*/ 2147483647 w 193"/>
                  <a:gd name="T13" fmla="*/ 433492459 h 121"/>
                  <a:gd name="T14" fmla="*/ 2147483647 w 193"/>
                  <a:gd name="T15" fmla="*/ 1445341868 h 121"/>
                  <a:gd name="T16" fmla="*/ 2147483647 w 193"/>
                  <a:gd name="T17" fmla="*/ 2147483647 h 121"/>
                  <a:gd name="T18" fmla="*/ 2147483647 w 193"/>
                  <a:gd name="T19" fmla="*/ 2147483647 h 121"/>
                  <a:gd name="T20" fmla="*/ 2147483647 w 193"/>
                  <a:gd name="T21" fmla="*/ 2147483647 h 121"/>
                  <a:gd name="T22" fmla="*/ 2147483647 w 193"/>
                  <a:gd name="T23" fmla="*/ 2147483647 h 121"/>
                  <a:gd name="T24" fmla="*/ 2147483647 w 193"/>
                  <a:gd name="T25" fmla="*/ 2147483647 h 121"/>
                  <a:gd name="T26" fmla="*/ 2147483647 w 193"/>
                  <a:gd name="T27" fmla="*/ 2147483647 h 121"/>
                  <a:gd name="T28" fmla="*/ 2147483647 w 193"/>
                  <a:gd name="T29" fmla="*/ 2147483647 h 121"/>
                  <a:gd name="T30" fmla="*/ 2147483647 w 193"/>
                  <a:gd name="T31" fmla="*/ 2147483647 h 121"/>
                  <a:gd name="T32" fmla="*/ 2147483647 w 193"/>
                  <a:gd name="T33" fmla="*/ 2147483647 h 121"/>
                  <a:gd name="T34" fmla="*/ 2147483647 w 193"/>
                  <a:gd name="T35" fmla="*/ 2147483647 h 121"/>
                  <a:gd name="T36" fmla="*/ 2147483647 w 193"/>
                  <a:gd name="T37" fmla="*/ 2147483647 h 121"/>
                  <a:gd name="T38" fmla="*/ 2147483647 w 193"/>
                  <a:gd name="T39" fmla="*/ 2147483647 h 121"/>
                  <a:gd name="T40" fmla="*/ 2147483647 w 193"/>
                  <a:gd name="T41" fmla="*/ 2147483647 h 121"/>
                  <a:gd name="T42" fmla="*/ 2147483647 w 193"/>
                  <a:gd name="T43" fmla="*/ 2147483647 h 121"/>
                  <a:gd name="T44" fmla="*/ 2147483647 w 193"/>
                  <a:gd name="T45" fmla="*/ 2147483647 h 121"/>
                  <a:gd name="T46" fmla="*/ 2147483647 w 193"/>
                  <a:gd name="T47" fmla="*/ 2147483647 h 121"/>
                  <a:gd name="T48" fmla="*/ 2147483647 w 193"/>
                  <a:gd name="T49" fmla="*/ 2147483647 h 121"/>
                  <a:gd name="T50" fmla="*/ 2147483647 w 193"/>
                  <a:gd name="T51" fmla="*/ 2147483647 h 121"/>
                  <a:gd name="T52" fmla="*/ 2147483647 w 193"/>
                  <a:gd name="T53" fmla="*/ 2147483647 h 121"/>
                  <a:gd name="T54" fmla="*/ 1139140006 w 193"/>
                  <a:gd name="T55" fmla="*/ 2147483647 h 121"/>
                  <a:gd name="T56" fmla="*/ 262984756 w 193"/>
                  <a:gd name="T57" fmla="*/ 2147483647 h 121"/>
                  <a:gd name="T58" fmla="*/ 0 w 193"/>
                  <a:gd name="T59" fmla="*/ 2147483647 h 121"/>
                  <a:gd name="T60" fmla="*/ 87595848 w 193"/>
                  <a:gd name="T61" fmla="*/ 2147483647 h 121"/>
                  <a:gd name="T62" fmla="*/ 613368149 w 193"/>
                  <a:gd name="T63" fmla="*/ 2147483647 h 121"/>
                  <a:gd name="T64" fmla="*/ 1752508155 w 193"/>
                  <a:gd name="T65" fmla="*/ 2147483647 h 1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93" h="121">
                    <a:moveTo>
                      <a:pt x="26" y="36"/>
                    </a:moveTo>
                    <a:lnTo>
                      <a:pt x="33" y="35"/>
                    </a:lnTo>
                    <a:lnTo>
                      <a:pt x="39" y="31"/>
                    </a:lnTo>
                    <a:lnTo>
                      <a:pt x="48" y="25"/>
                    </a:lnTo>
                    <a:lnTo>
                      <a:pt x="58" y="18"/>
                    </a:lnTo>
                    <a:lnTo>
                      <a:pt x="68" y="12"/>
                    </a:lnTo>
                    <a:lnTo>
                      <a:pt x="79" y="6"/>
                    </a:lnTo>
                    <a:lnTo>
                      <a:pt x="84" y="4"/>
                    </a:lnTo>
                    <a:lnTo>
                      <a:pt x="90" y="2"/>
                    </a:lnTo>
                    <a:lnTo>
                      <a:pt x="94" y="1"/>
                    </a:lnTo>
                    <a:lnTo>
                      <a:pt x="100" y="0"/>
                    </a:lnTo>
                    <a:lnTo>
                      <a:pt x="105" y="1"/>
                    </a:lnTo>
                    <a:lnTo>
                      <a:pt x="111" y="1"/>
                    </a:lnTo>
                    <a:lnTo>
                      <a:pt x="116" y="3"/>
                    </a:lnTo>
                    <a:lnTo>
                      <a:pt x="122" y="5"/>
                    </a:lnTo>
                    <a:lnTo>
                      <a:pt x="131" y="10"/>
                    </a:lnTo>
                    <a:lnTo>
                      <a:pt x="139" y="15"/>
                    </a:lnTo>
                    <a:lnTo>
                      <a:pt x="148" y="21"/>
                    </a:lnTo>
                    <a:lnTo>
                      <a:pt x="158" y="26"/>
                    </a:lnTo>
                    <a:lnTo>
                      <a:pt x="162" y="28"/>
                    </a:lnTo>
                    <a:lnTo>
                      <a:pt x="168" y="29"/>
                    </a:lnTo>
                    <a:lnTo>
                      <a:pt x="173" y="30"/>
                    </a:lnTo>
                    <a:lnTo>
                      <a:pt x="179" y="30"/>
                    </a:lnTo>
                    <a:lnTo>
                      <a:pt x="179" y="48"/>
                    </a:lnTo>
                    <a:lnTo>
                      <a:pt x="178" y="60"/>
                    </a:lnTo>
                    <a:lnTo>
                      <a:pt x="178" y="66"/>
                    </a:lnTo>
                    <a:lnTo>
                      <a:pt x="179" y="71"/>
                    </a:lnTo>
                    <a:lnTo>
                      <a:pt x="182" y="75"/>
                    </a:lnTo>
                    <a:lnTo>
                      <a:pt x="187" y="80"/>
                    </a:lnTo>
                    <a:lnTo>
                      <a:pt x="187" y="89"/>
                    </a:lnTo>
                    <a:lnTo>
                      <a:pt x="187" y="97"/>
                    </a:lnTo>
                    <a:lnTo>
                      <a:pt x="188" y="102"/>
                    </a:lnTo>
                    <a:lnTo>
                      <a:pt x="189" y="106"/>
                    </a:lnTo>
                    <a:lnTo>
                      <a:pt x="191" y="109"/>
                    </a:lnTo>
                    <a:lnTo>
                      <a:pt x="193" y="111"/>
                    </a:lnTo>
                    <a:lnTo>
                      <a:pt x="188" y="114"/>
                    </a:lnTo>
                    <a:lnTo>
                      <a:pt x="182" y="117"/>
                    </a:lnTo>
                    <a:lnTo>
                      <a:pt x="177" y="118"/>
                    </a:lnTo>
                    <a:lnTo>
                      <a:pt x="171" y="120"/>
                    </a:lnTo>
                    <a:lnTo>
                      <a:pt x="159" y="121"/>
                    </a:lnTo>
                    <a:lnTo>
                      <a:pt x="146" y="121"/>
                    </a:lnTo>
                    <a:lnTo>
                      <a:pt x="116" y="119"/>
                    </a:lnTo>
                    <a:lnTo>
                      <a:pt x="80" y="117"/>
                    </a:lnTo>
                    <a:lnTo>
                      <a:pt x="72" y="116"/>
                    </a:lnTo>
                    <a:lnTo>
                      <a:pt x="67" y="114"/>
                    </a:lnTo>
                    <a:lnTo>
                      <a:pt x="63" y="110"/>
                    </a:lnTo>
                    <a:lnTo>
                      <a:pt x="59" y="106"/>
                    </a:lnTo>
                    <a:lnTo>
                      <a:pt x="56" y="100"/>
                    </a:lnTo>
                    <a:lnTo>
                      <a:pt x="55" y="93"/>
                    </a:lnTo>
                    <a:lnTo>
                      <a:pt x="54" y="87"/>
                    </a:lnTo>
                    <a:lnTo>
                      <a:pt x="54" y="80"/>
                    </a:lnTo>
                    <a:lnTo>
                      <a:pt x="47" y="79"/>
                    </a:lnTo>
                    <a:lnTo>
                      <a:pt x="39" y="78"/>
                    </a:lnTo>
                    <a:lnTo>
                      <a:pt x="31" y="75"/>
                    </a:lnTo>
                    <a:lnTo>
                      <a:pt x="22" y="72"/>
                    </a:lnTo>
                    <a:lnTo>
                      <a:pt x="13" y="69"/>
                    </a:lnTo>
                    <a:lnTo>
                      <a:pt x="7" y="65"/>
                    </a:lnTo>
                    <a:lnTo>
                      <a:pt x="3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1" y="51"/>
                    </a:lnTo>
                    <a:lnTo>
                      <a:pt x="3" y="48"/>
                    </a:lnTo>
                    <a:lnTo>
                      <a:pt x="7" y="45"/>
                    </a:lnTo>
                    <a:lnTo>
                      <a:pt x="11" y="41"/>
                    </a:lnTo>
                    <a:lnTo>
                      <a:pt x="20" y="38"/>
                    </a:lnTo>
                    <a:lnTo>
                      <a:pt x="26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7" name="Freeform 338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12973318" y="4076272"/>
                <a:ext cx="166687" cy="230188"/>
              </a:xfrm>
              <a:custGeom>
                <a:avLst/>
                <a:gdLst>
                  <a:gd name="T0" fmla="*/ 2147483647 w 379"/>
                  <a:gd name="T1" fmla="*/ 2147483647 h 437"/>
                  <a:gd name="T2" fmla="*/ 2147483647 w 379"/>
                  <a:gd name="T3" fmla="*/ 2147483647 h 437"/>
                  <a:gd name="T4" fmla="*/ 2041659342 w 379"/>
                  <a:gd name="T5" fmla="*/ 2147483647 h 437"/>
                  <a:gd name="T6" fmla="*/ 170219093 w 379"/>
                  <a:gd name="T7" fmla="*/ 2147483647 h 437"/>
                  <a:gd name="T8" fmla="*/ 1276061113 w 379"/>
                  <a:gd name="T9" fmla="*/ 2147483647 h 437"/>
                  <a:gd name="T10" fmla="*/ 2147483647 w 379"/>
                  <a:gd name="T11" fmla="*/ 2147483647 h 437"/>
                  <a:gd name="T12" fmla="*/ 2147483647 w 379"/>
                  <a:gd name="T13" fmla="*/ 2147483647 h 437"/>
                  <a:gd name="T14" fmla="*/ 2147483647 w 379"/>
                  <a:gd name="T15" fmla="*/ 2147483647 h 437"/>
                  <a:gd name="T16" fmla="*/ 2147483647 w 379"/>
                  <a:gd name="T17" fmla="*/ 2147483647 h 437"/>
                  <a:gd name="T18" fmla="*/ 2147483647 w 379"/>
                  <a:gd name="T19" fmla="*/ 2147483647 h 437"/>
                  <a:gd name="T20" fmla="*/ 2147483647 w 379"/>
                  <a:gd name="T21" fmla="*/ 2147483647 h 437"/>
                  <a:gd name="T22" fmla="*/ 2147483647 w 379"/>
                  <a:gd name="T23" fmla="*/ 2147483647 h 437"/>
                  <a:gd name="T24" fmla="*/ 2147483647 w 379"/>
                  <a:gd name="T25" fmla="*/ 2147483647 h 437"/>
                  <a:gd name="T26" fmla="*/ 2147483647 w 379"/>
                  <a:gd name="T27" fmla="*/ 2147483647 h 437"/>
                  <a:gd name="T28" fmla="*/ 2147483647 w 379"/>
                  <a:gd name="T29" fmla="*/ 2147483647 h 437"/>
                  <a:gd name="T30" fmla="*/ 2147483647 w 379"/>
                  <a:gd name="T31" fmla="*/ 2147483647 h 437"/>
                  <a:gd name="T32" fmla="*/ 2147483647 w 379"/>
                  <a:gd name="T33" fmla="*/ 2147483647 h 437"/>
                  <a:gd name="T34" fmla="*/ 2147483647 w 379"/>
                  <a:gd name="T35" fmla="*/ 1022999719 h 437"/>
                  <a:gd name="T36" fmla="*/ 2147483647 w 379"/>
                  <a:gd name="T37" fmla="*/ 1315444355 h 437"/>
                  <a:gd name="T38" fmla="*/ 2147483647 w 379"/>
                  <a:gd name="T39" fmla="*/ 2147483647 h 437"/>
                  <a:gd name="T40" fmla="*/ 2147483647 w 379"/>
                  <a:gd name="T41" fmla="*/ 2147483647 h 437"/>
                  <a:gd name="T42" fmla="*/ 2147483647 w 379"/>
                  <a:gd name="T43" fmla="*/ 2147483647 h 437"/>
                  <a:gd name="T44" fmla="*/ 2147483647 w 379"/>
                  <a:gd name="T45" fmla="*/ 2147483647 h 437"/>
                  <a:gd name="T46" fmla="*/ 2147483647 w 379"/>
                  <a:gd name="T47" fmla="*/ 2147483647 h 437"/>
                  <a:gd name="T48" fmla="*/ 2147483647 w 379"/>
                  <a:gd name="T49" fmla="*/ 2147483647 h 437"/>
                  <a:gd name="T50" fmla="*/ 2147483647 w 379"/>
                  <a:gd name="T51" fmla="*/ 2147483647 h 437"/>
                  <a:gd name="T52" fmla="*/ 2147483647 w 379"/>
                  <a:gd name="T53" fmla="*/ 2147483647 h 437"/>
                  <a:gd name="T54" fmla="*/ 2147483647 w 379"/>
                  <a:gd name="T55" fmla="*/ 2147483647 h 437"/>
                  <a:gd name="T56" fmla="*/ 2147483647 w 379"/>
                  <a:gd name="T57" fmla="*/ 2147483647 h 437"/>
                  <a:gd name="T58" fmla="*/ 2147483647 w 379"/>
                  <a:gd name="T59" fmla="*/ 2147483647 h 437"/>
                  <a:gd name="T60" fmla="*/ 2147483647 w 379"/>
                  <a:gd name="T61" fmla="*/ 2147483647 h 437"/>
                  <a:gd name="T62" fmla="*/ 2147483647 w 379"/>
                  <a:gd name="T63" fmla="*/ 2147483647 h 437"/>
                  <a:gd name="T64" fmla="*/ 2147483647 w 379"/>
                  <a:gd name="T65" fmla="*/ 2147483647 h 437"/>
                  <a:gd name="T66" fmla="*/ 2147483647 w 379"/>
                  <a:gd name="T67" fmla="*/ 2147483647 h 437"/>
                  <a:gd name="T68" fmla="*/ 2147483647 w 379"/>
                  <a:gd name="T69" fmla="*/ 2147483647 h 437"/>
                  <a:gd name="T70" fmla="*/ 2147483647 w 379"/>
                  <a:gd name="T71" fmla="*/ 2147483647 h 437"/>
                  <a:gd name="T72" fmla="*/ 2147483647 w 379"/>
                  <a:gd name="T73" fmla="*/ 2147483647 h 437"/>
                  <a:gd name="T74" fmla="*/ 2147483647 w 379"/>
                  <a:gd name="T75" fmla="*/ 2147483647 h 437"/>
                  <a:gd name="T76" fmla="*/ 2147483647 w 379"/>
                  <a:gd name="T77" fmla="*/ 2147483647 h 437"/>
                  <a:gd name="T78" fmla="*/ 2147483647 w 379"/>
                  <a:gd name="T79" fmla="*/ 2147483647 h 437"/>
                  <a:gd name="T80" fmla="*/ 2147483647 w 379"/>
                  <a:gd name="T81" fmla="*/ 2147483647 h 437"/>
                  <a:gd name="T82" fmla="*/ 2147483647 w 379"/>
                  <a:gd name="T83" fmla="*/ 2147483647 h 437"/>
                  <a:gd name="T84" fmla="*/ 2147483647 w 379"/>
                  <a:gd name="T85" fmla="*/ 2147483647 h 437"/>
                  <a:gd name="T86" fmla="*/ 2147483647 w 379"/>
                  <a:gd name="T87" fmla="*/ 2147483647 h 437"/>
                  <a:gd name="T88" fmla="*/ 2147483647 w 379"/>
                  <a:gd name="T89" fmla="*/ 2147483647 h 437"/>
                  <a:gd name="T90" fmla="*/ 2147483647 w 379"/>
                  <a:gd name="T91" fmla="*/ 2147483647 h 437"/>
                  <a:gd name="T92" fmla="*/ 2147483647 w 379"/>
                  <a:gd name="T93" fmla="*/ 2147483647 h 437"/>
                  <a:gd name="T94" fmla="*/ 2147483647 w 379"/>
                  <a:gd name="T95" fmla="*/ 2147483647 h 437"/>
                  <a:gd name="T96" fmla="*/ 2147483647 w 379"/>
                  <a:gd name="T97" fmla="*/ 2147483647 h 437"/>
                  <a:gd name="T98" fmla="*/ 2147483647 w 379"/>
                  <a:gd name="T99" fmla="*/ 2147483647 h 437"/>
                  <a:gd name="T100" fmla="*/ 2147483647 w 379"/>
                  <a:gd name="T101" fmla="*/ 2147483647 h 437"/>
                  <a:gd name="T102" fmla="*/ 2147483647 w 379"/>
                  <a:gd name="T103" fmla="*/ 2147483647 h 437"/>
                  <a:gd name="T104" fmla="*/ 2147483647 w 379"/>
                  <a:gd name="T105" fmla="*/ 2147483647 h 437"/>
                  <a:gd name="T106" fmla="*/ 2147483647 w 379"/>
                  <a:gd name="T107" fmla="*/ 2147483647 h 437"/>
                  <a:gd name="T108" fmla="*/ 2147483647 w 379"/>
                  <a:gd name="T109" fmla="*/ 2147483647 h 437"/>
                  <a:gd name="T110" fmla="*/ 2147483647 w 379"/>
                  <a:gd name="T111" fmla="*/ 2147483647 h 437"/>
                  <a:gd name="T112" fmla="*/ 2147483647 w 379"/>
                  <a:gd name="T113" fmla="*/ 2147483647 h 437"/>
                  <a:gd name="T114" fmla="*/ 2147483647 w 379"/>
                  <a:gd name="T115" fmla="*/ 2147483647 h 437"/>
                  <a:gd name="T116" fmla="*/ 2147483647 w 379"/>
                  <a:gd name="T117" fmla="*/ 2147483647 h 437"/>
                  <a:gd name="T118" fmla="*/ 2147483647 w 379"/>
                  <a:gd name="T119" fmla="*/ 2147483647 h 437"/>
                  <a:gd name="T120" fmla="*/ 2147483647 w 379"/>
                  <a:gd name="T121" fmla="*/ 2147483647 h 43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79" h="437">
                    <a:moveTo>
                      <a:pt x="59" y="437"/>
                    </a:moveTo>
                    <a:lnTo>
                      <a:pt x="33" y="437"/>
                    </a:lnTo>
                    <a:lnTo>
                      <a:pt x="34" y="430"/>
                    </a:lnTo>
                    <a:lnTo>
                      <a:pt x="37" y="419"/>
                    </a:lnTo>
                    <a:lnTo>
                      <a:pt x="38" y="415"/>
                    </a:lnTo>
                    <a:lnTo>
                      <a:pt x="41" y="410"/>
                    </a:lnTo>
                    <a:lnTo>
                      <a:pt x="44" y="408"/>
                    </a:lnTo>
                    <a:lnTo>
                      <a:pt x="46" y="407"/>
                    </a:lnTo>
                    <a:lnTo>
                      <a:pt x="46" y="320"/>
                    </a:lnTo>
                    <a:lnTo>
                      <a:pt x="38" y="317"/>
                    </a:lnTo>
                    <a:lnTo>
                      <a:pt x="32" y="314"/>
                    </a:lnTo>
                    <a:lnTo>
                      <a:pt x="24" y="311"/>
                    </a:lnTo>
                    <a:lnTo>
                      <a:pt x="18" y="307"/>
                    </a:lnTo>
                    <a:lnTo>
                      <a:pt x="12" y="303"/>
                    </a:lnTo>
                    <a:lnTo>
                      <a:pt x="7" y="299"/>
                    </a:lnTo>
                    <a:lnTo>
                      <a:pt x="2" y="294"/>
                    </a:lnTo>
                    <a:lnTo>
                      <a:pt x="0" y="290"/>
                    </a:lnTo>
                    <a:lnTo>
                      <a:pt x="5" y="284"/>
                    </a:lnTo>
                    <a:lnTo>
                      <a:pt x="11" y="278"/>
                    </a:lnTo>
                    <a:lnTo>
                      <a:pt x="15" y="270"/>
                    </a:lnTo>
                    <a:lnTo>
                      <a:pt x="19" y="264"/>
                    </a:lnTo>
                    <a:lnTo>
                      <a:pt x="24" y="250"/>
                    </a:lnTo>
                    <a:lnTo>
                      <a:pt x="28" y="236"/>
                    </a:lnTo>
                    <a:lnTo>
                      <a:pt x="31" y="221"/>
                    </a:lnTo>
                    <a:lnTo>
                      <a:pt x="32" y="204"/>
                    </a:lnTo>
                    <a:lnTo>
                      <a:pt x="33" y="189"/>
                    </a:lnTo>
                    <a:lnTo>
                      <a:pt x="33" y="173"/>
                    </a:lnTo>
                    <a:lnTo>
                      <a:pt x="39" y="172"/>
                    </a:lnTo>
                    <a:lnTo>
                      <a:pt x="45" y="170"/>
                    </a:lnTo>
                    <a:lnTo>
                      <a:pt x="50" y="168"/>
                    </a:lnTo>
                    <a:lnTo>
                      <a:pt x="54" y="164"/>
                    </a:lnTo>
                    <a:lnTo>
                      <a:pt x="57" y="159"/>
                    </a:lnTo>
                    <a:lnTo>
                      <a:pt x="59" y="154"/>
                    </a:lnTo>
                    <a:lnTo>
                      <a:pt x="61" y="149"/>
                    </a:lnTo>
                    <a:lnTo>
                      <a:pt x="63" y="143"/>
                    </a:lnTo>
                    <a:lnTo>
                      <a:pt x="65" y="130"/>
                    </a:lnTo>
                    <a:lnTo>
                      <a:pt x="66" y="115"/>
                    </a:lnTo>
                    <a:lnTo>
                      <a:pt x="69" y="100"/>
                    </a:lnTo>
                    <a:lnTo>
                      <a:pt x="72" y="86"/>
                    </a:lnTo>
                    <a:lnTo>
                      <a:pt x="76" y="78"/>
                    </a:lnTo>
                    <a:lnTo>
                      <a:pt x="78" y="71"/>
                    </a:lnTo>
                    <a:lnTo>
                      <a:pt x="81" y="64"/>
                    </a:lnTo>
                    <a:lnTo>
                      <a:pt x="86" y="57"/>
                    </a:lnTo>
                    <a:lnTo>
                      <a:pt x="90" y="51"/>
                    </a:lnTo>
                    <a:lnTo>
                      <a:pt x="95" y="44"/>
                    </a:lnTo>
                    <a:lnTo>
                      <a:pt x="101" y="39"/>
                    </a:lnTo>
                    <a:lnTo>
                      <a:pt x="108" y="35"/>
                    </a:lnTo>
                    <a:lnTo>
                      <a:pt x="115" y="31"/>
                    </a:lnTo>
                    <a:lnTo>
                      <a:pt x="123" y="29"/>
                    </a:lnTo>
                    <a:lnTo>
                      <a:pt x="132" y="27"/>
                    </a:lnTo>
                    <a:lnTo>
                      <a:pt x="142" y="25"/>
                    </a:lnTo>
                    <a:lnTo>
                      <a:pt x="153" y="25"/>
                    </a:lnTo>
                    <a:lnTo>
                      <a:pt x="165" y="26"/>
                    </a:lnTo>
                    <a:lnTo>
                      <a:pt x="178" y="28"/>
                    </a:lnTo>
                    <a:lnTo>
                      <a:pt x="192" y="30"/>
                    </a:lnTo>
                    <a:lnTo>
                      <a:pt x="217" y="38"/>
                    </a:lnTo>
                    <a:lnTo>
                      <a:pt x="237" y="44"/>
                    </a:lnTo>
                    <a:lnTo>
                      <a:pt x="246" y="46"/>
                    </a:lnTo>
                    <a:lnTo>
                      <a:pt x="254" y="47"/>
                    </a:lnTo>
                    <a:lnTo>
                      <a:pt x="262" y="48"/>
                    </a:lnTo>
                    <a:lnTo>
                      <a:pt x="272" y="50"/>
                    </a:lnTo>
                    <a:lnTo>
                      <a:pt x="283" y="48"/>
                    </a:lnTo>
                    <a:lnTo>
                      <a:pt x="294" y="47"/>
                    </a:lnTo>
                    <a:lnTo>
                      <a:pt x="303" y="45"/>
                    </a:lnTo>
                    <a:lnTo>
                      <a:pt x="311" y="42"/>
                    </a:lnTo>
                    <a:lnTo>
                      <a:pt x="317" y="39"/>
                    </a:lnTo>
                    <a:lnTo>
                      <a:pt x="324" y="35"/>
                    </a:lnTo>
                    <a:lnTo>
                      <a:pt x="329" y="31"/>
                    </a:lnTo>
                    <a:lnTo>
                      <a:pt x="334" y="27"/>
                    </a:lnTo>
                    <a:lnTo>
                      <a:pt x="343" y="18"/>
                    </a:lnTo>
                    <a:lnTo>
                      <a:pt x="351" y="10"/>
                    </a:lnTo>
                    <a:lnTo>
                      <a:pt x="356" y="7"/>
                    </a:lnTo>
                    <a:lnTo>
                      <a:pt x="360" y="4"/>
                    </a:lnTo>
                    <a:lnTo>
                      <a:pt x="366" y="2"/>
                    </a:lnTo>
                    <a:lnTo>
                      <a:pt x="371" y="0"/>
                    </a:lnTo>
                    <a:lnTo>
                      <a:pt x="374" y="9"/>
                    </a:lnTo>
                    <a:lnTo>
                      <a:pt x="379" y="18"/>
                    </a:lnTo>
                    <a:lnTo>
                      <a:pt x="378" y="23"/>
                    </a:lnTo>
                    <a:lnTo>
                      <a:pt x="375" y="29"/>
                    </a:lnTo>
                    <a:lnTo>
                      <a:pt x="372" y="35"/>
                    </a:lnTo>
                    <a:lnTo>
                      <a:pt x="369" y="41"/>
                    </a:lnTo>
                    <a:lnTo>
                      <a:pt x="358" y="55"/>
                    </a:lnTo>
                    <a:lnTo>
                      <a:pt x="344" y="68"/>
                    </a:lnTo>
                    <a:lnTo>
                      <a:pt x="329" y="80"/>
                    </a:lnTo>
                    <a:lnTo>
                      <a:pt x="314" y="89"/>
                    </a:lnTo>
                    <a:lnTo>
                      <a:pt x="306" y="93"/>
                    </a:lnTo>
                    <a:lnTo>
                      <a:pt x="299" y="96"/>
                    </a:lnTo>
                    <a:lnTo>
                      <a:pt x="292" y="97"/>
                    </a:lnTo>
                    <a:lnTo>
                      <a:pt x="285" y="98"/>
                    </a:lnTo>
                    <a:lnTo>
                      <a:pt x="280" y="98"/>
                    </a:lnTo>
                    <a:lnTo>
                      <a:pt x="276" y="96"/>
                    </a:lnTo>
                    <a:lnTo>
                      <a:pt x="271" y="94"/>
                    </a:lnTo>
                    <a:lnTo>
                      <a:pt x="266" y="91"/>
                    </a:lnTo>
                    <a:lnTo>
                      <a:pt x="257" y="85"/>
                    </a:lnTo>
                    <a:lnTo>
                      <a:pt x="248" y="77"/>
                    </a:lnTo>
                    <a:lnTo>
                      <a:pt x="238" y="69"/>
                    </a:lnTo>
                    <a:lnTo>
                      <a:pt x="228" y="62"/>
                    </a:lnTo>
                    <a:lnTo>
                      <a:pt x="223" y="60"/>
                    </a:lnTo>
                    <a:lnTo>
                      <a:pt x="217" y="57"/>
                    </a:lnTo>
                    <a:lnTo>
                      <a:pt x="212" y="56"/>
                    </a:lnTo>
                    <a:lnTo>
                      <a:pt x="205" y="56"/>
                    </a:lnTo>
                    <a:lnTo>
                      <a:pt x="199" y="56"/>
                    </a:lnTo>
                    <a:lnTo>
                      <a:pt x="190" y="56"/>
                    </a:lnTo>
                    <a:lnTo>
                      <a:pt x="177" y="56"/>
                    </a:lnTo>
                    <a:lnTo>
                      <a:pt x="159" y="56"/>
                    </a:lnTo>
                    <a:lnTo>
                      <a:pt x="151" y="56"/>
                    </a:lnTo>
                    <a:lnTo>
                      <a:pt x="145" y="58"/>
                    </a:lnTo>
                    <a:lnTo>
                      <a:pt x="138" y="61"/>
                    </a:lnTo>
                    <a:lnTo>
                      <a:pt x="132" y="64"/>
                    </a:lnTo>
                    <a:lnTo>
                      <a:pt x="125" y="69"/>
                    </a:lnTo>
                    <a:lnTo>
                      <a:pt x="120" y="74"/>
                    </a:lnTo>
                    <a:lnTo>
                      <a:pt x="114" y="79"/>
                    </a:lnTo>
                    <a:lnTo>
                      <a:pt x="109" y="85"/>
                    </a:lnTo>
                    <a:lnTo>
                      <a:pt x="92" y="110"/>
                    </a:lnTo>
                    <a:lnTo>
                      <a:pt x="79" y="129"/>
                    </a:lnTo>
                    <a:lnTo>
                      <a:pt x="79" y="161"/>
                    </a:lnTo>
                    <a:lnTo>
                      <a:pt x="91" y="161"/>
                    </a:lnTo>
                    <a:lnTo>
                      <a:pt x="102" y="163"/>
                    </a:lnTo>
                    <a:lnTo>
                      <a:pt x="111" y="165"/>
                    </a:lnTo>
                    <a:lnTo>
                      <a:pt x="119" y="169"/>
                    </a:lnTo>
                    <a:lnTo>
                      <a:pt x="124" y="173"/>
                    </a:lnTo>
                    <a:lnTo>
                      <a:pt x="128" y="178"/>
                    </a:lnTo>
                    <a:lnTo>
                      <a:pt x="132" y="184"/>
                    </a:lnTo>
                    <a:lnTo>
                      <a:pt x="133" y="191"/>
                    </a:lnTo>
                    <a:lnTo>
                      <a:pt x="139" y="186"/>
                    </a:lnTo>
                    <a:lnTo>
                      <a:pt x="145" y="180"/>
                    </a:lnTo>
                    <a:lnTo>
                      <a:pt x="150" y="174"/>
                    </a:lnTo>
                    <a:lnTo>
                      <a:pt x="155" y="168"/>
                    </a:lnTo>
                    <a:lnTo>
                      <a:pt x="159" y="163"/>
                    </a:lnTo>
                    <a:lnTo>
                      <a:pt x="164" y="157"/>
                    </a:lnTo>
                    <a:lnTo>
                      <a:pt x="168" y="155"/>
                    </a:lnTo>
                    <a:lnTo>
                      <a:pt x="172" y="153"/>
                    </a:lnTo>
                    <a:lnTo>
                      <a:pt x="184" y="150"/>
                    </a:lnTo>
                    <a:lnTo>
                      <a:pt x="196" y="149"/>
                    </a:lnTo>
                    <a:lnTo>
                      <a:pt x="209" y="149"/>
                    </a:lnTo>
                    <a:lnTo>
                      <a:pt x="221" y="150"/>
                    </a:lnTo>
                    <a:lnTo>
                      <a:pt x="232" y="150"/>
                    </a:lnTo>
                    <a:lnTo>
                      <a:pt x="242" y="149"/>
                    </a:lnTo>
                    <a:lnTo>
                      <a:pt x="246" y="148"/>
                    </a:lnTo>
                    <a:lnTo>
                      <a:pt x="250" y="147"/>
                    </a:lnTo>
                    <a:lnTo>
                      <a:pt x="255" y="144"/>
                    </a:lnTo>
                    <a:lnTo>
                      <a:pt x="259" y="141"/>
                    </a:lnTo>
                    <a:lnTo>
                      <a:pt x="268" y="158"/>
                    </a:lnTo>
                    <a:lnTo>
                      <a:pt x="273" y="173"/>
                    </a:lnTo>
                    <a:lnTo>
                      <a:pt x="276" y="179"/>
                    </a:lnTo>
                    <a:lnTo>
                      <a:pt x="278" y="187"/>
                    </a:lnTo>
                    <a:lnTo>
                      <a:pt x="278" y="194"/>
                    </a:lnTo>
                    <a:lnTo>
                      <a:pt x="279" y="203"/>
                    </a:lnTo>
                    <a:lnTo>
                      <a:pt x="268" y="200"/>
                    </a:lnTo>
                    <a:lnTo>
                      <a:pt x="259" y="198"/>
                    </a:lnTo>
                    <a:lnTo>
                      <a:pt x="252" y="195"/>
                    </a:lnTo>
                    <a:lnTo>
                      <a:pt x="246" y="192"/>
                    </a:lnTo>
                    <a:lnTo>
                      <a:pt x="240" y="189"/>
                    </a:lnTo>
                    <a:lnTo>
                      <a:pt x="235" y="187"/>
                    </a:lnTo>
                    <a:lnTo>
                      <a:pt x="227" y="185"/>
                    </a:lnTo>
                    <a:lnTo>
                      <a:pt x="218" y="185"/>
                    </a:lnTo>
                    <a:lnTo>
                      <a:pt x="210" y="186"/>
                    </a:lnTo>
                    <a:lnTo>
                      <a:pt x="202" y="188"/>
                    </a:lnTo>
                    <a:lnTo>
                      <a:pt x="196" y="191"/>
                    </a:lnTo>
                    <a:lnTo>
                      <a:pt x="192" y="195"/>
                    </a:lnTo>
                    <a:lnTo>
                      <a:pt x="189" y="199"/>
                    </a:lnTo>
                    <a:lnTo>
                      <a:pt x="187" y="203"/>
                    </a:lnTo>
                    <a:lnTo>
                      <a:pt x="186" y="206"/>
                    </a:lnTo>
                    <a:lnTo>
                      <a:pt x="186" y="209"/>
                    </a:lnTo>
                    <a:lnTo>
                      <a:pt x="186" y="215"/>
                    </a:lnTo>
                    <a:lnTo>
                      <a:pt x="188" y="223"/>
                    </a:lnTo>
                    <a:lnTo>
                      <a:pt x="189" y="228"/>
                    </a:lnTo>
                    <a:lnTo>
                      <a:pt x="192" y="233"/>
                    </a:lnTo>
                    <a:lnTo>
                      <a:pt x="198" y="243"/>
                    </a:lnTo>
                    <a:lnTo>
                      <a:pt x="205" y="252"/>
                    </a:lnTo>
                    <a:lnTo>
                      <a:pt x="213" y="261"/>
                    </a:lnTo>
                    <a:lnTo>
                      <a:pt x="220" y="272"/>
                    </a:lnTo>
                    <a:lnTo>
                      <a:pt x="222" y="277"/>
                    </a:lnTo>
                    <a:lnTo>
                      <a:pt x="224" y="283"/>
                    </a:lnTo>
                    <a:lnTo>
                      <a:pt x="225" y="289"/>
                    </a:lnTo>
                    <a:lnTo>
                      <a:pt x="225" y="296"/>
                    </a:lnTo>
                    <a:lnTo>
                      <a:pt x="225" y="302"/>
                    </a:lnTo>
                    <a:lnTo>
                      <a:pt x="222" y="309"/>
                    </a:lnTo>
                    <a:lnTo>
                      <a:pt x="220" y="316"/>
                    </a:lnTo>
                    <a:lnTo>
                      <a:pt x="215" y="322"/>
                    </a:lnTo>
                    <a:lnTo>
                      <a:pt x="212" y="329"/>
                    </a:lnTo>
                    <a:lnTo>
                      <a:pt x="209" y="335"/>
                    </a:lnTo>
                    <a:lnTo>
                      <a:pt x="206" y="340"/>
                    </a:lnTo>
                    <a:lnTo>
                      <a:pt x="205" y="345"/>
                    </a:lnTo>
                    <a:lnTo>
                      <a:pt x="205" y="348"/>
                    </a:lnTo>
                    <a:lnTo>
                      <a:pt x="206" y="351"/>
                    </a:lnTo>
                    <a:lnTo>
                      <a:pt x="209" y="354"/>
                    </a:lnTo>
                    <a:lnTo>
                      <a:pt x="210" y="356"/>
                    </a:lnTo>
                    <a:lnTo>
                      <a:pt x="215" y="361"/>
                    </a:lnTo>
                    <a:lnTo>
                      <a:pt x="222" y="364"/>
                    </a:lnTo>
                    <a:lnTo>
                      <a:pt x="228" y="366"/>
                    </a:lnTo>
                    <a:lnTo>
                      <a:pt x="236" y="368"/>
                    </a:lnTo>
                    <a:lnTo>
                      <a:pt x="244" y="369"/>
                    </a:lnTo>
                    <a:lnTo>
                      <a:pt x="252" y="369"/>
                    </a:lnTo>
                    <a:lnTo>
                      <a:pt x="252" y="390"/>
                    </a:lnTo>
                    <a:lnTo>
                      <a:pt x="252" y="400"/>
                    </a:lnTo>
                    <a:lnTo>
                      <a:pt x="252" y="411"/>
                    </a:lnTo>
                    <a:lnTo>
                      <a:pt x="252" y="431"/>
                    </a:lnTo>
                    <a:lnTo>
                      <a:pt x="245" y="430"/>
                    </a:lnTo>
                    <a:lnTo>
                      <a:pt x="239" y="429"/>
                    </a:lnTo>
                    <a:lnTo>
                      <a:pt x="234" y="427"/>
                    </a:lnTo>
                    <a:lnTo>
                      <a:pt x="229" y="425"/>
                    </a:lnTo>
                    <a:lnTo>
                      <a:pt x="225" y="423"/>
                    </a:lnTo>
                    <a:lnTo>
                      <a:pt x="221" y="421"/>
                    </a:lnTo>
                    <a:lnTo>
                      <a:pt x="217" y="419"/>
                    </a:lnTo>
                    <a:lnTo>
                      <a:pt x="212" y="419"/>
                    </a:lnTo>
                    <a:lnTo>
                      <a:pt x="207" y="418"/>
                    </a:lnTo>
                    <a:lnTo>
                      <a:pt x="202" y="417"/>
                    </a:lnTo>
                    <a:lnTo>
                      <a:pt x="198" y="416"/>
                    </a:lnTo>
                    <a:lnTo>
                      <a:pt x="193" y="414"/>
                    </a:lnTo>
                    <a:lnTo>
                      <a:pt x="186" y="408"/>
                    </a:lnTo>
                    <a:lnTo>
                      <a:pt x="177" y="400"/>
                    </a:lnTo>
                    <a:lnTo>
                      <a:pt x="170" y="391"/>
                    </a:lnTo>
                    <a:lnTo>
                      <a:pt x="164" y="379"/>
                    </a:lnTo>
                    <a:lnTo>
                      <a:pt x="158" y="368"/>
                    </a:lnTo>
                    <a:lnTo>
                      <a:pt x="153" y="356"/>
                    </a:lnTo>
                    <a:lnTo>
                      <a:pt x="148" y="343"/>
                    </a:lnTo>
                    <a:lnTo>
                      <a:pt x="144" y="330"/>
                    </a:lnTo>
                    <a:lnTo>
                      <a:pt x="140" y="317"/>
                    </a:lnTo>
                    <a:lnTo>
                      <a:pt x="137" y="304"/>
                    </a:lnTo>
                    <a:lnTo>
                      <a:pt x="134" y="282"/>
                    </a:lnTo>
                    <a:lnTo>
                      <a:pt x="133" y="264"/>
                    </a:lnTo>
                    <a:lnTo>
                      <a:pt x="122" y="264"/>
                    </a:lnTo>
                    <a:lnTo>
                      <a:pt x="114" y="263"/>
                    </a:lnTo>
                    <a:lnTo>
                      <a:pt x="109" y="261"/>
                    </a:lnTo>
                    <a:lnTo>
                      <a:pt x="104" y="260"/>
                    </a:lnTo>
                    <a:lnTo>
                      <a:pt x="101" y="259"/>
                    </a:lnTo>
                    <a:lnTo>
                      <a:pt x="97" y="259"/>
                    </a:lnTo>
                    <a:lnTo>
                      <a:pt x="92" y="261"/>
                    </a:lnTo>
                    <a:lnTo>
                      <a:pt x="86" y="264"/>
                    </a:lnTo>
                    <a:lnTo>
                      <a:pt x="86" y="296"/>
                    </a:lnTo>
                    <a:lnTo>
                      <a:pt x="105" y="381"/>
                    </a:lnTo>
                    <a:lnTo>
                      <a:pt x="104" y="389"/>
                    </a:lnTo>
                    <a:lnTo>
                      <a:pt x="101" y="394"/>
                    </a:lnTo>
                    <a:lnTo>
                      <a:pt x="98" y="399"/>
                    </a:lnTo>
                    <a:lnTo>
                      <a:pt x="93" y="404"/>
                    </a:lnTo>
                    <a:lnTo>
                      <a:pt x="83" y="411"/>
                    </a:lnTo>
                    <a:lnTo>
                      <a:pt x="72" y="416"/>
                    </a:lnTo>
                    <a:lnTo>
                      <a:pt x="64" y="421"/>
                    </a:lnTo>
                    <a:lnTo>
                      <a:pt x="57" y="426"/>
                    </a:lnTo>
                    <a:lnTo>
                      <a:pt x="56" y="428"/>
                    </a:lnTo>
                    <a:lnTo>
                      <a:pt x="55" y="431"/>
                    </a:lnTo>
                    <a:lnTo>
                      <a:pt x="56" y="434"/>
                    </a:lnTo>
                    <a:lnTo>
                      <a:pt x="59" y="4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8" name="Freeform 339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12638355" y="4317572"/>
                <a:ext cx="250825" cy="95250"/>
              </a:xfrm>
              <a:custGeom>
                <a:avLst/>
                <a:gdLst>
                  <a:gd name="T0" fmla="*/ 898829652 w 578"/>
                  <a:gd name="T1" fmla="*/ 2147483647 h 184"/>
                  <a:gd name="T2" fmla="*/ 1961305258 w 578"/>
                  <a:gd name="T3" fmla="*/ 2147483647 h 184"/>
                  <a:gd name="T4" fmla="*/ 2147483647 w 578"/>
                  <a:gd name="T5" fmla="*/ 971141564 h 184"/>
                  <a:gd name="T6" fmla="*/ 2147483647 w 578"/>
                  <a:gd name="T7" fmla="*/ 0 h 184"/>
                  <a:gd name="T8" fmla="*/ 2147483647 w 578"/>
                  <a:gd name="T9" fmla="*/ 277354023 h 184"/>
                  <a:gd name="T10" fmla="*/ 2147483647 w 578"/>
                  <a:gd name="T11" fmla="*/ 277354023 h 184"/>
                  <a:gd name="T12" fmla="*/ 2147483647 w 578"/>
                  <a:gd name="T13" fmla="*/ 693519391 h 184"/>
                  <a:gd name="T14" fmla="*/ 2147483647 w 578"/>
                  <a:gd name="T15" fmla="*/ 2080826323 h 184"/>
                  <a:gd name="T16" fmla="*/ 2147483647 w 578"/>
                  <a:gd name="T17" fmla="*/ 2147483647 h 184"/>
                  <a:gd name="T18" fmla="*/ 2147483647 w 578"/>
                  <a:gd name="T19" fmla="*/ 2147483647 h 184"/>
                  <a:gd name="T20" fmla="*/ 2147483647 w 578"/>
                  <a:gd name="T21" fmla="*/ 2147483647 h 184"/>
                  <a:gd name="T22" fmla="*/ 2147483647 w 578"/>
                  <a:gd name="T23" fmla="*/ 2147483647 h 184"/>
                  <a:gd name="T24" fmla="*/ 2147483647 w 578"/>
                  <a:gd name="T25" fmla="*/ 2147483647 h 184"/>
                  <a:gd name="T26" fmla="*/ 2147483647 w 578"/>
                  <a:gd name="T27" fmla="*/ 2147483647 h 184"/>
                  <a:gd name="T28" fmla="*/ 2147483647 w 578"/>
                  <a:gd name="T29" fmla="*/ 2147483647 h 184"/>
                  <a:gd name="T30" fmla="*/ 2147483647 w 578"/>
                  <a:gd name="T31" fmla="*/ 2147483647 h 184"/>
                  <a:gd name="T32" fmla="*/ 2147483647 w 578"/>
                  <a:gd name="T33" fmla="*/ 2147483647 h 184"/>
                  <a:gd name="T34" fmla="*/ 2147483647 w 578"/>
                  <a:gd name="T35" fmla="*/ 2147483647 h 184"/>
                  <a:gd name="T36" fmla="*/ 2147483647 w 578"/>
                  <a:gd name="T37" fmla="*/ 2147483647 h 184"/>
                  <a:gd name="T38" fmla="*/ 2147483647 w 578"/>
                  <a:gd name="T39" fmla="*/ 2147483647 h 184"/>
                  <a:gd name="T40" fmla="*/ 2147483647 w 578"/>
                  <a:gd name="T41" fmla="*/ 2147483647 h 184"/>
                  <a:gd name="T42" fmla="*/ 2147483647 w 578"/>
                  <a:gd name="T43" fmla="*/ 2147483647 h 184"/>
                  <a:gd name="T44" fmla="*/ 2147483647 w 578"/>
                  <a:gd name="T45" fmla="*/ 2147483647 h 184"/>
                  <a:gd name="T46" fmla="*/ 2147483647 w 578"/>
                  <a:gd name="T47" fmla="*/ 2147483647 h 184"/>
                  <a:gd name="T48" fmla="*/ 2147483647 w 578"/>
                  <a:gd name="T49" fmla="*/ 2147483647 h 184"/>
                  <a:gd name="T50" fmla="*/ 2147483647 w 578"/>
                  <a:gd name="T51" fmla="*/ 2147483647 h 184"/>
                  <a:gd name="T52" fmla="*/ 2147483647 w 578"/>
                  <a:gd name="T53" fmla="*/ 2147483647 h 184"/>
                  <a:gd name="T54" fmla="*/ 2147483647 w 578"/>
                  <a:gd name="T55" fmla="*/ 2147483647 h 184"/>
                  <a:gd name="T56" fmla="*/ 2147483647 w 578"/>
                  <a:gd name="T57" fmla="*/ 2147483647 h 184"/>
                  <a:gd name="T58" fmla="*/ 2147483647 w 578"/>
                  <a:gd name="T59" fmla="*/ 2147483647 h 184"/>
                  <a:gd name="T60" fmla="*/ 2147483647 w 578"/>
                  <a:gd name="T61" fmla="*/ 2147483647 h 184"/>
                  <a:gd name="T62" fmla="*/ 2147483647 w 578"/>
                  <a:gd name="T63" fmla="*/ 2147483647 h 184"/>
                  <a:gd name="T64" fmla="*/ 2147483647 w 578"/>
                  <a:gd name="T65" fmla="*/ 2147483647 h 184"/>
                  <a:gd name="T66" fmla="*/ 2147483647 w 578"/>
                  <a:gd name="T67" fmla="*/ 2147483647 h 184"/>
                  <a:gd name="T68" fmla="*/ 2147483647 w 578"/>
                  <a:gd name="T69" fmla="*/ 2147483647 h 184"/>
                  <a:gd name="T70" fmla="*/ 2147483647 w 578"/>
                  <a:gd name="T71" fmla="*/ 2147483647 h 184"/>
                  <a:gd name="T72" fmla="*/ 2147483647 w 578"/>
                  <a:gd name="T73" fmla="*/ 2147483647 h 184"/>
                  <a:gd name="T74" fmla="*/ 2147483647 w 578"/>
                  <a:gd name="T75" fmla="*/ 2147483647 h 184"/>
                  <a:gd name="T76" fmla="*/ 2147483647 w 578"/>
                  <a:gd name="T77" fmla="*/ 2147483647 h 184"/>
                  <a:gd name="T78" fmla="*/ 2147483647 w 578"/>
                  <a:gd name="T79" fmla="*/ 2147483647 h 184"/>
                  <a:gd name="T80" fmla="*/ 2147483647 w 578"/>
                  <a:gd name="T81" fmla="*/ 2147483647 h 184"/>
                  <a:gd name="T82" fmla="*/ 2147483647 w 578"/>
                  <a:gd name="T83" fmla="*/ 2147483647 h 184"/>
                  <a:gd name="T84" fmla="*/ 2147483647 w 578"/>
                  <a:gd name="T85" fmla="*/ 2147483647 h 184"/>
                  <a:gd name="T86" fmla="*/ 2147483647 w 578"/>
                  <a:gd name="T87" fmla="*/ 2147483647 h 184"/>
                  <a:gd name="T88" fmla="*/ 2147483647 w 578"/>
                  <a:gd name="T89" fmla="*/ 2147483647 h 184"/>
                  <a:gd name="T90" fmla="*/ 2147483647 w 578"/>
                  <a:gd name="T91" fmla="*/ 2147483647 h 184"/>
                  <a:gd name="T92" fmla="*/ 2147483647 w 578"/>
                  <a:gd name="T93" fmla="*/ 2147483647 h 184"/>
                  <a:gd name="T94" fmla="*/ 2147483647 w 578"/>
                  <a:gd name="T95" fmla="*/ 2147483647 h 184"/>
                  <a:gd name="T96" fmla="*/ 2147483647 w 578"/>
                  <a:gd name="T97" fmla="*/ 2147483647 h 184"/>
                  <a:gd name="T98" fmla="*/ 2147483647 w 578"/>
                  <a:gd name="T99" fmla="*/ 2147483647 h 184"/>
                  <a:gd name="T100" fmla="*/ 2147483647 w 578"/>
                  <a:gd name="T101" fmla="*/ 2147483647 h 184"/>
                  <a:gd name="T102" fmla="*/ 2147483647 w 578"/>
                  <a:gd name="T103" fmla="*/ 2147483647 h 184"/>
                  <a:gd name="T104" fmla="*/ 2147483647 w 578"/>
                  <a:gd name="T105" fmla="*/ 2147483647 h 184"/>
                  <a:gd name="T106" fmla="*/ 0 w 578"/>
                  <a:gd name="T107" fmla="*/ 2147483647 h 18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78" h="184">
                    <a:moveTo>
                      <a:pt x="0" y="55"/>
                    </a:moveTo>
                    <a:lnTo>
                      <a:pt x="6" y="53"/>
                    </a:lnTo>
                    <a:lnTo>
                      <a:pt x="11" y="50"/>
                    </a:lnTo>
                    <a:lnTo>
                      <a:pt x="14" y="46"/>
                    </a:lnTo>
                    <a:lnTo>
                      <a:pt x="19" y="42"/>
                    </a:lnTo>
                    <a:lnTo>
                      <a:pt x="24" y="32"/>
                    </a:lnTo>
                    <a:lnTo>
                      <a:pt x="30" y="23"/>
                    </a:lnTo>
                    <a:lnTo>
                      <a:pt x="35" y="14"/>
                    </a:lnTo>
                    <a:lnTo>
                      <a:pt x="41" y="7"/>
                    </a:lnTo>
                    <a:lnTo>
                      <a:pt x="44" y="4"/>
                    </a:lnTo>
                    <a:lnTo>
                      <a:pt x="48" y="2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69" y="1"/>
                    </a:lnTo>
                    <a:lnTo>
                      <a:pt x="79" y="2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5" y="2"/>
                    </a:lnTo>
                    <a:lnTo>
                      <a:pt x="99" y="0"/>
                    </a:lnTo>
                    <a:lnTo>
                      <a:pt x="100" y="2"/>
                    </a:lnTo>
                    <a:lnTo>
                      <a:pt x="101" y="5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5" y="15"/>
                    </a:lnTo>
                    <a:lnTo>
                      <a:pt x="125" y="20"/>
                    </a:lnTo>
                    <a:lnTo>
                      <a:pt x="136" y="24"/>
                    </a:lnTo>
                    <a:lnTo>
                      <a:pt x="147" y="27"/>
                    </a:lnTo>
                    <a:lnTo>
                      <a:pt x="157" y="29"/>
                    </a:lnTo>
                    <a:lnTo>
                      <a:pt x="166" y="30"/>
                    </a:lnTo>
                    <a:lnTo>
                      <a:pt x="168" y="37"/>
                    </a:lnTo>
                    <a:lnTo>
                      <a:pt x="171" y="44"/>
                    </a:lnTo>
                    <a:lnTo>
                      <a:pt x="174" y="49"/>
                    </a:lnTo>
                    <a:lnTo>
                      <a:pt x="178" y="53"/>
                    </a:lnTo>
                    <a:lnTo>
                      <a:pt x="181" y="57"/>
                    </a:lnTo>
                    <a:lnTo>
                      <a:pt x="187" y="59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214" y="61"/>
                    </a:lnTo>
                    <a:lnTo>
                      <a:pt x="231" y="60"/>
                    </a:lnTo>
                    <a:lnTo>
                      <a:pt x="247" y="58"/>
                    </a:lnTo>
                    <a:lnTo>
                      <a:pt x="263" y="55"/>
                    </a:lnTo>
                    <a:lnTo>
                      <a:pt x="277" y="51"/>
                    </a:lnTo>
                    <a:lnTo>
                      <a:pt x="289" y="46"/>
                    </a:lnTo>
                    <a:lnTo>
                      <a:pt x="294" y="43"/>
                    </a:lnTo>
                    <a:lnTo>
                      <a:pt x="299" y="39"/>
                    </a:lnTo>
                    <a:lnTo>
                      <a:pt x="302" y="35"/>
                    </a:lnTo>
                    <a:lnTo>
                      <a:pt x="305" y="30"/>
                    </a:lnTo>
                    <a:lnTo>
                      <a:pt x="314" y="34"/>
                    </a:lnTo>
                    <a:lnTo>
                      <a:pt x="320" y="35"/>
                    </a:lnTo>
                    <a:lnTo>
                      <a:pt x="324" y="36"/>
                    </a:lnTo>
                    <a:lnTo>
                      <a:pt x="327" y="35"/>
                    </a:lnTo>
                    <a:lnTo>
                      <a:pt x="331" y="33"/>
                    </a:lnTo>
                    <a:lnTo>
                      <a:pt x="334" y="32"/>
                    </a:lnTo>
                    <a:lnTo>
                      <a:pt x="339" y="31"/>
                    </a:lnTo>
                    <a:lnTo>
                      <a:pt x="345" y="30"/>
                    </a:lnTo>
                    <a:lnTo>
                      <a:pt x="356" y="31"/>
                    </a:lnTo>
                    <a:lnTo>
                      <a:pt x="366" y="34"/>
                    </a:lnTo>
                    <a:lnTo>
                      <a:pt x="375" y="39"/>
                    </a:lnTo>
                    <a:lnTo>
                      <a:pt x="383" y="45"/>
                    </a:lnTo>
                    <a:lnTo>
                      <a:pt x="399" y="59"/>
                    </a:lnTo>
                    <a:lnTo>
                      <a:pt x="413" y="74"/>
                    </a:lnTo>
                    <a:lnTo>
                      <a:pt x="421" y="82"/>
                    </a:lnTo>
                    <a:lnTo>
                      <a:pt x="428" y="89"/>
                    </a:lnTo>
                    <a:lnTo>
                      <a:pt x="437" y="96"/>
                    </a:lnTo>
                    <a:lnTo>
                      <a:pt x="446" y="101"/>
                    </a:lnTo>
                    <a:lnTo>
                      <a:pt x="456" y="105"/>
                    </a:lnTo>
                    <a:lnTo>
                      <a:pt x="467" y="107"/>
                    </a:lnTo>
                    <a:lnTo>
                      <a:pt x="472" y="107"/>
                    </a:lnTo>
                    <a:lnTo>
                      <a:pt x="479" y="107"/>
                    </a:lnTo>
                    <a:lnTo>
                      <a:pt x="484" y="106"/>
                    </a:lnTo>
                    <a:lnTo>
                      <a:pt x="491" y="105"/>
                    </a:lnTo>
                    <a:lnTo>
                      <a:pt x="493" y="108"/>
                    </a:lnTo>
                    <a:lnTo>
                      <a:pt x="495" y="113"/>
                    </a:lnTo>
                    <a:lnTo>
                      <a:pt x="500" y="119"/>
                    </a:lnTo>
                    <a:lnTo>
                      <a:pt x="505" y="125"/>
                    </a:lnTo>
                    <a:lnTo>
                      <a:pt x="511" y="131"/>
                    </a:lnTo>
                    <a:lnTo>
                      <a:pt x="516" y="136"/>
                    </a:lnTo>
                    <a:lnTo>
                      <a:pt x="522" y="140"/>
                    </a:lnTo>
                    <a:lnTo>
                      <a:pt x="525" y="141"/>
                    </a:lnTo>
                    <a:lnTo>
                      <a:pt x="529" y="141"/>
                    </a:lnTo>
                    <a:lnTo>
                      <a:pt x="534" y="139"/>
                    </a:lnTo>
                    <a:lnTo>
                      <a:pt x="537" y="137"/>
                    </a:lnTo>
                    <a:lnTo>
                      <a:pt x="540" y="134"/>
                    </a:lnTo>
                    <a:lnTo>
                      <a:pt x="546" y="128"/>
                    </a:lnTo>
                    <a:lnTo>
                      <a:pt x="551" y="123"/>
                    </a:lnTo>
                    <a:lnTo>
                      <a:pt x="555" y="129"/>
                    </a:lnTo>
                    <a:lnTo>
                      <a:pt x="558" y="134"/>
                    </a:lnTo>
                    <a:lnTo>
                      <a:pt x="562" y="138"/>
                    </a:lnTo>
                    <a:lnTo>
                      <a:pt x="567" y="141"/>
                    </a:lnTo>
                    <a:lnTo>
                      <a:pt x="571" y="145"/>
                    </a:lnTo>
                    <a:lnTo>
                      <a:pt x="574" y="150"/>
                    </a:lnTo>
                    <a:lnTo>
                      <a:pt x="577" y="154"/>
                    </a:lnTo>
                    <a:lnTo>
                      <a:pt x="578" y="160"/>
                    </a:lnTo>
                    <a:lnTo>
                      <a:pt x="578" y="165"/>
                    </a:lnTo>
                    <a:lnTo>
                      <a:pt x="577" y="169"/>
                    </a:lnTo>
                    <a:lnTo>
                      <a:pt x="575" y="173"/>
                    </a:lnTo>
                    <a:lnTo>
                      <a:pt x="573" y="177"/>
                    </a:lnTo>
                    <a:lnTo>
                      <a:pt x="570" y="180"/>
                    </a:lnTo>
                    <a:lnTo>
                      <a:pt x="567" y="182"/>
                    </a:lnTo>
                    <a:lnTo>
                      <a:pt x="562" y="184"/>
                    </a:lnTo>
                    <a:lnTo>
                      <a:pt x="558" y="184"/>
                    </a:lnTo>
                    <a:lnTo>
                      <a:pt x="551" y="178"/>
                    </a:lnTo>
                    <a:lnTo>
                      <a:pt x="545" y="172"/>
                    </a:lnTo>
                    <a:lnTo>
                      <a:pt x="535" y="171"/>
                    </a:lnTo>
                    <a:lnTo>
                      <a:pt x="526" y="170"/>
                    </a:lnTo>
                    <a:lnTo>
                      <a:pt x="517" y="170"/>
                    </a:lnTo>
                    <a:lnTo>
                      <a:pt x="509" y="170"/>
                    </a:lnTo>
                    <a:lnTo>
                      <a:pt x="491" y="172"/>
                    </a:lnTo>
                    <a:lnTo>
                      <a:pt x="471" y="172"/>
                    </a:lnTo>
                    <a:lnTo>
                      <a:pt x="467" y="172"/>
                    </a:lnTo>
                    <a:lnTo>
                      <a:pt x="462" y="170"/>
                    </a:lnTo>
                    <a:lnTo>
                      <a:pt x="459" y="167"/>
                    </a:lnTo>
                    <a:lnTo>
                      <a:pt x="455" y="163"/>
                    </a:lnTo>
                    <a:lnTo>
                      <a:pt x="451" y="160"/>
                    </a:lnTo>
                    <a:lnTo>
                      <a:pt x="447" y="157"/>
                    </a:lnTo>
                    <a:lnTo>
                      <a:pt x="443" y="155"/>
                    </a:lnTo>
                    <a:lnTo>
                      <a:pt x="438" y="154"/>
                    </a:lnTo>
                    <a:lnTo>
                      <a:pt x="434" y="155"/>
                    </a:lnTo>
                    <a:lnTo>
                      <a:pt x="429" y="157"/>
                    </a:lnTo>
                    <a:lnTo>
                      <a:pt x="426" y="160"/>
                    </a:lnTo>
                    <a:lnTo>
                      <a:pt x="423" y="163"/>
                    </a:lnTo>
                    <a:lnTo>
                      <a:pt x="420" y="167"/>
                    </a:lnTo>
                    <a:lnTo>
                      <a:pt x="416" y="170"/>
                    </a:lnTo>
                    <a:lnTo>
                      <a:pt x="414" y="172"/>
                    </a:lnTo>
                    <a:lnTo>
                      <a:pt x="412" y="172"/>
                    </a:lnTo>
                    <a:lnTo>
                      <a:pt x="398" y="171"/>
                    </a:lnTo>
                    <a:lnTo>
                      <a:pt x="378" y="167"/>
                    </a:lnTo>
                    <a:lnTo>
                      <a:pt x="354" y="160"/>
                    </a:lnTo>
                    <a:lnTo>
                      <a:pt x="328" y="153"/>
                    </a:lnTo>
                    <a:lnTo>
                      <a:pt x="304" y="144"/>
                    </a:lnTo>
                    <a:lnTo>
                      <a:pt x="285" y="136"/>
                    </a:lnTo>
                    <a:lnTo>
                      <a:pt x="277" y="132"/>
                    </a:lnTo>
                    <a:lnTo>
                      <a:pt x="270" y="129"/>
                    </a:lnTo>
                    <a:lnTo>
                      <a:pt x="267" y="126"/>
                    </a:lnTo>
                    <a:lnTo>
                      <a:pt x="266" y="123"/>
                    </a:lnTo>
                    <a:lnTo>
                      <a:pt x="252" y="122"/>
                    </a:lnTo>
                    <a:lnTo>
                      <a:pt x="240" y="121"/>
                    </a:lnTo>
                    <a:lnTo>
                      <a:pt x="230" y="119"/>
                    </a:lnTo>
                    <a:lnTo>
                      <a:pt x="220" y="117"/>
                    </a:lnTo>
                    <a:lnTo>
                      <a:pt x="211" y="115"/>
                    </a:lnTo>
                    <a:lnTo>
                      <a:pt x="201" y="113"/>
                    </a:lnTo>
                    <a:lnTo>
                      <a:pt x="191" y="111"/>
                    </a:lnTo>
                    <a:lnTo>
                      <a:pt x="179" y="111"/>
                    </a:lnTo>
                    <a:lnTo>
                      <a:pt x="168" y="111"/>
                    </a:lnTo>
                    <a:lnTo>
                      <a:pt x="157" y="111"/>
                    </a:lnTo>
                    <a:lnTo>
                      <a:pt x="149" y="111"/>
                    </a:lnTo>
                    <a:lnTo>
                      <a:pt x="146" y="111"/>
                    </a:lnTo>
                    <a:lnTo>
                      <a:pt x="136" y="110"/>
                    </a:lnTo>
                    <a:lnTo>
                      <a:pt x="128" y="107"/>
                    </a:lnTo>
                    <a:lnTo>
                      <a:pt x="124" y="105"/>
                    </a:lnTo>
                    <a:lnTo>
                      <a:pt x="122" y="103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97"/>
                    </a:lnTo>
                    <a:lnTo>
                      <a:pt x="64" y="96"/>
                    </a:lnTo>
                    <a:lnTo>
                      <a:pt x="57" y="94"/>
                    </a:lnTo>
                    <a:lnTo>
                      <a:pt x="46" y="88"/>
                    </a:lnTo>
                    <a:lnTo>
                      <a:pt x="34" y="81"/>
                    </a:lnTo>
                    <a:lnTo>
                      <a:pt x="14" y="67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79" name="Freeform 340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13319393" y="4174697"/>
                <a:ext cx="214312" cy="252413"/>
              </a:xfrm>
              <a:custGeom>
                <a:avLst/>
                <a:gdLst>
                  <a:gd name="T0" fmla="*/ 2147483647 w 491"/>
                  <a:gd name="T1" fmla="*/ 2147483647 h 481"/>
                  <a:gd name="T2" fmla="*/ 2147483647 w 491"/>
                  <a:gd name="T3" fmla="*/ 2147483647 h 481"/>
                  <a:gd name="T4" fmla="*/ 2147483647 w 491"/>
                  <a:gd name="T5" fmla="*/ 2147483647 h 481"/>
                  <a:gd name="T6" fmla="*/ 2147483647 w 491"/>
                  <a:gd name="T7" fmla="*/ 2147483647 h 481"/>
                  <a:gd name="T8" fmla="*/ 2147483647 w 491"/>
                  <a:gd name="T9" fmla="*/ 2147483647 h 481"/>
                  <a:gd name="T10" fmla="*/ 2147483647 w 491"/>
                  <a:gd name="T11" fmla="*/ 2147483647 h 481"/>
                  <a:gd name="T12" fmla="*/ 2147483647 w 491"/>
                  <a:gd name="T13" fmla="*/ 2147483647 h 481"/>
                  <a:gd name="T14" fmla="*/ 2147483647 w 491"/>
                  <a:gd name="T15" fmla="*/ 2147483647 h 481"/>
                  <a:gd name="T16" fmla="*/ 2147483647 w 491"/>
                  <a:gd name="T17" fmla="*/ 2147483647 h 481"/>
                  <a:gd name="T18" fmla="*/ 2147483647 w 491"/>
                  <a:gd name="T19" fmla="*/ 2147483647 h 481"/>
                  <a:gd name="T20" fmla="*/ 2147483647 w 491"/>
                  <a:gd name="T21" fmla="*/ 2147483647 h 481"/>
                  <a:gd name="T22" fmla="*/ 2147483647 w 491"/>
                  <a:gd name="T23" fmla="*/ 2147483647 h 481"/>
                  <a:gd name="T24" fmla="*/ 2147483647 w 491"/>
                  <a:gd name="T25" fmla="*/ 2147483647 h 481"/>
                  <a:gd name="T26" fmla="*/ 2147483647 w 491"/>
                  <a:gd name="T27" fmla="*/ 2147483647 h 481"/>
                  <a:gd name="T28" fmla="*/ 2147483647 w 491"/>
                  <a:gd name="T29" fmla="*/ 2147483647 h 481"/>
                  <a:gd name="T30" fmla="*/ 2147483647 w 491"/>
                  <a:gd name="T31" fmla="*/ 2147483647 h 481"/>
                  <a:gd name="T32" fmla="*/ 2147483647 w 491"/>
                  <a:gd name="T33" fmla="*/ 2147483647 h 481"/>
                  <a:gd name="T34" fmla="*/ 2147483647 w 491"/>
                  <a:gd name="T35" fmla="*/ 2147483647 h 481"/>
                  <a:gd name="T36" fmla="*/ 2147483647 w 491"/>
                  <a:gd name="T37" fmla="*/ 2147483647 h 481"/>
                  <a:gd name="T38" fmla="*/ 2147483647 w 491"/>
                  <a:gd name="T39" fmla="*/ 2147483647 h 481"/>
                  <a:gd name="T40" fmla="*/ 2147483647 w 491"/>
                  <a:gd name="T41" fmla="*/ 2147483647 h 481"/>
                  <a:gd name="T42" fmla="*/ 2147483647 w 491"/>
                  <a:gd name="T43" fmla="*/ 2147483647 h 481"/>
                  <a:gd name="T44" fmla="*/ 2147483647 w 491"/>
                  <a:gd name="T45" fmla="*/ 2147483647 h 481"/>
                  <a:gd name="T46" fmla="*/ 2147483647 w 491"/>
                  <a:gd name="T47" fmla="*/ 2147483647 h 481"/>
                  <a:gd name="T48" fmla="*/ 1995838770 w 491"/>
                  <a:gd name="T49" fmla="*/ 2147483647 h 481"/>
                  <a:gd name="T50" fmla="*/ 1080984054 w 491"/>
                  <a:gd name="T51" fmla="*/ 2147483647 h 481"/>
                  <a:gd name="T52" fmla="*/ 1164239246 w 491"/>
                  <a:gd name="T53" fmla="*/ 2147483647 h 481"/>
                  <a:gd name="T54" fmla="*/ 1912583578 w 491"/>
                  <a:gd name="T55" fmla="*/ 2147483647 h 481"/>
                  <a:gd name="T56" fmla="*/ 2147483647 w 491"/>
                  <a:gd name="T57" fmla="*/ 2147483647 h 481"/>
                  <a:gd name="T58" fmla="*/ 2147483647 w 491"/>
                  <a:gd name="T59" fmla="*/ 2147483647 h 481"/>
                  <a:gd name="T60" fmla="*/ 1413623776 w 491"/>
                  <a:gd name="T61" fmla="*/ 2147483647 h 481"/>
                  <a:gd name="T62" fmla="*/ 0 w 491"/>
                  <a:gd name="T63" fmla="*/ 2147483647 h 481"/>
                  <a:gd name="T64" fmla="*/ 2147483647 w 491"/>
                  <a:gd name="T65" fmla="*/ 2147483647 h 481"/>
                  <a:gd name="T66" fmla="*/ 2147483647 w 491"/>
                  <a:gd name="T67" fmla="*/ 2147483647 h 481"/>
                  <a:gd name="T68" fmla="*/ 2147483647 w 491"/>
                  <a:gd name="T69" fmla="*/ 2147483647 h 481"/>
                  <a:gd name="T70" fmla="*/ 2147483647 w 491"/>
                  <a:gd name="T71" fmla="*/ 2147483647 h 481"/>
                  <a:gd name="T72" fmla="*/ 2147483647 w 491"/>
                  <a:gd name="T73" fmla="*/ 2147483647 h 481"/>
                  <a:gd name="T74" fmla="*/ 2147483647 w 491"/>
                  <a:gd name="T75" fmla="*/ 2147483647 h 481"/>
                  <a:gd name="T76" fmla="*/ 2147483647 w 491"/>
                  <a:gd name="T77" fmla="*/ 2147483647 h 481"/>
                  <a:gd name="T78" fmla="*/ 2147483647 w 491"/>
                  <a:gd name="T79" fmla="*/ 2147483647 h 481"/>
                  <a:gd name="T80" fmla="*/ 2147483647 w 491"/>
                  <a:gd name="T81" fmla="*/ 2147483647 h 481"/>
                  <a:gd name="T82" fmla="*/ 2147483647 w 491"/>
                  <a:gd name="T83" fmla="*/ 2147483647 h 481"/>
                  <a:gd name="T84" fmla="*/ 2147483647 w 491"/>
                  <a:gd name="T85" fmla="*/ 2147483647 h 481"/>
                  <a:gd name="T86" fmla="*/ 2147483647 w 491"/>
                  <a:gd name="T87" fmla="*/ 2147483647 h 481"/>
                  <a:gd name="T88" fmla="*/ 2147483647 w 491"/>
                  <a:gd name="T89" fmla="*/ 2147483647 h 481"/>
                  <a:gd name="T90" fmla="*/ 2147483647 w 491"/>
                  <a:gd name="T91" fmla="*/ 1300622266 h 481"/>
                  <a:gd name="T92" fmla="*/ 2147483647 w 491"/>
                  <a:gd name="T93" fmla="*/ 144574925 h 481"/>
                  <a:gd name="T94" fmla="*/ 2147483647 w 491"/>
                  <a:gd name="T95" fmla="*/ 0 h 481"/>
                  <a:gd name="T96" fmla="*/ 2147483647 w 491"/>
                  <a:gd name="T97" fmla="*/ 1156047867 h 481"/>
                  <a:gd name="T98" fmla="*/ 2147483647 w 491"/>
                  <a:gd name="T99" fmla="*/ 2147483647 h 481"/>
                  <a:gd name="T100" fmla="*/ 2147483647 w 491"/>
                  <a:gd name="T101" fmla="*/ 2147483647 h 481"/>
                  <a:gd name="T102" fmla="*/ 2147483647 w 491"/>
                  <a:gd name="T103" fmla="*/ 2147483647 h 481"/>
                  <a:gd name="T104" fmla="*/ 2147483647 w 491"/>
                  <a:gd name="T105" fmla="*/ 2147483647 h 481"/>
                  <a:gd name="T106" fmla="*/ 2147483647 w 491"/>
                  <a:gd name="T107" fmla="*/ 2147483647 h 48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91" h="481">
                    <a:moveTo>
                      <a:pt x="491" y="481"/>
                    </a:moveTo>
                    <a:lnTo>
                      <a:pt x="488" y="480"/>
                    </a:lnTo>
                    <a:lnTo>
                      <a:pt x="482" y="479"/>
                    </a:lnTo>
                    <a:lnTo>
                      <a:pt x="477" y="477"/>
                    </a:lnTo>
                    <a:lnTo>
                      <a:pt x="470" y="473"/>
                    </a:lnTo>
                    <a:lnTo>
                      <a:pt x="457" y="465"/>
                    </a:lnTo>
                    <a:lnTo>
                      <a:pt x="444" y="455"/>
                    </a:lnTo>
                    <a:lnTo>
                      <a:pt x="432" y="445"/>
                    </a:lnTo>
                    <a:lnTo>
                      <a:pt x="422" y="434"/>
                    </a:lnTo>
                    <a:lnTo>
                      <a:pt x="417" y="428"/>
                    </a:lnTo>
                    <a:lnTo>
                      <a:pt x="414" y="423"/>
                    </a:lnTo>
                    <a:lnTo>
                      <a:pt x="412" y="417"/>
                    </a:lnTo>
                    <a:lnTo>
                      <a:pt x="412" y="412"/>
                    </a:lnTo>
                    <a:lnTo>
                      <a:pt x="392" y="412"/>
                    </a:lnTo>
                    <a:lnTo>
                      <a:pt x="376" y="410"/>
                    </a:lnTo>
                    <a:lnTo>
                      <a:pt x="370" y="409"/>
                    </a:lnTo>
                    <a:lnTo>
                      <a:pt x="365" y="408"/>
                    </a:lnTo>
                    <a:lnTo>
                      <a:pt x="360" y="406"/>
                    </a:lnTo>
                    <a:lnTo>
                      <a:pt x="356" y="403"/>
                    </a:lnTo>
                    <a:lnTo>
                      <a:pt x="353" y="400"/>
                    </a:lnTo>
                    <a:lnTo>
                      <a:pt x="350" y="396"/>
                    </a:lnTo>
                    <a:lnTo>
                      <a:pt x="348" y="392"/>
                    </a:lnTo>
                    <a:lnTo>
                      <a:pt x="347" y="387"/>
                    </a:lnTo>
                    <a:lnTo>
                      <a:pt x="346" y="374"/>
                    </a:lnTo>
                    <a:lnTo>
                      <a:pt x="345" y="357"/>
                    </a:lnTo>
                    <a:lnTo>
                      <a:pt x="344" y="344"/>
                    </a:lnTo>
                    <a:lnTo>
                      <a:pt x="342" y="332"/>
                    </a:lnTo>
                    <a:lnTo>
                      <a:pt x="337" y="322"/>
                    </a:lnTo>
                    <a:lnTo>
                      <a:pt x="332" y="313"/>
                    </a:lnTo>
                    <a:lnTo>
                      <a:pt x="327" y="303"/>
                    </a:lnTo>
                    <a:lnTo>
                      <a:pt x="323" y="294"/>
                    </a:lnTo>
                    <a:lnTo>
                      <a:pt x="320" y="286"/>
                    </a:lnTo>
                    <a:lnTo>
                      <a:pt x="319" y="277"/>
                    </a:lnTo>
                    <a:lnTo>
                      <a:pt x="319" y="267"/>
                    </a:lnTo>
                    <a:lnTo>
                      <a:pt x="319" y="252"/>
                    </a:lnTo>
                    <a:lnTo>
                      <a:pt x="314" y="244"/>
                    </a:lnTo>
                    <a:lnTo>
                      <a:pt x="309" y="237"/>
                    </a:lnTo>
                    <a:lnTo>
                      <a:pt x="301" y="229"/>
                    </a:lnTo>
                    <a:lnTo>
                      <a:pt x="292" y="223"/>
                    </a:lnTo>
                    <a:lnTo>
                      <a:pt x="282" y="216"/>
                    </a:lnTo>
                    <a:lnTo>
                      <a:pt x="272" y="210"/>
                    </a:lnTo>
                    <a:lnTo>
                      <a:pt x="260" y="205"/>
                    </a:lnTo>
                    <a:lnTo>
                      <a:pt x="248" y="200"/>
                    </a:lnTo>
                    <a:lnTo>
                      <a:pt x="235" y="194"/>
                    </a:lnTo>
                    <a:lnTo>
                      <a:pt x="221" y="190"/>
                    </a:lnTo>
                    <a:lnTo>
                      <a:pt x="208" y="187"/>
                    </a:lnTo>
                    <a:lnTo>
                      <a:pt x="192" y="184"/>
                    </a:lnTo>
                    <a:lnTo>
                      <a:pt x="178" y="181"/>
                    </a:lnTo>
                    <a:lnTo>
                      <a:pt x="163" y="180"/>
                    </a:lnTo>
                    <a:lnTo>
                      <a:pt x="147" y="179"/>
                    </a:lnTo>
                    <a:lnTo>
                      <a:pt x="133" y="178"/>
                    </a:lnTo>
                    <a:lnTo>
                      <a:pt x="133" y="170"/>
                    </a:lnTo>
                    <a:lnTo>
                      <a:pt x="133" y="163"/>
                    </a:lnTo>
                    <a:lnTo>
                      <a:pt x="133" y="156"/>
                    </a:lnTo>
                    <a:lnTo>
                      <a:pt x="133" y="148"/>
                    </a:lnTo>
                    <a:lnTo>
                      <a:pt x="121" y="147"/>
                    </a:lnTo>
                    <a:lnTo>
                      <a:pt x="110" y="145"/>
                    </a:lnTo>
                    <a:lnTo>
                      <a:pt x="100" y="140"/>
                    </a:lnTo>
                    <a:lnTo>
                      <a:pt x="92" y="136"/>
                    </a:lnTo>
                    <a:lnTo>
                      <a:pt x="85" y="130"/>
                    </a:lnTo>
                    <a:lnTo>
                      <a:pt x="77" y="124"/>
                    </a:lnTo>
                    <a:lnTo>
                      <a:pt x="71" y="117"/>
                    </a:lnTo>
                    <a:lnTo>
                      <a:pt x="66" y="111"/>
                    </a:lnTo>
                    <a:lnTo>
                      <a:pt x="92" y="111"/>
                    </a:lnTo>
                    <a:lnTo>
                      <a:pt x="82" y="121"/>
                    </a:lnTo>
                    <a:lnTo>
                      <a:pt x="73" y="133"/>
                    </a:lnTo>
                    <a:lnTo>
                      <a:pt x="66" y="139"/>
                    </a:lnTo>
                    <a:lnTo>
                      <a:pt x="60" y="144"/>
                    </a:lnTo>
                    <a:lnTo>
                      <a:pt x="54" y="147"/>
                    </a:lnTo>
                    <a:lnTo>
                      <a:pt x="46" y="148"/>
                    </a:lnTo>
                    <a:lnTo>
                      <a:pt x="43" y="163"/>
                    </a:lnTo>
                    <a:lnTo>
                      <a:pt x="40" y="178"/>
                    </a:lnTo>
                    <a:lnTo>
                      <a:pt x="34" y="192"/>
                    </a:lnTo>
                    <a:lnTo>
                      <a:pt x="30" y="206"/>
                    </a:lnTo>
                    <a:lnTo>
                      <a:pt x="24" y="220"/>
                    </a:lnTo>
                    <a:lnTo>
                      <a:pt x="20" y="234"/>
                    </a:lnTo>
                    <a:lnTo>
                      <a:pt x="17" y="249"/>
                    </a:lnTo>
                    <a:lnTo>
                      <a:pt x="13" y="265"/>
                    </a:lnTo>
                    <a:lnTo>
                      <a:pt x="13" y="256"/>
                    </a:lnTo>
                    <a:lnTo>
                      <a:pt x="13" y="246"/>
                    </a:lnTo>
                    <a:lnTo>
                      <a:pt x="14" y="237"/>
                    </a:lnTo>
                    <a:lnTo>
                      <a:pt x="17" y="228"/>
                    </a:lnTo>
                    <a:lnTo>
                      <a:pt x="20" y="219"/>
                    </a:lnTo>
                    <a:lnTo>
                      <a:pt x="23" y="209"/>
                    </a:lnTo>
                    <a:lnTo>
                      <a:pt x="26" y="200"/>
                    </a:lnTo>
                    <a:lnTo>
                      <a:pt x="30" y="190"/>
                    </a:lnTo>
                    <a:lnTo>
                      <a:pt x="32" y="181"/>
                    </a:lnTo>
                    <a:lnTo>
                      <a:pt x="33" y="172"/>
                    </a:lnTo>
                    <a:lnTo>
                      <a:pt x="32" y="156"/>
                    </a:lnTo>
                    <a:lnTo>
                      <a:pt x="30" y="143"/>
                    </a:lnTo>
                    <a:lnTo>
                      <a:pt x="26" y="130"/>
                    </a:lnTo>
                    <a:lnTo>
                      <a:pt x="21" y="120"/>
                    </a:lnTo>
                    <a:lnTo>
                      <a:pt x="17" y="111"/>
                    </a:lnTo>
                    <a:lnTo>
                      <a:pt x="11" y="101"/>
                    </a:lnTo>
                    <a:lnTo>
                      <a:pt x="4" y="89"/>
                    </a:lnTo>
                    <a:lnTo>
                      <a:pt x="0" y="73"/>
                    </a:lnTo>
                    <a:lnTo>
                      <a:pt x="13" y="68"/>
                    </a:lnTo>
                    <a:lnTo>
                      <a:pt x="28" y="62"/>
                    </a:lnTo>
                    <a:lnTo>
                      <a:pt x="34" y="59"/>
                    </a:lnTo>
                    <a:lnTo>
                      <a:pt x="42" y="57"/>
                    </a:lnTo>
                    <a:lnTo>
                      <a:pt x="51" y="56"/>
                    </a:lnTo>
                    <a:lnTo>
                      <a:pt x="59" y="55"/>
                    </a:lnTo>
                    <a:lnTo>
                      <a:pt x="68" y="56"/>
                    </a:lnTo>
                    <a:lnTo>
                      <a:pt x="76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6" y="63"/>
                    </a:lnTo>
                    <a:lnTo>
                      <a:pt x="102" y="66"/>
                    </a:lnTo>
                    <a:lnTo>
                      <a:pt x="107" y="70"/>
                    </a:lnTo>
                    <a:lnTo>
                      <a:pt x="112" y="73"/>
                    </a:lnTo>
                    <a:lnTo>
                      <a:pt x="121" y="82"/>
                    </a:lnTo>
                    <a:lnTo>
                      <a:pt x="127" y="92"/>
                    </a:lnTo>
                    <a:lnTo>
                      <a:pt x="134" y="101"/>
                    </a:lnTo>
                    <a:lnTo>
                      <a:pt x="140" y="111"/>
                    </a:lnTo>
                    <a:lnTo>
                      <a:pt x="179" y="111"/>
                    </a:lnTo>
                    <a:lnTo>
                      <a:pt x="180" y="107"/>
                    </a:lnTo>
                    <a:lnTo>
                      <a:pt x="183" y="103"/>
                    </a:lnTo>
                    <a:lnTo>
                      <a:pt x="187" y="101"/>
                    </a:lnTo>
                    <a:lnTo>
                      <a:pt x="191" y="99"/>
                    </a:lnTo>
                    <a:lnTo>
                      <a:pt x="196" y="96"/>
                    </a:lnTo>
                    <a:lnTo>
                      <a:pt x="199" y="94"/>
                    </a:lnTo>
                    <a:lnTo>
                      <a:pt x="200" y="92"/>
                    </a:lnTo>
                    <a:lnTo>
                      <a:pt x="200" y="90"/>
                    </a:lnTo>
                    <a:lnTo>
                      <a:pt x="200" y="89"/>
                    </a:lnTo>
                    <a:lnTo>
                      <a:pt x="199" y="85"/>
                    </a:lnTo>
                    <a:lnTo>
                      <a:pt x="207" y="73"/>
                    </a:lnTo>
                    <a:lnTo>
                      <a:pt x="215" y="64"/>
                    </a:lnTo>
                    <a:lnTo>
                      <a:pt x="223" y="58"/>
                    </a:lnTo>
                    <a:lnTo>
                      <a:pt x="232" y="54"/>
                    </a:lnTo>
                    <a:lnTo>
                      <a:pt x="239" y="51"/>
                    </a:lnTo>
                    <a:lnTo>
                      <a:pt x="247" y="50"/>
                    </a:lnTo>
                    <a:lnTo>
                      <a:pt x="254" y="49"/>
                    </a:lnTo>
                    <a:lnTo>
                      <a:pt x="259" y="49"/>
                    </a:lnTo>
                    <a:lnTo>
                      <a:pt x="260" y="40"/>
                    </a:lnTo>
                    <a:lnTo>
                      <a:pt x="263" y="30"/>
                    </a:lnTo>
                    <a:lnTo>
                      <a:pt x="267" y="22"/>
                    </a:lnTo>
                    <a:lnTo>
                      <a:pt x="273" y="15"/>
                    </a:lnTo>
                    <a:lnTo>
                      <a:pt x="280" y="9"/>
                    </a:lnTo>
                    <a:lnTo>
                      <a:pt x="290" y="4"/>
                    </a:lnTo>
                    <a:lnTo>
                      <a:pt x="294" y="2"/>
                    </a:lnTo>
                    <a:lnTo>
                      <a:pt x="300" y="1"/>
                    </a:lnTo>
                    <a:lnTo>
                      <a:pt x="306" y="0"/>
                    </a:lnTo>
                    <a:lnTo>
                      <a:pt x="312" y="0"/>
                    </a:lnTo>
                    <a:lnTo>
                      <a:pt x="323" y="0"/>
                    </a:lnTo>
                    <a:lnTo>
                      <a:pt x="333" y="2"/>
                    </a:lnTo>
                    <a:lnTo>
                      <a:pt x="343" y="5"/>
                    </a:lnTo>
                    <a:lnTo>
                      <a:pt x="351" y="8"/>
                    </a:lnTo>
                    <a:lnTo>
                      <a:pt x="368" y="17"/>
                    </a:lnTo>
                    <a:lnTo>
                      <a:pt x="383" y="27"/>
                    </a:lnTo>
                    <a:lnTo>
                      <a:pt x="399" y="38"/>
                    </a:lnTo>
                    <a:lnTo>
                      <a:pt x="413" y="47"/>
                    </a:lnTo>
                    <a:lnTo>
                      <a:pt x="421" y="50"/>
                    </a:lnTo>
                    <a:lnTo>
                      <a:pt x="428" y="53"/>
                    </a:lnTo>
                    <a:lnTo>
                      <a:pt x="436" y="55"/>
                    </a:lnTo>
                    <a:lnTo>
                      <a:pt x="445" y="55"/>
                    </a:lnTo>
                    <a:lnTo>
                      <a:pt x="459" y="60"/>
                    </a:lnTo>
                    <a:lnTo>
                      <a:pt x="471" y="64"/>
                    </a:lnTo>
                    <a:lnTo>
                      <a:pt x="481" y="66"/>
                    </a:lnTo>
                    <a:lnTo>
                      <a:pt x="491" y="67"/>
                    </a:lnTo>
                    <a:lnTo>
                      <a:pt x="491" y="289"/>
                    </a:lnTo>
                    <a:lnTo>
                      <a:pt x="471" y="301"/>
                    </a:lnTo>
                    <a:lnTo>
                      <a:pt x="491" y="326"/>
                    </a:lnTo>
                    <a:lnTo>
                      <a:pt x="491" y="474"/>
                    </a:lnTo>
                    <a:lnTo>
                      <a:pt x="491" y="48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0" name="Freeform 341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11850955" y="3006297"/>
                <a:ext cx="53975" cy="60325"/>
              </a:xfrm>
              <a:custGeom>
                <a:avLst/>
                <a:gdLst>
                  <a:gd name="T0" fmla="*/ 0 w 133"/>
                  <a:gd name="T1" fmla="*/ 2147483647 h 117"/>
                  <a:gd name="T2" fmla="*/ 2147483647 w 133"/>
                  <a:gd name="T3" fmla="*/ 0 h 117"/>
                  <a:gd name="T4" fmla="*/ 2147483647 w 133"/>
                  <a:gd name="T5" fmla="*/ 822513845 h 117"/>
                  <a:gd name="T6" fmla="*/ 2147483647 w 133"/>
                  <a:gd name="T7" fmla="*/ 1918844411 h 117"/>
                  <a:gd name="T8" fmla="*/ 2147483647 w 133"/>
                  <a:gd name="T9" fmla="*/ 2147483647 h 117"/>
                  <a:gd name="T10" fmla="*/ 2147483647 w 133"/>
                  <a:gd name="T11" fmla="*/ 2147483647 h 117"/>
                  <a:gd name="T12" fmla="*/ 2147483647 w 133"/>
                  <a:gd name="T13" fmla="*/ 2147483647 h 117"/>
                  <a:gd name="T14" fmla="*/ 2147483647 w 133"/>
                  <a:gd name="T15" fmla="*/ 2147483647 h 117"/>
                  <a:gd name="T16" fmla="*/ 2147483647 w 133"/>
                  <a:gd name="T17" fmla="*/ 2147483647 h 117"/>
                  <a:gd name="T18" fmla="*/ 2147483647 w 133"/>
                  <a:gd name="T19" fmla="*/ 2147483647 h 117"/>
                  <a:gd name="T20" fmla="*/ 2147483647 w 133"/>
                  <a:gd name="T21" fmla="*/ 2147483647 h 117"/>
                  <a:gd name="T22" fmla="*/ 2147483647 w 133"/>
                  <a:gd name="T23" fmla="*/ 2147483647 h 117"/>
                  <a:gd name="T24" fmla="*/ 2147483647 w 133"/>
                  <a:gd name="T25" fmla="*/ 2147483647 h 117"/>
                  <a:gd name="T26" fmla="*/ 2147483647 w 133"/>
                  <a:gd name="T27" fmla="*/ 2147483647 h 117"/>
                  <a:gd name="T28" fmla="*/ 2147483647 w 133"/>
                  <a:gd name="T29" fmla="*/ 2147483647 h 117"/>
                  <a:gd name="T30" fmla="*/ 2147483647 w 133"/>
                  <a:gd name="T31" fmla="*/ 2147483647 h 117"/>
                  <a:gd name="T32" fmla="*/ 2147483647 w 133"/>
                  <a:gd name="T33" fmla="*/ 2147483647 h 117"/>
                  <a:gd name="T34" fmla="*/ 2147483647 w 133"/>
                  <a:gd name="T35" fmla="*/ 2147483647 h 117"/>
                  <a:gd name="T36" fmla="*/ 2147483647 w 133"/>
                  <a:gd name="T37" fmla="*/ 2147483647 h 117"/>
                  <a:gd name="T38" fmla="*/ 2147483647 w 133"/>
                  <a:gd name="T39" fmla="*/ 2147483647 h 117"/>
                  <a:gd name="T40" fmla="*/ 2147483647 w 133"/>
                  <a:gd name="T41" fmla="*/ 2147483647 h 117"/>
                  <a:gd name="T42" fmla="*/ 2147483647 w 133"/>
                  <a:gd name="T43" fmla="*/ 2147483647 h 117"/>
                  <a:gd name="T44" fmla="*/ 2138737055 w 133"/>
                  <a:gd name="T45" fmla="*/ 2147483647 h 117"/>
                  <a:gd name="T46" fmla="*/ 1203101533 w 133"/>
                  <a:gd name="T47" fmla="*/ 2147483647 h 117"/>
                  <a:gd name="T48" fmla="*/ 534766444 w 133"/>
                  <a:gd name="T49" fmla="*/ 2147483647 h 117"/>
                  <a:gd name="T50" fmla="*/ 0 w 133"/>
                  <a:gd name="T51" fmla="*/ 2147483647 h 11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1" name="Freeform 342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10307905" y="2410985"/>
                <a:ext cx="220663" cy="177800"/>
              </a:xfrm>
              <a:custGeom>
                <a:avLst/>
                <a:gdLst>
                  <a:gd name="T0" fmla="*/ 2147483647 w 505"/>
                  <a:gd name="T1" fmla="*/ 2147483647 h 339"/>
                  <a:gd name="T2" fmla="*/ 2147483647 w 505"/>
                  <a:gd name="T3" fmla="*/ 2147483647 h 339"/>
                  <a:gd name="T4" fmla="*/ 2147483647 w 505"/>
                  <a:gd name="T5" fmla="*/ 2147483647 h 339"/>
                  <a:gd name="T6" fmla="*/ 2147483647 w 505"/>
                  <a:gd name="T7" fmla="*/ 2147483647 h 339"/>
                  <a:gd name="T8" fmla="*/ 2147483647 w 505"/>
                  <a:gd name="T9" fmla="*/ 2147483647 h 339"/>
                  <a:gd name="T10" fmla="*/ 2147483647 w 505"/>
                  <a:gd name="T11" fmla="*/ 2147483647 h 339"/>
                  <a:gd name="T12" fmla="*/ 2147483647 w 505"/>
                  <a:gd name="T13" fmla="*/ 2147483647 h 339"/>
                  <a:gd name="T14" fmla="*/ 2147483647 w 505"/>
                  <a:gd name="T15" fmla="*/ 2147483647 h 339"/>
                  <a:gd name="T16" fmla="*/ 2147483647 w 505"/>
                  <a:gd name="T17" fmla="*/ 2147483647 h 339"/>
                  <a:gd name="T18" fmla="*/ 2147483647 w 505"/>
                  <a:gd name="T19" fmla="*/ 2147483647 h 339"/>
                  <a:gd name="T20" fmla="*/ 2147483647 w 505"/>
                  <a:gd name="T21" fmla="*/ 2147483647 h 339"/>
                  <a:gd name="T22" fmla="*/ 2147483647 w 505"/>
                  <a:gd name="T23" fmla="*/ 2147483647 h 339"/>
                  <a:gd name="T24" fmla="*/ 2147483647 w 505"/>
                  <a:gd name="T25" fmla="*/ 2147483647 h 339"/>
                  <a:gd name="T26" fmla="*/ 2147483647 w 505"/>
                  <a:gd name="T27" fmla="*/ 2147483647 h 339"/>
                  <a:gd name="T28" fmla="*/ 2147483647 w 505"/>
                  <a:gd name="T29" fmla="*/ 2147483647 h 339"/>
                  <a:gd name="T30" fmla="*/ 2147483647 w 505"/>
                  <a:gd name="T31" fmla="*/ 2147483647 h 339"/>
                  <a:gd name="T32" fmla="*/ 2147483647 w 505"/>
                  <a:gd name="T33" fmla="*/ 2147483647 h 339"/>
                  <a:gd name="T34" fmla="*/ 2147483647 w 505"/>
                  <a:gd name="T35" fmla="*/ 2147483647 h 339"/>
                  <a:gd name="T36" fmla="*/ 2147483647 w 505"/>
                  <a:gd name="T37" fmla="*/ 2147483647 h 339"/>
                  <a:gd name="T38" fmla="*/ 2147483647 w 505"/>
                  <a:gd name="T39" fmla="*/ 2147483647 h 339"/>
                  <a:gd name="T40" fmla="*/ 2147483647 w 505"/>
                  <a:gd name="T41" fmla="*/ 2147483647 h 339"/>
                  <a:gd name="T42" fmla="*/ 2147483647 w 505"/>
                  <a:gd name="T43" fmla="*/ 2147483647 h 339"/>
                  <a:gd name="T44" fmla="*/ 2147483647 w 505"/>
                  <a:gd name="T45" fmla="*/ 2147483647 h 339"/>
                  <a:gd name="T46" fmla="*/ 2147483647 w 505"/>
                  <a:gd name="T47" fmla="*/ 2147483647 h 339"/>
                  <a:gd name="T48" fmla="*/ 2147483647 w 505"/>
                  <a:gd name="T49" fmla="*/ 2147483647 h 339"/>
                  <a:gd name="T50" fmla="*/ 2147483647 w 505"/>
                  <a:gd name="T51" fmla="*/ 2147483647 h 339"/>
                  <a:gd name="T52" fmla="*/ 2147483647 w 505"/>
                  <a:gd name="T53" fmla="*/ 2147483647 h 339"/>
                  <a:gd name="T54" fmla="*/ 2147483647 w 505"/>
                  <a:gd name="T55" fmla="*/ 2147483647 h 339"/>
                  <a:gd name="T56" fmla="*/ 1251361084 w 505"/>
                  <a:gd name="T57" fmla="*/ 2147483647 h 339"/>
                  <a:gd name="T58" fmla="*/ 166873663 w 505"/>
                  <a:gd name="T59" fmla="*/ 2147483647 h 339"/>
                  <a:gd name="T60" fmla="*/ 417184157 w 505"/>
                  <a:gd name="T61" fmla="*/ 2147483647 h 339"/>
                  <a:gd name="T62" fmla="*/ 917805145 w 505"/>
                  <a:gd name="T63" fmla="*/ 2147483647 h 339"/>
                  <a:gd name="T64" fmla="*/ 917805145 w 505"/>
                  <a:gd name="T65" fmla="*/ 2147483647 h 339"/>
                  <a:gd name="T66" fmla="*/ 917805145 w 505"/>
                  <a:gd name="T67" fmla="*/ 2147483647 h 339"/>
                  <a:gd name="T68" fmla="*/ 2147483647 w 505"/>
                  <a:gd name="T69" fmla="*/ 2147483647 h 339"/>
                  <a:gd name="T70" fmla="*/ 2147483647 w 505"/>
                  <a:gd name="T71" fmla="*/ 2147483647 h 339"/>
                  <a:gd name="T72" fmla="*/ 2147483647 w 505"/>
                  <a:gd name="T73" fmla="*/ 1154249278 h 339"/>
                  <a:gd name="T74" fmla="*/ 2147483647 w 505"/>
                  <a:gd name="T75" fmla="*/ 1586955211 h 339"/>
                  <a:gd name="T76" fmla="*/ 2147483647 w 505"/>
                  <a:gd name="T77" fmla="*/ 2147483647 h 339"/>
                  <a:gd name="T78" fmla="*/ 2147483647 w 505"/>
                  <a:gd name="T79" fmla="*/ 2147483647 h 339"/>
                  <a:gd name="T80" fmla="*/ 2147483647 w 505"/>
                  <a:gd name="T81" fmla="*/ 2147483647 h 339"/>
                  <a:gd name="T82" fmla="*/ 2147483647 w 505"/>
                  <a:gd name="T83" fmla="*/ 2147483647 h 339"/>
                  <a:gd name="T84" fmla="*/ 2147483647 w 505"/>
                  <a:gd name="T85" fmla="*/ 2147483647 h 33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2" name="Freeform 343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10371405" y="2615772"/>
                <a:ext cx="146050" cy="71438"/>
              </a:xfrm>
              <a:custGeom>
                <a:avLst/>
                <a:gdLst>
                  <a:gd name="T0" fmla="*/ 2147483647 w 338"/>
                  <a:gd name="T1" fmla="*/ 0 h 141"/>
                  <a:gd name="T2" fmla="*/ 2147483647 w 338"/>
                  <a:gd name="T3" fmla="*/ 0 h 141"/>
                  <a:gd name="T4" fmla="*/ 2147483647 w 338"/>
                  <a:gd name="T5" fmla="*/ 1040392126 h 141"/>
                  <a:gd name="T6" fmla="*/ 2147483647 w 338"/>
                  <a:gd name="T7" fmla="*/ 2147483647 h 141"/>
                  <a:gd name="T8" fmla="*/ 2147483647 w 338"/>
                  <a:gd name="T9" fmla="*/ 2147483647 h 141"/>
                  <a:gd name="T10" fmla="*/ 2147483647 w 338"/>
                  <a:gd name="T11" fmla="*/ 2147483647 h 141"/>
                  <a:gd name="T12" fmla="*/ 2147483647 w 338"/>
                  <a:gd name="T13" fmla="*/ 2147483647 h 141"/>
                  <a:gd name="T14" fmla="*/ 2147483647 w 338"/>
                  <a:gd name="T15" fmla="*/ 2147483647 h 141"/>
                  <a:gd name="T16" fmla="*/ 2147483647 w 338"/>
                  <a:gd name="T17" fmla="*/ 2147483647 h 141"/>
                  <a:gd name="T18" fmla="*/ 2147483647 w 338"/>
                  <a:gd name="T19" fmla="*/ 2147483647 h 141"/>
                  <a:gd name="T20" fmla="*/ 2147483647 w 338"/>
                  <a:gd name="T21" fmla="*/ 2147483647 h 141"/>
                  <a:gd name="T22" fmla="*/ 2147483647 w 338"/>
                  <a:gd name="T23" fmla="*/ 2147483647 h 141"/>
                  <a:gd name="T24" fmla="*/ 2147483647 w 338"/>
                  <a:gd name="T25" fmla="*/ 2147483647 h 141"/>
                  <a:gd name="T26" fmla="*/ 2147483647 w 338"/>
                  <a:gd name="T27" fmla="*/ 2147483647 h 141"/>
                  <a:gd name="T28" fmla="*/ 2147483647 w 338"/>
                  <a:gd name="T29" fmla="*/ 2147483647 h 141"/>
                  <a:gd name="T30" fmla="*/ 2147483647 w 338"/>
                  <a:gd name="T31" fmla="*/ 2147483647 h 141"/>
                  <a:gd name="T32" fmla="*/ 2147483647 w 338"/>
                  <a:gd name="T33" fmla="*/ 2147483647 h 141"/>
                  <a:gd name="T34" fmla="*/ 2147483647 w 338"/>
                  <a:gd name="T35" fmla="*/ 2147483647 h 141"/>
                  <a:gd name="T36" fmla="*/ 2147483647 w 338"/>
                  <a:gd name="T37" fmla="*/ 2147483647 h 141"/>
                  <a:gd name="T38" fmla="*/ 1694215000 w 338"/>
                  <a:gd name="T39" fmla="*/ 2147483647 h 141"/>
                  <a:gd name="T40" fmla="*/ 887436961 w 338"/>
                  <a:gd name="T41" fmla="*/ 2147483647 h 141"/>
                  <a:gd name="T42" fmla="*/ 0 w 338"/>
                  <a:gd name="T43" fmla="*/ 2147483647 h 141"/>
                  <a:gd name="T44" fmla="*/ 968096314 w 338"/>
                  <a:gd name="T45" fmla="*/ 2147483647 h 141"/>
                  <a:gd name="T46" fmla="*/ 1855533275 w 338"/>
                  <a:gd name="T47" fmla="*/ 2147483647 h 141"/>
                  <a:gd name="T48" fmla="*/ 2147483647 w 338"/>
                  <a:gd name="T49" fmla="*/ 2147483647 h 141"/>
                  <a:gd name="T50" fmla="*/ 2147483647 w 338"/>
                  <a:gd name="T51" fmla="*/ 2147483647 h 141"/>
                  <a:gd name="T52" fmla="*/ 2147483647 w 338"/>
                  <a:gd name="T53" fmla="*/ 2147483647 h 141"/>
                  <a:gd name="T54" fmla="*/ 2147483647 w 338"/>
                  <a:gd name="T55" fmla="*/ 2147483647 h 141"/>
                  <a:gd name="T56" fmla="*/ 2147483647 w 338"/>
                  <a:gd name="T57" fmla="*/ 2147483647 h 141"/>
                  <a:gd name="T58" fmla="*/ 2147483647 w 338"/>
                  <a:gd name="T59" fmla="*/ 2147483647 h 141"/>
                  <a:gd name="T60" fmla="*/ 2147483647 w 338"/>
                  <a:gd name="T61" fmla="*/ 2147483647 h 141"/>
                  <a:gd name="T62" fmla="*/ 2147483647 w 338"/>
                  <a:gd name="T63" fmla="*/ 2147483647 h 141"/>
                  <a:gd name="T64" fmla="*/ 2147483647 w 338"/>
                  <a:gd name="T65" fmla="*/ 2147483647 h 141"/>
                  <a:gd name="T66" fmla="*/ 2147483647 w 338"/>
                  <a:gd name="T67" fmla="*/ 2147483647 h 141"/>
                  <a:gd name="T68" fmla="*/ 2147483647 w 338"/>
                  <a:gd name="T69" fmla="*/ 2147483647 h 141"/>
                  <a:gd name="T70" fmla="*/ 2147483647 w 338"/>
                  <a:gd name="T71" fmla="*/ 2147483647 h 141"/>
                  <a:gd name="T72" fmla="*/ 2147483647 w 338"/>
                  <a:gd name="T73" fmla="*/ 2147483647 h 141"/>
                  <a:gd name="T74" fmla="*/ 2147483647 w 338"/>
                  <a:gd name="T75" fmla="*/ 2147483647 h 141"/>
                  <a:gd name="T76" fmla="*/ 2147483647 w 338"/>
                  <a:gd name="T77" fmla="*/ 2147483647 h 141"/>
                  <a:gd name="T78" fmla="*/ 2147483647 w 338"/>
                  <a:gd name="T79" fmla="*/ 0 h 1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3" name="Freeform 344"/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10471418" y="2271285"/>
                <a:ext cx="111125" cy="65087"/>
              </a:xfrm>
              <a:custGeom>
                <a:avLst/>
                <a:gdLst>
                  <a:gd name="T0" fmla="*/ 2147483647 w 259"/>
                  <a:gd name="T1" fmla="*/ 2147483647 h 129"/>
                  <a:gd name="T2" fmla="*/ 2147483647 w 259"/>
                  <a:gd name="T3" fmla="*/ 2147483647 h 129"/>
                  <a:gd name="T4" fmla="*/ 2147483647 w 259"/>
                  <a:gd name="T5" fmla="*/ 2147483647 h 129"/>
                  <a:gd name="T6" fmla="*/ 2147483647 w 259"/>
                  <a:gd name="T7" fmla="*/ 2147483647 h 129"/>
                  <a:gd name="T8" fmla="*/ 2147483647 w 259"/>
                  <a:gd name="T9" fmla="*/ 2147483647 h 129"/>
                  <a:gd name="T10" fmla="*/ 2147483647 w 259"/>
                  <a:gd name="T11" fmla="*/ 2147483647 h 129"/>
                  <a:gd name="T12" fmla="*/ 2147483647 w 259"/>
                  <a:gd name="T13" fmla="*/ 1541428175 h 129"/>
                  <a:gd name="T14" fmla="*/ 2147483647 w 259"/>
                  <a:gd name="T15" fmla="*/ 1798290237 h 129"/>
                  <a:gd name="T16" fmla="*/ 2147483647 w 259"/>
                  <a:gd name="T17" fmla="*/ 2055152298 h 129"/>
                  <a:gd name="T18" fmla="*/ 2147483647 w 259"/>
                  <a:gd name="T19" fmla="*/ 2147483647 h 129"/>
                  <a:gd name="T20" fmla="*/ 2147483647 w 259"/>
                  <a:gd name="T21" fmla="*/ 2147483647 h 129"/>
                  <a:gd name="T22" fmla="*/ 2147483647 w 259"/>
                  <a:gd name="T23" fmla="*/ 2147483647 h 129"/>
                  <a:gd name="T24" fmla="*/ 2147483647 w 259"/>
                  <a:gd name="T25" fmla="*/ 2147483647 h 129"/>
                  <a:gd name="T26" fmla="*/ 2147483647 w 259"/>
                  <a:gd name="T27" fmla="*/ 2147483647 h 129"/>
                  <a:gd name="T28" fmla="*/ 2147483647 w 259"/>
                  <a:gd name="T29" fmla="*/ 2147483647 h 129"/>
                  <a:gd name="T30" fmla="*/ 2147483647 w 259"/>
                  <a:gd name="T31" fmla="*/ 2147483647 h 129"/>
                  <a:gd name="T32" fmla="*/ 2147483647 w 259"/>
                  <a:gd name="T33" fmla="*/ 1926593868 h 129"/>
                  <a:gd name="T34" fmla="*/ 2147483647 w 259"/>
                  <a:gd name="T35" fmla="*/ 1541428175 h 129"/>
                  <a:gd name="T36" fmla="*/ 2147483647 w 259"/>
                  <a:gd name="T37" fmla="*/ 1156007180 h 129"/>
                  <a:gd name="T38" fmla="*/ 2147483647 w 259"/>
                  <a:gd name="T39" fmla="*/ 770586689 h 129"/>
                  <a:gd name="T40" fmla="*/ 2147483647 w 259"/>
                  <a:gd name="T41" fmla="*/ 385420491 h 129"/>
                  <a:gd name="T42" fmla="*/ 2147483647 w 259"/>
                  <a:gd name="T43" fmla="*/ 128558430 h 129"/>
                  <a:gd name="T44" fmla="*/ 2147483647 w 259"/>
                  <a:gd name="T45" fmla="*/ 0 h 129"/>
                  <a:gd name="T46" fmla="*/ 2147483647 w 259"/>
                  <a:gd name="T47" fmla="*/ 0 h 129"/>
                  <a:gd name="T48" fmla="*/ 2147483647 w 259"/>
                  <a:gd name="T49" fmla="*/ 0 h 129"/>
                  <a:gd name="T50" fmla="*/ 2147483647 w 259"/>
                  <a:gd name="T51" fmla="*/ 0 h 129"/>
                  <a:gd name="T52" fmla="*/ 2147483647 w 259"/>
                  <a:gd name="T53" fmla="*/ 256862061 h 129"/>
                  <a:gd name="T54" fmla="*/ 2132468155 w 259"/>
                  <a:gd name="T55" fmla="*/ 513724627 h 129"/>
                  <a:gd name="T56" fmla="*/ 1658627294 w 259"/>
                  <a:gd name="T57" fmla="*/ 770586689 h 129"/>
                  <a:gd name="T58" fmla="*/ 1105813027 w 259"/>
                  <a:gd name="T59" fmla="*/ 1156007180 h 129"/>
                  <a:gd name="T60" fmla="*/ 789918976 w 259"/>
                  <a:gd name="T61" fmla="*/ 1669731807 h 129"/>
                  <a:gd name="T62" fmla="*/ 394867456 w 259"/>
                  <a:gd name="T63" fmla="*/ 2147483647 h 129"/>
                  <a:gd name="T64" fmla="*/ 157946811 w 259"/>
                  <a:gd name="T65" fmla="*/ 2147483647 h 129"/>
                  <a:gd name="T66" fmla="*/ 0 w 259"/>
                  <a:gd name="T67" fmla="*/ 2147483647 h 129"/>
                  <a:gd name="T68" fmla="*/ 0 w 259"/>
                  <a:gd name="T69" fmla="*/ 2147483647 h 129"/>
                  <a:gd name="T70" fmla="*/ 0 w 259"/>
                  <a:gd name="T71" fmla="*/ 2147483647 h 129"/>
                  <a:gd name="T72" fmla="*/ 236920645 w 259"/>
                  <a:gd name="T73" fmla="*/ 2147483647 h 129"/>
                  <a:gd name="T74" fmla="*/ 473840861 w 259"/>
                  <a:gd name="T75" fmla="*/ 2147483647 h 129"/>
                  <a:gd name="T76" fmla="*/ 947865787 w 259"/>
                  <a:gd name="T77" fmla="*/ 2147483647 h 129"/>
                  <a:gd name="T78" fmla="*/ 1342733243 w 259"/>
                  <a:gd name="T79" fmla="*/ 2147483647 h 129"/>
                  <a:gd name="T80" fmla="*/ 1895547939 w 259"/>
                  <a:gd name="T81" fmla="*/ 2147483647 h 129"/>
                  <a:gd name="T82" fmla="*/ 2147483647 w 259"/>
                  <a:gd name="T83" fmla="*/ 2147483647 h 129"/>
                  <a:gd name="T84" fmla="*/ 2147483647 w 259"/>
                  <a:gd name="T85" fmla="*/ 2147483647 h 129"/>
                  <a:gd name="T86" fmla="*/ 2147483647 w 259"/>
                  <a:gd name="T87" fmla="*/ 2147483647 h 129"/>
                  <a:gd name="T88" fmla="*/ 2147483647 w 259"/>
                  <a:gd name="T89" fmla="*/ 2147483647 h 129"/>
                  <a:gd name="T90" fmla="*/ 2147483647 w 259"/>
                  <a:gd name="T91" fmla="*/ 2147483647 h 129"/>
                  <a:gd name="T92" fmla="*/ 2147483647 w 259"/>
                  <a:gd name="T93" fmla="*/ 2147483647 h 129"/>
                  <a:gd name="T94" fmla="*/ 2147483647 w 259"/>
                  <a:gd name="T95" fmla="*/ 2147483647 h 129"/>
                  <a:gd name="T96" fmla="*/ 2147483647 w 259"/>
                  <a:gd name="T97" fmla="*/ 2147483647 h 129"/>
                  <a:gd name="T98" fmla="*/ 2147483647 w 259"/>
                  <a:gd name="T99" fmla="*/ 2147483647 h 129"/>
                  <a:gd name="T100" fmla="*/ 2147483647 w 259"/>
                  <a:gd name="T101" fmla="*/ 2147483647 h 129"/>
                  <a:gd name="T102" fmla="*/ 2147483647 w 259"/>
                  <a:gd name="T103" fmla="*/ 2147483647 h 129"/>
                  <a:gd name="T104" fmla="*/ 2147483647 w 259"/>
                  <a:gd name="T105" fmla="*/ 2147483647 h 129"/>
                  <a:gd name="T106" fmla="*/ 2147483647 w 259"/>
                  <a:gd name="T107" fmla="*/ 2147483647 h 129"/>
                  <a:gd name="T108" fmla="*/ 2147483647 w 259"/>
                  <a:gd name="T109" fmla="*/ 2147483647 h 129"/>
                  <a:gd name="T110" fmla="*/ 2147483647 w 259"/>
                  <a:gd name="T111" fmla="*/ 2147483647 h 129"/>
                  <a:gd name="T112" fmla="*/ 2147483647 w 259"/>
                  <a:gd name="T113" fmla="*/ 2147483647 h 129"/>
                  <a:gd name="T114" fmla="*/ 2147483647 w 259"/>
                  <a:gd name="T115" fmla="*/ 2147483647 h 129"/>
                  <a:gd name="T116" fmla="*/ 2147483647 w 259"/>
                  <a:gd name="T117" fmla="*/ 2147483647 h 1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4" name="Freeform 345"/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10484118" y="2618947"/>
                <a:ext cx="179387" cy="142875"/>
              </a:xfrm>
              <a:custGeom>
                <a:avLst/>
                <a:gdLst>
                  <a:gd name="T0" fmla="*/ 2147483647 w 425"/>
                  <a:gd name="T1" fmla="*/ 2147483647 h 272"/>
                  <a:gd name="T2" fmla="*/ 2147483647 w 425"/>
                  <a:gd name="T3" fmla="*/ 2147483647 h 272"/>
                  <a:gd name="T4" fmla="*/ 2147483647 w 425"/>
                  <a:gd name="T5" fmla="*/ 2147483647 h 272"/>
                  <a:gd name="T6" fmla="*/ 2147483647 w 425"/>
                  <a:gd name="T7" fmla="*/ 2147483647 h 272"/>
                  <a:gd name="T8" fmla="*/ 2147483647 w 425"/>
                  <a:gd name="T9" fmla="*/ 2147483647 h 272"/>
                  <a:gd name="T10" fmla="*/ 2147483647 w 425"/>
                  <a:gd name="T11" fmla="*/ 2147483647 h 272"/>
                  <a:gd name="T12" fmla="*/ 2147483647 w 425"/>
                  <a:gd name="T13" fmla="*/ 2147483647 h 272"/>
                  <a:gd name="T14" fmla="*/ 2147483647 w 425"/>
                  <a:gd name="T15" fmla="*/ 2147483647 h 272"/>
                  <a:gd name="T16" fmla="*/ 2147483647 w 425"/>
                  <a:gd name="T17" fmla="*/ 2147483647 h 272"/>
                  <a:gd name="T18" fmla="*/ 2147483647 w 425"/>
                  <a:gd name="T19" fmla="*/ 2147483647 h 272"/>
                  <a:gd name="T20" fmla="*/ 2147483647 w 425"/>
                  <a:gd name="T21" fmla="*/ 2147483647 h 272"/>
                  <a:gd name="T22" fmla="*/ 2147483647 w 425"/>
                  <a:gd name="T23" fmla="*/ 2147483647 h 272"/>
                  <a:gd name="T24" fmla="*/ 2147483647 w 425"/>
                  <a:gd name="T25" fmla="*/ 2147483647 h 272"/>
                  <a:gd name="T26" fmla="*/ 2147483647 w 425"/>
                  <a:gd name="T27" fmla="*/ 2147483647 h 272"/>
                  <a:gd name="T28" fmla="*/ 2147483647 w 425"/>
                  <a:gd name="T29" fmla="*/ 2147483647 h 272"/>
                  <a:gd name="T30" fmla="*/ 2147483647 w 425"/>
                  <a:gd name="T31" fmla="*/ 2147483647 h 272"/>
                  <a:gd name="T32" fmla="*/ 1654370227 w 425"/>
                  <a:gd name="T33" fmla="*/ 2147483647 h 272"/>
                  <a:gd name="T34" fmla="*/ 827185114 w 425"/>
                  <a:gd name="T35" fmla="*/ 2147483647 h 272"/>
                  <a:gd name="T36" fmla="*/ 150364716 w 425"/>
                  <a:gd name="T37" fmla="*/ 2147483647 h 272"/>
                  <a:gd name="T38" fmla="*/ 0 w 425"/>
                  <a:gd name="T39" fmla="*/ 2147483647 h 272"/>
                  <a:gd name="T40" fmla="*/ 2147483647 w 425"/>
                  <a:gd name="T41" fmla="*/ 2147483647 h 272"/>
                  <a:gd name="T42" fmla="*/ 2147483647 w 425"/>
                  <a:gd name="T43" fmla="*/ 2147483647 h 272"/>
                  <a:gd name="T44" fmla="*/ 2147483647 w 425"/>
                  <a:gd name="T45" fmla="*/ 2147483647 h 272"/>
                  <a:gd name="T46" fmla="*/ 2147483647 w 425"/>
                  <a:gd name="T47" fmla="*/ 869682751 h 272"/>
                  <a:gd name="T48" fmla="*/ 2147483647 w 425"/>
                  <a:gd name="T49" fmla="*/ 1449379154 h 272"/>
                  <a:gd name="T50" fmla="*/ 2147483647 w 425"/>
                  <a:gd name="T51" fmla="*/ 2147483647 h 272"/>
                  <a:gd name="T52" fmla="*/ 2147483647 w 425"/>
                  <a:gd name="T53" fmla="*/ 2147483647 h 272"/>
                  <a:gd name="T54" fmla="*/ 2147483647 w 425"/>
                  <a:gd name="T55" fmla="*/ 2147483647 h 272"/>
                  <a:gd name="T56" fmla="*/ 2147483647 w 425"/>
                  <a:gd name="T57" fmla="*/ 2147483647 h 272"/>
                  <a:gd name="T58" fmla="*/ 2147483647 w 425"/>
                  <a:gd name="T59" fmla="*/ 2147483647 h 272"/>
                  <a:gd name="T60" fmla="*/ 2147483647 w 425"/>
                  <a:gd name="T61" fmla="*/ 2147483647 h 272"/>
                  <a:gd name="T62" fmla="*/ 2147483647 w 425"/>
                  <a:gd name="T63" fmla="*/ 724551692 h 272"/>
                  <a:gd name="T64" fmla="*/ 2147483647 w 425"/>
                  <a:gd name="T65" fmla="*/ 289986349 h 272"/>
                  <a:gd name="T66" fmla="*/ 2147483647 w 425"/>
                  <a:gd name="T67" fmla="*/ 0 h 272"/>
                  <a:gd name="T68" fmla="*/ 2147483647 w 425"/>
                  <a:gd name="T69" fmla="*/ 289986349 h 272"/>
                  <a:gd name="T70" fmla="*/ 2147483647 w 425"/>
                  <a:gd name="T71" fmla="*/ 1014538041 h 272"/>
                  <a:gd name="T72" fmla="*/ 2147483647 w 425"/>
                  <a:gd name="T73" fmla="*/ 2147483647 h 272"/>
                  <a:gd name="T74" fmla="*/ 2147483647 w 425"/>
                  <a:gd name="T75" fmla="*/ 2147483647 h 272"/>
                  <a:gd name="T76" fmla="*/ 2147483647 w 425"/>
                  <a:gd name="T77" fmla="*/ 2147483647 h 272"/>
                  <a:gd name="T78" fmla="*/ 2147483647 w 425"/>
                  <a:gd name="T79" fmla="*/ 2147483647 h 272"/>
                  <a:gd name="T80" fmla="*/ 2147483647 w 425"/>
                  <a:gd name="T81" fmla="*/ 2147483647 h 272"/>
                  <a:gd name="T82" fmla="*/ 2147483647 w 425"/>
                  <a:gd name="T83" fmla="*/ 2147483647 h 272"/>
                  <a:gd name="T84" fmla="*/ 2147483647 w 425"/>
                  <a:gd name="T85" fmla="*/ 2147483647 h 272"/>
                  <a:gd name="T86" fmla="*/ 2147483647 w 425"/>
                  <a:gd name="T87" fmla="*/ 2147483647 h 272"/>
                  <a:gd name="T88" fmla="*/ 2147483647 w 425"/>
                  <a:gd name="T89" fmla="*/ 2147483647 h 272"/>
                  <a:gd name="T90" fmla="*/ 2147483647 w 425"/>
                  <a:gd name="T91" fmla="*/ 2147483647 h 272"/>
                  <a:gd name="T92" fmla="*/ 2147483647 w 425"/>
                  <a:gd name="T93" fmla="*/ 2147483647 h 27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5" name="Freeform 347"/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10588893" y="2611010"/>
                <a:ext cx="85725" cy="79375"/>
              </a:xfrm>
              <a:custGeom>
                <a:avLst/>
                <a:gdLst>
                  <a:gd name="T0" fmla="*/ 534054248 w 192"/>
                  <a:gd name="T1" fmla="*/ 2147483647 h 154"/>
                  <a:gd name="T2" fmla="*/ 2147483647 w 192"/>
                  <a:gd name="T3" fmla="*/ 0 h 154"/>
                  <a:gd name="T4" fmla="*/ 2147483647 w 192"/>
                  <a:gd name="T5" fmla="*/ 2147483647 h 154"/>
                  <a:gd name="T6" fmla="*/ 2147483647 w 192"/>
                  <a:gd name="T7" fmla="*/ 2147483647 h 154"/>
                  <a:gd name="T8" fmla="*/ 2147483647 w 192"/>
                  <a:gd name="T9" fmla="*/ 2147483647 h 154"/>
                  <a:gd name="T10" fmla="*/ 2147483647 w 192"/>
                  <a:gd name="T11" fmla="*/ 2147483647 h 154"/>
                  <a:gd name="T12" fmla="*/ 2147483647 w 192"/>
                  <a:gd name="T13" fmla="*/ 2147483647 h 154"/>
                  <a:gd name="T14" fmla="*/ 2147483647 w 192"/>
                  <a:gd name="T15" fmla="*/ 2147483647 h 154"/>
                  <a:gd name="T16" fmla="*/ 2147483647 w 192"/>
                  <a:gd name="T17" fmla="*/ 2147483647 h 154"/>
                  <a:gd name="T18" fmla="*/ 2147483647 w 192"/>
                  <a:gd name="T19" fmla="*/ 2147483647 h 154"/>
                  <a:gd name="T20" fmla="*/ 2147483647 w 192"/>
                  <a:gd name="T21" fmla="*/ 2147483647 h 154"/>
                  <a:gd name="T22" fmla="*/ 2147483647 w 192"/>
                  <a:gd name="T23" fmla="*/ 2147483647 h 154"/>
                  <a:gd name="T24" fmla="*/ 2147483647 w 192"/>
                  <a:gd name="T25" fmla="*/ 2147483647 h 154"/>
                  <a:gd name="T26" fmla="*/ 2147483647 w 192"/>
                  <a:gd name="T27" fmla="*/ 2147483647 h 154"/>
                  <a:gd name="T28" fmla="*/ 2147483647 w 192"/>
                  <a:gd name="T29" fmla="*/ 2147483647 h 154"/>
                  <a:gd name="T30" fmla="*/ 2147483647 w 192"/>
                  <a:gd name="T31" fmla="*/ 2147483647 h 154"/>
                  <a:gd name="T32" fmla="*/ 2147483647 w 192"/>
                  <a:gd name="T33" fmla="*/ 2147483647 h 154"/>
                  <a:gd name="T34" fmla="*/ 2147483647 w 192"/>
                  <a:gd name="T35" fmla="*/ 2147483647 h 154"/>
                  <a:gd name="T36" fmla="*/ 2147483647 w 192"/>
                  <a:gd name="T37" fmla="*/ 2147483647 h 154"/>
                  <a:gd name="T38" fmla="*/ 2147483647 w 192"/>
                  <a:gd name="T39" fmla="*/ 2147483647 h 154"/>
                  <a:gd name="T40" fmla="*/ 2147483647 w 192"/>
                  <a:gd name="T41" fmla="*/ 2147483647 h 154"/>
                  <a:gd name="T42" fmla="*/ 2147483647 w 192"/>
                  <a:gd name="T43" fmla="*/ 2147483647 h 154"/>
                  <a:gd name="T44" fmla="*/ 2136216547 w 192"/>
                  <a:gd name="T45" fmla="*/ 2147483647 h 154"/>
                  <a:gd name="T46" fmla="*/ 1602162299 w 192"/>
                  <a:gd name="T47" fmla="*/ 2147483647 h 154"/>
                  <a:gd name="T48" fmla="*/ 1068108050 w 192"/>
                  <a:gd name="T49" fmla="*/ 2147483647 h 154"/>
                  <a:gd name="T50" fmla="*/ 534054248 w 192"/>
                  <a:gd name="T51" fmla="*/ 2147483647 h 154"/>
                  <a:gd name="T52" fmla="*/ 0 w 192"/>
                  <a:gd name="T53" fmla="*/ 2147483647 h 154"/>
                  <a:gd name="T54" fmla="*/ 534054248 w 192"/>
                  <a:gd name="T55" fmla="*/ 2147483647 h 15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6" name="Freeform 348"/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10506343" y="2493535"/>
                <a:ext cx="381000" cy="247650"/>
              </a:xfrm>
              <a:custGeom>
                <a:avLst/>
                <a:gdLst>
                  <a:gd name="T0" fmla="*/ 2147483647 w 877"/>
                  <a:gd name="T1" fmla="*/ 2147483647 h 469"/>
                  <a:gd name="T2" fmla="*/ 2147483647 w 877"/>
                  <a:gd name="T3" fmla="*/ 2147483647 h 469"/>
                  <a:gd name="T4" fmla="*/ 2147483647 w 877"/>
                  <a:gd name="T5" fmla="*/ 2147483647 h 469"/>
                  <a:gd name="T6" fmla="*/ 2147483647 w 877"/>
                  <a:gd name="T7" fmla="*/ 2147483647 h 469"/>
                  <a:gd name="T8" fmla="*/ 2147483647 w 877"/>
                  <a:gd name="T9" fmla="*/ 2147483647 h 469"/>
                  <a:gd name="T10" fmla="*/ 2147483647 w 877"/>
                  <a:gd name="T11" fmla="*/ 2147483647 h 469"/>
                  <a:gd name="T12" fmla="*/ 2147483647 w 877"/>
                  <a:gd name="T13" fmla="*/ 2147483647 h 469"/>
                  <a:gd name="T14" fmla="*/ 2147483647 w 877"/>
                  <a:gd name="T15" fmla="*/ 2147483647 h 469"/>
                  <a:gd name="T16" fmla="*/ 2147483647 w 877"/>
                  <a:gd name="T17" fmla="*/ 2147483647 h 469"/>
                  <a:gd name="T18" fmla="*/ 2131753649 w 877"/>
                  <a:gd name="T19" fmla="*/ 2147483647 h 469"/>
                  <a:gd name="T20" fmla="*/ 655851749 w 877"/>
                  <a:gd name="T21" fmla="*/ 2147483647 h 469"/>
                  <a:gd name="T22" fmla="*/ 1065971097 w 877"/>
                  <a:gd name="T23" fmla="*/ 2147483647 h 469"/>
                  <a:gd name="T24" fmla="*/ 1065971097 w 877"/>
                  <a:gd name="T25" fmla="*/ 2147483647 h 469"/>
                  <a:gd name="T26" fmla="*/ 1885832702 w 877"/>
                  <a:gd name="T27" fmla="*/ 2147483647 h 469"/>
                  <a:gd name="T28" fmla="*/ 2147483647 w 877"/>
                  <a:gd name="T29" fmla="*/ 2147483647 h 469"/>
                  <a:gd name="T30" fmla="*/ 2147483647 w 877"/>
                  <a:gd name="T31" fmla="*/ 2147483647 h 469"/>
                  <a:gd name="T32" fmla="*/ 2131753649 w 877"/>
                  <a:gd name="T33" fmla="*/ 2147483647 h 469"/>
                  <a:gd name="T34" fmla="*/ 2147483647 w 877"/>
                  <a:gd name="T35" fmla="*/ 2147483647 h 469"/>
                  <a:gd name="T36" fmla="*/ 2147483647 w 877"/>
                  <a:gd name="T37" fmla="*/ 2147483647 h 469"/>
                  <a:gd name="T38" fmla="*/ 2147483647 w 877"/>
                  <a:gd name="T39" fmla="*/ 1913851345 h 469"/>
                  <a:gd name="T40" fmla="*/ 2147483647 w 877"/>
                  <a:gd name="T41" fmla="*/ 0 h 469"/>
                  <a:gd name="T42" fmla="*/ 2147483647 w 877"/>
                  <a:gd name="T43" fmla="*/ 2147483647 h 469"/>
                  <a:gd name="T44" fmla="*/ 2147483647 w 877"/>
                  <a:gd name="T45" fmla="*/ 2147483647 h 469"/>
                  <a:gd name="T46" fmla="*/ 2147483647 w 877"/>
                  <a:gd name="T47" fmla="*/ 2147483647 h 469"/>
                  <a:gd name="T48" fmla="*/ 2147483647 w 877"/>
                  <a:gd name="T49" fmla="*/ 2147483647 h 469"/>
                  <a:gd name="T50" fmla="*/ 2147483647 w 877"/>
                  <a:gd name="T51" fmla="*/ 2147483647 h 469"/>
                  <a:gd name="T52" fmla="*/ 2147483647 w 877"/>
                  <a:gd name="T53" fmla="*/ 2147483647 h 469"/>
                  <a:gd name="T54" fmla="*/ 2147483647 w 877"/>
                  <a:gd name="T55" fmla="*/ 2147483647 h 469"/>
                  <a:gd name="T56" fmla="*/ 2147483647 w 877"/>
                  <a:gd name="T57" fmla="*/ 2147483647 h 469"/>
                  <a:gd name="T58" fmla="*/ 2147483647 w 877"/>
                  <a:gd name="T59" fmla="*/ 2147483647 h 469"/>
                  <a:gd name="T60" fmla="*/ 2147483647 w 877"/>
                  <a:gd name="T61" fmla="*/ 2147483647 h 469"/>
                  <a:gd name="T62" fmla="*/ 2147483647 w 877"/>
                  <a:gd name="T63" fmla="*/ 2147483647 h 469"/>
                  <a:gd name="T64" fmla="*/ 2147483647 w 877"/>
                  <a:gd name="T65" fmla="*/ 2147483647 h 469"/>
                  <a:gd name="T66" fmla="*/ 2147483647 w 877"/>
                  <a:gd name="T67" fmla="*/ 2147483647 h 469"/>
                  <a:gd name="T68" fmla="*/ 2147483647 w 877"/>
                  <a:gd name="T69" fmla="*/ 2147483647 h 469"/>
                  <a:gd name="T70" fmla="*/ 2147483647 w 877"/>
                  <a:gd name="T71" fmla="*/ 2147483647 h 469"/>
                  <a:gd name="T72" fmla="*/ 2147483647 w 877"/>
                  <a:gd name="T73" fmla="*/ 2147483647 h 469"/>
                  <a:gd name="T74" fmla="*/ 2147483647 w 877"/>
                  <a:gd name="T75" fmla="*/ 2147483647 h 469"/>
                  <a:gd name="T76" fmla="*/ 2147483647 w 877"/>
                  <a:gd name="T77" fmla="*/ 2147483647 h 469"/>
                  <a:gd name="T78" fmla="*/ 2147483647 w 877"/>
                  <a:gd name="T79" fmla="*/ 2147483647 h 469"/>
                  <a:gd name="T80" fmla="*/ 2147483647 w 877"/>
                  <a:gd name="T81" fmla="*/ 2147483647 h 469"/>
                  <a:gd name="T82" fmla="*/ 2147483647 w 877"/>
                  <a:gd name="T83" fmla="*/ 2147483647 h 469"/>
                  <a:gd name="T84" fmla="*/ 2147483647 w 877"/>
                  <a:gd name="T85" fmla="*/ 2147483647 h 469"/>
                  <a:gd name="T86" fmla="*/ 2147483647 w 877"/>
                  <a:gd name="T87" fmla="*/ 2147483647 h 469"/>
                  <a:gd name="T88" fmla="*/ 2147483647 w 877"/>
                  <a:gd name="T89" fmla="*/ 2147483647 h 469"/>
                  <a:gd name="T90" fmla="*/ 2147483647 w 877"/>
                  <a:gd name="T91" fmla="*/ 2147483647 h 469"/>
                  <a:gd name="T92" fmla="*/ 2147483647 w 877"/>
                  <a:gd name="T93" fmla="*/ 2147483647 h 469"/>
                  <a:gd name="T94" fmla="*/ 2147483647 w 877"/>
                  <a:gd name="T95" fmla="*/ 2147483647 h 469"/>
                  <a:gd name="T96" fmla="*/ 2147483647 w 877"/>
                  <a:gd name="T97" fmla="*/ 2147483647 h 469"/>
                  <a:gd name="T98" fmla="*/ 2147483647 w 877"/>
                  <a:gd name="T99" fmla="*/ 2147483647 h 469"/>
                  <a:gd name="T100" fmla="*/ 2147483647 w 877"/>
                  <a:gd name="T101" fmla="*/ 2147483647 h 469"/>
                  <a:gd name="T102" fmla="*/ 2147483647 w 877"/>
                  <a:gd name="T103" fmla="*/ 2147483647 h 469"/>
                  <a:gd name="T104" fmla="*/ 2147483647 w 877"/>
                  <a:gd name="T105" fmla="*/ 2147483647 h 469"/>
                  <a:gd name="T106" fmla="*/ 2147483647 w 877"/>
                  <a:gd name="T107" fmla="*/ 2147483647 h 469"/>
                  <a:gd name="T108" fmla="*/ 2147483647 w 877"/>
                  <a:gd name="T109" fmla="*/ 2147483647 h 469"/>
                  <a:gd name="T110" fmla="*/ 2147483647 w 877"/>
                  <a:gd name="T111" fmla="*/ 2147483647 h 469"/>
                  <a:gd name="T112" fmla="*/ 2147483647 w 877"/>
                  <a:gd name="T113" fmla="*/ 2147483647 h 469"/>
                  <a:gd name="T114" fmla="*/ 2147483647 w 877"/>
                  <a:gd name="T115" fmla="*/ 2147483647 h 469"/>
                  <a:gd name="T116" fmla="*/ 2147483647 w 877"/>
                  <a:gd name="T117" fmla="*/ 2147483647 h 469"/>
                  <a:gd name="T118" fmla="*/ 2147483647 w 877"/>
                  <a:gd name="T119" fmla="*/ 2147483647 h 46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7" name="Freeform 349"/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11017518" y="2836435"/>
                <a:ext cx="47625" cy="63500"/>
              </a:xfrm>
              <a:custGeom>
                <a:avLst/>
                <a:gdLst>
                  <a:gd name="T0" fmla="*/ 2147483647 w 107"/>
                  <a:gd name="T1" fmla="*/ 0 h 123"/>
                  <a:gd name="T2" fmla="*/ 2147483647 w 107"/>
                  <a:gd name="T3" fmla="*/ 2147483647 h 123"/>
                  <a:gd name="T4" fmla="*/ 2147483647 w 107"/>
                  <a:gd name="T5" fmla="*/ 2147483647 h 123"/>
                  <a:gd name="T6" fmla="*/ 2147483647 w 107"/>
                  <a:gd name="T7" fmla="*/ 2147483647 h 123"/>
                  <a:gd name="T8" fmla="*/ 2147483647 w 107"/>
                  <a:gd name="T9" fmla="*/ 2147483647 h 123"/>
                  <a:gd name="T10" fmla="*/ 2147483647 w 107"/>
                  <a:gd name="T11" fmla="*/ 2147483647 h 123"/>
                  <a:gd name="T12" fmla="*/ 2147483647 w 107"/>
                  <a:gd name="T13" fmla="*/ 2147483647 h 123"/>
                  <a:gd name="T14" fmla="*/ 2147483647 w 107"/>
                  <a:gd name="T15" fmla="*/ 2147483647 h 123"/>
                  <a:gd name="T16" fmla="*/ 2147483647 w 107"/>
                  <a:gd name="T17" fmla="*/ 2147483647 h 123"/>
                  <a:gd name="T18" fmla="*/ 2147483647 w 107"/>
                  <a:gd name="T19" fmla="*/ 2147483647 h 123"/>
                  <a:gd name="T20" fmla="*/ 2147483647 w 107"/>
                  <a:gd name="T21" fmla="*/ 2147483647 h 123"/>
                  <a:gd name="T22" fmla="*/ 2147483647 w 107"/>
                  <a:gd name="T23" fmla="*/ 2147483647 h 123"/>
                  <a:gd name="T24" fmla="*/ 2147483647 w 107"/>
                  <a:gd name="T25" fmla="*/ 2147483647 h 123"/>
                  <a:gd name="T26" fmla="*/ 2147483647 w 107"/>
                  <a:gd name="T27" fmla="*/ 2147483647 h 123"/>
                  <a:gd name="T28" fmla="*/ 2147483647 w 107"/>
                  <a:gd name="T29" fmla="*/ 2147483647 h 123"/>
                  <a:gd name="T30" fmla="*/ 1851717417 w 107"/>
                  <a:gd name="T31" fmla="*/ 2147483647 h 123"/>
                  <a:gd name="T32" fmla="*/ 1499084558 w 107"/>
                  <a:gd name="T33" fmla="*/ 2147483647 h 123"/>
                  <a:gd name="T34" fmla="*/ 1234411959 w 107"/>
                  <a:gd name="T35" fmla="*/ 2147483647 h 123"/>
                  <a:gd name="T36" fmla="*/ 969937871 w 107"/>
                  <a:gd name="T37" fmla="*/ 2147483647 h 123"/>
                  <a:gd name="T38" fmla="*/ 793621220 w 107"/>
                  <a:gd name="T39" fmla="*/ 2147483647 h 123"/>
                  <a:gd name="T40" fmla="*/ 352632414 w 107"/>
                  <a:gd name="T41" fmla="*/ 2147483647 h 123"/>
                  <a:gd name="T42" fmla="*/ 0 w 107"/>
                  <a:gd name="T43" fmla="*/ 825693081 h 123"/>
                  <a:gd name="T44" fmla="*/ 2147483647 w 107"/>
                  <a:gd name="T45" fmla="*/ 0 h 123"/>
                  <a:gd name="T46" fmla="*/ 2147483647 w 107"/>
                  <a:gd name="T47" fmla="*/ 0 h 12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7" h="123">
                    <a:moveTo>
                      <a:pt x="48" y="0"/>
                    </a:moveTo>
                    <a:lnTo>
                      <a:pt x="81" y="31"/>
                    </a:lnTo>
                    <a:lnTo>
                      <a:pt x="94" y="67"/>
                    </a:lnTo>
                    <a:lnTo>
                      <a:pt x="107" y="86"/>
                    </a:lnTo>
                    <a:lnTo>
                      <a:pt x="107" y="117"/>
                    </a:lnTo>
                    <a:lnTo>
                      <a:pt x="107" y="123"/>
                    </a:lnTo>
                    <a:lnTo>
                      <a:pt x="88" y="114"/>
                    </a:lnTo>
                    <a:lnTo>
                      <a:pt x="73" y="105"/>
                    </a:lnTo>
                    <a:lnTo>
                      <a:pt x="61" y="98"/>
                    </a:lnTo>
                    <a:lnTo>
                      <a:pt x="54" y="92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39" y="74"/>
                    </a:lnTo>
                    <a:lnTo>
                      <a:pt x="32" y="73"/>
                    </a:lnTo>
                    <a:lnTo>
                      <a:pt x="26" y="72"/>
                    </a:lnTo>
                    <a:lnTo>
                      <a:pt x="21" y="70"/>
                    </a:lnTo>
                    <a:lnTo>
                      <a:pt x="17" y="67"/>
                    </a:lnTo>
                    <a:lnTo>
                      <a:pt x="14" y="63"/>
                    </a:lnTo>
                    <a:lnTo>
                      <a:pt x="11" y="59"/>
                    </a:lnTo>
                    <a:lnTo>
                      <a:pt x="9" y="54"/>
                    </a:lnTo>
                    <a:lnTo>
                      <a:pt x="4" y="31"/>
                    </a:lnTo>
                    <a:lnTo>
                      <a:pt x="0" y="6"/>
                    </a:lnTo>
                    <a:lnTo>
                      <a:pt x="34" y="0"/>
                    </a:lnTo>
                    <a:lnTo>
                      <a:pt x="4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8" name="Freeform 350"/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11560443" y="2850722"/>
                <a:ext cx="207962" cy="122238"/>
              </a:xfrm>
              <a:custGeom>
                <a:avLst/>
                <a:gdLst>
                  <a:gd name="T0" fmla="*/ 2147483647 w 471"/>
                  <a:gd name="T1" fmla="*/ 2147483647 h 234"/>
                  <a:gd name="T2" fmla="*/ 2147483647 w 471"/>
                  <a:gd name="T3" fmla="*/ 2147483647 h 234"/>
                  <a:gd name="T4" fmla="*/ 2147483647 w 471"/>
                  <a:gd name="T5" fmla="*/ 2147483647 h 234"/>
                  <a:gd name="T6" fmla="*/ 2147483647 w 471"/>
                  <a:gd name="T7" fmla="*/ 2147483647 h 234"/>
                  <a:gd name="T8" fmla="*/ 2147483647 w 471"/>
                  <a:gd name="T9" fmla="*/ 2147483647 h 234"/>
                  <a:gd name="T10" fmla="*/ 2147483647 w 471"/>
                  <a:gd name="T11" fmla="*/ 2147483647 h 234"/>
                  <a:gd name="T12" fmla="*/ 2147483647 w 471"/>
                  <a:gd name="T13" fmla="*/ 2147483647 h 234"/>
                  <a:gd name="T14" fmla="*/ 2147483647 w 471"/>
                  <a:gd name="T15" fmla="*/ 2147483647 h 234"/>
                  <a:gd name="T16" fmla="*/ 2147483647 w 471"/>
                  <a:gd name="T17" fmla="*/ 2147483647 h 234"/>
                  <a:gd name="T18" fmla="*/ 2147483647 w 471"/>
                  <a:gd name="T19" fmla="*/ 2147483647 h 234"/>
                  <a:gd name="T20" fmla="*/ 2147483647 w 471"/>
                  <a:gd name="T21" fmla="*/ 2147483647 h 234"/>
                  <a:gd name="T22" fmla="*/ 2147483647 w 471"/>
                  <a:gd name="T23" fmla="*/ 2147483647 h 234"/>
                  <a:gd name="T24" fmla="*/ 2147483647 w 471"/>
                  <a:gd name="T25" fmla="*/ 2147483647 h 234"/>
                  <a:gd name="T26" fmla="*/ 2147483647 w 471"/>
                  <a:gd name="T27" fmla="*/ 2147483647 h 234"/>
                  <a:gd name="T28" fmla="*/ 2147483647 w 471"/>
                  <a:gd name="T29" fmla="*/ 2147483647 h 234"/>
                  <a:gd name="T30" fmla="*/ 2147483647 w 471"/>
                  <a:gd name="T31" fmla="*/ 2147483647 h 234"/>
                  <a:gd name="T32" fmla="*/ 2147483647 w 471"/>
                  <a:gd name="T33" fmla="*/ 2147483647 h 234"/>
                  <a:gd name="T34" fmla="*/ 2147483647 w 471"/>
                  <a:gd name="T35" fmla="*/ 2147483647 h 234"/>
                  <a:gd name="T36" fmla="*/ 2147483647 w 471"/>
                  <a:gd name="T37" fmla="*/ 2147483647 h 234"/>
                  <a:gd name="T38" fmla="*/ 2147483647 w 471"/>
                  <a:gd name="T39" fmla="*/ 2147483647 h 234"/>
                  <a:gd name="T40" fmla="*/ 2147483647 w 471"/>
                  <a:gd name="T41" fmla="*/ 2147483647 h 234"/>
                  <a:gd name="T42" fmla="*/ 2147483647 w 471"/>
                  <a:gd name="T43" fmla="*/ 2147483647 h 234"/>
                  <a:gd name="T44" fmla="*/ 2147483647 w 471"/>
                  <a:gd name="T45" fmla="*/ 2147483647 h 234"/>
                  <a:gd name="T46" fmla="*/ 2147483647 w 471"/>
                  <a:gd name="T47" fmla="*/ 2147483647 h 234"/>
                  <a:gd name="T48" fmla="*/ 2147483647 w 471"/>
                  <a:gd name="T49" fmla="*/ 2147483647 h 234"/>
                  <a:gd name="T50" fmla="*/ 2147483647 w 471"/>
                  <a:gd name="T51" fmla="*/ 2147483647 h 234"/>
                  <a:gd name="T52" fmla="*/ 2147483647 w 471"/>
                  <a:gd name="T53" fmla="*/ 2147483647 h 234"/>
                  <a:gd name="T54" fmla="*/ 2147483647 w 471"/>
                  <a:gd name="T55" fmla="*/ 2147483647 h 234"/>
                  <a:gd name="T56" fmla="*/ 2147483647 w 471"/>
                  <a:gd name="T57" fmla="*/ 2147483647 h 234"/>
                  <a:gd name="T58" fmla="*/ 2147483647 w 471"/>
                  <a:gd name="T59" fmla="*/ 2147483647 h 234"/>
                  <a:gd name="T60" fmla="*/ 2147483647 w 471"/>
                  <a:gd name="T61" fmla="*/ 2147483647 h 234"/>
                  <a:gd name="T62" fmla="*/ 2147483647 w 471"/>
                  <a:gd name="T63" fmla="*/ 2147483647 h 234"/>
                  <a:gd name="T64" fmla="*/ 2147483647 w 471"/>
                  <a:gd name="T65" fmla="*/ 2147483647 h 234"/>
                  <a:gd name="T66" fmla="*/ 2147483647 w 471"/>
                  <a:gd name="T67" fmla="*/ 2147483647 h 234"/>
                  <a:gd name="T68" fmla="*/ 2147483647 w 471"/>
                  <a:gd name="T69" fmla="*/ 2147483647 h 234"/>
                  <a:gd name="T70" fmla="*/ 2147483647 w 471"/>
                  <a:gd name="T71" fmla="*/ 2147483647 h 234"/>
                  <a:gd name="T72" fmla="*/ 2147483647 w 471"/>
                  <a:gd name="T73" fmla="*/ 2147483647 h 234"/>
                  <a:gd name="T74" fmla="*/ 2147483647 w 471"/>
                  <a:gd name="T75" fmla="*/ 2147483647 h 234"/>
                  <a:gd name="T76" fmla="*/ 2147483647 w 471"/>
                  <a:gd name="T77" fmla="*/ 2147483647 h 234"/>
                  <a:gd name="T78" fmla="*/ 0 w 471"/>
                  <a:gd name="T79" fmla="*/ 2147483647 h 234"/>
                  <a:gd name="T80" fmla="*/ 2147483647 w 471"/>
                  <a:gd name="T81" fmla="*/ 2147483647 h 234"/>
                  <a:gd name="T82" fmla="*/ 2147483647 w 471"/>
                  <a:gd name="T83" fmla="*/ 2147483647 h 234"/>
                  <a:gd name="T84" fmla="*/ 2147483647 w 471"/>
                  <a:gd name="T85" fmla="*/ 0 h 234"/>
                  <a:gd name="T86" fmla="*/ 2147483647 w 471"/>
                  <a:gd name="T87" fmla="*/ 2147483647 h 23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71" h="234">
                    <a:moveTo>
                      <a:pt x="159" y="30"/>
                    </a:moveTo>
                    <a:lnTo>
                      <a:pt x="106" y="67"/>
                    </a:lnTo>
                    <a:lnTo>
                      <a:pt x="126" y="86"/>
                    </a:lnTo>
                    <a:lnTo>
                      <a:pt x="166" y="86"/>
                    </a:lnTo>
                    <a:lnTo>
                      <a:pt x="218" y="98"/>
                    </a:lnTo>
                    <a:lnTo>
                      <a:pt x="272" y="105"/>
                    </a:lnTo>
                    <a:lnTo>
                      <a:pt x="325" y="92"/>
                    </a:lnTo>
                    <a:lnTo>
                      <a:pt x="372" y="86"/>
                    </a:lnTo>
                    <a:lnTo>
                      <a:pt x="379" y="86"/>
                    </a:lnTo>
                    <a:lnTo>
                      <a:pt x="383" y="95"/>
                    </a:lnTo>
                    <a:lnTo>
                      <a:pt x="388" y="105"/>
                    </a:lnTo>
                    <a:lnTo>
                      <a:pt x="391" y="114"/>
                    </a:lnTo>
                    <a:lnTo>
                      <a:pt x="392" y="123"/>
                    </a:lnTo>
                    <a:lnTo>
                      <a:pt x="406" y="124"/>
                    </a:lnTo>
                    <a:lnTo>
                      <a:pt x="418" y="126"/>
                    </a:lnTo>
                    <a:lnTo>
                      <a:pt x="424" y="129"/>
                    </a:lnTo>
                    <a:lnTo>
                      <a:pt x="428" y="131"/>
                    </a:lnTo>
                    <a:lnTo>
                      <a:pt x="433" y="134"/>
                    </a:lnTo>
                    <a:lnTo>
                      <a:pt x="437" y="137"/>
                    </a:lnTo>
                    <a:lnTo>
                      <a:pt x="441" y="141"/>
                    </a:lnTo>
                    <a:lnTo>
                      <a:pt x="445" y="146"/>
                    </a:lnTo>
                    <a:lnTo>
                      <a:pt x="448" y="151"/>
                    </a:lnTo>
                    <a:lnTo>
                      <a:pt x="450" y="156"/>
                    </a:lnTo>
                    <a:lnTo>
                      <a:pt x="455" y="170"/>
                    </a:lnTo>
                    <a:lnTo>
                      <a:pt x="458" y="184"/>
                    </a:lnTo>
                    <a:lnTo>
                      <a:pt x="471" y="190"/>
                    </a:lnTo>
                    <a:lnTo>
                      <a:pt x="359" y="190"/>
                    </a:lnTo>
                    <a:lnTo>
                      <a:pt x="350" y="202"/>
                    </a:lnTo>
                    <a:lnTo>
                      <a:pt x="338" y="217"/>
                    </a:lnTo>
                    <a:lnTo>
                      <a:pt x="330" y="224"/>
                    </a:lnTo>
                    <a:lnTo>
                      <a:pt x="324" y="229"/>
                    </a:lnTo>
                    <a:lnTo>
                      <a:pt x="317" y="233"/>
                    </a:lnTo>
                    <a:lnTo>
                      <a:pt x="312" y="234"/>
                    </a:lnTo>
                    <a:lnTo>
                      <a:pt x="306" y="233"/>
                    </a:lnTo>
                    <a:lnTo>
                      <a:pt x="302" y="232"/>
                    </a:lnTo>
                    <a:lnTo>
                      <a:pt x="298" y="230"/>
                    </a:lnTo>
                    <a:lnTo>
                      <a:pt x="294" y="228"/>
                    </a:lnTo>
                    <a:lnTo>
                      <a:pt x="292" y="224"/>
                    </a:lnTo>
                    <a:lnTo>
                      <a:pt x="290" y="220"/>
                    </a:lnTo>
                    <a:lnTo>
                      <a:pt x="289" y="216"/>
                    </a:lnTo>
                    <a:lnTo>
                      <a:pt x="287" y="210"/>
                    </a:lnTo>
                    <a:lnTo>
                      <a:pt x="284" y="199"/>
                    </a:lnTo>
                    <a:lnTo>
                      <a:pt x="282" y="187"/>
                    </a:lnTo>
                    <a:lnTo>
                      <a:pt x="278" y="174"/>
                    </a:lnTo>
                    <a:lnTo>
                      <a:pt x="272" y="160"/>
                    </a:lnTo>
                    <a:lnTo>
                      <a:pt x="269" y="155"/>
                    </a:lnTo>
                    <a:lnTo>
                      <a:pt x="265" y="151"/>
                    </a:lnTo>
                    <a:lnTo>
                      <a:pt x="258" y="148"/>
                    </a:lnTo>
                    <a:lnTo>
                      <a:pt x="253" y="144"/>
                    </a:lnTo>
                    <a:lnTo>
                      <a:pt x="246" y="141"/>
                    </a:lnTo>
                    <a:lnTo>
                      <a:pt x="240" y="137"/>
                    </a:lnTo>
                    <a:lnTo>
                      <a:pt x="236" y="133"/>
                    </a:lnTo>
                    <a:lnTo>
                      <a:pt x="233" y="129"/>
                    </a:lnTo>
                    <a:lnTo>
                      <a:pt x="224" y="140"/>
                    </a:lnTo>
                    <a:lnTo>
                      <a:pt x="213" y="154"/>
                    </a:lnTo>
                    <a:lnTo>
                      <a:pt x="207" y="162"/>
                    </a:lnTo>
                    <a:lnTo>
                      <a:pt x="203" y="170"/>
                    </a:lnTo>
                    <a:lnTo>
                      <a:pt x="200" y="177"/>
                    </a:lnTo>
                    <a:lnTo>
                      <a:pt x="199" y="184"/>
                    </a:lnTo>
                    <a:lnTo>
                      <a:pt x="188" y="190"/>
                    </a:lnTo>
                    <a:lnTo>
                      <a:pt x="177" y="195"/>
                    </a:lnTo>
                    <a:lnTo>
                      <a:pt x="167" y="201"/>
                    </a:lnTo>
                    <a:lnTo>
                      <a:pt x="157" y="207"/>
                    </a:lnTo>
                    <a:lnTo>
                      <a:pt x="147" y="213"/>
                    </a:lnTo>
                    <a:lnTo>
                      <a:pt x="135" y="218"/>
                    </a:lnTo>
                    <a:lnTo>
                      <a:pt x="130" y="219"/>
                    </a:lnTo>
                    <a:lnTo>
                      <a:pt x="122" y="221"/>
                    </a:lnTo>
                    <a:lnTo>
                      <a:pt x="114" y="222"/>
                    </a:lnTo>
                    <a:lnTo>
                      <a:pt x="106" y="222"/>
                    </a:lnTo>
                    <a:lnTo>
                      <a:pt x="97" y="221"/>
                    </a:lnTo>
                    <a:lnTo>
                      <a:pt x="89" y="220"/>
                    </a:lnTo>
                    <a:lnTo>
                      <a:pt x="82" y="217"/>
                    </a:lnTo>
                    <a:lnTo>
                      <a:pt x="76" y="213"/>
                    </a:lnTo>
                    <a:lnTo>
                      <a:pt x="63" y="205"/>
                    </a:lnTo>
                    <a:lnTo>
                      <a:pt x="46" y="197"/>
                    </a:lnTo>
                    <a:lnTo>
                      <a:pt x="59" y="197"/>
                    </a:lnTo>
                    <a:lnTo>
                      <a:pt x="72" y="166"/>
                    </a:lnTo>
                    <a:lnTo>
                      <a:pt x="59" y="135"/>
                    </a:lnTo>
                    <a:lnTo>
                      <a:pt x="39" y="117"/>
                    </a:lnTo>
                    <a:lnTo>
                      <a:pt x="0" y="98"/>
                    </a:lnTo>
                    <a:lnTo>
                      <a:pt x="13" y="86"/>
                    </a:lnTo>
                    <a:lnTo>
                      <a:pt x="53" y="80"/>
                    </a:lnTo>
                    <a:lnTo>
                      <a:pt x="66" y="49"/>
                    </a:lnTo>
                    <a:lnTo>
                      <a:pt x="86" y="30"/>
                    </a:lnTo>
                    <a:lnTo>
                      <a:pt x="93" y="6"/>
                    </a:lnTo>
                    <a:lnTo>
                      <a:pt x="133" y="0"/>
                    </a:lnTo>
                    <a:lnTo>
                      <a:pt x="153" y="12"/>
                    </a:lnTo>
                    <a:lnTo>
                      <a:pt x="166" y="42"/>
                    </a:lnTo>
                    <a:lnTo>
                      <a:pt x="159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89" name="Freeform 351"/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11609655" y="2779285"/>
                <a:ext cx="225425" cy="125412"/>
              </a:xfrm>
              <a:custGeom>
                <a:avLst/>
                <a:gdLst>
                  <a:gd name="T0" fmla="*/ 2147483647 w 525"/>
                  <a:gd name="T1" fmla="*/ 2147483647 h 241"/>
                  <a:gd name="T2" fmla="*/ 2147483647 w 525"/>
                  <a:gd name="T3" fmla="*/ 2147483647 h 241"/>
                  <a:gd name="T4" fmla="*/ 2147483647 w 525"/>
                  <a:gd name="T5" fmla="*/ 2147483647 h 241"/>
                  <a:gd name="T6" fmla="*/ 2147483647 w 525"/>
                  <a:gd name="T7" fmla="*/ 2147483647 h 241"/>
                  <a:gd name="T8" fmla="*/ 2147483647 w 525"/>
                  <a:gd name="T9" fmla="*/ 2147483647 h 241"/>
                  <a:gd name="T10" fmla="*/ 2147483647 w 525"/>
                  <a:gd name="T11" fmla="*/ 2147483647 h 241"/>
                  <a:gd name="T12" fmla="*/ 2147483647 w 525"/>
                  <a:gd name="T13" fmla="*/ 2147483647 h 241"/>
                  <a:gd name="T14" fmla="*/ 2147483647 w 525"/>
                  <a:gd name="T15" fmla="*/ 0 h 241"/>
                  <a:gd name="T16" fmla="*/ 2147483647 w 525"/>
                  <a:gd name="T17" fmla="*/ 2147483647 h 241"/>
                  <a:gd name="T18" fmla="*/ 2147483647 w 525"/>
                  <a:gd name="T19" fmla="*/ 2147483647 h 241"/>
                  <a:gd name="T20" fmla="*/ 2147483647 w 525"/>
                  <a:gd name="T21" fmla="*/ 2147483647 h 241"/>
                  <a:gd name="T22" fmla="*/ 2147483647 w 525"/>
                  <a:gd name="T23" fmla="*/ 2147483647 h 241"/>
                  <a:gd name="T24" fmla="*/ 2147483647 w 525"/>
                  <a:gd name="T25" fmla="*/ 2147483647 h 241"/>
                  <a:gd name="T26" fmla="*/ 2147483647 w 525"/>
                  <a:gd name="T27" fmla="*/ 2147483647 h 241"/>
                  <a:gd name="T28" fmla="*/ 2147483647 w 525"/>
                  <a:gd name="T29" fmla="*/ 2147483647 h 241"/>
                  <a:gd name="T30" fmla="*/ 2147483647 w 525"/>
                  <a:gd name="T31" fmla="*/ 2147483647 h 241"/>
                  <a:gd name="T32" fmla="*/ 2147483647 w 525"/>
                  <a:gd name="T33" fmla="*/ 2147483647 h 241"/>
                  <a:gd name="T34" fmla="*/ 2147483647 w 525"/>
                  <a:gd name="T35" fmla="*/ 2147483647 h 241"/>
                  <a:gd name="T36" fmla="*/ 2147483647 w 525"/>
                  <a:gd name="T37" fmla="*/ 2147483647 h 241"/>
                  <a:gd name="T38" fmla="*/ 2147483647 w 525"/>
                  <a:gd name="T39" fmla="*/ 2147483647 h 241"/>
                  <a:gd name="T40" fmla="*/ 2147483647 w 525"/>
                  <a:gd name="T41" fmla="*/ 2147483647 h 241"/>
                  <a:gd name="T42" fmla="*/ 2147483647 w 525"/>
                  <a:gd name="T43" fmla="*/ 2147483647 h 241"/>
                  <a:gd name="T44" fmla="*/ 2147483647 w 525"/>
                  <a:gd name="T45" fmla="*/ 2147483647 h 241"/>
                  <a:gd name="T46" fmla="*/ 2147483647 w 525"/>
                  <a:gd name="T47" fmla="*/ 2147483647 h 241"/>
                  <a:gd name="T48" fmla="*/ 2147483647 w 525"/>
                  <a:gd name="T49" fmla="*/ 2147483647 h 241"/>
                  <a:gd name="T50" fmla="*/ 2147483647 w 525"/>
                  <a:gd name="T51" fmla="*/ 2147483647 h 241"/>
                  <a:gd name="T52" fmla="*/ 2147483647 w 525"/>
                  <a:gd name="T53" fmla="*/ 2147483647 h 241"/>
                  <a:gd name="T54" fmla="*/ 2147483647 w 525"/>
                  <a:gd name="T55" fmla="*/ 2147483647 h 241"/>
                  <a:gd name="T56" fmla="*/ 2147483647 w 525"/>
                  <a:gd name="T57" fmla="*/ 2147483647 h 241"/>
                  <a:gd name="T58" fmla="*/ 2147483647 w 525"/>
                  <a:gd name="T59" fmla="*/ 2147483647 h 241"/>
                  <a:gd name="T60" fmla="*/ 1583352567 w 525"/>
                  <a:gd name="T61" fmla="*/ 2147483647 h 241"/>
                  <a:gd name="T62" fmla="*/ 2147483647 w 525"/>
                  <a:gd name="T63" fmla="*/ 2147483647 h 24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525" h="241">
                    <a:moveTo>
                      <a:pt x="60" y="178"/>
                    </a:moveTo>
                    <a:lnTo>
                      <a:pt x="106" y="185"/>
                    </a:lnTo>
                    <a:lnTo>
                      <a:pt x="140" y="178"/>
                    </a:lnTo>
                    <a:lnTo>
                      <a:pt x="173" y="148"/>
                    </a:lnTo>
                    <a:lnTo>
                      <a:pt x="133" y="123"/>
                    </a:lnTo>
                    <a:lnTo>
                      <a:pt x="93" y="105"/>
                    </a:lnTo>
                    <a:lnTo>
                      <a:pt x="73" y="123"/>
                    </a:lnTo>
                    <a:lnTo>
                      <a:pt x="47" y="117"/>
                    </a:lnTo>
                    <a:lnTo>
                      <a:pt x="33" y="93"/>
                    </a:lnTo>
                    <a:lnTo>
                      <a:pt x="66" y="61"/>
                    </a:lnTo>
                    <a:lnTo>
                      <a:pt x="40" y="55"/>
                    </a:lnTo>
                    <a:lnTo>
                      <a:pt x="40" y="43"/>
                    </a:lnTo>
                    <a:lnTo>
                      <a:pt x="66" y="19"/>
                    </a:lnTo>
                    <a:lnTo>
                      <a:pt x="112" y="25"/>
                    </a:lnTo>
                    <a:lnTo>
                      <a:pt x="173" y="49"/>
                    </a:lnTo>
                    <a:lnTo>
                      <a:pt x="186" y="0"/>
                    </a:lnTo>
                    <a:lnTo>
                      <a:pt x="232" y="12"/>
                    </a:lnTo>
                    <a:lnTo>
                      <a:pt x="312" y="19"/>
                    </a:lnTo>
                    <a:lnTo>
                      <a:pt x="372" y="25"/>
                    </a:lnTo>
                    <a:lnTo>
                      <a:pt x="439" y="25"/>
                    </a:lnTo>
                    <a:lnTo>
                      <a:pt x="519" y="49"/>
                    </a:lnTo>
                    <a:lnTo>
                      <a:pt x="525" y="55"/>
                    </a:lnTo>
                    <a:lnTo>
                      <a:pt x="522" y="62"/>
                    </a:lnTo>
                    <a:lnTo>
                      <a:pt x="519" y="69"/>
                    </a:lnTo>
                    <a:lnTo>
                      <a:pt x="514" y="76"/>
                    </a:lnTo>
                    <a:lnTo>
                      <a:pt x="510" y="82"/>
                    </a:lnTo>
                    <a:lnTo>
                      <a:pt x="504" y="87"/>
                    </a:lnTo>
                    <a:lnTo>
                      <a:pt x="499" y="92"/>
                    </a:lnTo>
                    <a:lnTo>
                      <a:pt x="492" y="96"/>
                    </a:lnTo>
                    <a:lnTo>
                      <a:pt x="485" y="99"/>
                    </a:lnTo>
                    <a:lnTo>
                      <a:pt x="466" y="101"/>
                    </a:lnTo>
                    <a:lnTo>
                      <a:pt x="442" y="103"/>
                    </a:lnTo>
                    <a:lnTo>
                      <a:pt x="430" y="105"/>
                    </a:lnTo>
                    <a:lnTo>
                      <a:pt x="418" y="107"/>
                    </a:lnTo>
                    <a:lnTo>
                      <a:pt x="412" y="109"/>
                    </a:lnTo>
                    <a:lnTo>
                      <a:pt x="407" y="111"/>
                    </a:lnTo>
                    <a:lnTo>
                      <a:pt x="402" y="114"/>
                    </a:lnTo>
                    <a:lnTo>
                      <a:pt x="399" y="117"/>
                    </a:lnTo>
                    <a:lnTo>
                      <a:pt x="394" y="124"/>
                    </a:lnTo>
                    <a:lnTo>
                      <a:pt x="387" y="136"/>
                    </a:lnTo>
                    <a:lnTo>
                      <a:pt x="383" y="142"/>
                    </a:lnTo>
                    <a:lnTo>
                      <a:pt x="378" y="147"/>
                    </a:lnTo>
                    <a:lnTo>
                      <a:pt x="373" y="151"/>
                    </a:lnTo>
                    <a:lnTo>
                      <a:pt x="365" y="154"/>
                    </a:lnTo>
                    <a:lnTo>
                      <a:pt x="341" y="160"/>
                    </a:lnTo>
                    <a:lnTo>
                      <a:pt x="305" y="166"/>
                    </a:lnTo>
                    <a:lnTo>
                      <a:pt x="287" y="170"/>
                    </a:lnTo>
                    <a:lnTo>
                      <a:pt x="273" y="173"/>
                    </a:lnTo>
                    <a:lnTo>
                      <a:pt x="263" y="176"/>
                    </a:lnTo>
                    <a:lnTo>
                      <a:pt x="260" y="178"/>
                    </a:lnTo>
                    <a:lnTo>
                      <a:pt x="260" y="186"/>
                    </a:lnTo>
                    <a:lnTo>
                      <a:pt x="261" y="192"/>
                    </a:lnTo>
                    <a:lnTo>
                      <a:pt x="262" y="197"/>
                    </a:lnTo>
                    <a:lnTo>
                      <a:pt x="263" y="203"/>
                    </a:lnTo>
                    <a:lnTo>
                      <a:pt x="267" y="212"/>
                    </a:lnTo>
                    <a:lnTo>
                      <a:pt x="273" y="222"/>
                    </a:lnTo>
                    <a:lnTo>
                      <a:pt x="266" y="222"/>
                    </a:lnTo>
                    <a:lnTo>
                      <a:pt x="219" y="228"/>
                    </a:lnTo>
                    <a:lnTo>
                      <a:pt x="166" y="241"/>
                    </a:lnTo>
                    <a:lnTo>
                      <a:pt x="112" y="234"/>
                    </a:lnTo>
                    <a:lnTo>
                      <a:pt x="60" y="222"/>
                    </a:lnTo>
                    <a:lnTo>
                      <a:pt x="20" y="222"/>
                    </a:lnTo>
                    <a:lnTo>
                      <a:pt x="0" y="203"/>
                    </a:lnTo>
                    <a:lnTo>
                      <a:pt x="53" y="166"/>
                    </a:lnTo>
                    <a:lnTo>
                      <a:pt x="60" y="17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0" name="Freeform 352"/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11215955" y="2795160"/>
                <a:ext cx="342900" cy="227012"/>
              </a:xfrm>
              <a:custGeom>
                <a:avLst/>
                <a:gdLst>
                  <a:gd name="T0" fmla="*/ 2147483647 w 784"/>
                  <a:gd name="T1" fmla="*/ 2147483647 h 430"/>
                  <a:gd name="T2" fmla="*/ 2147483647 w 784"/>
                  <a:gd name="T3" fmla="*/ 2147483647 h 430"/>
                  <a:gd name="T4" fmla="*/ 2147483647 w 784"/>
                  <a:gd name="T5" fmla="*/ 2147483647 h 430"/>
                  <a:gd name="T6" fmla="*/ 2147483647 w 784"/>
                  <a:gd name="T7" fmla="*/ 2147483647 h 430"/>
                  <a:gd name="T8" fmla="*/ 2147483647 w 784"/>
                  <a:gd name="T9" fmla="*/ 2147483647 h 430"/>
                  <a:gd name="T10" fmla="*/ 2147483647 w 784"/>
                  <a:gd name="T11" fmla="*/ 2147483647 h 430"/>
                  <a:gd name="T12" fmla="*/ 2147483647 w 784"/>
                  <a:gd name="T13" fmla="*/ 2147483647 h 430"/>
                  <a:gd name="T14" fmla="*/ 2147483647 w 784"/>
                  <a:gd name="T15" fmla="*/ 2147483647 h 430"/>
                  <a:gd name="T16" fmla="*/ 2147483647 w 784"/>
                  <a:gd name="T17" fmla="*/ 2147483647 h 430"/>
                  <a:gd name="T18" fmla="*/ 2147483647 w 784"/>
                  <a:gd name="T19" fmla="*/ 2147483647 h 430"/>
                  <a:gd name="T20" fmla="*/ 2147483647 w 784"/>
                  <a:gd name="T21" fmla="*/ 2147483647 h 430"/>
                  <a:gd name="T22" fmla="*/ 2147483647 w 784"/>
                  <a:gd name="T23" fmla="*/ 2147483647 h 430"/>
                  <a:gd name="T24" fmla="*/ 2147483647 w 784"/>
                  <a:gd name="T25" fmla="*/ 2147483647 h 430"/>
                  <a:gd name="T26" fmla="*/ 2147483647 w 784"/>
                  <a:gd name="T27" fmla="*/ 2147483647 h 430"/>
                  <a:gd name="T28" fmla="*/ 2147483647 w 784"/>
                  <a:gd name="T29" fmla="*/ 2147483647 h 430"/>
                  <a:gd name="T30" fmla="*/ 2147483647 w 784"/>
                  <a:gd name="T31" fmla="*/ 2147483647 h 430"/>
                  <a:gd name="T32" fmla="*/ 2147483647 w 784"/>
                  <a:gd name="T33" fmla="*/ 2147483647 h 430"/>
                  <a:gd name="T34" fmla="*/ 2147483647 w 784"/>
                  <a:gd name="T35" fmla="*/ 2147483647 h 430"/>
                  <a:gd name="T36" fmla="*/ 2147483647 w 784"/>
                  <a:gd name="T37" fmla="*/ 2147483647 h 430"/>
                  <a:gd name="T38" fmla="*/ 2147483647 w 784"/>
                  <a:gd name="T39" fmla="*/ 2147483647 h 430"/>
                  <a:gd name="T40" fmla="*/ 2147483647 w 784"/>
                  <a:gd name="T41" fmla="*/ 2147483647 h 430"/>
                  <a:gd name="T42" fmla="*/ 2147483647 w 784"/>
                  <a:gd name="T43" fmla="*/ 2147483647 h 430"/>
                  <a:gd name="T44" fmla="*/ 2147483647 w 784"/>
                  <a:gd name="T45" fmla="*/ 2147483647 h 430"/>
                  <a:gd name="T46" fmla="*/ 2147483647 w 784"/>
                  <a:gd name="T47" fmla="*/ 2147483647 h 430"/>
                  <a:gd name="T48" fmla="*/ 2147483647 w 784"/>
                  <a:gd name="T49" fmla="*/ 2147483647 h 430"/>
                  <a:gd name="T50" fmla="*/ 2147483647 w 784"/>
                  <a:gd name="T51" fmla="*/ 2147483647 h 430"/>
                  <a:gd name="T52" fmla="*/ 2147483647 w 784"/>
                  <a:gd name="T53" fmla="*/ 2147483647 h 430"/>
                  <a:gd name="T54" fmla="*/ 2147483647 w 784"/>
                  <a:gd name="T55" fmla="*/ 2147483647 h 430"/>
                  <a:gd name="T56" fmla="*/ 2147483647 w 784"/>
                  <a:gd name="T57" fmla="*/ 2147483647 h 430"/>
                  <a:gd name="T58" fmla="*/ 2147483647 w 784"/>
                  <a:gd name="T59" fmla="*/ 2147483647 h 430"/>
                  <a:gd name="T60" fmla="*/ 2147483647 w 784"/>
                  <a:gd name="T61" fmla="*/ 2147483647 h 430"/>
                  <a:gd name="T62" fmla="*/ 2147483647 w 784"/>
                  <a:gd name="T63" fmla="*/ 2147483647 h 430"/>
                  <a:gd name="T64" fmla="*/ 2147483647 w 784"/>
                  <a:gd name="T65" fmla="*/ 2147483647 h 430"/>
                  <a:gd name="T66" fmla="*/ 585744054 w 784"/>
                  <a:gd name="T67" fmla="*/ 2147483647 h 430"/>
                  <a:gd name="T68" fmla="*/ 0 w 784"/>
                  <a:gd name="T69" fmla="*/ 2147483647 h 430"/>
                  <a:gd name="T70" fmla="*/ 250978745 w 784"/>
                  <a:gd name="T71" fmla="*/ 2147483647 h 430"/>
                  <a:gd name="T72" fmla="*/ 920318670 w 784"/>
                  <a:gd name="T73" fmla="*/ 2147483647 h 430"/>
                  <a:gd name="T74" fmla="*/ 2147483647 w 784"/>
                  <a:gd name="T75" fmla="*/ 2147483647 h 430"/>
                  <a:gd name="T76" fmla="*/ 2147483647 w 784"/>
                  <a:gd name="T77" fmla="*/ 2147483647 h 430"/>
                  <a:gd name="T78" fmla="*/ 2147483647 w 784"/>
                  <a:gd name="T79" fmla="*/ 2147483647 h 430"/>
                  <a:gd name="T80" fmla="*/ 2147483647 w 784"/>
                  <a:gd name="T81" fmla="*/ 2147483647 h 430"/>
                  <a:gd name="T82" fmla="*/ 2147483647 w 784"/>
                  <a:gd name="T83" fmla="*/ 2147483647 h 430"/>
                  <a:gd name="T84" fmla="*/ 2147483647 w 784"/>
                  <a:gd name="T85" fmla="*/ 2147483647 h 430"/>
                  <a:gd name="T86" fmla="*/ 2147483647 w 784"/>
                  <a:gd name="T87" fmla="*/ 2147483647 h 430"/>
                  <a:gd name="T88" fmla="*/ 2147483647 w 784"/>
                  <a:gd name="T89" fmla="*/ 2147483647 h 430"/>
                  <a:gd name="T90" fmla="*/ 2147483647 w 784"/>
                  <a:gd name="T91" fmla="*/ 2147483647 h 430"/>
                  <a:gd name="T92" fmla="*/ 2147483647 w 784"/>
                  <a:gd name="T93" fmla="*/ 2147483647 h 430"/>
                  <a:gd name="T94" fmla="*/ 2147483647 w 784"/>
                  <a:gd name="T95" fmla="*/ 2147483647 h 430"/>
                  <a:gd name="T96" fmla="*/ 2147483647 w 784"/>
                  <a:gd name="T97" fmla="*/ 2147483647 h 430"/>
                  <a:gd name="T98" fmla="*/ 2147483647 w 784"/>
                  <a:gd name="T99" fmla="*/ 0 h 430"/>
                  <a:gd name="T100" fmla="*/ 2147483647 w 784"/>
                  <a:gd name="T101" fmla="*/ 2147483647 h 430"/>
                  <a:gd name="T102" fmla="*/ 2147483647 w 784"/>
                  <a:gd name="T103" fmla="*/ 2147483647 h 430"/>
                  <a:gd name="T104" fmla="*/ 2147483647 w 784"/>
                  <a:gd name="T105" fmla="*/ 2147483647 h 430"/>
                  <a:gd name="T106" fmla="*/ 2147483647 w 784"/>
                  <a:gd name="T107" fmla="*/ 2147483647 h 430"/>
                  <a:gd name="T108" fmla="*/ 2147483647 w 784"/>
                  <a:gd name="T109" fmla="*/ 2147483647 h 43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84" h="430">
                    <a:moveTo>
                      <a:pt x="778" y="295"/>
                    </a:moveTo>
                    <a:lnTo>
                      <a:pt x="772" y="294"/>
                    </a:lnTo>
                    <a:lnTo>
                      <a:pt x="768" y="292"/>
                    </a:lnTo>
                    <a:lnTo>
                      <a:pt x="762" y="292"/>
                    </a:lnTo>
                    <a:lnTo>
                      <a:pt x="757" y="292"/>
                    </a:lnTo>
                    <a:lnTo>
                      <a:pt x="751" y="293"/>
                    </a:lnTo>
                    <a:lnTo>
                      <a:pt x="745" y="295"/>
                    </a:lnTo>
                    <a:lnTo>
                      <a:pt x="738" y="298"/>
                    </a:lnTo>
                    <a:lnTo>
                      <a:pt x="731" y="302"/>
                    </a:lnTo>
                    <a:lnTo>
                      <a:pt x="727" y="303"/>
                    </a:lnTo>
                    <a:lnTo>
                      <a:pt x="725" y="305"/>
                    </a:lnTo>
                    <a:lnTo>
                      <a:pt x="723" y="308"/>
                    </a:lnTo>
                    <a:lnTo>
                      <a:pt x="721" y="312"/>
                    </a:lnTo>
                    <a:lnTo>
                      <a:pt x="718" y="322"/>
                    </a:lnTo>
                    <a:lnTo>
                      <a:pt x="717" y="332"/>
                    </a:lnTo>
                    <a:lnTo>
                      <a:pt x="716" y="343"/>
                    </a:lnTo>
                    <a:lnTo>
                      <a:pt x="714" y="354"/>
                    </a:lnTo>
                    <a:lnTo>
                      <a:pt x="713" y="360"/>
                    </a:lnTo>
                    <a:lnTo>
                      <a:pt x="711" y="365"/>
                    </a:lnTo>
                    <a:lnTo>
                      <a:pt x="708" y="370"/>
                    </a:lnTo>
                    <a:lnTo>
                      <a:pt x="704" y="376"/>
                    </a:lnTo>
                    <a:lnTo>
                      <a:pt x="694" y="385"/>
                    </a:lnTo>
                    <a:lnTo>
                      <a:pt x="683" y="394"/>
                    </a:lnTo>
                    <a:lnTo>
                      <a:pt x="671" y="402"/>
                    </a:lnTo>
                    <a:lnTo>
                      <a:pt x="659" y="409"/>
                    </a:lnTo>
                    <a:lnTo>
                      <a:pt x="647" y="416"/>
                    </a:lnTo>
                    <a:lnTo>
                      <a:pt x="633" y="420"/>
                    </a:lnTo>
                    <a:lnTo>
                      <a:pt x="626" y="422"/>
                    </a:lnTo>
                    <a:lnTo>
                      <a:pt x="620" y="424"/>
                    </a:lnTo>
                    <a:lnTo>
                      <a:pt x="612" y="424"/>
                    </a:lnTo>
                    <a:lnTo>
                      <a:pt x="604" y="425"/>
                    </a:lnTo>
                    <a:lnTo>
                      <a:pt x="596" y="426"/>
                    </a:lnTo>
                    <a:lnTo>
                      <a:pt x="587" y="429"/>
                    </a:lnTo>
                    <a:lnTo>
                      <a:pt x="581" y="430"/>
                    </a:lnTo>
                    <a:lnTo>
                      <a:pt x="575" y="430"/>
                    </a:lnTo>
                    <a:lnTo>
                      <a:pt x="567" y="428"/>
                    </a:lnTo>
                    <a:lnTo>
                      <a:pt x="558" y="425"/>
                    </a:lnTo>
                    <a:lnTo>
                      <a:pt x="553" y="406"/>
                    </a:lnTo>
                    <a:lnTo>
                      <a:pt x="545" y="388"/>
                    </a:lnTo>
                    <a:lnTo>
                      <a:pt x="537" y="367"/>
                    </a:lnTo>
                    <a:lnTo>
                      <a:pt x="532" y="345"/>
                    </a:lnTo>
                    <a:lnTo>
                      <a:pt x="515" y="344"/>
                    </a:lnTo>
                    <a:lnTo>
                      <a:pt x="501" y="342"/>
                    </a:lnTo>
                    <a:lnTo>
                      <a:pt x="489" y="339"/>
                    </a:lnTo>
                    <a:lnTo>
                      <a:pt x="478" y="334"/>
                    </a:lnTo>
                    <a:lnTo>
                      <a:pt x="467" y="329"/>
                    </a:lnTo>
                    <a:lnTo>
                      <a:pt x="458" y="323"/>
                    </a:lnTo>
                    <a:lnTo>
                      <a:pt x="448" y="315"/>
                    </a:lnTo>
                    <a:lnTo>
                      <a:pt x="439" y="308"/>
                    </a:lnTo>
                    <a:lnTo>
                      <a:pt x="429" y="301"/>
                    </a:lnTo>
                    <a:lnTo>
                      <a:pt x="417" y="294"/>
                    </a:lnTo>
                    <a:lnTo>
                      <a:pt x="404" y="287"/>
                    </a:lnTo>
                    <a:lnTo>
                      <a:pt x="389" y="280"/>
                    </a:lnTo>
                    <a:lnTo>
                      <a:pt x="373" y="274"/>
                    </a:lnTo>
                    <a:lnTo>
                      <a:pt x="354" y="268"/>
                    </a:lnTo>
                    <a:lnTo>
                      <a:pt x="331" y="262"/>
                    </a:lnTo>
                    <a:lnTo>
                      <a:pt x="306" y="258"/>
                    </a:lnTo>
                    <a:lnTo>
                      <a:pt x="212" y="258"/>
                    </a:lnTo>
                    <a:lnTo>
                      <a:pt x="204" y="267"/>
                    </a:lnTo>
                    <a:lnTo>
                      <a:pt x="182" y="283"/>
                    </a:lnTo>
                    <a:lnTo>
                      <a:pt x="171" y="292"/>
                    </a:lnTo>
                    <a:lnTo>
                      <a:pt x="160" y="300"/>
                    </a:lnTo>
                    <a:lnTo>
                      <a:pt x="151" y="306"/>
                    </a:lnTo>
                    <a:lnTo>
                      <a:pt x="146" y="308"/>
                    </a:lnTo>
                    <a:lnTo>
                      <a:pt x="137" y="308"/>
                    </a:lnTo>
                    <a:lnTo>
                      <a:pt x="127" y="308"/>
                    </a:lnTo>
                    <a:lnTo>
                      <a:pt x="119" y="308"/>
                    </a:lnTo>
                    <a:lnTo>
                      <a:pt x="113" y="308"/>
                    </a:lnTo>
                    <a:lnTo>
                      <a:pt x="66" y="252"/>
                    </a:lnTo>
                    <a:lnTo>
                      <a:pt x="66" y="237"/>
                    </a:lnTo>
                    <a:lnTo>
                      <a:pt x="66" y="223"/>
                    </a:lnTo>
                    <a:lnTo>
                      <a:pt x="66" y="204"/>
                    </a:lnTo>
                    <a:lnTo>
                      <a:pt x="66" y="179"/>
                    </a:lnTo>
                    <a:lnTo>
                      <a:pt x="53" y="179"/>
                    </a:lnTo>
                    <a:lnTo>
                      <a:pt x="40" y="179"/>
                    </a:lnTo>
                    <a:lnTo>
                      <a:pt x="42" y="185"/>
                    </a:lnTo>
                    <a:lnTo>
                      <a:pt x="42" y="192"/>
                    </a:lnTo>
                    <a:lnTo>
                      <a:pt x="42" y="199"/>
                    </a:lnTo>
                    <a:lnTo>
                      <a:pt x="41" y="205"/>
                    </a:lnTo>
                    <a:lnTo>
                      <a:pt x="39" y="212"/>
                    </a:lnTo>
                    <a:lnTo>
                      <a:pt x="36" y="218"/>
                    </a:lnTo>
                    <a:lnTo>
                      <a:pt x="31" y="223"/>
                    </a:lnTo>
                    <a:lnTo>
                      <a:pt x="27" y="228"/>
                    </a:lnTo>
                    <a:lnTo>
                      <a:pt x="30" y="221"/>
                    </a:lnTo>
                    <a:lnTo>
                      <a:pt x="32" y="215"/>
                    </a:lnTo>
                    <a:lnTo>
                      <a:pt x="32" y="208"/>
                    </a:lnTo>
                    <a:lnTo>
                      <a:pt x="31" y="203"/>
                    </a:lnTo>
                    <a:lnTo>
                      <a:pt x="29" y="191"/>
                    </a:lnTo>
                    <a:lnTo>
                      <a:pt x="27" y="179"/>
                    </a:lnTo>
                    <a:lnTo>
                      <a:pt x="27" y="174"/>
                    </a:lnTo>
                    <a:lnTo>
                      <a:pt x="29" y="170"/>
                    </a:lnTo>
                    <a:lnTo>
                      <a:pt x="31" y="167"/>
                    </a:lnTo>
                    <a:lnTo>
                      <a:pt x="33" y="163"/>
                    </a:lnTo>
                    <a:lnTo>
                      <a:pt x="36" y="160"/>
                    </a:lnTo>
                    <a:lnTo>
                      <a:pt x="38" y="156"/>
                    </a:lnTo>
                    <a:lnTo>
                      <a:pt x="40" y="152"/>
                    </a:lnTo>
                    <a:lnTo>
                      <a:pt x="40" y="147"/>
                    </a:lnTo>
                    <a:lnTo>
                      <a:pt x="31" y="136"/>
                    </a:lnTo>
                    <a:lnTo>
                      <a:pt x="27" y="129"/>
                    </a:lnTo>
                    <a:lnTo>
                      <a:pt x="20" y="129"/>
                    </a:lnTo>
                    <a:lnTo>
                      <a:pt x="11" y="128"/>
                    </a:lnTo>
                    <a:lnTo>
                      <a:pt x="7" y="126"/>
                    </a:lnTo>
                    <a:lnTo>
                      <a:pt x="4" y="124"/>
                    </a:lnTo>
                    <a:lnTo>
                      <a:pt x="1" y="121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1" y="108"/>
                    </a:lnTo>
                    <a:lnTo>
                      <a:pt x="3" y="104"/>
                    </a:lnTo>
                    <a:lnTo>
                      <a:pt x="5" y="100"/>
                    </a:lnTo>
                    <a:lnTo>
                      <a:pt x="8" y="96"/>
                    </a:lnTo>
                    <a:lnTo>
                      <a:pt x="11" y="94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7" y="92"/>
                    </a:lnTo>
                    <a:lnTo>
                      <a:pt x="32" y="94"/>
                    </a:lnTo>
                    <a:lnTo>
                      <a:pt x="37" y="96"/>
                    </a:lnTo>
                    <a:lnTo>
                      <a:pt x="41" y="99"/>
                    </a:lnTo>
                    <a:lnTo>
                      <a:pt x="45" y="101"/>
                    </a:lnTo>
                    <a:lnTo>
                      <a:pt x="51" y="103"/>
                    </a:lnTo>
                    <a:lnTo>
                      <a:pt x="57" y="104"/>
                    </a:lnTo>
                    <a:lnTo>
                      <a:pt x="66" y="105"/>
                    </a:lnTo>
                    <a:lnTo>
                      <a:pt x="67" y="99"/>
                    </a:lnTo>
                    <a:lnTo>
                      <a:pt x="71" y="92"/>
                    </a:lnTo>
                    <a:lnTo>
                      <a:pt x="75" y="87"/>
                    </a:lnTo>
                    <a:lnTo>
                      <a:pt x="79" y="82"/>
                    </a:lnTo>
                    <a:lnTo>
                      <a:pt x="83" y="77"/>
                    </a:lnTo>
                    <a:lnTo>
                      <a:pt x="86" y="71"/>
                    </a:lnTo>
                    <a:lnTo>
                      <a:pt x="87" y="67"/>
                    </a:lnTo>
                    <a:lnTo>
                      <a:pt x="87" y="64"/>
                    </a:lnTo>
                    <a:lnTo>
                      <a:pt x="87" y="60"/>
                    </a:lnTo>
                    <a:lnTo>
                      <a:pt x="86" y="56"/>
                    </a:lnTo>
                    <a:lnTo>
                      <a:pt x="78" y="55"/>
                    </a:lnTo>
                    <a:lnTo>
                      <a:pt x="71" y="54"/>
                    </a:lnTo>
                    <a:lnTo>
                      <a:pt x="63" y="52"/>
                    </a:lnTo>
                    <a:lnTo>
                      <a:pt x="55" y="49"/>
                    </a:lnTo>
                    <a:lnTo>
                      <a:pt x="52" y="47"/>
                    </a:lnTo>
                    <a:lnTo>
                      <a:pt x="50" y="44"/>
                    </a:lnTo>
                    <a:lnTo>
                      <a:pt x="47" y="40"/>
                    </a:lnTo>
                    <a:lnTo>
                      <a:pt x="44" y="37"/>
                    </a:lnTo>
                    <a:lnTo>
                      <a:pt x="42" y="33"/>
                    </a:lnTo>
                    <a:lnTo>
                      <a:pt x="41" y="28"/>
                    </a:lnTo>
                    <a:lnTo>
                      <a:pt x="40" y="24"/>
                    </a:lnTo>
                    <a:lnTo>
                      <a:pt x="40" y="18"/>
                    </a:lnTo>
                    <a:lnTo>
                      <a:pt x="107" y="43"/>
                    </a:lnTo>
                    <a:lnTo>
                      <a:pt x="133" y="80"/>
                    </a:lnTo>
                    <a:lnTo>
                      <a:pt x="179" y="86"/>
                    </a:lnTo>
                    <a:lnTo>
                      <a:pt x="219" y="74"/>
                    </a:lnTo>
                    <a:lnTo>
                      <a:pt x="212" y="43"/>
                    </a:lnTo>
                    <a:lnTo>
                      <a:pt x="253" y="24"/>
                    </a:lnTo>
                    <a:lnTo>
                      <a:pt x="273" y="0"/>
                    </a:lnTo>
                    <a:lnTo>
                      <a:pt x="306" y="6"/>
                    </a:lnTo>
                    <a:lnTo>
                      <a:pt x="339" y="24"/>
                    </a:lnTo>
                    <a:lnTo>
                      <a:pt x="373" y="43"/>
                    </a:lnTo>
                    <a:lnTo>
                      <a:pt x="386" y="80"/>
                    </a:lnTo>
                    <a:lnTo>
                      <a:pt x="425" y="92"/>
                    </a:lnTo>
                    <a:lnTo>
                      <a:pt x="465" y="92"/>
                    </a:lnTo>
                    <a:lnTo>
                      <a:pt x="512" y="141"/>
                    </a:lnTo>
                    <a:lnTo>
                      <a:pt x="545" y="179"/>
                    </a:lnTo>
                    <a:lnTo>
                      <a:pt x="591" y="210"/>
                    </a:lnTo>
                    <a:lnTo>
                      <a:pt x="632" y="222"/>
                    </a:lnTo>
                    <a:lnTo>
                      <a:pt x="678" y="252"/>
                    </a:lnTo>
                    <a:lnTo>
                      <a:pt x="724" y="265"/>
                    </a:lnTo>
                    <a:lnTo>
                      <a:pt x="758" y="277"/>
                    </a:lnTo>
                    <a:lnTo>
                      <a:pt x="784" y="289"/>
                    </a:lnTo>
                    <a:lnTo>
                      <a:pt x="778" y="29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1" name="Freeform 353"/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10425380" y="2682447"/>
                <a:ext cx="107950" cy="149225"/>
              </a:xfrm>
              <a:custGeom>
                <a:avLst/>
                <a:gdLst>
                  <a:gd name="T0" fmla="*/ 2147483647 w 246"/>
                  <a:gd name="T1" fmla="*/ 2147483647 h 284"/>
                  <a:gd name="T2" fmla="*/ 2147483647 w 246"/>
                  <a:gd name="T3" fmla="*/ 2147483647 h 284"/>
                  <a:gd name="T4" fmla="*/ 2028083857 w 246"/>
                  <a:gd name="T5" fmla="*/ 2147483647 h 284"/>
                  <a:gd name="T6" fmla="*/ 2147483647 w 246"/>
                  <a:gd name="T7" fmla="*/ 725281315 h 284"/>
                  <a:gd name="T8" fmla="*/ 2147483647 w 246"/>
                  <a:gd name="T9" fmla="*/ 144945815 h 284"/>
                  <a:gd name="T10" fmla="*/ 2147483647 w 246"/>
                  <a:gd name="T11" fmla="*/ 1740730643 h 284"/>
                  <a:gd name="T12" fmla="*/ 2147483647 w 246"/>
                  <a:gd name="T13" fmla="*/ 2147483647 h 284"/>
                  <a:gd name="T14" fmla="*/ 2147483647 w 246"/>
                  <a:gd name="T15" fmla="*/ 2147483647 h 284"/>
                  <a:gd name="T16" fmla="*/ 2147483647 w 246"/>
                  <a:gd name="T17" fmla="*/ 2147483647 h 284"/>
                  <a:gd name="T18" fmla="*/ 2147483647 w 246"/>
                  <a:gd name="T19" fmla="*/ 2147483647 h 284"/>
                  <a:gd name="T20" fmla="*/ 2147483647 w 246"/>
                  <a:gd name="T21" fmla="*/ 2147483647 h 284"/>
                  <a:gd name="T22" fmla="*/ 2147483647 w 246"/>
                  <a:gd name="T23" fmla="*/ 2147483647 h 284"/>
                  <a:gd name="T24" fmla="*/ 2147483647 w 246"/>
                  <a:gd name="T25" fmla="*/ 2147483647 h 284"/>
                  <a:gd name="T26" fmla="*/ 2147483647 w 246"/>
                  <a:gd name="T27" fmla="*/ 2147483647 h 284"/>
                  <a:gd name="T28" fmla="*/ 2147483647 w 246"/>
                  <a:gd name="T29" fmla="*/ 2147483647 h 284"/>
                  <a:gd name="T30" fmla="*/ 2147483647 w 246"/>
                  <a:gd name="T31" fmla="*/ 2147483647 h 284"/>
                  <a:gd name="T32" fmla="*/ 2147483647 w 246"/>
                  <a:gd name="T33" fmla="*/ 2147483647 h 284"/>
                  <a:gd name="T34" fmla="*/ 2147483647 w 246"/>
                  <a:gd name="T35" fmla="*/ 2147483647 h 284"/>
                  <a:gd name="T36" fmla="*/ 2147483647 w 246"/>
                  <a:gd name="T37" fmla="*/ 2147483647 h 284"/>
                  <a:gd name="T38" fmla="*/ 2147483647 w 246"/>
                  <a:gd name="T39" fmla="*/ 2147483647 h 284"/>
                  <a:gd name="T40" fmla="*/ 2147483647 w 246"/>
                  <a:gd name="T41" fmla="*/ 2147483647 h 284"/>
                  <a:gd name="T42" fmla="*/ 2147483647 w 246"/>
                  <a:gd name="T43" fmla="*/ 2147483647 h 284"/>
                  <a:gd name="T44" fmla="*/ 2147483647 w 246"/>
                  <a:gd name="T45" fmla="*/ 2147483647 h 284"/>
                  <a:gd name="T46" fmla="*/ 2147483647 w 246"/>
                  <a:gd name="T47" fmla="*/ 2147483647 h 284"/>
                  <a:gd name="T48" fmla="*/ 2147483647 w 246"/>
                  <a:gd name="T49" fmla="*/ 2147483647 h 284"/>
                  <a:gd name="T50" fmla="*/ 2147483647 w 246"/>
                  <a:gd name="T51" fmla="*/ 2147483647 h 284"/>
                  <a:gd name="T52" fmla="*/ 2147483647 w 246"/>
                  <a:gd name="T53" fmla="*/ 2147483647 h 284"/>
                  <a:gd name="T54" fmla="*/ 2147483647 w 246"/>
                  <a:gd name="T55" fmla="*/ 2147483647 h 284"/>
                  <a:gd name="T56" fmla="*/ 2147483647 w 246"/>
                  <a:gd name="T57" fmla="*/ 2147483647 h 284"/>
                  <a:gd name="T58" fmla="*/ 2147483647 w 246"/>
                  <a:gd name="T59" fmla="*/ 2147483647 h 284"/>
                  <a:gd name="T60" fmla="*/ 2147483647 w 246"/>
                  <a:gd name="T61" fmla="*/ 2147483647 h 284"/>
                  <a:gd name="T62" fmla="*/ 2147483647 w 246"/>
                  <a:gd name="T63" fmla="*/ 2147483647 h 284"/>
                  <a:gd name="T64" fmla="*/ 2147483647 w 246"/>
                  <a:gd name="T65" fmla="*/ 2147483647 h 284"/>
                  <a:gd name="T66" fmla="*/ 2147483647 w 246"/>
                  <a:gd name="T67" fmla="*/ 2147483647 h 284"/>
                  <a:gd name="T68" fmla="*/ 2147483647 w 246"/>
                  <a:gd name="T69" fmla="*/ 2147483647 h 284"/>
                  <a:gd name="T70" fmla="*/ 2147483647 w 246"/>
                  <a:gd name="T71" fmla="*/ 2147483647 h 284"/>
                  <a:gd name="T72" fmla="*/ 2147483647 w 246"/>
                  <a:gd name="T73" fmla="*/ 2147483647 h 284"/>
                  <a:gd name="T74" fmla="*/ 2147483647 w 246"/>
                  <a:gd name="T75" fmla="*/ 2147483647 h 284"/>
                  <a:gd name="T76" fmla="*/ 1436527511 w 246"/>
                  <a:gd name="T77" fmla="*/ 2147483647 h 284"/>
                  <a:gd name="T78" fmla="*/ 929506547 w 246"/>
                  <a:gd name="T79" fmla="*/ 2147483647 h 284"/>
                  <a:gd name="T80" fmla="*/ 0 w 246"/>
                  <a:gd name="T81" fmla="*/ 2147483647 h 284"/>
                  <a:gd name="T82" fmla="*/ 84535382 w 246"/>
                  <a:gd name="T83" fmla="*/ 2147483647 h 284"/>
                  <a:gd name="T84" fmla="*/ 337949762 w 246"/>
                  <a:gd name="T85" fmla="*/ 2147483647 h 284"/>
                  <a:gd name="T86" fmla="*/ 1267456309 w 246"/>
                  <a:gd name="T87" fmla="*/ 2147483647 h 284"/>
                  <a:gd name="T88" fmla="*/ 2147483647 w 246"/>
                  <a:gd name="T89" fmla="*/ 2147483647 h 284"/>
                  <a:gd name="T90" fmla="*/ 2147483647 w 246"/>
                  <a:gd name="T91" fmla="*/ 2147483647 h 284"/>
                  <a:gd name="T92" fmla="*/ 2147483647 w 246"/>
                  <a:gd name="T93" fmla="*/ 2147483647 h 28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2" name="Freeform 354"/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10473005" y="2790397"/>
                <a:ext cx="68263" cy="60325"/>
              </a:xfrm>
              <a:custGeom>
                <a:avLst/>
                <a:gdLst>
                  <a:gd name="T0" fmla="*/ 2147483647 w 160"/>
                  <a:gd name="T1" fmla="*/ 0 h 117"/>
                  <a:gd name="T2" fmla="*/ 2147483647 w 160"/>
                  <a:gd name="T3" fmla="*/ 1233504976 h 117"/>
                  <a:gd name="T4" fmla="*/ 2147483647 w 160"/>
                  <a:gd name="T5" fmla="*/ 2147483647 h 117"/>
                  <a:gd name="T6" fmla="*/ 2147483647 w 160"/>
                  <a:gd name="T7" fmla="*/ 2147483647 h 117"/>
                  <a:gd name="T8" fmla="*/ 2147483647 w 160"/>
                  <a:gd name="T9" fmla="*/ 2147483647 h 117"/>
                  <a:gd name="T10" fmla="*/ 2147483647 w 160"/>
                  <a:gd name="T11" fmla="*/ 2147483647 h 117"/>
                  <a:gd name="T12" fmla="*/ 2147483647 w 160"/>
                  <a:gd name="T13" fmla="*/ 2147483647 h 117"/>
                  <a:gd name="T14" fmla="*/ 2147483647 w 160"/>
                  <a:gd name="T15" fmla="*/ 2147483647 h 117"/>
                  <a:gd name="T16" fmla="*/ 2147483647 w 160"/>
                  <a:gd name="T17" fmla="*/ 2147483647 h 117"/>
                  <a:gd name="T18" fmla="*/ 2147483647 w 160"/>
                  <a:gd name="T19" fmla="*/ 2147483647 h 117"/>
                  <a:gd name="T20" fmla="*/ 2147483647 w 160"/>
                  <a:gd name="T21" fmla="*/ 2147483647 h 117"/>
                  <a:gd name="T22" fmla="*/ 2147483647 w 160"/>
                  <a:gd name="T23" fmla="*/ 2147483647 h 117"/>
                  <a:gd name="T24" fmla="*/ 2147483647 w 160"/>
                  <a:gd name="T25" fmla="*/ 2147483647 h 117"/>
                  <a:gd name="T26" fmla="*/ 2147483647 w 160"/>
                  <a:gd name="T27" fmla="*/ 2147483647 h 117"/>
                  <a:gd name="T28" fmla="*/ 2147483647 w 160"/>
                  <a:gd name="T29" fmla="*/ 2147483647 h 117"/>
                  <a:gd name="T30" fmla="*/ 2147483647 w 160"/>
                  <a:gd name="T31" fmla="*/ 2147483647 h 117"/>
                  <a:gd name="T32" fmla="*/ 2147483647 w 160"/>
                  <a:gd name="T33" fmla="*/ 2147483647 h 117"/>
                  <a:gd name="T34" fmla="*/ 2147483647 w 160"/>
                  <a:gd name="T35" fmla="*/ 2147483647 h 117"/>
                  <a:gd name="T36" fmla="*/ 2147483647 w 160"/>
                  <a:gd name="T37" fmla="*/ 2147483647 h 117"/>
                  <a:gd name="T38" fmla="*/ 2147483647 w 160"/>
                  <a:gd name="T39" fmla="*/ 2147483647 h 117"/>
                  <a:gd name="T40" fmla="*/ 2147483647 w 160"/>
                  <a:gd name="T41" fmla="*/ 2147483647 h 117"/>
                  <a:gd name="T42" fmla="*/ 2147483647 w 160"/>
                  <a:gd name="T43" fmla="*/ 2147483647 h 117"/>
                  <a:gd name="T44" fmla="*/ 2147483647 w 160"/>
                  <a:gd name="T45" fmla="*/ 2147483647 h 117"/>
                  <a:gd name="T46" fmla="*/ 2147483647 w 160"/>
                  <a:gd name="T47" fmla="*/ 2147483647 h 117"/>
                  <a:gd name="T48" fmla="*/ 1630943009 w 160"/>
                  <a:gd name="T49" fmla="*/ 2147483647 h 117"/>
                  <a:gd name="T50" fmla="*/ 776518077 w 160"/>
                  <a:gd name="T51" fmla="*/ 2147483647 h 117"/>
                  <a:gd name="T52" fmla="*/ 0 w 160"/>
                  <a:gd name="T53" fmla="*/ 2147483647 h 117"/>
                  <a:gd name="T54" fmla="*/ 1009509935 w 160"/>
                  <a:gd name="T55" fmla="*/ 2147483647 h 117"/>
                  <a:gd name="T56" fmla="*/ 2147483647 w 160"/>
                  <a:gd name="T57" fmla="*/ 2147483647 h 117"/>
                  <a:gd name="T58" fmla="*/ 2147483647 w 160"/>
                  <a:gd name="T59" fmla="*/ 2147483647 h 117"/>
                  <a:gd name="T60" fmla="*/ 2147483647 w 160"/>
                  <a:gd name="T61" fmla="*/ 1918844411 h 117"/>
                  <a:gd name="T62" fmla="*/ 2147483647 w 160"/>
                  <a:gd name="T63" fmla="*/ 822513845 h 117"/>
                  <a:gd name="T64" fmla="*/ 2147483647 w 160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3" name="Freeform 355"/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10557143" y="3414285"/>
                <a:ext cx="411162" cy="611187"/>
              </a:xfrm>
              <a:custGeom>
                <a:avLst/>
                <a:gdLst>
                  <a:gd name="T0" fmla="*/ 2147483647 w 943"/>
                  <a:gd name="T1" fmla="*/ 708980049 h 1172"/>
                  <a:gd name="T2" fmla="*/ 2147483647 w 943"/>
                  <a:gd name="T3" fmla="*/ 2147483647 h 1172"/>
                  <a:gd name="T4" fmla="*/ 2147483647 w 943"/>
                  <a:gd name="T5" fmla="*/ 2147483647 h 1172"/>
                  <a:gd name="T6" fmla="*/ 2147483647 w 943"/>
                  <a:gd name="T7" fmla="*/ 2147483647 h 1172"/>
                  <a:gd name="T8" fmla="*/ 2147483647 w 943"/>
                  <a:gd name="T9" fmla="*/ 2147483647 h 1172"/>
                  <a:gd name="T10" fmla="*/ 2147483647 w 943"/>
                  <a:gd name="T11" fmla="*/ 2147483647 h 1172"/>
                  <a:gd name="T12" fmla="*/ 2147483647 w 943"/>
                  <a:gd name="T13" fmla="*/ 2147483647 h 1172"/>
                  <a:gd name="T14" fmla="*/ 2147483647 w 943"/>
                  <a:gd name="T15" fmla="*/ 2147483647 h 1172"/>
                  <a:gd name="T16" fmla="*/ 2147483647 w 943"/>
                  <a:gd name="T17" fmla="*/ 2147483647 h 1172"/>
                  <a:gd name="T18" fmla="*/ 2147483647 w 943"/>
                  <a:gd name="T19" fmla="*/ 2147483647 h 1172"/>
                  <a:gd name="T20" fmla="*/ 2147483647 w 943"/>
                  <a:gd name="T21" fmla="*/ 2147483647 h 1172"/>
                  <a:gd name="T22" fmla="*/ 2147483647 w 943"/>
                  <a:gd name="T23" fmla="*/ 2147483647 h 1172"/>
                  <a:gd name="T24" fmla="*/ 2147483647 w 943"/>
                  <a:gd name="T25" fmla="*/ 2147483647 h 1172"/>
                  <a:gd name="T26" fmla="*/ 2147483647 w 943"/>
                  <a:gd name="T27" fmla="*/ 2147483647 h 1172"/>
                  <a:gd name="T28" fmla="*/ 2147483647 w 943"/>
                  <a:gd name="T29" fmla="*/ 2147483647 h 1172"/>
                  <a:gd name="T30" fmla="*/ 2147483647 w 943"/>
                  <a:gd name="T31" fmla="*/ 2147483647 h 1172"/>
                  <a:gd name="T32" fmla="*/ 2147483647 w 943"/>
                  <a:gd name="T33" fmla="*/ 2147483647 h 1172"/>
                  <a:gd name="T34" fmla="*/ 2147483647 w 943"/>
                  <a:gd name="T35" fmla="*/ 2147483647 h 1172"/>
                  <a:gd name="T36" fmla="*/ 2147483647 w 943"/>
                  <a:gd name="T37" fmla="*/ 2147483647 h 1172"/>
                  <a:gd name="T38" fmla="*/ 2147483647 w 943"/>
                  <a:gd name="T39" fmla="*/ 2147483647 h 1172"/>
                  <a:gd name="T40" fmla="*/ 2147483647 w 943"/>
                  <a:gd name="T41" fmla="*/ 2147483647 h 1172"/>
                  <a:gd name="T42" fmla="*/ 2147483647 w 943"/>
                  <a:gd name="T43" fmla="*/ 2147483647 h 1172"/>
                  <a:gd name="T44" fmla="*/ 2147483647 w 943"/>
                  <a:gd name="T45" fmla="*/ 2147483647 h 1172"/>
                  <a:gd name="T46" fmla="*/ 2147483647 w 943"/>
                  <a:gd name="T47" fmla="*/ 2147483647 h 1172"/>
                  <a:gd name="T48" fmla="*/ 2147483647 w 943"/>
                  <a:gd name="T49" fmla="*/ 2147483647 h 1172"/>
                  <a:gd name="T50" fmla="*/ 2147483647 w 943"/>
                  <a:gd name="T51" fmla="*/ 2147483647 h 1172"/>
                  <a:gd name="T52" fmla="*/ 2147483647 w 943"/>
                  <a:gd name="T53" fmla="*/ 2147483647 h 1172"/>
                  <a:gd name="T54" fmla="*/ 2147483647 w 943"/>
                  <a:gd name="T55" fmla="*/ 2147483647 h 1172"/>
                  <a:gd name="T56" fmla="*/ 2147483647 w 943"/>
                  <a:gd name="T57" fmla="*/ 2147483647 h 1172"/>
                  <a:gd name="T58" fmla="*/ 2147483647 w 943"/>
                  <a:gd name="T59" fmla="*/ 2147483647 h 1172"/>
                  <a:gd name="T60" fmla="*/ 2147483647 w 943"/>
                  <a:gd name="T61" fmla="*/ 2147483647 h 1172"/>
                  <a:gd name="T62" fmla="*/ 2147483647 w 943"/>
                  <a:gd name="T63" fmla="*/ 2147483647 h 1172"/>
                  <a:gd name="T64" fmla="*/ 2147483647 w 943"/>
                  <a:gd name="T65" fmla="*/ 2147483647 h 1172"/>
                  <a:gd name="T66" fmla="*/ 2147483647 w 943"/>
                  <a:gd name="T67" fmla="*/ 2147483647 h 1172"/>
                  <a:gd name="T68" fmla="*/ 2147483647 w 943"/>
                  <a:gd name="T69" fmla="*/ 2147483647 h 1172"/>
                  <a:gd name="T70" fmla="*/ 2147483647 w 943"/>
                  <a:gd name="T71" fmla="*/ 2147483647 h 1172"/>
                  <a:gd name="T72" fmla="*/ 2147483647 w 943"/>
                  <a:gd name="T73" fmla="*/ 2147483647 h 1172"/>
                  <a:gd name="T74" fmla="*/ 2147483647 w 943"/>
                  <a:gd name="T75" fmla="*/ 2147483647 h 1172"/>
                  <a:gd name="T76" fmla="*/ 2147483647 w 943"/>
                  <a:gd name="T77" fmla="*/ 2147483647 h 1172"/>
                  <a:gd name="T78" fmla="*/ 2147483647 w 943"/>
                  <a:gd name="T79" fmla="*/ 2147483647 h 1172"/>
                  <a:gd name="T80" fmla="*/ 2147483647 w 943"/>
                  <a:gd name="T81" fmla="*/ 2147483647 h 1172"/>
                  <a:gd name="T82" fmla="*/ 2147483647 w 943"/>
                  <a:gd name="T83" fmla="*/ 2147483647 h 1172"/>
                  <a:gd name="T84" fmla="*/ 331550049 w 943"/>
                  <a:gd name="T85" fmla="*/ 2147483647 h 1172"/>
                  <a:gd name="T86" fmla="*/ 1491975222 w 943"/>
                  <a:gd name="T87" fmla="*/ 2147483647 h 1172"/>
                  <a:gd name="T88" fmla="*/ 2147483647 w 943"/>
                  <a:gd name="T89" fmla="*/ 2147483647 h 1172"/>
                  <a:gd name="T90" fmla="*/ 2147483647 w 943"/>
                  <a:gd name="T91" fmla="*/ 2147483647 h 1172"/>
                  <a:gd name="T92" fmla="*/ 2147483647 w 943"/>
                  <a:gd name="T93" fmla="*/ 2147483647 h 1172"/>
                  <a:gd name="T94" fmla="*/ 2147483647 w 943"/>
                  <a:gd name="T95" fmla="*/ 2147483647 h 1172"/>
                  <a:gd name="T96" fmla="*/ 2147483647 w 943"/>
                  <a:gd name="T97" fmla="*/ 2147483647 h 1172"/>
                  <a:gd name="T98" fmla="*/ 2147483647 w 943"/>
                  <a:gd name="T99" fmla="*/ 2147483647 h 1172"/>
                  <a:gd name="T100" fmla="*/ 2147483647 w 943"/>
                  <a:gd name="T101" fmla="*/ 2147483647 h 1172"/>
                  <a:gd name="T102" fmla="*/ 2147483647 w 943"/>
                  <a:gd name="T103" fmla="*/ 2147483647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4" name="Freeform 356"/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11041330" y="3754010"/>
                <a:ext cx="244475" cy="431800"/>
              </a:xfrm>
              <a:custGeom>
                <a:avLst/>
                <a:gdLst>
                  <a:gd name="T0" fmla="*/ 2147483647 w 556"/>
                  <a:gd name="T1" fmla="*/ 2147483647 h 819"/>
                  <a:gd name="T2" fmla="*/ 2147483647 w 556"/>
                  <a:gd name="T3" fmla="*/ 2147483647 h 819"/>
                  <a:gd name="T4" fmla="*/ 2147483647 w 556"/>
                  <a:gd name="T5" fmla="*/ 2147483647 h 819"/>
                  <a:gd name="T6" fmla="*/ 2147483647 w 556"/>
                  <a:gd name="T7" fmla="*/ 2147483647 h 819"/>
                  <a:gd name="T8" fmla="*/ 2147483647 w 556"/>
                  <a:gd name="T9" fmla="*/ 2147483647 h 819"/>
                  <a:gd name="T10" fmla="*/ 2147483647 w 556"/>
                  <a:gd name="T11" fmla="*/ 2147483647 h 819"/>
                  <a:gd name="T12" fmla="*/ 2147483647 w 556"/>
                  <a:gd name="T13" fmla="*/ 2147483647 h 819"/>
                  <a:gd name="T14" fmla="*/ 2147483647 w 556"/>
                  <a:gd name="T15" fmla="*/ 2147483647 h 819"/>
                  <a:gd name="T16" fmla="*/ 2147483647 w 556"/>
                  <a:gd name="T17" fmla="*/ 2147483647 h 819"/>
                  <a:gd name="T18" fmla="*/ 2147483647 w 556"/>
                  <a:gd name="T19" fmla="*/ 2147483647 h 819"/>
                  <a:gd name="T20" fmla="*/ 2147483647 w 556"/>
                  <a:gd name="T21" fmla="*/ 2147483647 h 819"/>
                  <a:gd name="T22" fmla="*/ 2147483647 w 556"/>
                  <a:gd name="T23" fmla="*/ 2147483647 h 819"/>
                  <a:gd name="T24" fmla="*/ 2147483647 w 556"/>
                  <a:gd name="T25" fmla="*/ 2147483647 h 819"/>
                  <a:gd name="T26" fmla="*/ 2147483647 w 556"/>
                  <a:gd name="T27" fmla="*/ 1172476188 h 819"/>
                  <a:gd name="T28" fmla="*/ 2147483647 w 556"/>
                  <a:gd name="T29" fmla="*/ 2147483647 h 819"/>
                  <a:gd name="T30" fmla="*/ 2147483647 w 556"/>
                  <a:gd name="T31" fmla="*/ 2147483647 h 819"/>
                  <a:gd name="T32" fmla="*/ 2147483647 w 556"/>
                  <a:gd name="T33" fmla="*/ 2147483647 h 819"/>
                  <a:gd name="T34" fmla="*/ 2147483647 w 556"/>
                  <a:gd name="T35" fmla="*/ 2147483647 h 819"/>
                  <a:gd name="T36" fmla="*/ 2147483647 w 556"/>
                  <a:gd name="T37" fmla="*/ 2147483647 h 819"/>
                  <a:gd name="T38" fmla="*/ 2147483647 w 556"/>
                  <a:gd name="T39" fmla="*/ 2147483647 h 819"/>
                  <a:gd name="T40" fmla="*/ 2147483647 w 556"/>
                  <a:gd name="T41" fmla="*/ 2147483647 h 819"/>
                  <a:gd name="T42" fmla="*/ 2147483647 w 556"/>
                  <a:gd name="T43" fmla="*/ 2147483647 h 819"/>
                  <a:gd name="T44" fmla="*/ 2147483647 w 556"/>
                  <a:gd name="T45" fmla="*/ 2147483647 h 819"/>
                  <a:gd name="T46" fmla="*/ 2147483647 w 556"/>
                  <a:gd name="T47" fmla="*/ 2147483647 h 819"/>
                  <a:gd name="T48" fmla="*/ 2147483647 w 556"/>
                  <a:gd name="T49" fmla="*/ 2147483647 h 819"/>
                  <a:gd name="T50" fmla="*/ 2147483647 w 556"/>
                  <a:gd name="T51" fmla="*/ 2147483647 h 819"/>
                  <a:gd name="T52" fmla="*/ 2147483647 w 556"/>
                  <a:gd name="T53" fmla="*/ 2147483647 h 819"/>
                  <a:gd name="T54" fmla="*/ 2147483647 w 556"/>
                  <a:gd name="T55" fmla="*/ 2147483647 h 819"/>
                  <a:gd name="T56" fmla="*/ 2147483647 w 556"/>
                  <a:gd name="T57" fmla="*/ 2147483647 h 819"/>
                  <a:gd name="T58" fmla="*/ 2147483647 w 556"/>
                  <a:gd name="T59" fmla="*/ 2147483647 h 819"/>
                  <a:gd name="T60" fmla="*/ 2147483647 w 556"/>
                  <a:gd name="T61" fmla="*/ 2147483647 h 819"/>
                  <a:gd name="T62" fmla="*/ 1615153548 w 556"/>
                  <a:gd name="T63" fmla="*/ 2147483647 h 819"/>
                  <a:gd name="T64" fmla="*/ 169944862 w 556"/>
                  <a:gd name="T65" fmla="*/ 2147483647 h 819"/>
                  <a:gd name="T66" fmla="*/ 255014247 w 556"/>
                  <a:gd name="T67" fmla="*/ 2147483647 h 819"/>
                  <a:gd name="T68" fmla="*/ 2147483647 w 556"/>
                  <a:gd name="T69" fmla="*/ 2147483647 h 819"/>
                  <a:gd name="T70" fmla="*/ 2147483647 w 556"/>
                  <a:gd name="T71" fmla="*/ 2147483647 h 819"/>
                  <a:gd name="T72" fmla="*/ 2147483647 w 556"/>
                  <a:gd name="T73" fmla="*/ 2147483647 h 819"/>
                  <a:gd name="T74" fmla="*/ 2147483647 w 556"/>
                  <a:gd name="T75" fmla="*/ 2147483647 h 819"/>
                  <a:gd name="T76" fmla="*/ 2147483647 w 556"/>
                  <a:gd name="T77" fmla="*/ 2147483647 h 819"/>
                  <a:gd name="T78" fmla="*/ 2147483647 w 556"/>
                  <a:gd name="T79" fmla="*/ 2147483647 h 819"/>
                  <a:gd name="T80" fmla="*/ 2147483647 w 556"/>
                  <a:gd name="T81" fmla="*/ 2147483647 h 819"/>
                  <a:gd name="T82" fmla="*/ 2147483647 w 556"/>
                  <a:gd name="T83" fmla="*/ 2147483647 h 819"/>
                  <a:gd name="T84" fmla="*/ 2147483647 w 556"/>
                  <a:gd name="T85" fmla="*/ 2147483647 h 819"/>
                  <a:gd name="T86" fmla="*/ 2147483647 w 556"/>
                  <a:gd name="T87" fmla="*/ 2147483647 h 819"/>
                  <a:gd name="T88" fmla="*/ 2147483647 w 556"/>
                  <a:gd name="T89" fmla="*/ 2147483647 h 819"/>
                  <a:gd name="T90" fmla="*/ 2147483647 w 556"/>
                  <a:gd name="T91" fmla="*/ 2147483647 h 819"/>
                  <a:gd name="T92" fmla="*/ 2147483647 w 556"/>
                  <a:gd name="T93" fmla="*/ 2147483647 h 819"/>
                  <a:gd name="T94" fmla="*/ 2147483647 w 556"/>
                  <a:gd name="T95" fmla="*/ 2147483647 h 819"/>
                  <a:gd name="T96" fmla="*/ 2147483647 w 556"/>
                  <a:gd name="T97" fmla="*/ 2147483647 h 819"/>
                  <a:gd name="T98" fmla="*/ 2147483647 w 556"/>
                  <a:gd name="T99" fmla="*/ 2147483647 h 819"/>
                  <a:gd name="T100" fmla="*/ 2147483647 w 556"/>
                  <a:gd name="T101" fmla="*/ 2147483647 h 819"/>
                  <a:gd name="T102" fmla="*/ 2147483647 w 556"/>
                  <a:gd name="T103" fmla="*/ 2147483647 h 819"/>
                  <a:gd name="T104" fmla="*/ 2147483647 w 556"/>
                  <a:gd name="T105" fmla="*/ 2147483647 h 819"/>
                  <a:gd name="T106" fmla="*/ 2147483647 w 556"/>
                  <a:gd name="T107" fmla="*/ 2147483647 h 819"/>
                  <a:gd name="T108" fmla="*/ 2147483647 w 556"/>
                  <a:gd name="T109" fmla="*/ 2147483647 h 819"/>
                  <a:gd name="T110" fmla="*/ 2147483647 w 556"/>
                  <a:gd name="T111" fmla="*/ 2147483647 h 819"/>
                  <a:gd name="T112" fmla="*/ 2147483647 w 556"/>
                  <a:gd name="T113" fmla="*/ 2147483647 h 819"/>
                  <a:gd name="T114" fmla="*/ 2147483647 w 556"/>
                  <a:gd name="T115" fmla="*/ 2147483647 h 81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5" name="Freeform 357"/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11049268" y="3741310"/>
                <a:ext cx="38100" cy="58737"/>
              </a:xfrm>
              <a:custGeom>
                <a:avLst/>
                <a:gdLst>
                  <a:gd name="T0" fmla="*/ 2147483647 w 86"/>
                  <a:gd name="T1" fmla="*/ 0 h 97"/>
                  <a:gd name="T2" fmla="*/ 2147483647 w 86"/>
                  <a:gd name="T3" fmla="*/ 444042031 h 97"/>
                  <a:gd name="T4" fmla="*/ 2147483647 w 86"/>
                  <a:gd name="T5" fmla="*/ 666246525 h 97"/>
                  <a:gd name="T6" fmla="*/ 2147483647 w 86"/>
                  <a:gd name="T7" fmla="*/ 666246525 h 97"/>
                  <a:gd name="T8" fmla="*/ 2147483647 w 86"/>
                  <a:gd name="T9" fmla="*/ 666246525 h 97"/>
                  <a:gd name="T10" fmla="*/ 2147483647 w 86"/>
                  <a:gd name="T11" fmla="*/ 666246525 h 97"/>
                  <a:gd name="T12" fmla="*/ 2147483647 w 86"/>
                  <a:gd name="T13" fmla="*/ 666246525 h 97"/>
                  <a:gd name="T14" fmla="*/ 1999987287 w 86"/>
                  <a:gd name="T15" fmla="*/ 888084063 h 97"/>
                  <a:gd name="T16" fmla="*/ 1738948681 w 86"/>
                  <a:gd name="T17" fmla="*/ 1332126700 h 97"/>
                  <a:gd name="T18" fmla="*/ 1391159034 w 86"/>
                  <a:gd name="T19" fmla="*/ 1998373224 h 97"/>
                  <a:gd name="T20" fmla="*/ 1130316687 w 86"/>
                  <a:gd name="T21" fmla="*/ 2147483647 h 97"/>
                  <a:gd name="T22" fmla="*/ 956421642 w 86"/>
                  <a:gd name="T23" fmla="*/ 2147483647 h 97"/>
                  <a:gd name="T24" fmla="*/ 695579295 w 86"/>
                  <a:gd name="T25" fmla="*/ 2147483647 h 97"/>
                  <a:gd name="T26" fmla="*/ 347789648 w 86"/>
                  <a:gd name="T27" fmla="*/ 2147483647 h 97"/>
                  <a:gd name="T28" fmla="*/ 173895045 w 86"/>
                  <a:gd name="T29" fmla="*/ 2147483647 h 97"/>
                  <a:gd name="T30" fmla="*/ 0 w 86"/>
                  <a:gd name="T31" fmla="*/ 2147483647 h 97"/>
                  <a:gd name="T32" fmla="*/ 0 w 86"/>
                  <a:gd name="T33" fmla="*/ 2147483647 h 97"/>
                  <a:gd name="T34" fmla="*/ 0 w 86"/>
                  <a:gd name="T35" fmla="*/ 2147483647 h 97"/>
                  <a:gd name="T36" fmla="*/ 86947301 w 86"/>
                  <a:gd name="T37" fmla="*/ 2147483647 h 97"/>
                  <a:gd name="T38" fmla="*/ 260842347 w 86"/>
                  <a:gd name="T39" fmla="*/ 2147483647 h 97"/>
                  <a:gd name="T40" fmla="*/ 608631994 w 86"/>
                  <a:gd name="T41" fmla="*/ 2147483647 h 97"/>
                  <a:gd name="T42" fmla="*/ 869474341 w 86"/>
                  <a:gd name="T43" fmla="*/ 2147483647 h 97"/>
                  <a:gd name="T44" fmla="*/ 1130316687 w 86"/>
                  <a:gd name="T45" fmla="*/ 2147483647 h 97"/>
                  <a:gd name="T46" fmla="*/ 1565053636 w 86"/>
                  <a:gd name="T47" fmla="*/ 2147483647 h 97"/>
                  <a:gd name="T48" fmla="*/ 1825895983 w 86"/>
                  <a:gd name="T49" fmla="*/ 2147483647 h 97"/>
                  <a:gd name="T50" fmla="*/ 2147483647 w 86"/>
                  <a:gd name="T51" fmla="*/ 2147483647 h 97"/>
                  <a:gd name="T52" fmla="*/ 2147483647 w 86"/>
                  <a:gd name="T53" fmla="*/ 2147483647 h 97"/>
                  <a:gd name="T54" fmla="*/ 2147483647 w 86"/>
                  <a:gd name="T55" fmla="*/ 2147483647 h 97"/>
                  <a:gd name="T56" fmla="*/ 2147483647 w 86"/>
                  <a:gd name="T57" fmla="*/ 0 h 9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6" name="Freeform 358"/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10847655" y="3652410"/>
                <a:ext cx="363538" cy="376237"/>
              </a:xfrm>
              <a:custGeom>
                <a:avLst/>
                <a:gdLst>
                  <a:gd name="T0" fmla="*/ 2147483647 w 845"/>
                  <a:gd name="T1" fmla="*/ 2147483647 h 720"/>
                  <a:gd name="T2" fmla="*/ 2147483647 w 845"/>
                  <a:gd name="T3" fmla="*/ 2147483647 h 720"/>
                  <a:gd name="T4" fmla="*/ 2147483647 w 845"/>
                  <a:gd name="T5" fmla="*/ 0 h 720"/>
                  <a:gd name="T6" fmla="*/ 2147483647 w 845"/>
                  <a:gd name="T7" fmla="*/ 1712359097 h 720"/>
                  <a:gd name="T8" fmla="*/ 2147483647 w 845"/>
                  <a:gd name="T9" fmla="*/ 2147483647 h 720"/>
                  <a:gd name="T10" fmla="*/ 2147483647 w 845"/>
                  <a:gd name="T11" fmla="*/ 2147483647 h 720"/>
                  <a:gd name="T12" fmla="*/ 2147483647 w 845"/>
                  <a:gd name="T13" fmla="*/ 2147483647 h 720"/>
                  <a:gd name="T14" fmla="*/ 2147483647 w 845"/>
                  <a:gd name="T15" fmla="*/ 2147483647 h 720"/>
                  <a:gd name="T16" fmla="*/ 2147483647 w 845"/>
                  <a:gd name="T17" fmla="*/ 2147483647 h 720"/>
                  <a:gd name="T18" fmla="*/ 2147483647 w 845"/>
                  <a:gd name="T19" fmla="*/ 2147483647 h 720"/>
                  <a:gd name="T20" fmla="*/ 2147483647 w 845"/>
                  <a:gd name="T21" fmla="*/ 2147483647 h 720"/>
                  <a:gd name="T22" fmla="*/ 2147483647 w 845"/>
                  <a:gd name="T23" fmla="*/ 2147483647 h 720"/>
                  <a:gd name="T24" fmla="*/ 2147483647 w 845"/>
                  <a:gd name="T25" fmla="*/ 2147483647 h 720"/>
                  <a:gd name="T26" fmla="*/ 2147483647 w 845"/>
                  <a:gd name="T27" fmla="*/ 2147483647 h 720"/>
                  <a:gd name="T28" fmla="*/ 2147483647 w 845"/>
                  <a:gd name="T29" fmla="*/ 2147483647 h 720"/>
                  <a:gd name="T30" fmla="*/ 2147483647 w 845"/>
                  <a:gd name="T31" fmla="*/ 2147483647 h 720"/>
                  <a:gd name="T32" fmla="*/ 2147483647 w 845"/>
                  <a:gd name="T33" fmla="*/ 2147483647 h 720"/>
                  <a:gd name="T34" fmla="*/ 2147483647 w 845"/>
                  <a:gd name="T35" fmla="*/ 2147483647 h 720"/>
                  <a:gd name="T36" fmla="*/ 2147483647 w 845"/>
                  <a:gd name="T37" fmla="*/ 2147483647 h 720"/>
                  <a:gd name="T38" fmla="*/ 2147483647 w 845"/>
                  <a:gd name="T39" fmla="*/ 2147483647 h 720"/>
                  <a:gd name="T40" fmla="*/ 2147483647 w 845"/>
                  <a:gd name="T41" fmla="*/ 2147483647 h 720"/>
                  <a:gd name="T42" fmla="*/ 2147483647 w 845"/>
                  <a:gd name="T43" fmla="*/ 2147483647 h 720"/>
                  <a:gd name="T44" fmla="*/ 2147483647 w 845"/>
                  <a:gd name="T45" fmla="*/ 2147483647 h 720"/>
                  <a:gd name="T46" fmla="*/ 2147483647 w 845"/>
                  <a:gd name="T47" fmla="*/ 2147483647 h 720"/>
                  <a:gd name="T48" fmla="*/ 2147483647 w 845"/>
                  <a:gd name="T49" fmla="*/ 2147483647 h 720"/>
                  <a:gd name="T50" fmla="*/ 2147483647 w 845"/>
                  <a:gd name="T51" fmla="*/ 2147483647 h 720"/>
                  <a:gd name="T52" fmla="*/ 2147483647 w 845"/>
                  <a:gd name="T53" fmla="*/ 2147483647 h 720"/>
                  <a:gd name="T54" fmla="*/ 2147483647 w 845"/>
                  <a:gd name="T55" fmla="*/ 2147483647 h 720"/>
                  <a:gd name="T56" fmla="*/ 2147483647 w 845"/>
                  <a:gd name="T57" fmla="*/ 2147483647 h 720"/>
                  <a:gd name="T58" fmla="*/ 2147483647 w 845"/>
                  <a:gd name="T59" fmla="*/ 2147483647 h 720"/>
                  <a:gd name="T60" fmla="*/ 2147483647 w 845"/>
                  <a:gd name="T61" fmla="*/ 2147483647 h 720"/>
                  <a:gd name="T62" fmla="*/ 2147483647 w 845"/>
                  <a:gd name="T63" fmla="*/ 2147483647 h 720"/>
                  <a:gd name="T64" fmla="*/ 2147483647 w 845"/>
                  <a:gd name="T65" fmla="*/ 2147483647 h 720"/>
                  <a:gd name="T66" fmla="*/ 2147483647 w 845"/>
                  <a:gd name="T67" fmla="*/ 2147483647 h 720"/>
                  <a:gd name="T68" fmla="*/ 2147483647 w 845"/>
                  <a:gd name="T69" fmla="*/ 2147483647 h 720"/>
                  <a:gd name="T70" fmla="*/ 2147483647 w 845"/>
                  <a:gd name="T71" fmla="*/ 2147483647 h 720"/>
                  <a:gd name="T72" fmla="*/ 2147483647 w 845"/>
                  <a:gd name="T73" fmla="*/ 2147483647 h 720"/>
                  <a:gd name="T74" fmla="*/ 2147483647 w 845"/>
                  <a:gd name="T75" fmla="*/ 2147483647 h 720"/>
                  <a:gd name="T76" fmla="*/ 2147483647 w 845"/>
                  <a:gd name="T77" fmla="*/ 2147483647 h 720"/>
                  <a:gd name="T78" fmla="*/ 2147483647 w 845"/>
                  <a:gd name="T79" fmla="*/ 2147483647 h 720"/>
                  <a:gd name="T80" fmla="*/ 2147483647 w 845"/>
                  <a:gd name="T81" fmla="*/ 2147483647 h 720"/>
                  <a:gd name="T82" fmla="*/ 2147483647 w 845"/>
                  <a:gd name="T83" fmla="*/ 2147483647 h 720"/>
                  <a:gd name="T84" fmla="*/ 2147483647 w 845"/>
                  <a:gd name="T85" fmla="*/ 2147483647 h 720"/>
                  <a:gd name="T86" fmla="*/ 2147483647 w 845"/>
                  <a:gd name="T87" fmla="*/ 2147483647 h 720"/>
                  <a:gd name="T88" fmla="*/ 2147483647 w 845"/>
                  <a:gd name="T89" fmla="*/ 2147483647 h 720"/>
                  <a:gd name="T90" fmla="*/ 2147483647 w 845"/>
                  <a:gd name="T91" fmla="*/ 2147483647 h 720"/>
                  <a:gd name="T92" fmla="*/ 2147483647 w 845"/>
                  <a:gd name="T93" fmla="*/ 2147483647 h 720"/>
                  <a:gd name="T94" fmla="*/ 1274169284 w 845"/>
                  <a:gd name="T95" fmla="*/ 2147483647 h 720"/>
                  <a:gd name="T96" fmla="*/ 398131760 w 845"/>
                  <a:gd name="T97" fmla="*/ 2147483647 h 720"/>
                  <a:gd name="T98" fmla="*/ 159178448 w 845"/>
                  <a:gd name="T99" fmla="*/ 2147483647 h 720"/>
                  <a:gd name="T100" fmla="*/ 1672300613 w 845"/>
                  <a:gd name="T101" fmla="*/ 2147483647 h 720"/>
                  <a:gd name="T102" fmla="*/ 2147483647 w 845"/>
                  <a:gd name="T103" fmla="*/ 2147483647 h 720"/>
                  <a:gd name="T104" fmla="*/ 2147483647 w 845"/>
                  <a:gd name="T105" fmla="*/ 2147483647 h 720"/>
                  <a:gd name="T106" fmla="*/ 2147483647 w 845"/>
                  <a:gd name="T107" fmla="*/ 2147483647 h 720"/>
                  <a:gd name="T108" fmla="*/ 2147483647 w 845"/>
                  <a:gd name="T109" fmla="*/ 2147483647 h 720"/>
                  <a:gd name="T110" fmla="*/ 2147483647 w 845"/>
                  <a:gd name="T111" fmla="*/ 2147483647 h 720"/>
                  <a:gd name="T112" fmla="*/ 2147483647 w 845"/>
                  <a:gd name="T113" fmla="*/ 2147483647 h 720"/>
                  <a:gd name="T114" fmla="*/ 2147483647 w 845"/>
                  <a:gd name="T115" fmla="*/ 2147483647 h 720"/>
                  <a:gd name="T116" fmla="*/ 2147483647 w 845"/>
                  <a:gd name="T117" fmla="*/ 2147483647 h 72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7" name="Freeform 366"/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11355655" y="4819222"/>
                <a:ext cx="19050" cy="58738"/>
              </a:xfrm>
              <a:custGeom>
                <a:avLst/>
                <a:gdLst>
                  <a:gd name="T0" fmla="*/ 865610518 w 47"/>
                  <a:gd name="T1" fmla="*/ 0 h 28"/>
                  <a:gd name="T2" fmla="*/ 1664685871 w 47"/>
                  <a:gd name="T3" fmla="*/ 0 h 28"/>
                  <a:gd name="T4" fmla="*/ 2064223548 w 47"/>
                  <a:gd name="T5" fmla="*/ 2147483647 h 28"/>
                  <a:gd name="T6" fmla="*/ 2147483647 w 47"/>
                  <a:gd name="T7" fmla="*/ 2147483647 h 28"/>
                  <a:gd name="T8" fmla="*/ 2147483647 w 47"/>
                  <a:gd name="T9" fmla="*/ 2147483647 h 28"/>
                  <a:gd name="T10" fmla="*/ 2130758307 w 47"/>
                  <a:gd name="T11" fmla="*/ 2147483647 h 28"/>
                  <a:gd name="T12" fmla="*/ 2147483647 w 47"/>
                  <a:gd name="T13" fmla="*/ 2147483647 h 28"/>
                  <a:gd name="T14" fmla="*/ 2147483647 w 47"/>
                  <a:gd name="T15" fmla="*/ 2147483647 h 28"/>
                  <a:gd name="T16" fmla="*/ 2147483647 w 47"/>
                  <a:gd name="T17" fmla="*/ 2147483647 h 28"/>
                  <a:gd name="T18" fmla="*/ 2147483647 w 47"/>
                  <a:gd name="T19" fmla="*/ 2147483647 h 28"/>
                  <a:gd name="T20" fmla="*/ 2147483647 w 47"/>
                  <a:gd name="T21" fmla="*/ 2147483647 h 28"/>
                  <a:gd name="T22" fmla="*/ 2147483647 w 47"/>
                  <a:gd name="T23" fmla="*/ 2147483647 h 28"/>
                  <a:gd name="T24" fmla="*/ 1864454710 w 47"/>
                  <a:gd name="T25" fmla="*/ 2147483647 h 28"/>
                  <a:gd name="T26" fmla="*/ 1065379356 w 47"/>
                  <a:gd name="T27" fmla="*/ 2147483647 h 28"/>
                  <a:gd name="T28" fmla="*/ 0 w 47"/>
                  <a:gd name="T29" fmla="*/ 2147483647 h 28"/>
                  <a:gd name="T30" fmla="*/ 66534760 w 47"/>
                  <a:gd name="T31" fmla="*/ 2147483647 h 28"/>
                  <a:gd name="T32" fmla="*/ 133234079 w 47"/>
                  <a:gd name="T33" fmla="*/ 2147483647 h 28"/>
                  <a:gd name="T34" fmla="*/ 266303598 w 47"/>
                  <a:gd name="T35" fmla="*/ 2147483647 h 28"/>
                  <a:gd name="T36" fmla="*/ 399537677 w 47"/>
                  <a:gd name="T37" fmla="*/ 2147483647 h 28"/>
                  <a:gd name="T38" fmla="*/ 599306515 w 47"/>
                  <a:gd name="T39" fmla="*/ 2147483647 h 28"/>
                  <a:gd name="T40" fmla="*/ 732540594 w 47"/>
                  <a:gd name="T41" fmla="*/ 2147483647 h 28"/>
                  <a:gd name="T42" fmla="*/ 865610518 w 47"/>
                  <a:gd name="T43" fmla="*/ 2147483647 h 28"/>
                  <a:gd name="T44" fmla="*/ 865610518 w 47"/>
                  <a:gd name="T45" fmla="*/ 0 h 2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198" name="Freeform 367"/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11327080" y="4846210"/>
                <a:ext cx="23813" cy="57150"/>
              </a:xfrm>
              <a:custGeom>
                <a:avLst/>
                <a:gdLst>
                  <a:gd name="T0" fmla="*/ 1179135291 w 53"/>
                  <a:gd name="T1" fmla="*/ 0 h 33"/>
                  <a:gd name="T2" fmla="*/ 2147483647 w 53"/>
                  <a:gd name="T3" fmla="*/ 2147483647 h 33"/>
                  <a:gd name="T4" fmla="*/ 2147483647 w 53"/>
                  <a:gd name="T5" fmla="*/ 2147483647 h 33"/>
                  <a:gd name="T6" fmla="*/ 2147483647 w 53"/>
                  <a:gd name="T7" fmla="*/ 2147483647 h 33"/>
                  <a:gd name="T8" fmla="*/ 2147483647 w 53"/>
                  <a:gd name="T9" fmla="*/ 2147483647 h 33"/>
                  <a:gd name="T10" fmla="*/ 2147483647 w 53"/>
                  <a:gd name="T11" fmla="*/ 2147483647 h 33"/>
                  <a:gd name="T12" fmla="*/ 2147483647 w 53"/>
                  <a:gd name="T13" fmla="*/ 2147483647 h 33"/>
                  <a:gd name="T14" fmla="*/ 2147483647 w 53"/>
                  <a:gd name="T15" fmla="*/ 2147483647 h 33"/>
                  <a:gd name="T16" fmla="*/ 2147483647 w 53"/>
                  <a:gd name="T17" fmla="*/ 2147483647 h 33"/>
                  <a:gd name="T18" fmla="*/ 2147483647 w 53"/>
                  <a:gd name="T19" fmla="*/ 2147483647 h 33"/>
                  <a:gd name="T20" fmla="*/ 2147483647 w 53"/>
                  <a:gd name="T21" fmla="*/ 2147483647 h 33"/>
                  <a:gd name="T22" fmla="*/ 2147483647 w 53"/>
                  <a:gd name="T23" fmla="*/ 2147483647 h 33"/>
                  <a:gd name="T24" fmla="*/ 2147483647 w 53"/>
                  <a:gd name="T25" fmla="*/ 2147483647 h 33"/>
                  <a:gd name="T26" fmla="*/ 2147483647 w 53"/>
                  <a:gd name="T27" fmla="*/ 2147483647 h 33"/>
                  <a:gd name="T28" fmla="*/ 2147483647 w 53"/>
                  <a:gd name="T29" fmla="*/ 2147483647 h 33"/>
                  <a:gd name="T30" fmla="*/ 1814023569 w 53"/>
                  <a:gd name="T31" fmla="*/ 2147483647 h 33"/>
                  <a:gd name="T32" fmla="*/ 0 w 53"/>
                  <a:gd name="T33" fmla="*/ 2147483647 h 33"/>
                  <a:gd name="T34" fmla="*/ 0 w 53"/>
                  <a:gd name="T35" fmla="*/ 2147483647 h 33"/>
                  <a:gd name="T36" fmla="*/ 181482917 w 53"/>
                  <a:gd name="T37" fmla="*/ 2147483647 h 33"/>
                  <a:gd name="T38" fmla="*/ 362764097 w 53"/>
                  <a:gd name="T39" fmla="*/ 2147483647 h 33"/>
                  <a:gd name="T40" fmla="*/ 634887828 w 53"/>
                  <a:gd name="T41" fmla="*/ 2147483647 h 33"/>
                  <a:gd name="T42" fmla="*/ 816371194 w 53"/>
                  <a:gd name="T43" fmla="*/ 2147483647 h 33"/>
                  <a:gd name="T44" fmla="*/ 997652375 w 53"/>
                  <a:gd name="T45" fmla="*/ 2147483647 h 33"/>
                  <a:gd name="T46" fmla="*/ 1088494926 w 53"/>
                  <a:gd name="T47" fmla="*/ 2147483647 h 33"/>
                  <a:gd name="T48" fmla="*/ 1179135291 w 53"/>
                  <a:gd name="T49" fmla="*/ 0 h 3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3" h="33">
                    <a:moveTo>
                      <a:pt x="13" y="0"/>
                    </a:moveTo>
                    <a:lnTo>
                      <a:pt x="26" y="1"/>
                    </a:lnTo>
                    <a:lnTo>
                      <a:pt x="34" y="1"/>
                    </a:lnTo>
                    <a:lnTo>
                      <a:pt x="37" y="3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4" y="10"/>
                    </a:lnTo>
                    <a:lnTo>
                      <a:pt x="53" y="12"/>
                    </a:lnTo>
                    <a:lnTo>
                      <a:pt x="48" y="22"/>
                    </a:lnTo>
                    <a:lnTo>
                      <a:pt x="44" y="28"/>
                    </a:lnTo>
                    <a:lnTo>
                      <a:pt x="42" y="31"/>
                    </a:lnTo>
                    <a:lnTo>
                      <a:pt x="38" y="32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2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2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199" name="Group 368"/>
              <p:cNvGrpSpPr>
                <a:grpSpLocks/>
              </p:cNvGrpSpPr>
              <p:nvPr>
                <p:custDataLst>
                  <p:tags r:id="rId195"/>
                </p:custDataLst>
              </p:nvPr>
            </p:nvGrpSpPr>
            <p:grpSpPr bwMode="auto">
              <a:xfrm>
                <a:off x="11168330" y="4338210"/>
                <a:ext cx="168275" cy="103187"/>
                <a:chOff x="3481" y="2773"/>
                <a:chExt cx="125" cy="65"/>
              </a:xfrm>
            </p:grpSpPr>
            <p:sp>
              <p:nvSpPr>
                <p:cNvPr id="321" name="Freeform 36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 w 13"/>
                    <a:gd name="T1" fmla="*/ 0 h 18"/>
                    <a:gd name="T2" fmla="*/ 1 w 13"/>
                    <a:gd name="T3" fmla="*/ 0 h 18"/>
                    <a:gd name="T4" fmla="*/ 0 w 13"/>
                    <a:gd name="T5" fmla="*/ 1 h 18"/>
                    <a:gd name="T6" fmla="*/ 0 w 13"/>
                    <a:gd name="T7" fmla="*/ 1 h 18"/>
                    <a:gd name="T8" fmla="*/ 0 w 13"/>
                    <a:gd name="T9" fmla="*/ 1 h 18"/>
                    <a:gd name="T10" fmla="*/ 0 w 13"/>
                    <a:gd name="T11" fmla="*/ 0 h 18"/>
                    <a:gd name="T12" fmla="*/ 0 w 13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2" name="Line 370"/>
                <p:cNvSpPr>
                  <a:spLocks noChangeShapeType="1"/>
                </p:cNvSpPr>
                <p:nvPr/>
              </p:nvSpPr>
              <p:spPr bwMode="auto">
                <a:xfrm>
                  <a:off x="3583" y="2800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3" name="Freeform 371"/>
                <p:cNvSpPr>
                  <a:spLocks/>
                </p:cNvSpPr>
                <p:nvPr/>
              </p:nvSpPr>
              <p:spPr bwMode="auto">
                <a:xfrm>
                  <a:off x="3554" y="2819"/>
                  <a:ext cx="5" cy="6"/>
                </a:xfrm>
                <a:custGeom>
                  <a:avLst/>
                  <a:gdLst>
                    <a:gd name="T0" fmla="*/ 1 w 14"/>
                    <a:gd name="T1" fmla="*/ 1 h 19"/>
                    <a:gd name="T2" fmla="*/ 0 w 14"/>
                    <a:gd name="T3" fmla="*/ 0 h 19"/>
                    <a:gd name="T4" fmla="*/ 1 w 14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" h="19">
                      <a:moveTo>
                        <a:pt x="14" y="19"/>
                      </a:moveTo>
                      <a:lnTo>
                        <a:pt x="0" y="0"/>
                      </a:lnTo>
                      <a:lnTo>
                        <a:pt x="14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4" name="Freeform 372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0 h 18"/>
                    <a:gd name="T2" fmla="*/ 0 w 7"/>
                    <a:gd name="T3" fmla="*/ 1 h 18"/>
                    <a:gd name="T4" fmla="*/ 0 w 7"/>
                    <a:gd name="T5" fmla="*/ 1 h 18"/>
                    <a:gd name="T6" fmla="*/ 0 w 7"/>
                    <a:gd name="T7" fmla="*/ 0 h 18"/>
                    <a:gd name="T8" fmla="*/ 0 w 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5" name="Freeform 373"/>
                <p:cNvSpPr>
                  <a:spLocks/>
                </p:cNvSpPr>
                <p:nvPr/>
              </p:nvSpPr>
              <p:spPr bwMode="auto">
                <a:xfrm>
                  <a:off x="3599" y="2773"/>
                  <a:ext cx="7" cy="4"/>
                </a:xfrm>
                <a:custGeom>
                  <a:avLst/>
                  <a:gdLst>
                    <a:gd name="T0" fmla="*/ 1 w 20"/>
                    <a:gd name="T1" fmla="*/ 0 h 12"/>
                    <a:gd name="T2" fmla="*/ 0 w 20"/>
                    <a:gd name="T3" fmla="*/ 0 h 12"/>
                    <a:gd name="T4" fmla="*/ 0 w 20"/>
                    <a:gd name="T5" fmla="*/ 0 h 12"/>
                    <a:gd name="T6" fmla="*/ 0 w 20"/>
                    <a:gd name="T7" fmla="*/ 0 h 12"/>
                    <a:gd name="T8" fmla="*/ 0 w 20"/>
                    <a:gd name="T9" fmla="*/ 0 h 12"/>
                    <a:gd name="T10" fmla="*/ 0 w 20"/>
                    <a:gd name="T11" fmla="*/ 0 h 12"/>
                    <a:gd name="T12" fmla="*/ 1 w 20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0" h="12">
                      <a:moveTo>
                        <a:pt x="20" y="12"/>
                      </a:moveTo>
                      <a:lnTo>
                        <a:pt x="1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8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6" name="Line 374"/>
                <p:cNvSpPr>
                  <a:spLocks noChangeShapeType="1"/>
                </p:cNvSpPr>
                <p:nvPr/>
              </p:nvSpPr>
              <p:spPr bwMode="auto">
                <a:xfrm>
                  <a:off x="3603" y="2773"/>
                  <a:ext cx="1" cy="2"/>
                </a:xfrm>
                <a:prstGeom prst="line">
                  <a:avLst/>
                </a:prstGeom>
                <a:noFill/>
                <a:ln w="9525">
                  <a:solidFill>
                    <a:schemeClr val="accent6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7" name="Freeform 375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 h 18"/>
                    <a:gd name="T4" fmla="*/ 1 w 20"/>
                    <a:gd name="T5" fmla="*/ 1 h 1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8" name="Freeform 376"/>
                <p:cNvSpPr>
                  <a:spLocks/>
                </p:cNvSpPr>
                <p:nvPr/>
              </p:nvSpPr>
              <p:spPr bwMode="auto">
                <a:xfrm>
                  <a:off x="3485" y="2830"/>
                  <a:ext cx="3" cy="4"/>
                </a:xfrm>
                <a:custGeom>
                  <a:avLst/>
                  <a:gdLst>
                    <a:gd name="T0" fmla="*/ 0 w 7"/>
                    <a:gd name="T1" fmla="*/ 0 h 12"/>
                    <a:gd name="T2" fmla="*/ 0 w 7"/>
                    <a:gd name="T3" fmla="*/ 0 h 12"/>
                    <a:gd name="T4" fmla="*/ 0 w 7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7" h="12">
                      <a:moveTo>
                        <a:pt x="7" y="12"/>
                      </a:moveTo>
                      <a:lnTo>
                        <a:pt x="4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9" name="Freeform 377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 h 18"/>
                    <a:gd name="T4" fmla="*/ 1 w 20"/>
                    <a:gd name="T5" fmla="*/ 1 h 18"/>
                    <a:gd name="T6" fmla="*/ 1 w 20"/>
                    <a:gd name="T7" fmla="*/ 0 h 18"/>
                    <a:gd name="T8" fmla="*/ 1 w 20"/>
                    <a:gd name="T9" fmla="*/ 0 h 18"/>
                    <a:gd name="T10" fmla="*/ 0 w 20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  <a:lnTo>
                        <a:pt x="17" y="12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0" name="Freeform 378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0 h 18"/>
                    <a:gd name="T2" fmla="*/ 0 w 7"/>
                    <a:gd name="T3" fmla="*/ 1 h 18"/>
                    <a:gd name="T4" fmla="*/ 0 w 7"/>
                    <a:gd name="T5" fmla="*/ 1 h 18"/>
                    <a:gd name="T6" fmla="*/ 0 w 7"/>
                    <a:gd name="T7" fmla="*/ 0 h 18"/>
                    <a:gd name="T8" fmla="*/ 0 w 7"/>
                    <a:gd name="T9" fmla="*/ 0 h 18"/>
                    <a:gd name="T10" fmla="*/ 0 w 7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31" name="Freeform 37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 w 13"/>
                    <a:gd name="T1" fmla="*/ 0 h 18"/>
                    <a:gd name="T2" fmla="*/ 1 w 13"/>
                    <a:gd name="T3" fmla="*/ 0 h 18"/>
                    <a:gd name="T4" fmla="*/ 0 w 13"/>
                    <a:gd name="T5" fmla="*/ 1 h 18"/>
                    <a:gd name="T6" fmla="*/ 0 w 13"/>
                    <a:gd name="T7" fmla="*/ 1 h 18"/>
                    <a:gd name="T8" fmla="*/ 0 w 13"/>
                    <a:gd name="T9" fmla="*/ 1 h 18"/>
                    <a:gd name="T10" fmla="*/ 0 w 13"/>
                    <a:gd name="T11" fmla="*/ 0 h 18"/>
                    <a:gd name="T12" fmla="*/ 0 w 13"/>
                    <a:gd name="T13" fmla="*/ 0 h 18"/>
                    <a:gd name="T14" fmla="*/ 0 w 13"/>
                    <a:gd name="T15" fmla="*/ 0 h 18"/>
                    <a:gd name="T16" fmla="*/ 1 w 13"/>
                    <a:gd name="T17" fmla="*/ 0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200" name="Freeform 380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10296793" y="4330272"/>
                <a:ext cx="319087" cy="379413"/>
              </a:xfrm>
              <a:custGeom>
                <a:avLst/>
                <a:gdLst>
                  <a:gd name="T0" fmla="*/ 2147483647 w 736"/>
                  <a:gd name="T1" fmla="*/ 2147483647 h 721"/>
                  <a:gd name="T2" fmla="*/ 2147483647 w 736"/>
                  <a:gd name="T3" fmla="*/ 2147483647 h 721"/>
                  <a:gd name="T4" fmla="*/ 2147483647 w 736"/>
                  <a:gd name="T5" fmla="*/ 2147483647 h 721"/>
                  <a:gd name="T6" fmla="*/ 2147483647 w 736"/>
                  <a:gd name="T7" fmla="*/ 2147483647 h 721"/>
                  <a:gd name="T8" fmla="*/ 2147483647 w 736"/>
                  <a:gd name="T9" fmla="*/ 2147483647 h 721"/>
                  <a:gd name="T10" fmla="*/ 2147483647 w 736"/>
                  <a:gd name="T11" fmla="*/ 2147483647 h 721"/>
                  <a:gd name="T12" fmla="*/ 2147483647 w 736"/>
                  <a:gd name="T13" fmla="*/ 2147483647 h 721"/>
                  <a:gd name="T14" fmla="*/ 2147483647 w 736"/>
                  <a:gd name="T15" fmla="*/ 2147483647 h 721"/>
                  <a:gd name="T16" fmla="*/ 2147483647 w 736"/>
                  <a:gd name="T17" fmla="*/ 2147483647 h 721"/>
                  <a:gd name="T18" fmla="*/ 2147483647 w 736"/>
                  <a:gd name="T19" fmla="*/ 2147483647 h 721"/>
                  <a:gd name="T20" fmla="*/ 2147483647 w 736"/>
                  <a:gd name="T21" fmla="*/ 2147483647 h 721"/>
                  <a:gd name="T22" fmla="*/ 2147483647 w 736"/>
                  <a:gd name="T23" fmla="*/ 2147483647 h 721"/>
                  <a:gd name="T24" fmla="*/ 2147483647 w 736"/>
                  <a:gd name="T25" fmla="*/ 2147483647 h 721"/>
                  <a:gd name="T26" fmla="*/ 2147483647 w 736"/>
                  <a:gd name="T27" fmla="*/ 2147483647 h 721"/>
                  <a:gd name="T28" fmla="*/ 2147483647 w 736"/>
                  <a:gd name="T29" fmla="*/ 2147483647 h 721"/>
                  <a:gd name="T30" fmla="*/ 2147483647 w 736"/>
                  <a:gd name="T31" fmla="*/ 2147483647 h 721"/>
                  <a:gd name="T32" fmla="*/ 2147483647 w 736"/>
                  <a:gd name="T33" fmla="*/ 2147483647 h 721"/>
                  <a:gd name="T34" fmla="*/ 2147483647 w 736"/>
                  <a:gd name="T35" fmla="*/ 2147483647 h 721"/>
                  <a:gd name="T36" fmla="*/ 2147483647 w 736"/>
                  <a:gd name="T37" fmla="*/ 2147483647 h 721"/>
                  <a:gd name="T38" fmla="*/ 2147483647 w 736"/>
                  <a:gd name="T39" fmla="*/ 2147483647 h 721"/>
                  <a:gd name="T40" fmla="*/ 2147483647 w 736"/>
                  <a:gd name="T41" fmla="*/ 2147483647 h 721"/>
                  <a:gd name="T42" fmla="*/ 2147483647 w 736"/>
                  <a:gd name="T43" fmla="*/ 2147483647 h 721"/>
                  <a:gd name="T44" fmla="*/ 2147483647 w 736"/>
                  <a:gd name="T45" fmla="*/ 2147483647 h 721"/>
                  <a:gd name="T46" fmla="*/ 2147483647 w 736"/>
                  <a:gd name="T47" fmla="*/ 2147483647 h 721"/>
                  <a:gd name="T48" fmla="*/ 2147483647 w 736"/>
                  <a:gd name="T49" fmla="*/ 2147483647 h 721"/>
                  <a:gd name="T50" fmla="*/ 2147483647 w 736"/>
                  <a:gd name="T51" fmla="*/ 2147483647 h 721"/>
                  <a:gd name="T52" fmla="*/ 2147483647 w 736"/>
                  <a:gd name="T53" fmla="*/ 2147483647 h 721"/>
                  <a:gd name="T54" fmla="*/ 2147483647 w 736"/>
                  <a:gd name="T55" fmla="*/ 2147483647 h 721"/>
                  <a:gd name="T56" fmla="*/ 2147483647 w 736"/>
                  <a:gd name="T57" fmla="*/ 2147483647 h 721"/>
                  <a:gd name="T58" fmla="*/ 2147483647 w 736"/>
                  <a:gd name="T59" fmla="*/ 2147483647 h 721"/>
                  <a:gd name="T60" fmla="*/ 2147483647 w 736"/>
                  <a:gd name="T61" fmla="*/ 2147483647 h 721"/>
                  <a:gd name="T62" fmla="*/ 2147483647 w 736"/>
                  <a:gd name="T63" fmla="*/ 2147483647 h 721"/>
                  <a:gd name="T64" fmla="*/ 2147483647 w 736"/>
                  <a:gd name="T65" fmla="*/ 2147483647 h 721"/>
                  <a:gd name="T66" fmla="*/ 2147483647 w 736"/>
                  <a:gd name="T67" fmla="*/ 0 h 721"/>
                  <a:gd name="T68" fmla="*/ 2147483647 w 736"/>
                  <a:gd name="T69" fmla="*/ 2147483647 h 721"/>
                  <a:gd name="T70" fmla="*/ 2147483647 w 736"/>
                  <a:gd name="T71" fmla="*/ 2147483647 h 721"/>
                  <a:gd name="T72" fmla="*/ 2147483647 w 736"/>
                  <a:gd name="T73" fmla="*/ 2147483647 h 721"/>
                  <a:gd name="T74" fmla="*/ 2147483647 w 736"/>
                  <a:gd name="T75" fmla="*/ 2147483647 h 721"/>
                  <a:gd name="T76" fmla="*/ 2147483647 w 736"/>
                  <a:gd name="T77" fmla="*/ 2147483647 h 721"/>
                  <a:gd name="T78" fmla="*/ 2147483647 w 736"/>
                  <a:gd name="T79" fmla="*/ 2147483647 h 721"/>
                  <a:gd name="T80" fmla="*/ 2147483647 w 736"/>
                  <a:gd name="T81" fmla="*/ 2147483647 h 721"/>
                  <a:gd name="T82" fmla="*/ 2147483647 w 736"/>
                  <a:gd name="T83" fmla="*/ 2147483647 h 721"/>
                  <a:gd name="T84" fmla="*/ 2147483647 w 736"/>
                  <a:gd name="T85" fmla="*/ 2147483647 h 721"/>
                  <a:gd name="T86" fmla="*/ 2147483647 w 736"/>
                  <a:gd name="T87" fmla="*/ 2147483647 h 721"/>
                  <a:gd name="T88" fmla="*/ 2147483647 w 736"/>
                  <a:gd name="T89" fmla="*/ 2147483647 h 721"/>
                  <a:gd name="T90" fmla="*/ 2147483647 w 736"/>
                  <a:gd name="T91" fmla="*/ 2147483647 h 721"/>
                  <a:gd name="T92" fmla="*/ 2147483647 w 736"/>
                  <a:gd name="T93" fmla="*/ 2147483647 h 721"/>
                  <a:gd name="T94" fmla="*/ 2037285087 w 736"/>
                  <a:gd name="T95" fmla="*/ 2147483647 h 721"/>
                  <a:gd name="T96" fmla="*/ 896375212 w 736"/>
                  <a:gd name="T97" fmla="*/ 2147483647 h 72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1" name="Freeform 381"/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10307905" y="4303285"/>
                <a:ext cx="15875" cy="60325"/>
              </a:xfrm>
              <a:custGeom>
                <a:avLst/>
                <a:gdLst>
                  <a:gd name="T0" fmla="*/ 0 w 39"/>
                  <a:gd name="T1" fmla="*/ 2147483647 h 31"/>
                  <a:gd name="T2" fmla="*/ 809399494 w 39"/>
                  <a:gd name="T3" fmla="*/ 2147483647 h 31"/>
                  <a:gd name="T4" fmla="*/ 1483760538 w 39"/>
                  <a:gd name="T5" fmla="*/ 2147483647 h 31"/>
                  <a:gd name="T6" fmla="*/ 1753505282 w 39"/>
                  <a:gd name="T7" fmla="*/ 2147483647 h 31"/>
                  <a:gd name="T8" fmla="*/ 2023415288 w 39"/>
                  <a:gd name="T9" fmla="*/ 2147483647 h 31"/>
                  <a:gd name="T10" fmla="*/ 2147483647 w 39"/>
                  <a:gd name="T11" fmla="*/ 2147483647 h 31"/>
                  <a:gd name="T12" fmla="*/ 2147483647 w 39"/>
                  <a:gd name="T13" fmla="*/ 2147483647 h 31"/>
                  <a:gd name="T14" fmla="*/ 2147483647 w 39"/>
                  <a:gd name="T15" fmla="*/ 0 h 31"/>
                  <a:gd name="T16" fmla="*/ 1753505282 w 39"/>
                  <a:gd name="T17" fmla="*/ 0 h 31"/>
                  <a:gd name="T18" fmla="*/ 1146580016 w 39"/>
                  <a:gd name="T19" fmla="*/ 0 h 31"/>
                  <a:gd name="T20" fmla="*/ 539489080 w 39"/>
                  <a:gd name="T21" fmla="*/ 0 h 31"/>
                  <a:gd name="T22" fmla="*/ 0 w 39"/>
                  <a:gd name="T23" fmla="*/ 0 h 31"/>
                  <a:gd name="T24" fmla="*/ 0 w 39"/>
                  <a:gd name="T25" fmla="*/ 2147483647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2" name="Freeform 382"/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10409505" y="4846210"/>
                <a:ext cx="396875" cy="398462"/>
              </a:xfrm>
              <a:custGeom>
                <a:avLst/>
                <a:gdLst>
                  <a:gd name="T0" fmla="*/ 2147483647 w 903"/>
                  <a:gd name="T1" fmla="*/ 2147483647 h 759"/>
                  <a:gd name="T2" fmla="*/ 2147483647 w 903"/>
                  <a:gd name="T3" fmla="*/ 2147483647 h 759"/>
                  <a:gd name="T4" fmla="*/ 2147483647 w 903"/>
                  <a:gd name="T5" fmla="*/ 2147483647 h 759"/>
                  <a:gd name="T6" fmla="*/ 2147483647 w 903"/>
                  <a:gd name="T7" fmla="*/ 2147483647 h 759"/>
                  <a:gd name="T8" fmla="*/ 2147483647 w 903"/>
                  <a:gd name="T9" fmla="*/ 2147483647 h 759"/>
                  <a:gd name="T10" fmla="*/ 2147483647 w 903"/>
                  <a:gd name="T11" fmla="*/ 2147483647 h 759"/>
                  <a:gd name="T12" fmla="*/ 2147483647 w 903"/>
                  <a:gd name="T13" fmla="*/ 2147483647 h 759"/>
                  <a:gd name="T14" fmla="*/ 2147483647 w 903"/>
                  <a:gd name="T15" fmla="*/ 2147483647 h 759"/>
                  <a:gd name="T16" fmla="*/ 2147483647 w 903"/>
                  <a:gd name="T17" fmla="*/ 2147483647 h 759"/>
                  <a:gd name="T18" fmla="*/ 2147483647 w 903"/>
                  <a:gd name="T19" fmla="*/ 2147483647 h 759"/>
                  <a:gd name="T20" fmla="*/ 2147483647 w 903"/>
                  <a:gd name="T21" fmla="*/ 2147483647 h 759"/>
                  <a:gd name="T22" fmla="*/ 2147483647 w 903"/>
                  <a:gd name="T23" fmla="*/ 2147483647 h 759"/>
                  <a:gd name="T24" fmla="*/ 2147483647 w 903"/>
                  <a:gd name="T25" fmla="*/ 2147483647 h 759"/>
                  <a:gd name="T26" fmla="*/ 2147483647 w 903"/>
                  <a:gd name="T27" fmla="*/ 2147483647 h 759"/>
                  <a:gd name="T28" fmla="*/ 2147483647 w 903"/>
                  <a:gd name="T29" fmla="*/ 2147483647 h 759"/>
                  <a:gd name="T30" fmla="*/ 2147483647 w 903"/>
                  <a:gd name="T31" fmla="*/ 2147483647 h 759"/>
                  <a:gd name="T32" fmla="*/ 2147483647 w 903"/>
                  <a:gd name="T33" fmla="*/ 2147483647 h 759"/>
                  <a:gd name="T34" fmla="*/ 2147483647 w 903"/>
                  <a:gd name="T35" fmla="*/ 2147483647 h 759"/>
                  <a:gd name="T36" fmla="*/ 2147483647 w 903"/>
                  <a:gd name="T37" fmla="*/ 2147483647 h 759"/>
                  <a:gd name="T38" fmla="*/ 2147483647 w 903"/>
                  <a:gd name="T39" fmla="*/ 2147483647 h 759"/>
                  <a:gd name="T40" fmla="*/ 2147483647 w 903"/>
                  <a:gd name="T41" fmla="*/ 2147483647 h 759"/>
                  <a:gd name="T42" fmla="*/ 2147483647 w 903"/>
                  <a:gd name="T43" fmla="*/ 2147483647 h 759"/>
                  <a:gd name="T44" fmla="*/ 2147483647 w 903"/>
                  <a:gd name="T45" fmla="*/ 2147483647 h 759"/>
                  <a:gd name="T46" fmla="*/ 2147483647 w 903"/>
                  <a:gd name="T47" fmla="*/ 2147483647 h 759"/>
                  <a:gd name="T48" fmla="*/ 1867727592 w 903"/>
                  <a:gd name="T49" fmla="*/ 2147483647 h 759"/>
                  <a:gd name="T50" fmla="*/ 1018760545 w 903"/>
                  <a:gd name="T51" fmla="*/ 2147483647 h 759"/>
                  <a:gd name="T52" fmla="*/ 848967047 w 903"/>
                  <a:gd name="T53" fmla="*/ 2147483647 h 759"/>
                  <a:gd name="T54" fmla="*/ 0 w 903"/>
                  <a:gd name="T55" fmla="*/ 2147483647 h 759"/>
                  <a:gd name="T56" fmla="*/ 2147483647 w 903"/>
                  <a:gd name="T57" fmla="*/ 2147483647 h 759"/>
                  <a:gd name="T58" fmla="*/ 2147483647 w 903"/>
                  <a:gd name="T59" fmla="*/ 2147483647 h 759"/>
                  <a:gd name="T60" fmla="*/ 2147483647 w 903"/>
                  <a:gd name="T61" fmla="*/ 2147483647 h 759"/>
                  <a:gd name="T62" fmla="*/ 2147483647 w 903"/>
                  <a:gd name="T63" fmla="*/ 2147483647 h 759"/>
                  <a:gd name="T64" fmla="*/ 2147483647 w 903"/>
                  <a:gd name="T65" fmla="*/ 2147483647 h 759"/>
                  <a:gd name="T66" fmla="*/ 2147483647 w 903"/>
                  <a:gd name="T67" fmla="*/ 2147483647 h 759"/>
                  <a:gd name="T68" fmla="*/ 2147483647 w 903"/>
                  <a:gd name="T69" fmla="*/ 2147483647 h 759"/>
                  <a:gd name="T70" fmla="*/ 2147483647 w 903"/>
                  <a:gd name="T71" fmla="*/ 2147483647 h 759"/>
                  <a:gd name="T72" fmla="*/ 2147483647 w 903"/>
                  <a:gd name="T73" fmla="*/ 2147483647 h 759"/>
                  <a:gd name="T74" fmla="*/ 2147483647 w 903"/>
                  <a:gd name="T75" fmla="*/ 2147483647 h 759"/>
                  <a:gd name="T76" fmla="*/ 2147483647 w 903"/>
                  <a:gd name="T77" fmla="*/ 2147483647 h 759"/>
                  <a:gd name="T78" fmla="*/ 2147483647 w 903"/>
                  <a:gd name="T79" fmla="*/ 2147483647 h 759"/>
                  <a:gd name="T80" fmla="*/ 2147483647 w 903"/>
                  <a:gd name="T81" fmla="*/ 2147483647 h 759"/>
                  <a:gd name="T82" fmla="*/ 2147483647 w 903"/>
                  <a:gd name="T83" fmla="*/ 2147483647 h 759"/>
                  <a:gd name="T84" fmla="*/ 2147483647 w 903"/>
                  <a:gd name="T85" fmla="*/ 2147483647 h 759"/>
                  <a:gd name="T86" fmla="*/ 2147483647 w 903"/>
                  <a:gd name="T87" fmla="*/ 2147483647 h 759"/>
                  <a:gd name="T88" fmla="*/ 2147483647 w 903"/>
                  <a:gd name="T89" fmla="*/ 2147483647 h 759"/>
                  <a:gd name="T90" fmla="*/ 2147483647 w 903"/>
                  <a:gd name="T91" fmla="*/ 2147483647 h 759"/>
                  <a:gd name="T92" fmla="*/ 2147483647 w 903"/>
                  <a:gd name="T93" fmla="*/ 2147483647 h 759"/>
                  <a:gd name="T94" fmla="*/ 2147483647 w 903"/>
                  <a:gd name="T95" fmla="*/ 2147483647 h 759"/>
                  <a:gd name="T96" fmla="*/ 2147483647 w 903"/>
                  <a:gd name="T97" fmla="*/ 2147483647 h 759"/>
                  <a:gd name="T98" fmla="*/ 2147483647 w 903"/>
                  <a:gd name="T99" fmla="*/ 2147483647 h 759"/>
                  <a:gd name="T100" fmla="*/ 2147483647 w 903"/>
                  <a:gd name="T101" fmla="*/ 2147483647 h 759"/>
                  <a:gd name="T102" fmla="*/ 2147483647 w 903"/>
                  <a:gd name="T103" fmla="*/ 2147483647 h 759"/>
                  <a:gd name="T104" fmla="*/ 2147483647 w 903"/>
                  <a:gd name="T105" fmla="*/ 2147483647 h 759"/>
                  <a:gd name="T106" fmla="*/ 2147483647 w 903"/>
                  <a:gd name="T107" fmla="*/ 2147483647 h 759"/>
                  <a:gd name="T108" fmla="*/ 2147483647 w 903"/>
                  <a:gd name="T109" fmla="*/ 1591630472 h 759"/>
                  <a:gd name="T110" fmla="*/ 2147483647 w 903"/>
                  <a:gd name="T111" fmla="*/ 434081038 h 759"/>
                  <a:gd name="T112" fmla="*/ 2147483647 w 903"/>
                  <a:gd name="T113" fmla="*/ 868162076 h 759"/>
                  <a:gd name="T114" fmla="*/ 2147483647 w 903"/>
                  <a:gd name="T115" fmla="*/ 2147483647 h 759"/>
                  <a:gd name="T116" fmla="*/ 2147483647 w 903"/>
                  <a:gd name="T117" fmla="*/ 2147483647 h 759"/>
                  <a:gd name="T118" fmla="*/ 2147483647 w 903"/>
                  <a:gd name="T119" fmla="*/ 2147483647 h 759"/>
                  <a:gd name="T120" fmla="*/ 2147483647 w 903"/>
                  <a:gd name="T121" fmla="*/ 2147483647 h 759"/>
                  <a:gd name="T122" fmla="*/ 2147483647 w 903"/>
                  <a:gd name="T123" fmla="*/ 2147483647 h 759"/>
                  <a:gd name="T124" fmla="*/ 2147483647 w 903"/>
                  <a:gd name="T125" fmla="*/ 2147483647 h 75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3" name="Freeform 383"/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10557143" y="3414285"/>
                <a:ext cx="411162" cy="611187"/>
              </a:xfrm>
              <a:custGeom>
                <a:avLst/>
                <a:gdLst>
                  <a:gd name="T0" fmla="*/ 2147483647 w 943"/>
                  <a:gd name="T1" fmla="*/ 708980049 h 1172"/>
                  <a:gd name="T2" fmla="*/ 2147483647 w 943"/>
                  <a:gd name="T3" fmla="*/ 2147483647 h 1172"/>
                  <a:gd name="T4" fmla="*/ 2147483647 w 943"/>
                  <a:gd name="T5" fmla="*/ 2147483647 h 1172"/>
                  <a:gd name="T6" fmla="*/ 2147483647 w 943"/>
                  <a:gd name="T7" fmla="*/ 2147483647 h 1172"/>
                  <a:gd name="T8" fmla="*/ 2147483647 w 943"/>
                  <a:gd name="T9" fmla="*/ 2147483647 h 1172"/>
                  <a:gd name="T10" fmla="*/ 2147483647 w 943"/>
                  <a:gd name="T11" fmla="*/ 2147483647 h 1172"/>
                  <a:gd name="T12" fmla="*/ 2147483647 w 943"/>
                  <a:gd name="T13" fmla="*/ 2147483647 h 1172"/>
                  <a:gd name="T14" fmla="*/ 2147483647 w 943"/>
                  <a:gd name="T15" fmla="*/ 2147483647 h 1172"/>
                  <a:gd name="T16" fmla="*/ 2147483647 w 943"/>
                  <a:gd name="T17" fmla="*/ 2147483647 h 1172"/>
                  <a:gd name="T18" fmla="*/ 2147483647 w 943"/>
                  <a:gd name="T19" fmla="*/ 2147483647 h 1172"/>
                  <a:gd name="T20" fmla="*/ 2147483647 w 943"/>
                  <a:gd name="T21" fmla="*/ 2147483647 h 1172"/>
                  <a:gd name="T22" fmla="*/ 2147483647 w 943"/>
                  <a:gd name="T23" fmla="*/ 2147483647 h 1172"/>
                  <a:gd name="T24" fmla="*/ 2147483647 w 943"/>
                  <a:gd name="T25" fmla="*/ 2147483647 h 1172"/>
                  <a:gd name="T26" fmla="*/ 2147483647 w 943"/>
                  <a:gd name="T27" fmla="*/ 2147483647 h 1172"/>
                  <a:gd name="T28" fmla="*/ 2147483647 w 943"/>
                  <a:gd name="T29" fmla="*/ 2147483647 h 1172"/>
                  <a:gd name="T30" fmla="*/ 2147483647 w 943"/>
                  <a:gd name="T31" fmla="*/ 2147483647 h 1172"/>
                  <a:gd name="T32" fmla="*/ 2147483647 w 943"/>
                  <a:gd name="T33" fmla="*/ 2147483647 h 1172"/>
                  <a:gd name="T34" fmla="*/ 2147483647 w 943"/>
                  <a:gd name="T35" fmla="*/ 2147483647 h 1172"/>
                  <a:gd name="T36" fmla="*/ 2147483647 w 943"/>
                  <a:gd name="T37" fmla="*/ 2147483647 h 1172"/>
                  <a:gd name="T38" fmla="*/ 2147483647 w 943"/>
                  <a:gd name="T39" fmla="*/ 2147483647 h 1172"/>
                  <a:gd name="T40" fmla="*/ 2147483647 w 943"/>
                  <a:gd name="T41" fmla="*/ 2147483647 h 1172"/>
                  <a:gd name="T42" fmla="*/ 2147483647 w 943"/>
                  <a:gd name="T43" fmla="*/ 2147483647 h 1172"/>
                  <a:gd name="T44" fmla="*/ 2147483647 w 943"/>
                  <a:gd name="T45" fmla="*/ 2147483647 h 1172"/>
                  <a:gd name="T46" fmla="*/ 2147483647 w 943"/>
                  <a:gd name="T47" fmla="*/ 2147483647 h 1172"/>
                  <a:gd name="T48" fmla="*/ 2147483647 w 943"/>
                  <a:gd name="T49" fmla="*/ 2147483647 h 1172"/>
                  <a:gd name="T50" fmla="*/ 2147483647 w 943"/>
                  <a:gd name="T51" fmla="*/ 2147483647 h 1172"/>
                  <a:gd name="T52" fmla="*/ 2147483647 w 943"/>
                  <a:gd name="T53" fmla="*/ 2147483647 h 1172"/>
                  <a:gd name="T54" fmla="*/ 2147483647 w 943"/>
                  <a:gd name="T55" fmla="*/ 2147483647 h 1172"/>
                  <a:gd name="T56" fmla="*/ 2147483647 w 943"/>
                  <a:gd name="T57" fmla="*/ 2147483647 h 1172"/>
                  <a:gd name="T58" fmla="*/ 2147483647 w 943"/>
                  <a:gd name="T59" fmla="*/ 2147483647 h 1172"/>
                  <a:gd name="T60" fmla="*/ 2147483647 w 943"/>
                  <a:gd name="T61" fmla="*/ 2147483647 h 1172"/>
                  <a:gd name="T62" fmla="*/ 2147483647 w 943"/>
                  <a:gd name="T63" fmla="*/ 2147483647 h 1172"/>
                  <a:gd name="T64" fmla="*/ 2147483647 w 943"/>
                  <a:gd name="T65" fmla="*/ 2147483647 h 1172"/>
                  <a:gd name="T66" fmla="*/ 2147483647 w 943"/>
                  <a:gd name="T67" fmla="*/ 2147483647 h 1172"/>
                  <a:gd name="T68" fmla="*/ 2147483647 w 943"/>
                  <a:gd name="T69" fmla="*/ 2147483647 h 1172"/>
                  <a:gd name="T70" fmla="*/ 2147483647 w 943"/>
                  <a:gd name="T71" fmla="*/ 2147483647 h 1172"/>
                  <a:gd name="T72" fmla="*/ 2147483647 w 943"/>
                  <a:gd name="T73" fmla="*/ 2147483647 h 1172"/>
                  <a:gd name="T74" fmla="*/ 2147483647 w 943"/>
                  <a:gd name="T75" fmla="*/ 2147483647 h 1172"/>
                  <a:gd name="T76" fmla="*/ 2147483647 w 943"/>
                  <a:gd name="T77" fmla="*/ 2147483647 h 1172"/>
                  <a:gd name="T78" fmla="*/ 2147483647 w 943"/>
                  <a:gd name="T79" fmla="*/ 2147483647 h 1172"/>
                  <a:gd name="T80" fmla="*/ 2147483647 w 943"/>
                  <a:gd name="T81" fmla="*/ 2147483647 h 1172"/>
                  <a:gd name="T82" fmla="*/ 2147483647 w 943"/>
                  <a:gd name="T83" fmla="*/ 2147483647 h 1172"/>
                  <a:gd name="T84" fmla="*/ 331550049 w 943"/>
                  <a:gd name="T85" fmla="*/ 2147483647 h 1172"/>
                  <a:gd name="T86" fmla="*/ 1491975222 w 943"/>
                  <a:gd name="T87" fmla="*/ 2147483647 h 1172"/>
                  <a:gd name="T88" fmla="*/ 2147483647 w 943"/>
                  <a:gd name="T89" fmla="*/ 2147483647 h 1172"/>
                  <a:gd name="T90" fmla="*/ 2147483647 w 943"/>
                  <a:gd name="T91" fmla="*/ 2147483647 h 1172"/>
                  <a:gd name="T92" fmla="*/ 2147483647 w 943"/>
                  <a:gd name="T93" fmla="*/ 2147483647 h 1172"/>
                  <a:gd name="T94" fmla="*/ 2147483647 w 943"/>
                  <a:gd name="T95" fmla="*/ 2147483647 h 1172"/>
                  <a:gd name="T96" fmla="*/ 2147483647 w 943"/>
                  <a:gd name="T97" fmla="*/ 2147483647 h 1172"/>
                  <a:gd name="T98" fmla="*/ 2147483647 w 943"/>
                  <a:gd name="T99" fmla="*/ 2147483647 h 1172"/>
                  <a:gd name="T100" fmla="*/ 2147483647 w 943"/>
                  <a:gd name="T101" fmla="*/ 2147483647 h 1172"/>
                  <a:gd name="T102" fmla="*/ 2147483647 w 943"/>
                  <a:gd name="T103" fmla="*/ 2147483647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204" name="Group 384"/>
              <p:cNvGrpSpPr>
                <a:grpSpLocks/>
              </p:cNvGrpSpPr>
              <p:nvPr>
                <p:custDataLst>
                  <p:tags r:id="rId200"/>
                </p:custDataLst>
              </p:nvPr>
            </p:nvGrpSpPr>
            <p:grpSpPr bwMode="auto">
              <a:xfrm>
                <a:off x="9341118" y="3615897"/>
                <a:ext cx="80962" cy="82550"/>
                <a:chOff x="2352" y="2343"/>
                <a:chExt cx="65" cy="53"/>
              </a:xfrm>
            </p:grpSpPr>
            <p:sp>
              <p:nvSpPr>
                <p:cNvPr id="315" name="Freeform 385"/>
                <p:cNvSpPr>
                  <a:spLocks/>
                </p:cNvSpPr>
                <p:nvPr/>
              </p:nvSpPr>
              <p:spPr bwMode="auto">
                <a:xfrm>
                  <a:off x="2352" y="2343"/>
                  <a:ext cx="16" cy="11"/>
                </a:xfrm>
                <a:custGeom>
                  <a:avLst/>
                  <a:gdLst>
                    <a:gd name="T0" fmla="*/ 1 w 51"/>
                    <a:gd name="T1" fmla="*/ 0 h 33"/>
                    <a:gd name="T2" fmla="*/ 0 w 51"/>
                    <a:gd name="T3" fmla="*/ 0 h 33"/>
                    <a:gd name="T4" fmla="*/ 0 w 51"/>
                    <a:gd name="T5" fmla="*/ 1 h 33"/>
                    <a:gd name="T6" fmla="*/ 0 w 51"/>
                    <a:gd name="T7" fmla="*/ 1 h 33"/>
                    <a:gd name="T8" fmla="*/ 1 w 51"/>
                    <a:gd name="T9" fmla="*/ 1 h 33"/>
                    <a:gd name="T10" fmla="*/ 2 w 51"/>
                    <a:gd name="T11" fmla="*/ 1 h 33"/>
                    <a:gd name="T12" fmla="*/ 2 w 51"/>
                    <a:gd name="T13" fmla="*/ 0 h 33"/>
                    <a:gd name="T14" fmla="*/ 1 w 51"/>
                    <a:gd name="T15" fmla="*/ 0 h 3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51" h="33">
                      <a:moveTo>
                        <a:pt x="46" y="0"/>
                      </a:moveTo>
                      <a:lnTo>
                        <a:pt x="0" y="5"/>
                      </a:lnTo>
                      <a:lnTo>
                        <a:pt x="4" y="28"/>
                      </a:lnTo>
                      <a:lnTo>
                        <a:pt x="10" y="33"/>
                      </a:lnTo>
                      <a:lnTo>
                        <a:pt x="35" y="25"/>
                      </a:lnTo>
                      <a:lnTo>
                        <a:pt x="48" y="15"/>
                      </a:lnTo>
                      <a:lnTo>
                        <a:pt x="51" y="8"/>
                      </a:lnTo>
                      <a:lnTo>
                        <a:pt x="4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6" name="Freeform 386"/>
                <p:cNvSpPr>
                  <a:spLocks/>
                </p:cNvSpPr>
                <p:nvPr/>
              </p:nvSpPr>
              <p:spPr bwMode="auto">
                <a:xfrm>
                  <a:off x="2372" y="2354"/>
                  <a:ext cx="20" cy="7"/>
                </a:xfrm>
                <a:custGeom>
                  <a:avLst/>
                  <a:gdLst>
                    <a:gd name="T0" fmla="*/ 2 w 61"/>
                    <a:gd name="T1" fmla="*/ 0 h 20"/>
                    <a:gd name="T2" fmla="*/ 2 w 61"/>
                    <a:gd name="T3" fmla="*/ 0 h 20"/>
                    <a:gd name="T4" fmla="*/ 0 w 61"/>
                    <a:gd name="T5" fmla="*/ 0 h 20"/>
                    <a:gd name="T6" fmla="*/ 0 w 61"/>
                    <a:gd name="T7" fmla="*/ 1 h 20"/>
                    <a:gd name="T8" fmla="*/ 0 w 61"/>
                    <a:gd name="T9" fmla="*/ 1 h 20"/>
                    <a:gd name="T10" fmla="*/ 1 w 61"/>
                    <a:gd name="T11" fmla="*/ 1 h 20"/>
                    <a:gd name="T12" fmla="*/ 2 w 61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1" h="20">
                      <a:moveTo>
                        <a:pt x="61" y="6"/>
                      </a:moveTo>
                      <a:lnTo>
                        <a:pt x="53" y="2"/>
                      </a:lnTo>
                      <a:lnTo>
                        <a:pt x="0" y="0"/>
                      </a:lnTo>
                      <a:lnTo>
                        <a:pt x="2" y="14"/>
                      </a:lnTo>
                      <a:lnTo>
                        <a:pt x="7" y="20"/>
                      </a:lnTo>
                      <a:lnTo>
                        <a:pt x="18" y="13"/>
                      </a:lnTo>
                      <a:lnTo>
                        <a:pt x="61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7" name="Freeform 387"/>
                <p:cNvSpPr>
                  <a:spLocks/>
                </p:cNvSpPr>
                <p:nvPr/>
              </p:nvSpPr>
              <p:spPr bwMode="auto">
                <a:xfrm>
                  <a:off x="2407" y="2346"/>
                  <a:ext cx="5" cy="12"/>
                </a:xfrm>
                <a:custGeom>
                  <a:avLst/>
                  <a:gdLst>
                    <a:gd name="T0" fmla="*/ 0 w 15"/>
                    <a:gd name="T1" fmla="*/ 0 h 36"/>
                    <a:gd name="T2" fmla="*/ 0 w 15"/>
                    <a:gd name="T3" fmla="*/ 1 h 36"/>
                    <a:gd name="T4" fmla="*/ 0 w 15"/>
                    <a:gd name="T5" fmla="*/ 1 h 36"/>
                    <a:gd name="T6" fmla="*/ 0 w 15"/>
                    <a:gd name="T7" fmla="*/ 1 h 36"/>
                    <a:gd name="T8" fmla="*/ 1 w 15"/>
                    <a:gd name="T9" fmla="*/ 1 h 36"/>
                    <a:gd name="T10" fmla="*/ 0 w 15"/>
                    <a:gd name="T11" fmla="*/ 0 h 3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" h="36">
                      <a:moveTo>
                        <a:pt x="2" y="0"/>
                      </a:moveTo>
                      <a:lnTo>
                        <a:pt x="0" y="20"/>
                      </a:lnTo>
                      <a:lnTo>
                        <a:pt x="0" y="36"/>
                      </a:lnTo>
                      <a:lnTo>
                        <a:pt x="11" y="35"/>
                      </a:lnTo>
                      <a:lnTo>
                        <a:pt x="15" y="14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8" name="Freeform 388"/>
                <p:cNvSpPr>
                  <a:spLocks/>
                </p:cNvSpPr>
                <p:nvPr/>
              </p:nvSpPr>
              <p:spPr bwMode="auto">
                <a:xfrm>
                  <a:off x="2406" y="2361"/>
                  <a:ext cx="11" cy="11"/>
                </a:xfrm>
                <a:custGeom>
                  <a:avLst/>
                  <a:gdLst>
                    <a:gd name="T0" fmla="*/ 0 w 37"/>
                    <a:gd name="T1" fmla="*/ 0 h 33"/>
                    <a:gd name="T2" fmla="*/ 1 w 37"/>
                    <a:gd name="T3" fmla="*/ 0 h 33"/>
                    <a:gd name="T4" fmla="*/ 1 w 37"/>
                    <a:gd name="T5" fmla="*/ 0 h 33"/>
                    <a:gd name="T6" fmla="*/ 1 w 37"/>
                    <a:gd name="T7" fmla="*/ 1 h 33"/>
                    <a:gd name="T8" fmla="*/ 1 w 37"/>
                    <a:gd name="T9" fmla="*/ 1 h 33"/>
                    <a:gd name="T10" fmla="*/ 0 w 37"/>
                    <a:gd name="T11" fmla="*/ 1 h 33"/>
                    <a:gd name="T12" fmla="*/ 0 w 37"/>
                    <a:gd name="T13" fmla="*/ 1 h 33"/>
                    <a:gd name="T14" fmla="*/ 0 w 37"/>
                    <a:gd name="T15" fmla="*/ 1 h 33"/>
                    <a:gd name="T16" fmla="*/ 0 w 37"/>
                    <a:gd name="T17" fmla="*/ 0 h 3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7" h="33">
                      <a:moveTo>
                        <a:pt x="4" y="4"/>
                      </a:moveTo>
                      <a:lnTo>
                        <a:pt x="22" y="0"/>
                      </a:lnTo>
                      <a:lnTo>
                        <a:pt x="35" y="6"/>
                      </a:lnTo>
                      <a:lnTo>
                        <a:pt x="37" y="22"/>
                      </a:lnTo>
                      <a:lnTo>
                        <a:pt x="24" y="33"/>
                      </a:lnTo>
                      <a:lnTo>
                        <a:pt x="11" y="33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9" name="Freeform 389"/>
                <p:cNvSpPr>
                  <a:spLocks/>
                </p:cNvSpPr>
                <p:nvPr/>
              </p:nvSpPr>
              <p:spPr bwMode="auto">
                <a:xfrm>
                  <a:off x="2388" y="2378"/>
                  <a:ext cx="16" cy="18"/>
                </a:xfrm>
                <a:custGeom>
                  <a:avLst/>
                  <a:gdLst>
                    <a:gd name="T0" fmla="*/ 0 w 49"/>
                    <a:gd name="T1" fmla="*/ 0 h 54"/>
                    <a:gd name="T2" fmla="*/ 0 w 49"/>
                    <a:gd name="T3" fmla="*/ 0 h 54"/>
                    <a:gd name="T4" fmla="*/ 0 w 49"/>
                    <a:gd name="T5" fmla="*/ 2 h 54"/>
                    <a:gd name="T6" fmla="*/ 1 w 49"/>
                    <a:gd name="T7" fmla="*/ 2 h 54"/>
                    <a:gd name="T8" fmla="*/ 2 w 49"/>
                    <a:gd name="T9" fmla="*/ 2 h 54"/>
                    <a:gd name="T10" fmla="*/ 2 w 49"/>
                    <a:gd name="T11" fmla="*/ 1 h 54"/>
                    <a:gd name="T12" fmla="*/ 1 w 49"/>
                    <a:gd name="T13" fmla="*/ 1 h 54"/>
                    <a:gd name="T14" fmla="*/ 1 w 49"/>
                    <a:gd name="T15" fmla="*/ 0 h 54"/>
                    <a:gd name="T16" fmla="*/ 0 w 49"/>
                    <a:gd name="T17" fmla="*/ 0 h 5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" h="5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8" y="54"/>
                      </a:lnTo>
                      <a:lnTo>
                        <a:pt x="44" y="45"/>
                      </a:lnTo>
                      <a:lnTo>
                        <a:pt x="49" y="31"/>
                      </a:lnTo>
                      <a:lnTo>
                        <a:pt x="40" y="21"/>
                      </a:lnTo>
                      <a:lnTo>
                        <a:pt x="19" y="8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20" name="Freeform 390"/>
                <p:cNvSpPr>
                  <a:spLocks/>
                </p:cNvSpPr>
                <p:nvPr/>
              </p:nvSpPr>
              <p:spPr bwMode="auto">
                <a:xfrm>
                  <a:off x="2374" y="2388"/>
                  <a:ext cx="9" cy="7"/>
                </a:xfrm>
                <a:custGeom>
                  <a:avLst/>
                  <a:gdLst>
                    <a:gd name="T0" fmla="*/ 1 w 26"/>
                    <a:gd name="T1" fmla="*/ 0 h 22"/>
                    <a:gd name="T2" fmla="*/ 0 w 26"/>
                    <a:gd name="T3" fmla="*/ 0 h 22"/>
                    <a:gd name="T4" fmla="*/ 0 w 26"/>
                    <a:gd name="T5" fmla="*/ 1 h 22"/>
                    <a:gd name="T6" fmla="*/ 0 w 26"/>
                    <a:gd name="T7" fmla="*/ 1 h 22"/>
                    <a:gd name="T8" fmla="*/ 1 w 26"/>
                    <a:gd name="T9" fmla="*/ 1 h 22"/>
                    <a:gd name="T10" fmla="*/ 1 w 26"/>
                    <a:gd name="T11" fmla="*/ 0 h 22"/>
                    <a:gd name="T12" fmla="*/ 1 w 26"/>
                    <a:gd name="T13" fmla="*/ 0 h 2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6" h="22">
                      <a:moveTo>
                        <a:pt x="18" y="0"/>
                      </a:moveTo>
                      <a:lnTo>
                        <a:pt x="3" y="2"/>
                      </a:lnTo>
                      <a:lnTo>
                        <a:pt x="0" y="15"/>
                      </a:lnTo>
                      <a:lnTo>
                        <a:pt x="6" y="21"/>
                      </a:lnTo>
                      <a:lnTo>
                        <a:pt x="19" y="22"/>
                      </a:lnTo>
                      <a:lnTo>
                        <a:pt x="26" y="11"/>
                      </a:lnTo>
                      <a:lnTo>
                        <a:pt x="18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205" name="Freeform 434"/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10757168" y="4020710"/>
                <a:ext cx="127000" cy="158750"/>
              </a:xfrm>
              <a:custGeom>
                <a:avLst/>
                <a:gdLst>
                  <a:gd name="T0" fmla="*/ 2147483647 w 292"/>
                  <a:gd name="T1" fmla="*/ 1369211019 h 308"/>
                  <a:gd name="T2" fmla="*/ 2147483647 w 292"/>
                  <a:gd name="T3" fmla="*/ 2147483647 h 308"/>
                  <a:gd name="T4" fmla="*/ 2147483647 w 292"/>
                  <a:gd name="T5" fmla="*/ 2147483647 h 308"/>
                  <a:gd name="T6" fmla="*/ 2147483647 w 292"/>
                  <a:gd name="T7" fmla="*/ 2147483647 h 308"/>
                  <a:gd name="T8" fmla="*/ 2147483647 w 292"/>
                  <a:gd name="T9" fmla="*/ 2147483647 h 308"/>
                  <a:gd name="T10" fmla="*/ 2147483647 w 292"/>
                  <a:gd name="T11" fmla="*/ 2147483647 h 308"/>
                  <a:gd name="T12" fmla="*/ 2147483647 w 292"/>
                  <a:gd name="T13" fmla="*/ 2147483647 h 308"/>
                  <a:gd name="T14" fmla="*/ 2147483647 w 292"/>
                  <a:gd name="T15" fmla="*/ 2147483647 h 308"/>
                  <a:gd name="T16" fmla="*/ 2147483647 w 292"/>
                  <a:gd name="T17" fmla="*/ 2147483647 h 308"/>
                  <a:gd name="T18" fmla="*/ 2147483647 w 292"/>
                  <a:gd name="T19" fmla="*/ 2147483647 h 308"/>
                  <a:gd name="T20" fmla="*/ 2147483647 w 292"/>
                  <a:gd name="T21" fmla="*/ 2147483647 h 308"/>
                  <a:gd name="T22" fmla="*/ 2147483647 w 292"/>
                  <a:gd name="T23" fmla="*/ 2147483647 h 308"/>
                  <a:gd name="T24" fmla="*/ 493721634 w 292"/>
                  <a:gd name="T25" fmla="*/ 2147483647 h 308"/>
                  <a:gd name="T26" fmla="*/ 740393473 w 292"/>
                  <a:gd name="T27" fmla="*/ 2147483647 h 308"/>
                  <a:gd name="T28" fmla="*/ 904967205 w 292"/>
                  <a:gd name="T29" fmla="*/ 2147483647 h 308"/>
                  <a:gd name="T30" fmla="*/ 576008500 w 292"/>
                  <a:gd name="T31" fmla="*/ 2147483647 h 308"/>
                  <a:gd name="T32" fmla="*/ 164573733 w 292"/>
                  <a:gd name="T33" fmla="*/ 2147483647 h 308"/>
                  <a:gd name="T34" fmla="*/ 0 w 292"/>
                  <a:gd name="T35" fmla="*/ 2147483647 h 308"/>
                  <a:gd name="T36" fmla="*/ 246861034 w 292"/>
                  <a:gd name="T37" fmla="*/ 2147483647 h 308"/>
                  <a:gd name="T38" fmla="*/ 987254507 w 292"/>
                  <a:gd name="T39" fmla="*/ 2147483647 h 308"/>
                  <a:gd name="T40" fmla="*/ 2139082312 w 292"/>
                  <a:gd name="T41" fmla="*/ 2147483647 h 308"/>
                  <a:gd name="T42" fmla="*/ 2147483647 w 292"/>
                  <a:gd name="T43" fmla="*/ 2147483647 h 308"/>
                  <a:gd name="T44" fmla="*/ 2147483647 w 292"/>
                  <a:gd name="T45" fmla="*/ 2147483647 h 308"/>
                  <a:gd name="T46" fmla="*/ 2147483647 w 292"/>
                  <a:gd name="T47" fmla="*/ 2147483647 h 308"/>
                  <a:gd name="T48" fmla="*/ 2147483647 w 292"/>
                  <a:gd name="T49" fmla="*/ 2147483647 h 308"/>
                  <a:gd name="T50" fmla="*/ 2147483647 w 292"/>
                  <a:gd name="T51" fmla="*/ 2147483647 h 308"/>
                  <a:gd name="T52" fmla="*/ 2147483647 w 292"/>
                  <a:gd name="T53" fmla="*/ 2147483647 h 308"/>
                  <a:gd name="T54" fmla="*/ 2147483647 w 292"/>
                  <a:gd name="T55" fmla="*/ 2147483647 h 308"/>
                  <a:gd name="T56" fmla="*/ 2147483647 w 292"/>
                  <a:gd name="T57" fmla="*/ 2147483647 h 308"/>
                  <a:gd name="T58" fmla="*/ 2147483647 w 292"/>
                  <a:gd name="T59" fmla="*/ 2147483647 h 308"/>
                  <a:gd name="T60" fmla="*/ 2147483647 w 292"/>
                  <a:gd name="T61" fmla="*/ 2147483647 h 308"/>
                  <a:gd name="T62" fmla="*/ 2147483647 w 292"/>
                  <a:gd name="T63" fmla="*/ 2147483647 h 308"/>
                  <a:gd name="T64" fmla="*/ 2147483647 w 292"/>
                  <a:gd name="T65" fmla="*/ 2147483647 h 308"/>
                  <a:gd name="T66" fmla="*/ 2147483647 w 292"/>
                  <a:gd name="T67" fmla="*/ 2147483647 h 308"/>
                  <a:gd name="T68" fmla="*/ 2147483647 w 292"/>
                  <a:gd name="T69" fmla="*/ 1643106826 h 308"/>
                  <a:gd name="T70" fmla="*/ 2147483647 w 292"/>
                  <a:gd name="T71" fmla="*/ 0 h 30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6" name="Freeform 435"/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auto">
              <a:xfrm>
                <a:off x="10863530" y="4171522"/>
                <a:ext cx="6350" cy="57150"/>
              </a:xfrm>
              <a:custGeom>
                <a:avLst/>
                <a:gdLst>
                  <a:gd name="T0" fmla="*/ 1026372271 w 14"/>
                  <a:gd name="T1" fmla="*/ 0 h 7"/>
                  <a:gd name="T2" fmla="*/ 1212966568 w 14"/>
                  <a:gd name="T3" fmla="*/ 2147483647 h 7"/>
                  <a:gd name="T4" fmla="*/ 1306366904 w 14"/>
                  <a:gd name="T5" fmla="*/ 2147483647 h 7"/>
                  <a:gd name="T6" fmla="*/ 0 w 14"/>
                  <a:gd name="T7" fmla="*/ 2147483647 h 7"/>
                  <a:gd name="T8" fmla="*/ 1026372271 w 14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7" name="Freeform 436"/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10353943" y="3407935"/>
                <a:ext cx="249237" cy="500062"/>
              </a:xfrm>
              <a:custGeom>
                <a:avLst/>
                <a:gdLst>
                  <a:gd name="T0" fmla="*/ 2147483647 w 581"/>
                  <a:gd name="T1" fmla="*/ 2147483647 h 955"/>
                  <a:gd name="T2" fmla="*/ 2147483647 w 581"/>
                  <a:gd name="T3" fmla="*/ 2147483647 h 955"/>
                  <a:gd name="T4" fmla="*/ 2147483647 w 581"/>
                  <a:gd name="T5" fmla="*/ 2147483647 h 955"/>
                  <a:gd name="T6" fmla="*/ 2147483647 w 581"/>
                  <a:gd name="T7" fmla="*/ 2147483647 h 955"/>
                  <a:gd name="T8" fmla="*/ 2147483647 w 581"/>
                  <a:gd name="T9" fmla="*/ 2147483647 h 955"/>
                  <a:gd name="T10" fmla="*/ 2147483647 w 581"/>
                  <a:gd name="T11" fmla="*/ 2147483647 h 955"/>
                  <a:gd name="T12" fmla="*/ 2147483647 w 581"/>
                  <a:gd name="T13" fmla="*/ 2147483647 h 955"/>
                  <a:gd name="T14" fmla="*/ 2147483647 w 581"/>
                  <a:gd name="T15" fmla="*/ 2147483647 h 955"/>
                  <a:gd name="T16" fmla="*/ 2147483647 w 581"/>
                  <a:gd name="T17" fmla="*/ 2147483647 h 955"/>
                  <a:gd name="T18" fmla="*/ 1342081617 w 581"/>
                  <a:gd name="T19" fmla="*/ 2147483647 h 955"/>
                  <a:gd name="T20" fmla="*/ 157891854 w 581"/>
                  <a:gd name="T21" fmla="*/ 2147483647 h 955"/>
                  <a:gd name="T22" fmla="*/ 2147483647 w 581"/>
                  <a:gd name="T23" fmla="*/ 2147483647 h 955"/>
                  <a:gd name="T24" fmla="*/ 2147483647 w 581"/>
                  <a:gd name="T25" fmla="*/ 2147483647 h 955"/>
                  <a:gd name="T26" fmla="*/ 2147483647 w 581"/>
                  <a:gd name="T27" fmla="*/ 2147483647 h 955"/>
                  <a:gd name="T28" fmla="*/ 2147483647 w 581"/>
                  <a:gd name="T29" fmla="*/ 2147483647 h 955"/>
                  <a:gd name="T30" fmla="*/ 2147483647 w 581"/>
                  <a:gd name="T31" fmla="*/ 2147483647 h 955"/>
                  <a:gd name="T32" fmla="*/ 2147483647 w 581"/>
                  <a:gd name="T33" fmla="*/ 2147483647 h 955"/>
                  <a:gd name="T34" fmla="*/ 2147483647 w 581"/>
                  <a:gd name="T35" fmla="*/ 2147483647 h 955"/>
                  <a:gd name="T36" fmla="*/ 2147483647 w 581"/>
                  <a:gd name="T37" fmla="*/ 2147483647 h 955"/>
                  <a:gd name="T38" fmla="*/ 2147483647 w 581"/>
                  <a:gd name="T39" fmla="*/ 2147483647 h 955"/>
                  <a:gd name="T40" fmla="*/ 2147483647 w 581"/>
                  <a:gd name="T41" fmla="*/ 2147483647 h 955"/>
                  <a:gd name="T42" fmla="*/ 2147483647 w 581"/>
                  <a:gd name="T43" fmla="*/ 2147483647 h 955"/>
                  <a:gd name="T44" fmla="*/ 2147483647 w 581"/>
                  <a:gd name="T45" fmla="*/ 2147483647 h 955"/>
                  <a:gd name="T46" fmla="*/ 2147483647 w 581"/>
                  <a:gd name="T47" fmla="*/ 2147483647 h 955"/>
                  <a:gd name="T48" fmla="*/ 2147483647 w 581"/>
                  <a:gd name="T49" fmla="*/ 2147483647 h 955"/>
                  <a:gd name="T50" fmla="*/ 2147483647 w 581"/>
                  <a:gd name="T51" fmla="*/ 2147483647 h 955"/>
                  <a:gd name="T52" fmla="*/ 2147483647 w 581"/>
                  <a:gd name="T53" fmla="*/ 2147483647 h 955"/>
                  <a:gd name="T54" fmla="*/ 2147483647 w 581"/>
                  <a:gd name="T55" fmla="*/ 2147483647 h 955"/>
                  <a:gd name="T56" fmla="*/ 2147483647 w 581"/>
                  <a:gd name="T57" fmla="*/ 2147483647 h 955"/>
                  <a:gd name="T58" fmla="*/ 2147483647 w 581"/>
                  <a:gd name="T59" fmla="*/ 2147483647 h 955"/>
                  <a:gd name="T60" fmla="*/ 2147483647 w 581"/>
                  <a:gd name="T61" fmla="*/ 2147483647 h 955"/>
                  <a:gd name="T62" fmla="*/ 2147483647 w 581"/>
                  <a:gd name="T63" fmla="*/ 2147483647 h 955"/>
                  <a:gd name="T64" fmla="*/ 2147483647 w 581"/>
                  <a:gd name="T65" fmla="*/ 2147483647 h 955"/>
                  <a:gd name="T66" fmla="*/ 2147483647 w 581"/>
                  <a:gd name="T67" fmla="*/ 2147483647 h 955"/>
                  <a:gd name="T68" fmla="*/ 2147483647 w 581"/>
                  <a:gd name="T69" fmla="*/ 2147483647 h 955"/>
                  <a:gd name="T70" fmla="*/ 2147483647 w 581"/>
                  <a:gd name="T71" fmla="*/ 2147483647 h 955"/>
                  <a:gd name="T72" fmla="*/ 2147483647 w 581"/>
                  <a:gd name="T73" fmla="*/ 2147483647 h 955"/>
                  <a:gd name="T74" fmla="*/ 2147483647 w 581"/>
                  <a:gd name="T75" fmla="*/ 2147483647 h 955"/>
                  <a:gd name="T76" fmla="*/ 2147483647 w 581"/>
                  <a:gd name="T77" fmla="*/ 2147483647 h 955"/>
                  <a:gd name="T78" fmla="*/ 2147483647 w 581"/>
                  <a:gd name="T79" fmla="*/ 2147483647 h 955"/>
                  <a:gd name="T80" fmla="*/ 2147483647 w 581"/>
                  <a:gd name="T81" fmla="*/ 2147483647 h 955"/>
                  <a:gd name="T82" fmla="*/ 2147483647 w 581"/>
                  <a:gd name="T83" fmla="*/ 2147483647 h 955"/>
                  <a:gd name="T84" fmla="*/ 2147483647 w 581"/>
                  <a:gd name="T85" fmla="*/ 2147483647 h 955"/>
                  <a:gd name="T86" fmla="*/ 2147483647 w 581"/>
                  <a:gd name="T87" fmla="*/ 2147483647 h 955"/>
                  <a:gd name="T88" fmla="*/ 2147483647 w 581"/>
                  <a:gd name="T89" fmla="*/ 2147483647 h 955"/>
                  <a:gd name="T90" fmla="*/ 2147483647 w 581"/>
                  <a:gd name="T91" fmla="*/ 2147483647 h 955"/>
                  <a:gd name="T92" fmla="*/ 2147483647 w 581"/>
                  <a:gd name="T93" fmla="*/ 2147483647 h 955"/>
                  <a:gd name="T94" fmla="*/ 2147483647 w 581"/>
                  <a:gd name="T95" fmla="*/ 2147483647 h 955"/>
                  <a:gd name="T96" fmla="*/ 2147483647 w 581"/>
                  <a:gd name="T97" fmla="*/ 2147483647 h 955"/>
                  <a:gd name="T98" fmla="*/ 2147483647 w 581"/>
                  <a:gd name="T99" fmla="*/ 2147483647 h 955"/>
                  <a:gd name="T100" fmla="*/ 2147483647 w 581"/>
                  <a:gd name="T101" fmla="*/ 0 h 955"/>
                  <a:gd name="T102" fmla="*/ 2147483647 w 581"/>
                  <a:gd name="T103" fmla="*/ 717812034 h 955"/>
                  <a:gd name="T104" fmla="*/ 2147483647 w 581"/>
                  <a:gd name="T105" fmla="*/ 2147483647 h 95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8" name="Freeform 437"/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10030093" y="2790397"/>
                <a:ext cx="15875" cy="57150"/>
              </a:xfrm>
              <a:custGeom>
                <a:avLst/>
                <a:gdLst>
                  <a:gd name="T0" fmla="*/ 1141475294 w 45"/>
                  <a:gd name="T1" fmla="*/ 0 h 36"/>
                  <a:gd name="T2" fmla="*/ 0 w 45"/>
                  <a:gd name="T3" fmla="*/ 2147483647 h 36"/>
                  <a:gd name="T4" fmla="*/ 1009804869 w 45"/>
                  <a:gd name="T5" fmla="*/ 2147483647 h 36"/>
                  <a:gd name="T6" fmla="*/ 1975677969 w 45"/>
                  <a:gd name="T7" fmla="*/ 2147483647 h 36"/>
                  <a:gd name="T8" fmla="*/ 1141475294 w 45"/>
                  <a:gd name="T9" fmla="*/ 0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36">
                    <a:moveTo>
                      <a:pt x="26" y="0"/>
                    </a:moveTo>
                    <a:lnTo>
                      <a:pt x="0" y="18"/>
                    </a:lnTo>
                    <a:lnTo>
                      <a:pt x="23" y="36"/>
                    </a:lnTo>
                    <a:lnTo>
                      <a:pt x="45" y="1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09" name="Freeform 442"/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11039743" y="2803097"/>
                <a:ext cx="123825" cy="109538"/>
              </a:xfrm>
              <a:custGeom>
                <a:avLst/>
                <a:gdLst>
                  <a:gd name="T0" fmla="*/ 2147483647 w 279"/>
                  <a:gd name="T1" fmla="*/ 2147483647 h 204"/>
                  <a:gd name="T2" fmla="*/ 2147483647 w 279"/>
                  <a:gd name="T3" fmla="*/ 2147483647 h 204"/>
                  <a:gd name="T4" fmla="*/ 2147483647 w 279"/>
                  <a:gd name="T5" fmla="*/ 2147483647 h 204"/>
                  <a:gd name="T6" fmla="*/ 2147483647 w 279"/>
                  <a:gd name="T7" fmla="*/ 2147483647 h 204"/>
                  <a:gd name="T8" fmla="*/ 2147483647 w 279"/>
                  <a:gd name="T9" fmla="*/ 2147483647 h 204"/>
                  <a:gd name="T10" fmla="*/ 2147483647 w 279"/>
                  <a:gd name="T11" fmla="*/ 2147483647 h 204"/>
                  <a:gd name="T12" fmla="*/ 2147483647 w 279"/>
                  <a:gd name="T13" fmla="*/ 2147483647 h 204"/>
                  <a:gd name="T14" fmla="*/ 2147483647 w 279"/>
                  <a:gd name="T15" fmla="*/ 2147483647 h 204"/>
                  <a:gd name="T16" fmla="*/ 2147483647 w 279"/>
                  <a:gd name="T17" fmla="*/ 2147483647 h 204"/>
                  <a:gd name="T18" fmla="*/ 2147483647 w 279"/>
                  <a:gd name="T19" fmla="*/ 2147483647 h 204"/>
                  <a:gd name="T20" fmla="*/ 2147483647 w 279"/>
                  <a:gd name="T21" fmla="*/ 2147483647 h 204"/>
                  <a:gd name="T22" fmla="*/ 2147483647 w 279"/>
                  <a:gd name="T23" fmla="*/ 2147483647 h 204"/>
                  <a:gd name="T24" fmla="*/ 2147483647 w 279"/>
                  <a:gd name="T25" fmla="*/ 2147483647 h 204"/>
                  <a:gd name="T26" fmla="*/ 2147483647 w 279"/>
                  <a:gd name="T27" fmla="*/ 2147483647 h 204"/>
                  <a:gd name="T28" fmla="*/ 2147483647 w 279"/>
                  <a:gd name="T29" fmla="*/ 2147483647 h 204"/>
                  <a:gd name="T30" fmla="*/ 2147483647 w 279"/>
                  <a:gd name="T31" fmla="*/ 2147483647 h 204"/>
                  <a:gd name="T32" fmla="*/ 2147483647 w 279"/>
                  <a:gd name="T33" fmla="*/ 2147483647 h 204"/>
                  <a:gd name="T34" fmla="*/ 2147483647 w 279"/>
                  <a:gd name="T35" fmla="*/ 2147483647 h 204"/>
                  <a:gd name="T36" fmla="*/ 2147483647 w 279"/>
                  <a:gd name="T37" fmla="*/ 2147483647 h 204"/>
                  <a:gd name="T38" fmla="*/ 2147483647 w 279"/>
                  <a:gd name="T39" fmla="*/ 2147483647 h 204"/>
                  <a:gd name="T40" fmla="*/ 2147483647 w 279"/>
                  <a:gd name="T41" fmla="*/ 2147483647 h 204"/>
                  <a:gd name="T42" fmla="*/ 2147483647 w 279"/>
                  <a:gd name="T43" fmla="*/ 2147483647 h 204"/>
                  <a:gd name="T44" fmla="*/ 2147483647 w 279"/>
                  <a:gd name="T45" fmla="*/ 2147483647 h 204"/>
                  <a:gd name="T46" fmla="*/ 2147483647 w 279"/>
                  <a:gd name="T47" fmla="*/ 2147483647 h 204"/>
                  <a:gd name="T48" fmla="*/ 2147483647 w 279"/>
                  <a:gd name="T49" fmla="*/ 2147483647 h 204"/>
                  <a:gd name="T50" fmla="*/ 2147483647 w 279"/>
                  <a:gd name="T51" fmla="*/ 2147483647 h 204"/>
                  <a:gd name="T52" fmla="*/ 2147483647 w 279"/>
                  <a:gd name="T53" fmla="*/ 2147483647 h 204"/>
                  <a:gd name="T54" fmla="*/ 2147483647 w 279"/>
                  <a:gd name="T55" fmla="*/ 2147483647 h 204"/>
                  <a:gd name="T56" fmla="*/ 2147483647 w 279"/>
                  <a:gd name="T57" fmla="*/ 2147483647 h 204"/>
                  <a:gd name="T58" fmla="*/ 2147483647 w 279"/>
                  <a:gd name="T59" fmla="*/ 2147483647 h 204"/>
                  <a:gd name="T60" fmla="*/ 2147483647 w 279"/>
                  <a:gd name="T61" fmla="*/ 1857622188 h 204"/>
                  <a:gd name="T62" fmla="*/ 2147483647 w 279"/>
                  <a:gd name="T63" fmla="*/ 2147483647 h 204"/>
                  <a:gd name="T64" fmla="*/ 0 w 279"/>
                  <a:gd name="T65" fmla="*/ 2147483647 h 2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79" h="204">
                    <a:moveTo>
                      <a:pt x="0" y="56"/>
                    </a:moveTo>
                    <a:lnTo>
                      <a:pt x="33" y="87"/>
                    </a:lnTo>
                    <a:lnTo>
                      <a:pt x="46" y="123"/>
                    </a:lnTo>
                    <a:lnTo>
                      <a:pt x="59" y="142"/>
                    </a:lnTo>
                    <a:lnTo>
                      <a:pt x="59" y="173"/>
                    </a:lnTo>
                    <a:lnTo>
                      <a:pt x="59" y="179"/>
                    </a:lnTo>
                    <a:lnTo>
                      <a:pt x="80" y="188"/>
                    </a:lnTo>
                    <a:lnTo>
                      <a:pt x="102" y="196"/>
                    </a:lnTo>
                    <a:lnTo>
                      <a:pt x="112" y="199"/>
                    </a:lnTo>
                    <a:lnTo>
                      <a:pt x="122" y="202"/>
                    </a:lnTo>
                    <a:lnTo>
                      <a:pt x="130" y="203"/>
                    </a:lnTo>
                    <a:lnTo>
                      <a:pt x="139" y="204"/>
                    </a:lnTo>
                    <a:lnTo>
                      <a:pt x="142" y="203"/>
                    </a:lnTo>
                    <a:lnTo>
                      <a:pt x="146" y="201"/>
                    </a:lnTo>
                    <a:lnTo>
                      <a:pt x="148" y="198"/>
                    </a:lnTo>
                    <a:lnTo>
                      <a:pt x="151" y="194"/>
                    </a:lnTo>
                    <a:lnTo>
                      <a:pt x="156" y="183"/>
                    </a:lnTo>
                    <a:lnTo>
                      <a:pt x="160" y="172"/>
                    </a:lnTo>
                    <a:lnTo>
                      <a:pt x="165" y="160"/>
                    </a:lnTo>
                    <a:lnTo>
                      <a:pt x="172" y="149"/>
                    </a:lnTo>
                    <a:lnTo>
                      <a:pt x="176" y="145"/>
                    </a:lnTo>
                    <a:lnTo>
                      <a:pt x="181" y="141"/>
                    </a:lnTo>
                    <a:lnTo>
                      <a:pt x="186" y="138"/>
                    </a:lnTo>
                    <a:lnTo>
                      <a:pt x="192" y="136"/>
                    </a:lnTo>
                    <a:lnTo>
                      <a:pt x="201" y="137"/>
                    </a:lnTo>
                    <a:lnTo>
                      <a:pt x="209" y="138"/>
                    </a:lnTo>
                    <a:lnTo>
                      <a:pt x="215" y="140"/>
                    </a:lnTo>
                    <a:lnTo>
                      <a:pt x="220" y="142"/>
                    </a:lnTo>
                    <a:lnTo>
                      <a:pt x="225" y="145"/>
                    </a:lnTo>
                    <a:lnTo>
                      <a:pt x="228" y="148"/>
                    </a:lnTo>
                    <a:lnTo>
                      <a:pt x="230" y="151"/>
                    </a:lnTo>
                    <a:lnTo>
                      <a:pt x="231" y="154"/>
                    </a:lnTo>
                    <a:lnTo>
                      <a:pt x="234" y="160"/>
                    </a:lnTo>
                    <a:lnTo>
                      <a:pt x="234" y="164"/>
                    </a:lnTo>
                    <a:lnTo>
                      <a:pt x="232" y="167"/>
                    </a:lnTo>
                    <a:lnTo>
                      <a:pt x="231" y="167"/>
                    </a:lnTo>
                    <a:lnTo>
                      <a:pt x="232" y="160"/>
                    </a:lnTo>
                    <a:lnTo>
                      <a:pt x="234" y="153"/>
                    </a:lnTo>
                    <a:lnTo>
                      <a:pt x="236" y="147"/>
                    </a:lnTo>
                    <a:lnTo>
                      <a:pt x="238" y="140"/>
                    </a:lnTo>
                    <a:lnTo>
                      <a:pt x="243" y="127"/>
                    </a:lnTo>
                    <a:lnTo>
                      <a:pt x="245" y="117"/>
                    </a:lnTo>
                    <a:lnTo>
                      <a:pt x="250" y="117"/>
                    </a:lnTo>
                    <a:lnTo>
                      <a:pt x="254" y="115"/>
                    </a:lnTo>
                    <a:lnTo>
                      <a:pt x="260" y="113"/>
                    </a:lnTo>
                    <a:lnTo>
                      <a:pt x="264" y="110"/>
                    </a:lnTo>
                    <a:lnTo>
                      <a:pt x="272" y="104"/>
                    </a:lnTo>
                    <a:lnTo>
                      <a:pt x="279" y="99"/>
                    </a:lnTo>
                    <a:lnTo>
                      <a:pt x="265" y="87"/>
                    </a:lnTo>
                    <a:lnTo>
                      <a:pt x="252" y="75"/>
                    </a:lnTo>
                    <a:lnTo>
                      <a:pt x="239" y="66"/>
                    </a:lnTo>
                    <a:lnTo>
                      <a:pt x="227" y="58"/>
                    </a:lnTo>
                    <a:lnTo>
                      <a:pt x="215" y="51"/>
                    </a:lnTo>
                    <a:lnTo>
                      <a:pt x="204" y="44"/>
                    </a:lnTo>
                    <a:lnTo>
                      <a:pt x="194" y="38"/>
                    </a:lnTo>
                    <a:lnTo>
                      <a:pt x="185" y="31"/>
                    </a:lnTo>
                    <a:lnTo>
                      <a:pt x="172" y="31"/>
                    </a:lnTo>
                    <a:lnTo>
                      <a:pt x="146" y="68"/>
                    </a:lnTo>
                    <a:lnTo>
                      <a:pt x="112" y="50"/>
                    </a:lnTo>
                    <a:lnTo>
                      <a:pt x="79" y="25"/>
                    </a:lnTo>
                    <a:lnTo>
                      <a:pt x="33" y="0"/>
                    </a:lnTo>
                    <a:lnTo>
                      <a:pt x="52" y="12"/>
                    </a:lnTo>
                    <a:lnTo>
                      <a:pt x="72" y="74"/>
                    </a:lnTo>
                    <a:lnTo>
                      <a:pt x="46" y="62"/>
                    </a:lnTo>
                    <a:lnTo>
                      <a:pt x="19" y="50"/>
                    </a:lnTo>
                    <a:lnTo>
                      <a:pt x="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0" name="Freeform 443"/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10506343" y="2376060"/>
                <a:ext cx="209550" cy="150812"/>
              </a:xfrm>
              <a:custGeom>
                <a:avLst/>
                <a:gdLst>
                  <a:gd name="T0" fmla="*/ 2147483647 w 485"/>
                  <a:gd name="T1" fmla="*/ 2147483647 h 291"/>
                  <a:gd name="T2" fmla="*/ 2147483647 w 485"/>
                  <a:gd name="T3" fmla="*/ 2147483647 h 291"/>
                  <a:gd name="T4" fmla="*/ 2147483647 w 485"/>
                  <a:gd name="T5" fmla="*/ 2147483647 h 291"/>
                  <a:gd name="T6" fmla="*/ 2147483647 w 485"/>
                  <a:gd name="T7" fmla="*/ 2147483647 h 291"/>
                  <a:gd name="T8" fmla="*/ 2147483647 w 485"/>
                  <a:gd name="T9" fmla="*/ 2147483647 h 291"/>
                  <a:gd name="T10" fmla="*/ 2147483647 w 485"/>
                  <a:gd name="T11" fmla="*/ 2147483647 h 291"/>
                  <a:gd name="T12" fmla="*/ 2147483647 w 485"/>
                  <a:gd name="T13" fmla="*/ 2147483647 h 291"/>
                  <a:gd name="T14" fmla="*/ 2147483647 w 485"/>
                  <a:gd name="T15" fmla="*/ 2147483647 h 291"/>
                  <a:gd name="T16" fmla="*/ 2147483647 w 485"/>
                  <a:gd name="T17" fmla="*/ 2147483647 h 291"/>
                  <a:gd name="T18" fmla="*/ 2147483647 w 485"/>
                  <a:gd name="T19" fmla="*/ 2147483647 h 291"/>
                  <a:gd name="T20" fmla="*/ 2147483647 w 485"/>
                  <a:gd name="T21" fmla="*/ 2147483647 h 291"/>
                  <a:gd name="T22" fmla="*/ 2147483647 w 485"/>
                  <a:gd name="T23" fmla="*/ 2147483647 h 291"/>
                  <a:gd name="T24" fmla="*/ 1209856584 w 485"/>
                  <a:gd name="T25" fmla="*/ 2147483647 h 291"/>
                  <a:gd name="T26" fmla="*/ 645157355 w 485"/>
                  <a:gd name="T27" fmla="*/ 2147483647 h 291"/>
                  <a:gd name="T28" fmla="*/ 241933900 w 485"/>
                  <a:gd name="T29" fmla="*/ 2147483647 h 291"/>
                  <a:gd name="T30" fmla="*/ 0 w 485"/>
                  <a:gd name="T31" fmla="*/ 2147483647 h 291"/>
                  <a:gd name="T32" fmla="*/ 403223455 w 485"/>
                  <a:gd name="T33" fmla="*/ 2147483647 h 291"/>
                  <a:gd name="T34" fmla="*/ 1129211806 w 485"/>
                  <a:gd name="T35" fmla="*/ 2147483647 h 291"/>
                  <a:gd name="T36" fmla="*/ 1855013939 w 485"/>
                  <a:gd name="T37" fmla="*/ 2147483647 h 291"/>
                  <a:gd name="T38" fmla="*/ 2147483647 w 485"/>
                  <a:gd name="T39" fmla="*/ 2147483647 h 291"/>
                  <a:gd name="T40" fmla="*/ 2147483647 w 485"/>
                  <a:gd name="T41" fmla="*/ 2147483647 h 291"/>
                  <a:gd name="T42" fmla="*/ 2147483647 w 485"/>
                  <a:gd name="T43" fmla="*/ 2147483647 h 291"/>
                  <a:gd name="T44" fmla="*/ 2147483647 w 485"/>
                  <a:gd name="T45" fmla="*/ 2147483647 h 291"/>
                  <a:gd name="T46" fmla="*/ 2147483647 w 485"/>
                  <a:gd name="T47" fmla="*/ 2147483647 h 291"/>
                  <a:gd name="T48" fmla="*/ 2147483647 w 485"/>
                  <a:gd name="T49" fmla="*/ 2147483647 h 291"/>
                  <a:gd name="T50" fmla="*/ 2147483647 w 485"/>
                  <a:gd name="T51" fmla="*/ 2147483647 h 291"/>
                  <a:gd name="T52" fmla="*/ 2147483647 w 485"/>
                  <a:gd name="T53" fmla="*/ 2147483647 h 291"/>
                  <a:gd name="T54" fmla="*/ 2147483647 w 485"/>
                  <a:gd name="T55" fmla="*/ 2147483647 h 291"/>
                  <a:gd name="T56" fmla="*/ 2147483647 w 485"/>
                  <a:gd name="T57" fmla="*/ 2147483647 h 291"/>
                  <a:gd name="T58" fmla="*/ 2147483647 w 485"/>
                  <a:gd name="T59" fmla="*/ 2147483647 h 291"/>
                  <a:gd name="T60" fmla="*/ 2147483647 w 485"/>
                  <a:gd name="T61" fmla="*/ 2147483647 h 291"/>
                  <a:gd name="T62" fmla="*/ 2147483647 w 485"/>
                  <a:gd name="T63" fmla="*/ 2147483647 h 291"/>
                  <a:gd name="T64" fmla="*/ 2147483647 w 485"/>
                  <a:gd name="T65" fmla="*/ 2147483647 h 291"/>
                  <a:gd name="T66" fmla="*/ 2147483647 w 485"/>
                  <a:gd name="T67" fmla="*/ 2147483647 h 291"/>
                  <a:gd name="T68" fmla="*/ 2147483647 w 485"/>
                  <a:gd name="T69" fmla="*/ 2147483647 h 291"/>
                  <a:gd name="T70" fmla="*/ 2147483647 w 485"/>
                  <a:gd name="T71" fmla="*/ 2147483647 h 291"/>
                  <a:gd name="T72" fmla="*/ 2147483647 w 485"/>
                  <a:gd name="T73" fmla="*/ 2147483647 h 291"/>
                  <a:gd name="T74" fmla="*/ 2147483647 w 485"/>
                  <a:gd name="T75" fmla="*/ 0 h 29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1" name="Freeform 444"/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10363468" y="2707847"/>
                <a:ext cx="82550" cy="87313"/>
              </a:xfrm>
              <a:custGeom>
                <a:avLst/>
                <a:gdLst>
                  <a:gd name="T0" fmla="*/ 2147483647 w 186"/>
                  <a:gd name="T1" fmla="*/ 2147483647 h 166"/>
                  <a:gd name="T2" fmla="*/ 2147483647 w 186"/>
                  <a:gd name="T3" fmla="*/ 2147483647 h 166"/>
                  <a:gd name="T4" fmla="*/ 2147483647 w 186"/>
                  <a:gd name="T5" fmla="*/ 2147483647 h 166"/>
                  <a:gd name="T6" fmla="*/ 2147483647 w 186"/>
                  <a:gd name="T7" fmla="*/ 2147483647 h 166"/>
                  <a:gd name="T8" fmla="*/ 2147483647 w 186"/>
                  <a:gd name="T9" fmla="*/ 2147483647 h 166"/>
                  <a:gd name="T10" fmla="*/ 2147483647 w 186"/>
                  <a:gd name="T11" fmla="*/ 2147483647 h 166"/>
                  <a:gd name="T12" fmla="*/ 2147483647 w 186"/>
                  <a:gd name="T13" fmla="*/ 2147483647 h 166"/>
                  <a:gd name="T14" fmla="*/ 2147483647 w 186"/>
                  <a:gd name="T15" fmla="*/ 2147483647 h 166"/>
                  <a:gd name="T16" fmla="*/ 2147483647 w 186"/>
                  <a:gd name="T17" fmla="*/ 2147483647 h 166"/>
                  <a:gd name="T18" fmla="*/ 1136538192 w 186"/>
                  <a:gd name="T19" fmla="*/ 2147483647 h 166"/>
                  <a:gd name="T20" fmla="*/ 0 w 186"/>
                  <a:gd name="T21" fmla="*/ 2147483647 h 166"/>
                  <a:gd name="T22" fmla="*/ 0 w 186"/>
                  <a:gd name="T23" fmla="*/ 0 h 166"/>
                  <a:gd name="T24" fmla="*/ 611997296 w 186"/>
                  <a:gd name="T25" fmla="*/ 291043158 h 166"/>
                  <a:gd name="T26" fmla="*/ 1223797537 w 186"/>
                  <a:gd name="T27" fmla="*/ 436564474 h 166"/>
                  <a:gd name="T28" fmla="*/ 1748338877 w 186"/>
                  <a:gd name="T29" fmla="*/ 582086316 h 166"/>
                  <a:gd name="T30" fmla="*/ 2147483647 w 186"/>
                  <a:gd name="T31" fmla="*/ 582086316 h 166"/>
                  <a:gd name="T32" fmla="*/ 2147483647 w 186"/>
                  <a:gd name="T33" fmla="*/ 582086316 h 166"/>
                  <a:gd name="T34" fmla="*/ 2147483647 w 186"/>
                  <a:gd name="T35" fmla="*/ 436564474 h 166"/>
                  <a:gd name="T36" fmla="*/ 2147483647 w 186"/>
                  <a:gd name="T37" fmla="*/ 291043158 h 166"/>
                  <a:gd name="T38" fmla="*/ 2147483647 w 186"/>
                  <a:gd name="T39" fmla="*/ 0 h 166"/>
                  <a:gd name="T40" fmla="*/ 2147483647 w 186"/>
                  <a:gd name="T41" fmla="*/ 1746258948 h 166"/>
                  <a:gd name="T42" fmla="*/ 2147483647 w 186"/>
                  <a:gd name="T43" fmla="*/ 2147483647 h 166"/>
                  <a:gd name="T44" fmla="*/ 2147483647 w 186"/>
                  <a:gd name="T45" fmla="*/ 2147483647 h 166"/>
                  <a:gd name="T46" fmla="*/ 2147483647 w 186"/>
                  <a:gd name="T47" fmla="*/ 2147483647 h 166"/>
                  <a:gd name="T48" fmla="*/ 2147483647 w 186"/>
                  <a:gd name="T49" fmla="*/ 2147483647 h 166"/>
                  <a:gd name="T50" fmla="*/ 2147483647 w 186"/>
                  <a:gd name="T51" fmla="*/ 2147483647 h 166"/>
                  <a:gd name="T52" fmla="*/ 2147483647 w 186"/>
                  <a:gd name="T53" fmla="*/ 2147483647 h 166"/>
                  <a:gd name="T54" fmla="*/ 2147483647 w 186"/>
                  <a:gd name="T55" fmla="*/ 2147483647 h 166"/>
                  <a:gd name="T56" fmla="*/ 2147483647 w 186"/>
                  <a:gd name="T57" fmla="*/ 2147483647 h 166"/>
                  <a:gd name="T58" fmla="*/ 2147483647 w 186"/>
                  <a:gd name="T59" fmla="*/ 2147483647 h 166"/>
                  <a:gd name="T60" fmla="*/ 2147483647 w 186"/>
                  <a:gd name="T61" fmla="*/ 2147483647 h 1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2" name="Freeform 446"/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10522218" y="2742772"/>
                <a:ext cx="133350" cy="96838"/>
              </a:xfrm>
              <a:custGeom>
                <a:avLst/>
                <a:gdLst>
                  <a:gd name="T0" fmla="*/ 2147483647 w 311"/>
                  <a:gd name="T1" fmla="*/ 2147483647 h 179"/>
                  <a:gd name="T2" fmla="*/ 2147483647 w 311"/>
                  <a:gd name="T3" fmla="*/ 2147483647 h 179"/>
                  <a:gd name="T4" fmla="*/ 2147483647 w 311"/>
                  <a:gd name="T5" fmla="*/ 2147483647 h 179"/>
                  <a:gd name="T6" fmla="*/ 2147483647 w 311"/>
                  <a:gd name="T7" fmla="*/ 633348652 h 179"/>
                  <a:gd name="T8" fmla="*/ 2147483647 w 311"/>
                  <a:gd name="T9" fmla="*/ 0 h 179"/>
                  <a:gd name="T10" fmla="*/ 2147483647 w 311"/>
                  <a:gd name="T11" fmla="*/ 316674326 h 179"/>
                  <a:gd name="T12" fmla="*/ 2147483647 w 311"/>
                  <a:gd name="T13" fmla="*/ 950022978 h 179"/>
                  <a:gd name="T14" fmla="*/ 2147483647 w 311"/>
                  <a:gd name="T15" fmla="*/ 1900045955 h 179"/>
                  <a:gd name="T16" fmla="*/ 2147483647 w 311"/>
                  <a:gd name="T17" fmla="*/ 2147483647 h 179"/>
                  <a:gd name="T18" fmla="*/ 2147483647 w 311"/>
                  <a:gd name="T19" fmla="*/ 2147483647 h 179"/>
                  <a:gd name="T20" fmla="*/ 2147483647 w 311"/>
                  <a:gd name="T21" fmla="*/ 2147483647 h 179"/>
                  <a:gd name="T22" fmla="*/ 2147483647 w 311"/>
                  <a:gd name="T23" fmla="*/ 2147483647 h 179"/>
                  <a:gd name="T24" fmla="*/ 2147483647 w 311"/>
                  <a:gd name="T25" fmla="*/ 2147483647 h 179"/>
                  <a:gd name="T26" fmla="*/ 2147483647 w 311"/>
                  <a:gd name="T27" fmla="*/ 2147483647 h 179"/>
                  <a:gd name="T28" fmla="*/ 2147483647 w 311"/>
                  <a:gd name="T29" fmla="*/ 2147483647 h 179"/>
                  <a:gd name="T30" fmla="*/ 2147483647 w 311"/>
                  <a:gd name="T31" fmla="*/ 2147483647 h 179"/>
                  <a:gd name="T32" fmla="*/ 2147483647 w 311"/>
                  <a:gd name="T33" fmla="*/ 2147483647 h 179"/>
                  <a:gd name="T34" fmla="*/ 2147483647 w 311"/>
                  <a:gd name="T35" fmla="*/ 2147483647 h 179"/>
                  <a:gd name="T36" fmla="*/ 2147483647 w 311"/>
                  <a:gd name="T37" fmla="*/ 2147483647 h 179"/>
                  <a:gd name="T38" fmla="*/ 2147483647 w 311"/>
                  <a:gd name="T39" fmla="*/ 2147483647 h 179"/>
                  <a:gd name="T40" fmla="*/ 2147483647 w 311"/>
                  <a:gd name="T41" fmla="*/ 2147483647 h 179"/>
                  <a:gd name="T42" fmla="*/ 2147483647 w 311"/>
                  <a:gd name="T43" fmla="*/ 2147483647 h 179"/>
                  <a:gd name="T44" fmla="*/ 2147483647 w 311"/>
                  <a:gd name="T45" fmla="*/ 2147483647 h 179"/>
                  <a:gd name="T46" fmla="*/ 2147483647 w 311"/>
                  <a:gd name="T47" fmla="*/ 2147483647 h 179"/>
                  <a:gd name="T48" fmla="*/ 2147483647 w 311"/>
                  <a:gd name="T49" fmla="*/ 2147483647 h 179"/>
                  <a:gd name="T50" fmla="*/ 2147483647 w 311"/>
                  <a:gd name="T51" fmla="*/ 2147483647 h 179"/>
                  <a:gd name="T52" fmla="*/ 2147483647 w 311"/>
                  <a:gd name="T53" fmla="*/ 2147483647 h 179"/>
                  <a:gd name="T54" fmla="*/ 2147483647 w 311"/>
                  <a:gd name="T55" fmla="*/ 2147483647 h 179"/>
                  <a:gd name="T56" fmla="*/ 2147483647 w 311"/>
                  <a:gd name="T57" fmla="*/ 2147483647 h 179"/>
                  <a:gd name="T58" fmla="*/ 2147483647 w 311"/>
                  <a:gd name="T59" fmla="*/ 2147483647 h 179"/>
                  <a:gd name="T60" fmla="*/ 2147483647 w 311"/>
                  <a:gd name="T61" fmla="*/ 2147483647 h 179"/>
                  <a:gd name="T62" fmla="*/ 2147483647 w 311"/>
                  <a:gd name="T63" fmla="*/ 2147483647 h 179"/>
                  <a:gd name="T64" fmla="*/ 2147483647 w 311"/>
                  <a:gd name="T65" fmla="*/ 2147483647 h 179"/>
                  <a:gd name="T66" fmla="*/ 1655391464 w 311"/>
                  <a:gd name="T67" fmla="*/ 2147483647 h 179"/>
                  <a:gd name="T68" fmla="*/ 1024783602 w 311"/>
                  <a:gd name="T69" fmla="*/ 2147483647 h 179"/>
                  <a:gd name="T70" fmla="*/ 551735839 w 311"/>
                  <a:gd name="T71" fmla="*/ 2147483647 h 179"/>
                  <a:gd name="T72" fmla="*/ 236432123 w 311"/>
                  <a:gd name="T73" fmla="*/ 2147483647 h 179"/>
                  <a:gd name="T74" fmla="*/ 0 w 311"/>
                  <a:gd name="T75" fmla="*/ 2147483647 h 179"/>
                  <a:gd name="T76" fmla="*/ 0 w 311"/>
                  <a:gd name="T77" fmla="*/ 2147483647 h 179"/>
                  <a:gd name="T78" fmla="*/ 236432123 w 311"/>
                  <a:gd name="T79" fmla="*/ 2147483647 h 179"/>
                  <a:gd name="T80" fmla="*/ 1024783602 w 311"/>
                  <a:gd name="T81" fmla="*/ 2147483647 h 179"/>
                  <a:gd name="T82" fmla="*/ 1655391464 w 311"/>
                  <a:gd name="T83" fmla="*/ 2147483647 h 179"/>
                  <a:gd name="T84" fmla="*/ 1970695609 w 311"/>
                  <a:gd name="T85" fmla="*/ 2147483647 h 179"/>
                  <a:gd name="T86" fmla="*/ 2049567632 w 311"/>
                  <a:gd name="T87" fmla="*/ 2147483647 h 179"/>
                  <a:gd name="T88" fmla="*/ 1892007532 w 311"/>
                  <a:gd name="T89" fmla="*/ 2147483647 h 179"/>
                  <a:gd name="T90" fmla="*/ 1497831364 w 311"/>
                  <a:gd name="T91" fmla="*/ 2147483647 h 179"/>
                  <a:gd name="T92" fmla="*/ 630607862 w 311"/>
                  <a:gd name="T93" fmla="*/ 2147483647 h 179"/>
                  <a:gd name="T94" fmla="*/ 78872023 w 311"/>
                  <a:gd name="T95" fmla="*/ 2147483647 h 179"/>
                  <a:gd name="T96" fmla="*/ 78872023 w 311"/>
                  <a:gd name="T97" fmla="*/ 2058383118 h 179"/>
                  <a:gd name="T98" fmla="*/ 473047762 w 311"/>
                  <a:gd name="T99" fmla="*/ 950022978 h 179"/>
                  <a:gd name="T100" fmla="*/ 0 w 311"/>
                  <a:gd name="T101" fmla="*/ 950022978 h 1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3" name="Freeform 447"/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9877693" y="3669872"/>
                <a:ext cx="177800" cy="165100"/>
              </a:xfrm>
              <a:custGeom>
                <a:avLst/>
                <a:gdLst>
                  <a:gd name="T0" fmla="*/ 507655877 w 405"/>
                  <a:gd name="T1" fmla="*/ 2147483647 h 314"/>
                  <a:gd name="T2" fmla="*/ 1099920408 w 405"/>
                  <a:gd name="T3" fmla="*/ 2147483647 h 314"/>
                  <a:gd name="T4" fmla="*/ 1438357660 w 405"/>
                  <a:gd name="T5" fmla="*/ 2147483647 h 314"/>
                  <a:gd name="T6" fmla="*/ 1946013537 w 405"/>
                  <a:gd name="T7" fmla="*/ 2147483647 h 314"/>
                  <a:gd name="T8" fmla="*/ 2147483647 w 405"/>
                  <a:gd name="T9" fmla="*/ 2147483647 h 314"/>
                  <a:gd name="T10" fmla="*/ 2147483647 w 405"/>
                  <a:gd name="T11" fmla="*/ 2147483647 h 314"/>
                  <a:gd name="T12" fmla="*/ 2147483647 w 405"/>
                  <a:gd name="T13" fmla="*/ 2147483647 h 314"/>
                  <a:gd name="T14" fmla="*/ 2147483647 w 405"/>
                  <a:gd name="T15" fmla="*/ 2147483647 h 314"/>
                  <a:gd name="T16" fmla="*/ 2147483647 w 405"/>
                  <a:gd name="T17" fmla="*/ 2147483647 h 314"/>
                  <a:gd name="T18" fmla="*/ 2147483647 w 405"/>
                  <a:gd name="T19" fmla="*/ 2147483647 h 314"/>
                  <a:gd name="T20" fmla="*/ 2147483647 w 405"/>
                  <a:gd name="T21" fmla="*/ 2147483647 h 314"/>
                  <a:gd name="T22" fmla="*/ 2147483647 w 405"/>
                  <a:gd name="T23" fmla="*/ 2147483647 h 314"/>
                  <a:gd name="T24" fmla="*/ 2147483647 w 405"/>
                  <a:gd name="T25" fmla="*/ 2147483647 h 314"/>
                  <a:gd name="T26" fmla="*/ 2147483647 w 405"/>
                  <a:gd name="T27" fmla="*/ 2147483647 h 314"/>
                  <a:gd name="T28" fmla="*/ 2147483647 w 405"/>
                  <a:gd name="T29" fmla="*/ 2147483647 h 314"/>
                  <a:gd name="T30" fmla="*/ 2147483647 w 405"/>
                  <a:gd name="T31" fmla="*/ 2147483647 h 314"/>
                  <a:gd name="T32" fmla="*/ 2147483647 w 405"/>
                  <a:gd name="T33" fmla="*/ 2147483647 h 314"/>
                  <a:gd name="T34" fmla="*/ 2147483647 w 405"/>
                  <a:gd name="T35" fmla="*/ 2147483647 h 314"/>
                  <a:gd name="T36" fmla="*/ 2147483647 w 405"/>
                  <a:gd name="T37" fmla="*/ 1599053967 h 314"/>
                  <a:gd name="T38" fmla="*/ 2147483647 w 405"/>
                  <a:gd name="T39" fmla="*/ 581398598 h 314"/>
                  <a:gd name="T40" fmla="*/ 2147483647 w 405"/>
                  <a:gd name="T41" fmla="*/ 0 h 314"/>
                  <a:gd name="T42" fmla="*/ 2147483647 w 405"/>
                  <a:gd name="T43" fmla="*/ 2035034168 h 314"/>
                  <a:gd name="T44" fmla="*/ 2147483647 w 405"/>
                  <a:gd name="T45" fmla="*/ 2147483647 h 314"/>
                  <a:gd name="T46" fmla="*/ 2147483647 w 405"/>
                  <a:gd name="T47" fmla="*/ 2147483647 h 314"/>
                  <a:gd name="T48" fmla="*/ 2147483647 w 405"/>
                  <a:gd name="T49" fmla="*/ 2147483647 h 314"/>
                  <a:gd name="T50" fmla="*/ 2147483647 w 405"/>
                  <a:gd name="T51" fmla="*/ 2147483647 h 314"/>
                  <a:gd name="T52" fmla="*/ 2147483647 w 405"/>
                  <a:gd name="T53" fmla="*/ 2147483647 h 314"/>
                  <a:gd name="T54" fmla="*/ 2147483647 w 405"/>
                  <a:gd name="T55" fmla="*/ 2147483647 h 314"/>
                  <a:gd name="T56" fmla="*/ 2147483647 w 405"/>
                  <a:gd name="T57" fmla="*/ 2147483647 h 314"/>
                  <a:gd name="T58" fmla="*/ 2147483647 w 405"/>
                  <a:gd name="T59" fmla="*/ 2147483647 h 314"/>
                  <a:gd name="T60" fmla="*/ 2147483647 w 405"/>
                  <a:gd name="T61" fmla="*/ 2147483647 h 314"/>
                  <a:gd name="T62" fmla="*/ 2147483647 w 405"/>
                  <a:gd name="T63" fmla="*/ 2147483647 h 314"/>
                  <a:gd name="T64" fmla="*/ 2147483647 w 405"/>
                  <a:gd name="T65" fmla="*/ 2147483647 h 314"/>
                  <a:gd name="T66" fmla="*/ 2147483647 w 405"/>
                  <a:gd name="T67" fmla="*/ 2147483647 h 314"/>
                  <a:gd name="T68" fmla="*/ 2147483647 w 405"/>
                  <a:gd name="T69" fmla="*/ 2147483647 h 314"/>
                  <a:gd name="T70" fmla="*/ 2147483647 w 405"/>
                  <a:gd name="T71" fmla="*/ 2147483647 h 314"/>
                  <a:gd name="T72" fmla="*/ 2147483647 w 405"/>
                  <a:gd name="T73" fmla="*/ 2147483647 h 314"/>
                  <a:gd name="T74" fmla="*/ 2147483647 w 405"/>
                  <a:gd name="T75" fmla="*/ 2147483647 h 314"/>
                  <a:gd name="T76" fmla="*/ 2147483647 w 405"/>
                  <a:gd name="T77" fmla="*/ 2147483647 h 314"/>
                  <a:gd name="T78" fmla="*/ 2147483647 w 405"/>
                  <a:gd name="T79" fmla="*/ 2147483647 h 314"/>
                  <a:gd name="T80" fmla="*/ 2147483647 w 405"/>
                  <a:gd name="T81" fmla="*/ 2147483647 h 314"/>
                  <a:gd name="T82" fmla="*/ 2147483647 w 405"/>
                  <a:gd name="T83" fmla="*/ 2147483647 h 314"/>
                  <a:gd name="T84" fmla="*/ 2147483647 w 405"/>
                  <a:gd name="T85" fmla="*/ 2147483647 h 314"/>
                  <a:gd name="T86" fmla="*/ 2147483647 w 405"/>
                  <a:gd name="T87" fmla="*/ 2147483647 h 314"/>
                  <a:gd name="T88" fmla="*/ 2147483647 w 405"/>
                  <a:gd name="T89" fmla="*/ 2147483647 h 314"/>
                  <a:gd name="T90" fmla="*/ 2147483647 w 405"/>
                  <a:gd name="T91" fmla="*/ 2147483647 h 314"/>
                  <a:gd name="T92" fmla="*/ 2147483647 w 405"/>
                  <a:gd name="T93" fmla="*/ 2147483647 h 314"/>
                  <a:gd name="T94" fmla="*/ 2147483647 w 405"/>
                  <a:gd name="T95" fmla="*/ 2147483647 h 314"/>
                  <a:gd name="T96" fmla="*/ 2147483647 w 405"/>
                  <a:gd name="T97" fmla="*/ 2147483647 h 314"/>
                  <a:gd name="T98" fmla="*/ 2147483647 w 405"/>
                  <a:gd name="T99" fmla="*/ 2147483647 h 314"/>
                  <a:gd name="T100" fmla="*/ 2147483647 w 405"/>
                  <a:gd name="T101" fmla="*/ 2147483647 h 314"/>
                  <a:gd name="T102" fmla="*/ 2147483647 w 405"/>
                  <a:gd name="T103" fmla="*/ 2147483647 h 314"/>
                  <a:gd name="T104" fmla="*/ 0 w 405"/>
                  <a:gd name="T105" fmla="*/ 2147483647 h 31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4" name="Freeform 448"/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10225355" y="3738135"/>
                <a:ext cx="193675" cy="349250"/>
              </a:xfrm>
              <a:custGeom>
                <a:avLst/>
                <a:gdLst>
                  <a:gd name="T0" fmla="*/ 2147483647 w 453"/>
                  <a:gd name="T1" fmla="*/ 2147483647 h 661"/>
                  <a:gd name="T2" fmla="*/ 2147483647 w 453"/>
                  <a:gd name="T3" fmla="*/ 2147483647 h 661"/>
                  <a:gd name="T4" fmla="*/ 2147483647 w 453"/>
                  <a:gd name="T5" fmla="*/ 2147483647 h 661"/>
                  <a:gd name="T6" fmla="*/ 2147483647 w 453"/>
                  <a:gd name="T7" fmla="*/ 2147483647 h 661"/>
                  <a:gd name="T8" fmla="*/ 2147483647 w 453"/>
                  <a:gd name="T9" fmla="*/ 2147483647 h 661"/>
                  <a:gd name="T10" fmla="*/ 2147483647 w 453"/>
                  <a:gd name="T11" fmla="*/ 2147483647 h 661"/>
                  <a:gd name="T12" fmla="*/ 2147483647 w 453"/>
                  <a:gd name="T13" fmla="*/ 2147483647 h 661"/>
                  <a:gd name="T14" fmla="*/ 2147483647 w 453"/>
                  <a:gd name="T15" fmla="*/ 2147483647 h 661"/>
                  <a:gd name="T16" fmla="*/ 2147483647 w 453"/>
                  <a:gd name="T17" fmla="*/ 2147483647 h 661"/>
                  <a:gd name="T18" fmla="*/ 2147483647 w 453"/>
                  <a:gd name="T19" fmla="*/ 2147483647 h 661"/>
                  <a:gd name="T20" fmla="*/ 2147483647 w 453"/>
                  <a:gd name="T21" fmla="*/ 2147483647 h 661"/>
                  <a:gd name="T22" fmla="*/ 2147483647 w 453"/>
                  <a:gd name="T23" fmla="*/ 2147483647 h 661"/>
                  <a:gd name="T24" fmla="*/ 2147483647 w 453"/>
                  <a:gd name="T25" fmla="*/ 2147483647 h 661"/>
                  <a:gd name="T26" fmla="*/ 2147483647 w 453"/>
                  <a:gd name="T27" fmla="*/ 2147483647 h 661"/>
                  <a:gd name="T28" fmla="*/ 1641082239 w 453"/>
                  <a:gd name="T29" fmla="*/ 2147483647 h 661"/>
                  <a:gd name="T30" fmla="*/ 547088266 w 453"/>
                  <a:gd name="T31" fmla="*/ 2147483647 h 661"/>
                  <a:gd name="T32" fmla="*/ 78234012 w 453"/>
                  <a:gd name="T33" fmla="*/ 2147483647 h 661"/>
                  <a:gd name="T34" fmla="*/ 625139291 w 453"/>
                  <a:gd name="T35" fmla="*/ 2147483647 h 661"/>
                  <a:gd name="T36" fmla="*/ 1563031214 w 453"/>
                  <a:gd name="T37" fmla="*/ 2147483647 h 661"/>
                  <a:gd name="T38" fmla="*/ 2147483647 w 453"/>
                  <a:gd name="T39" fmla="*/ 2147483647 h 661"/>
                  <a:gd name="T40" fmla="*/ 2147483647 w 453"/>
                  <a:gd name="T41" fmla="*/ 2147483647 h 661"/>
                  <a:gd name="T42" fmla="*/ 2147483647 w 453"/>
                  <a:gd name="T43" fmla="*/ 2147483647 h 661"/>
                  <a:gd name="T44" fmla="*/ 2147483647 w 453"/>
                  <a:gd name="T45" fmla="*/ 2147483647 h 661"/>
                  <a:gd name="T46" fmla="*/ 2147483647 w 453"/>
                  <a:gd name="T47" fmla="*/ 2147483647 h 661"/>
                  <a:gd name="T48" fmla="*/ 2147483647 w 453"/>
                  <a:gd name="T49" fmla="*/ 2147483647 h 661"/>
                  <a:gd name="T50" fmla="*/ 2147483647 w 453"/>
                  <a:gd name="T51" fmla="*/ 2147483647 h 661"/>
                  <a:gd name="T52" fmla="*/ 2147483647 w 453"/>
                  <a:gd name="T53" fmla="*/ 2147483647 h 661"/>
                  <a:gd name="T54" fmla="*/ 2147483647 w 453"/>
                  <a:gd name="T55" fmla="*/ 2147483647 h 661"/>
                  <a:gd name="T56" fmla="*/ 2147483647 w 453"/>
                  <a:gd name="T57" fmla="*/ 2147483647 h 661"/>
                  <a:gd name="T58" fmla="*/ 2147483647 w 453"/>
                  <a:gd name="T59" fmla="*/ 2147483647 h 661"/>
                  <a:gd name="T60" fmla="*/ 2147483647 w 453"/>
                  <a:gd name="T61" fmla="*/ 2147483647 h 661"/>
                  <a:gd name="T62" fmla="*/ 2147483647 w 453"/>
                  <a:gd name="T63" fmla="*/ 2147483647 h 661"/>
                  <a:gd name="T64" fmla="*/ 2147483647 w 453"/>
                  <a:gd name="T65" fmla="*/ 2147483647 h 661"/>
                  <a:gd name="T66" fmla="*/ 2147483647 w 453"/>
                  <a:gd name="T67" fmla="*/ 2147483647 h 661"/>
                  <a:gd name="T68" fmla="*/ 2147483647 w 453"/>
                  <a:gd name="T69" fmla="*/ 2147483647 h 661"/>
                  <a:gd name="T70" fmla="*/ 2147483647 w 453"/>
                  <a:gd name="T71" fmla="*/ 2147483647 h 661"/>
                  <a:gd name="T72" fmla="*/ 2147483647 w 453"/>
                  <a:gd name="T73" fmla="*/ 2147483647 h 661"/>
                  <a:gd name="T74" fmla="*/ 2147483647 w 453"/>
                  <a:gd name="T75" fmla="*/ 2147483647 h 661"/>
                  <a:gd name="T76" fmla="*/ 2147483647 w 453"/>
                  <a:gd name="T77" fmla="*/ 2147483647 h 661"/>
                  <a:gd name="T78" fmla="*/ 2147483647 w 453"/>
                  <a:gd name="T79" fmla="*/ 2147483647 h 661"/>
                  <a:gd name="T80" fmla="*/ 2147483647 w 453"/>
                  <a:gd name="T81" fmla="*/ 2147483647 h 661"/>
                  <a:gd name="T82" fmla="*/ 2147483647 w 453"/>
                  <a:gd name="T83" fmla="*/ 2147483647 h 661"/>
                  <a:gd name="T84" fmla="*/ 2147483647 w 453"/>
                  <a:gd name="T85" fmla="*/ 2147483647 h 661"/>
                  <a:gd name="T86" fmla="*/ 2147483647 w 453"/>
                  <a:gd name="T87" fmla="*/ 2147483647 h 661"/>
                  <a:gd name="T88" fmla="*/ 2147483647 w 453"/>
                  <a:gd name="T89" fmla="*/ 2147483647 h 661"/>
                  <a:gd name="T90" fmla="*/ 2147483647 w 453"/>
                  <a:gd name="T91" fmla="*/ 2147483647 h 661"/>
                  <a:gd name="T92" fmla="*/ 2147483647 w 453"/>
                  <a:gd name="T93" fmla="*/ 2147483647 h 661"/>
                  <a:gd name="T94" fmla="*/ 2147483647 w 453"/>
                  <a:gd name="T95" fmla="*/ 1622540472 h 661"/>
                  <a:gd name="T96" fmla="*/ 2147483647 w 453"/>
                  <a:gd name="T97" fmla="*/ 0 h 6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5" name="Freeform 449"/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12676455" y="3496835"/>
                <a:ext cx="55563" cy="57150"/>
              </a:xfrm>
              <a:custGeom>
                <a:avLst/>
                <a:gdLst>
                  <a:gd name="T0" fmla="*/ 0 w 126"/>
                  <a:gd name="T1" fmla="*/ 2147483647 h 105"/>
                  <a:gd name="T2" fmla="*/ 343027441 w 126"/>
                  <a:gd name="T3" fmla="*/ 2147483647 h 105"/>
                  <a:gd name="T4" fmla="*/ 857568603 w 126"/>
                  <a:gd name="T5" fmla="*/ 2147483647 h 105"/>
                  <a:gd name="T6" fmla="*/ 1372109764 w 126"/>
                  <a:gd name="T7" fmla="*/ 2147483647 h 105"/>
                  <a:gd name="T8" fmla="*/ 2057970176 w 126"/>
                  <a:gd name="T9" fmla="*/ 2147483647 h 105"/>
                  <a:gd name="T10" fmla="*/ 2147483647 w 126"/>
                  <a:gd name="T11" fmla="*/ 1773630656 h 105"/>
                  <a:gd name="T12" fmla="*/ 2147483647 w 126"/>
                  <a:gd name="T13" fmla="*/ 0 h 105"/>
                  <a:gd name="T14" fmla="*/ 2147483647 w 126"/>
                  <a:gd name="T15" fmla="*/ 0 h 105"/>
                  <a:gd name="T16" fmla="*/ 2147483647 w 126"/>
                  <a:gd name="T17" fmla="*/ 644929586 h 105"/>
                  <a:gd name="T18" fmla="*/ 2147483647 w 126"/>
                  <a:gd name="T19" fmla="*/ 1289859171 h 105"/>
                  <a:gd name="T20" fmla="*/ 2147483647 w 126"/>
                  <a:gd name="T21" fmla="*/ 1934788757 h 105"/>
                  <a:gd name="T22" fmla="*/ 2147483647 w 126"/>
                  <a:gd name="T23" fmla="*/ 2147483647 h 105"/>
                  <a:gd name="T24" fmla="*/ 2147483647 w 126"/>
                  <a:gd name="T25" fmla="*/ 2147483647 h 105"/>
                  <a:gd name="T26" fmla="*/ 2147483647 w 126"/>
                  <a:gd name="T27" fmla="*/ 2147483647 h 105"/>
                  <a:gd name="T28" fmla="*/ 2147483647 w 126"/>
                  <a:gd name="T29" fmla="*/ 2147483647 h 105"/>
                  <a:gd name="T30" fmla="*/ 2147483647 w 126"/>
                  <a:gd name="T31" fmla="*/ 2147483647 h 105"/>
                  <a:gd name="T32" fmla="*/ 2147483647 w 126"/>
                  <a:gd name="T33" fmla="*/ 2147483647 h 105"/>
                  <a:gd name="T34" fmla="*/ 2147483647 w 126"/>
                  <a:gd name="T35" fmla="*/ 2147483647 h 105"/>
                  <a:gd name="T36" fmla="*/ 2147483647 w 126"/>
                  <a:gd name="T37" fmla="*/ 2147483647 h 105"/>
                  <a:gd name="T38" fmla="*/ 2147483647 w 126"/>
                  <a:gd name="T39" fmla="*/ 2147483647 h 105"/>
                  <a:gd name="T40" fmla="*/ 2147483647 w 126"/>
                  <a:gd name="T41" fmla="*/ 2147483647 h 105"/>
                  <a:gd name="T42" fmla="*/ 2147483647 w 126"/>
                  <a:gd name="T43" fmla="*/ 2147483647 h 105"/>
                  <a:gd name="T44" fmla="*/ 2147483647 w 126"/>
                  <a:gd name="T45" fmla="*/ 2147483647 h 105"/>
                  <a:gd name="T46" fmla="*/ 2147483647 w 126"/>
                  <a:gd name="T47" fmla="*/ 2147483647 h 105"/>
                  <a:gd name="T48" fmla="*/ 2147483647 w 126"/>
                  <a:gd name="T49" fmla="*/ 2147483647 h 105"/>
                  <a:gd name="T50" fmla="*/ 2147483647 w 126"/>
                  <a:gd name="T51" fmla="*/ 2147483647 h 105"/>
                  <a:gd name="T52" fmla="*/ 2147483647 w 126"/>
                  <a:gd name="T53" fmla="*/ 2147483647 h 105"/>
                  <a:gd name="T54" fmla="*/ 2147483647 w 126"/>
                  <a:gd name="T55" fmla="*/ 2147483647 h 105"/>
                  <a:gd name="T56" fmla="*/ 2147483647 w 126"/>
                  <a:gd name="T57" fmla="*/ 2147483647 h 105"/>
                  <a:gd name="T58" fmla="*/ 2147483647 w 126"/>
                  <a:gd name="T59" fmla="*/ 2147483647 h 105"/>
                  <a:gd name="T60" fmla="*/ 2147483647 w 126"/>
                  <a:gd name="T61" fmla="*/ 2147483647 h 105"/>
                  <a:gd name="T62" fmla="*/ 2147483647 w 126"/>
                  <a:gd name="T63" fmla="*/ 2147483647 h 105"/>
                  <a:gd name="T64" fmla="*/ 2147483647 w 126"/>
                  <a:gd name="T65" fmla="*/ 2147483647 h 105"/>
                  <a:gd name="T66" fmla="*/ 2057970176 w 126"/>
                  <a:gd name="T67" fmla="*/ 2147483647 h 105"/>
                  <a:gd name="T68" fmla="*/ 1715137205 w 126"/>
                  <a:gd name="T69" fmla="*/ 2147483647 h 105"/>
                  <a:gd name="T70" fmla="*/ 1372109764 w 126"/>
                  <a:gd name="T71" fmla="*/ 2147483647 h 105"/>
                  <a:gd name="T72" fmla="*/ 1200596044 w 126"/>
                  <a:gd name="T73" fmla="*/ 2147483647 h 105"/>
                  <a:gd name="T74" fmla="*/ 1114839404 w 126"/>
                  <a:gd name="T75" fmla="*/ 2147483647 h 105"/>
                  <a:gd name="T76" fmla="*/ 0 w 126"/>
                  <a:gd name="T77" fmla="*/ 2147483647 h 10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6" name="Freeform 451"/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10284093" y="4028647"/>
                <a:ext cx="187325" cy="274638"/>
              </a:xfrm>
              <a:custGeom>
                <a:avLst/>
                <a:gdLst>
                  <a:gd name="T0" fmla="*/ 2147483647 w 429"/>
                  <a:gd name="T1" fmla="*/ 2147483647 h 524"/>
                  <a:gd name="T2" fmla="*/ 2147483647 w 429"/>
                  <a:gd name="T3" fmla="*/ 2147483647 h 524"/>
                  <a:gd name="T4" fmla="*/ 2147483647 w 429"/>
                  <a:gd name="T5" fmla="*/ 2147483647 h 524"/>
                  <a:gd name="T6" fmla="*/ 2147483647 w 429"/>
                  <a:gd name="T7" fmla="*/ 2147483647 h 524"/>
                  <a:gd name="T8" fmla="*/ 2147483647 w 429"/>
                  <a:gd name="T9" fmla="*/ 2147483647 h 524"/>
                  <a:gd name="T10" fmla="*/ 2147483647 w 429"/>
                  <a:gd name="T11" fmla="*/ 2147483647 h 524"/>
                  <a:gd name="T12" fmla="*/ 2147483647 w 429"/>
                  <a:gd name="T13" fmla="*/ 2147483647 h 524"/>
                  <a:gd name="T14" fmla="*/ 2147483647 w 429"/>
                  <a:gd name="T15" fmla="*/ 2147483647 h 524"/>
                  <a:gd name="T16" fmla="*/ 2147483647 w 429"/>
                  <a:gd name="T17" fmla="*/ 2147483647 h 524"/>
                  <a:gd name="T18" fmla="*/ 2147483647 w 429"/>
                  <a:gd name="T19" fmla="*/ 2147483647 h 524"/>
                  <a:gd name="T20" fmla="*/ 2147483647 w 429"/>
                  <a:gd name="T21" fmla="*/ 2147483647 h 524"/>
                  <a:gd name="T22" fmla="*/ 2147483647 w 429"/>
                  <a:gd name="T23" fmla="*/ 2147483647 h 524"/>
                  <a:gd name="T24" fmla="*/ 2147483647 w 429"/>
                  <a:gd name="T25" fmla="*/ 2147483647 h 524"/>
                  <a:gd name="T26" fmla="*/ 2147483647 w 429"/>
                  <a:gd name="T27" fmla="*/ 2147483647 h 524"/>
                  <a:gd name="T28" fmla="*/ 2147483647 w 429"/>
                  <a:gd name="T29" fmla="*/ 2147483647 h 524"/>
                  <a:gd name="T30" fmla="*/ 2147483647 w 429"/>
                  <a:gd name="T31" fmla="*/ 2147483647 h 524"/>
                  <a:gd name="T32" fmla="*/ 2147483647 w 429"/>
                  <a:gd name="T33" fmla="*/ 2147483647 h 524"/>
                  <a:gd name="T34" fmla="*/ 2147483647 w 429"/>
                  <a:gd name="T35" fmla="*/ 2147483647 h 524"/>
                  <a:gd name="T36" fmla="*/ 2147483647 w 429"/>
                  <a:gd name="T37" fmla="*/ 2147483647 h 524"/>
                  <a:gd name="T38" fmla="*/ 2147483647 w 429"/>
                  <a:gd name="T39" fmla="*/ 2147483647 h 524"/>
                  <a:gd name="T40" fmla="*/ 2147483647 w 429"/>
                  <a:gd name="T41" fmla="*/ 2147483647 h 524"/>
                  <a:gd name="T42" fmla="*/ 2147483647 w 429"/>
                  <a:gd name="T43" fmla="*/ 2147483647 h 524"/>
                  <a:gd name="T44" fmla="*/ 2147483647 w 429"/>
                  <a:gd name="T45" fmla="*/ 2147483647 h 524"/>
                  <a:gd name="T46" fmla="*/ 2147483647 w 429"/>
                  <a:gd name="T47" fmla="*/ 2147483647 h 524"/>
                  <a:gd name="T48" fmla="*/ 2147483647 w 429"/>
                  <a:gd name="T49" fmla="*/ 2147483647 h 524"/>
                  <a:gd name="T50" fmla="*/ 2147483647 w 429"/>
                  <a:gd name="T51" fmla="*/ 2147483647 h 524"/>
                  <a:gd name="T52" fmla="*/ 2147483647 w 429"/>
                  <a:gd name="T53" fmla="*/ 2147483647 h 524"/>
                  <a:gd name="T54" fmla="*/ 499549053 w 429"/>
                  <a:gd name="T55" fmla="*/ 2147483647 h 524"/>
                  <a:gd name="T56" fmla="*/ 2081327466 w 429"/>
                  <a:gd name="T57" fmla="*/ 2147483647 h 524"/>
                  <a:gd name="T58" fmla="*/ 2147483647 w 429"/>
                  <a:gd name="T59" fmla="*/ 2147483647 h 524"/>
                  <a:gd name="T60" fmla="*/ 2147483647 w 429"/>
                  <a:gd name="T61" fmla="*/ 2147483647 h 524"/>
                  <a:gd name="T62" fmla="*/ 2147483647 w 429"/>
                  <a:gd name="T63" fmla="*/ 2147483647 h 524"/>
                  <a:gd name="T64" fmla="*/ 2147483647 w 429"/>
                  <a:gd name="T65" fmla="*/ 2147483647 h 524"/>
                  <a:gd name="T66" fmla="*/ 2147483647 w 429"/>
                  <a:gd name="T67" fmla="*/ 2147483647 h 524"/>
                  <a:gd name="T68" fmla="*/ 2147483647 w 429"/>
                  <a:gd name="T69" fmla="*/ 2147483647 h 524"/>
                  <a:gd name="T70" fmla="*/ 2147483647 w 429"/>
                  <a:gd name="T71" fmla="*/ 2147483647 h 524"/>
                  <a:gd name="T72" fmla="*/ 2147483647 w 429"/>
                  <a:gd name="T73" fmla="*/ 2147483647 h 524"/>
                  <a:gd name="T74" fmla="*/ 2147483647 w 429"/>
                  <a:gd name="T75" fmla="*/ 2147483647 h 524"/>
                  <a:gd name="T76" fmla="*/ 2147483647 w 429"/>
                  <a:gd name="T77" fmla="*/ 2147483647 h 524"/>
                  <a:gd name="T78" fmla="*/ 2147483647 w 429"/>
                  <a:gd name="T79" fmla="*/ 2147483647 h 524"/>
                  <a:gd name="T80" fmla="*/ 2147483647 w 429"/>
                  <a:gd name="T81" fmla="*/ 2147483647 h 524"/>
                  <a:gd name="T82" fmla="*/ 2147483647 w 429"/>
                  <a:gd name="T83" fmla="*/ 2147483647 h 524"/>
                  <a:gd name="T84" fmla="*/ 2147483647 w 429"/>
                  <a:gd name="T85" fmla="*/ 2147483647 h 524"/>
                  <a:gd name="T86" fmla="*/ 2147483647 w 429"/>
                  <a:gd name="T87" fmla="*/ 2147483647 h 524"/>
                  <a:gd name="T88" fmla="*/ 2147483647 w 429"/>
                  <a:gd name="T89" fmla="*/ 2147483647 h 524"/>
                  <a:gd name="T90" fmla="*/ 2147483647 w 429"/>
                  <a:gd name="T91" fmla="*/ 2147483647 h 524"/>
                  <a:gd name="T92" fmla="*/ 2147483647 w 429"/>
                  <a:gd name="T93" fmla="*/ 2147483647 h 524"/>
                  <a:gd name="T94" fmla="*/ 2147483647 w 429"/>
                  <a:gd name="T95" fmla="*/ 2147483647 h 524"/>
                  <a:gd name="T96" fmla="*/ 2147483647 w 429"/>
                  <a:gd name="T97" fmla="*/ 2147483647 h 524"/>
                  <a:gd name="T98" fmla="*/ 2147483647 w 429"/>
                  <a:gd name="T99" fmla="*/ 2147483647 h 524"/>
                  <a:gd name="T100" fmla="*/ 2147483647 w 429"/>
                  <a:gd name="T101" fmla="*/ 2147483647 h 524"/>
                  <a:gd name="T102" fmla="*/ 2147483647 w 429"/>
                  <a:gd name="T103" fmla="*/ 2147483647 h 524"/>
                  <a:gd name="T104" fmla="*/ 2147483647 w 429"/>
                  <a:gd name="T105" fmla="*/ 2147483647 h 524"/>
                  <a:gd name="T106" fmla="*/ 2147483647 w 429"/>
                  <a:gd name="T107" fmla="*/ 2147483647 h 524"/>
                  <a:gd name="T108" fmla="*/ 2147483647 w 429"/>
                  <a:gd name="T109" fmla="*/ 2147483647 h 524"/>
                  <a:gd name="T110" fmla="*/ 2147483647 w 429"/>
                  <a:gd name="T111" fmla="*/ 2147483647 h 524"/>
                  <a:gd name="T112" fmla="*/ 2147483647 w 429"/>
                  <a:gd name="T113" fmla="*/ 2147483647 h 524"/>
                  <a:gd name="T114" fmla="*/ 2147483647 w 429"/>
                  <a:gd name="T115" fmla="*/ 2147483647 h 524"/>
                  <a:gd name="T116" fmla="*/ 2147483647 w 429"/>
                  <a:gd name="T117" fmla="*/ 2147483647 h 524"/>
                  <a:gd name="T118" fmla="*/ 2147483647 w 429"/>
                  <a:gd name="T119" fmla="*/ 2147483647 h 524"/>
                  <a:gd name="T120" fmla="*/ 2147483647 w 429"/>
                  <a:gd name="T121" fmla="*/ 1007874289 h 524"/>
                  <a:gd name="T122" fmla="*/ 2147483647 w 429"/>
                  <a:gd name="T123" fmla="*/ 719988675 h 524"/>
                  <a:gd name="T124" fmla="*/ 2147483647 w 429"/>
                  <a:gd name="T125" fmla="*/ 575771229 h 52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7" name="Freeform 452"/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10315843" y="2671335"/>
                <a:ext cx="127000" cy="114300"/>
              </a:xfrm>
              <a:custGeom>
                <a:avLst/>
                <a:gdLst>
                  <a:gd name="T0" fmla="*/ 2147483647 w 292"/>
                  <a:gd name="T1" fmla="*/ 2147483647 h 223"/>
                  <a:gd name="T2" fmla="*/ 2147483647 w 292"/>
                  <a:gd name="T3" fmla="*/ 2147483647 h 223"/>
                  <a:gd name="T4" fmla="*/ 2147483647 w 292"/>
                  <a:gd name="T5" fmla="*/ 2147483647 h 223"/>
                  <a:gd name="T6" fmla="*/ 2147483647 w 292"/>
                  <a:gd name="T7" fmla="*/ 2147483647 h 223"/>
                  <a:gd name="T8" fmla="*/ 2147483647 w 292"/>
                  <a:gd name="T9" fmla="*/ 2147483647 h 223"/>
                  <a:gd name="T10" fmla="*/ 2147483647 w 292"/>
                  <a:gd name="T11" fmla="*/ 2147483647 h 223"/>
                  <a:gd name="T12" fmla="*/ 2147483647 w 292"/>
                  <a:gd name="T13" fmla="*/ 2147483647 h 223"/>
                  <a:gd name="T14" fmla="*/ 2147483647 w 292"/>
                  <a:gd name="T15" fmla="*/ 2147483647 h 223"/>
                  <a:gd name="T16" fmla="*/ 2147483647 w 292"/>
                  <a:gd name="T17" fmla="*/ 2147483647 h 223"/>
                  <a:gd name="T18" fmla="*/ 2147483647 w 292"/>
                  <a:gd name="T19" fmla="*/ 2147483647 h 223"/>
                  <a:gd name="T20" fmla="*/ 2147483647 w 292"/>
                  <a:gd name="T21" fmla="*/ 2147483647 h 223"/>
                  <a:gd name="T22" fmla="*/ 2147483647 w 292"/>
                  <a:gd name="T23" fmla="*/ 2147483647 h 223"/>
                  <a:gd name="T24" fmla="*/ 2147483647 w 292"/>
                  <a:gd name="T25" fmla="*/ 2147483647 h 223"/>
                  <a:gd name="T26" fmla="*/ 2147483647 w 292"/>
                  <a:gd name="T27" fmla="*/ 2147483647 h 223"/>
                  <a:gd name="T28" fmla="*/ 2147483647 w 292"/>
                  <a:gd name="T29" fmla="*/ 2147483647 h 223"/>
                  <a:gd name="T30" fmla="*/ 2147483647 w 292"/>
                  <a:gd name="T31" fmla="*/ 2147483647 h 223"/>
                  <a:gd name="T32" fmla="*/ 2147483647 w 292"/>
                  <a:gd name="T33" fmla="*/ 2147483647 h 223"/>
                  <a:gd name="T34" fmla="*/ 2147483647 w 292"/>
                  <a:gd name="T35" fmla="*/ 2147483647 h 223"/>
                  <a:gd name="T36" fmla="*/ 2147483647 w 292"/>
                  <a:gd name="T37" fmla="*/ 2147483647 h 223"/>
                  <a:gd name="T38" fmla="*/ 2147483647 w 292"/>
                  <a:gd name="T39" fmla="*/ 2147483647 h 223"/>
                  <a:gd name="T40" fmla="*/ 2147483647 w 292"/>
                  <a:gd name="T41" fmla="*/ 2147483647 h 223"/>
                  <a:gd name="T42" fmla="*/ 2147483647 w 292"/>
                  <a:gd name="T43" fmla="*/ 2147483647 h 223"/>
                  <a:gd name="T44" fmla="*/ 2147483647 w 292"/>
                  <a:gd name="T45" fmla="*/ 2147483647 h 223"/>
                  <a:gd name="T46" fmla="*/ 1069541373 w 292"/>
                  <a:gd name="T47" fmla="*/ 2147483647 h 223"/>
                  <a:gd name="T48" fmla="*/ 329147901 w 292"/>
                  <a:gd name="T49" fmla="*/ 2147483647 h 223"/>
                  <a:gd name="T50" fmla="*/ 82286866 w 292"/>
                  <a:gd name="T51" fmla="*/ 2147483647 h 223"/>
                  <a:gd name="T52" fmla="*/ 0 w 292"/>
                  <a:gd name="T53" fmla="*/ 2147483647 h 223"/>
                  <a:gd name="T54" fmla="*/ 2147483647 w 292"/>
                  <a:gd name="T55" fmla="*/ 2147483647 h 223"/>
                  <a:gd name="T56" fmla="*/ 2147483647 w 292"/>
                  <a:gd name="T57" fmla="*/ 2147483647 h 223"/>
                  <a:gd name="T58" fmla="*/ 2147483647 w 292"/>
                  <a:gd name="T59" fmla="*/ 2147483647 h 223"/>
                  <a:gd name="T60" fmla="*/ 2147483647 w 292"/>
                  <a:gd name="T61" fmla="*/ 2147483647 h 223"/>
                  <a:gd name="T62" fmla="*/ 2147483647 w 292"/>
                  <a:gd name="T63" fmla="*/ 2147483647 h 223"/>
                  <a:gd name="T64" fmla="*/ 2147483647 w 292"/>
                  <a:gd name="T65" fmla="*/ 1211898297 h 223"/>
                  <a:gd name="T66" fmla="*/ 2147483647 w 292"/>
                  <a:gd name="T67" fmla="*/ 0 h 223"/>
                  <a:gd name="T68" fmla="*/ 2147483647 w 292"/>
                  <a:gd name="T69" fmla="*/ 1885233447 h 223"/>
                  <a:gd name="T70" fmla="*/ 2147483647 w 292"/>
                  <a:gd name="T71" fmla="*/ 2147483647 h 223"/>
                  <a:gd name="T72" fmla="*/ 2147483647 w 292"/>
                  <a:gd name="T73" fmla="*/ 2147483647 h 223"/>
                  <a:gd name="T74" fmla="*/ 2147483647 w 292"/>
                  <a:gd name="T75" fmla="*/ 2147483647 h 223"/>
                  <a:gd name="T76" fmla="*/ 2147483647 w 292"/>
                  <a:gd name="T77" fmla="*/ 2147483647 h 223"/>
                  <a:gd name="T78" fmla="*/ 2147483647 w 292"/>
                  <a:gd name="T79" fmla="*/ 2147483647 h 223"/>
                  <a:gd name="T80" fmla="*/ 2147483647 w 292"/>
                  <a:gd name="T81" fmla="*/ 2147483647 h 223"/>
                  <a:gd name="T82" fmla="*/ 2147483647 w 292"/>
                  <a:gd name="T83" fmla="*/ 2147483647 h 223"/>
                  <a:gd name="T84" fmla="*/ 2147483647 w 292"/>
                  <a:gd name="T85" fmla="*/ 2147483647 h 22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8" name="Freeform 453"/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10266630" y="2530047"/>
                <a:ext cx="168275" cy="77788"/>
              </a:xfrm>
              <a:custGeom>
                <a:avLst/>
                <a:gdLst>
                  <a:gd name="T0" fmla="*/ 2147483647 w 379"/>
                  <a:gd name="T1" fmla="*/ 2147483647 h 147"/>
                  <a:gd name="T2" fmla="*/ 2147483647 w 379"/>
                  <a:gd name="T3" fmla="*/ 2147483647 h 147"/>
                  <a:gd name="T4" fmla="*/ 2147483647 w 379"/>
                  <a:gd name="T5" fmla="*/ 2147483647 h 147"/>
                  <a:gd name="T6" fmla="*/ 2147483647 w 379"/>
                  <a:gd name="T7" fmla="*/ 2147483647 h 147"/>
                  <a:gd name="T8" fmla="*/ 2147483647 w 379"/>
                  <a:gd name="T9" fmla="*/ 2147483647 h 147"/>
                  <a:gd name="T10" fmla="*/ 2147483647 w 379"/>
                  <a:gd name="T11" fmla="*/ 2147483647 h 147"/>
                  <a:gd name="T12" fmla="*/ 2147483647 w 379"/>
                  <a:gd name="T13" fmla="*/ 2147483647 h 147"/>
                  <a:gd name="T14" fmla="*/ 2147483647 w 379"/>
                  <a:gd name="T15" fmla="*/ 2147483647 h 147"/>
                  <a:gd name="T16" fmla="*/ 2147483647 w 379"/>
                  <a:gd name="T17" fmla="*/ 2147483647 h 147"/>
                  <a:gd name="T18" fmla="*/ 2147483647 w 379"/>
                  <a:gd name="T19" fmla="*/ 2147483647 h 147"/>
                  <a:gd name="T20" fmla="*/ 2147483647 w 379"/>
                  <a:gd name="T21" fmla="*/ 2147483647 h 147"/>
                  <a:gd name="T22" fmla="*/ 2147483647 w 379"/>
                  <a:gd name="T23" fmla="*/ 2147483647 h 147"/>
                  <a:gd name="T24" fmla="*/ 2147483647 w 379"/>
                  <a:gd name="T25" fmla="*/ 2147483647 h 147"/>
                  <a:gd name="T26" fmla="*/ 2147483647 w 379"/>
                  <a:gd name="T27" fmla="*/ 2147483647 h 147"/>
                  <a:gd name="T28" fmla="*/ 2147483647 w 379"/>
                  <a:gd name="T29" fmla="*/ 2147483647 h 147"/>
                  <a:gd name="T30" fmla="*/ 2147483647 w 379"/>
                  <a:gd name="T31" fmla="*/ 2147483647 h 147"/>
                  <a:gd name="T32" fmla="*/ 2147483647 w 379"/>
                  <a:gd name="T33" fmla="*/ 2147483647 h 147"/>
                  <a:gd name="T34" fmla="*/ 2147483647 w 379"/>
                  <a:gd name="T35" fmla="*/ 2147483647 h 147"/>
                  <a:gd name="T36" fmla="*/ 2147483647 w 379"/>
                  <a:gd name="T37" fmla="*/ 2147483647 h 147"/>
                  <a:gd name="T38" fmla="*/ 2147483647 w 379"/>
                  <a:gd name="T39" fmla="*/ 2147483647 h 147"/>
                  <a:gd name="T40" fmla="*/ 2147483647 w 379"/>
                  <a:gd name="T41" fmla="*/ 2147483647 h 147"/>
                  <a:gd name="T42" fmla="*/ 2147483647 w 379"/>
                  <a:gd name="T43" fmla="*/ 2147483647 h 147"/>
                  <a:gd name="T44" fmla="*/ 2147483647 w 379"/>
                  <a:gd name="T45" fmla="*/ 2147483647 h 147"/>
                  <a:gd name="T46" fmla="*/ 1400437386 w 379"/>
                  <a:gd name="T47" fmla="*/ 2147483647 h 147"/>
                  <a:gd name="T48" fmla="*/ 0 w 379"/>
                  <a:gd name="T49" fmla="*/ 2147483647 h 147"/>
                  <a:gd name="T50" fmla="*/ 2147483647 w 379"/>
                  <a:gd name="T51" fmla="*/ 2147483647 h 147"/>
                  <a:gd name="T52" fmla="*/ 2147483647 w 379"/>
                  <a:gd name="T53" fmla="*/ 2147483647 h 147"/>
                  <a:gd name="T54" fmla="*/ 2147483647 w 379"/>
                  <a:gd name="T55" fmla="*/ 2147483647 h 147"/>
                  <a:gd name="T56" fmla="*/ 2147483647 w 379"/>
                  <a:gd name="T57" fmla="*/ 2147483647 h 147"/>
                  <a:gd name="T58" fmla="*/ 2147483647 w 379"/>
                  <a:gd name="T59" fmla="*/ 1185328781 h 147"/>
                  <a:gd name="T60" fmla="*/ 2147483647 w 379"/>
                  <a:gd name="T61" fmla="*/ 296262213 h 147"/>
                  <a:gd name="T62" fmla="*/ 2147483647 w 379"/>
                  <a:gd name="T63" fmla="*/ 0 h 147"/>
                  <a:gd name="T64" fmla="*/ 2147483647 w 379"/>
                  <a:gd name="T65" fmla="*/ 2147483647 h 147"/>
                  <a:gd name="T66" fmla="*/ 2147483647 w 379"/>
                  <a:gd name="T67" fmla="*/ 2147483647 h 147"/>
                  <a:gd name="T68" fmla="*/ 2147483647 w 379"/>
                  <a:gd name="T69" fmla="*/ 2147483647 h 147"/>
                  <a:gd name="T70" fmla="*/ 2147483647 w 379"/>
                  <a:gd name="T71" fmla="*/ 2147483647 h 147"/>
                  <a:gd name="T72" fmla="*/ 2147483647 w 379"/>
                  <a:gd name="T73" fmla="*/ 2147483647 h 147"/>
                  <a:gd name="T74" fmla="*/ 2147483647 w 379"/>
                  <a:gd name="T75" fmla="*/ 2147483647 h 14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19" name="Freeform 454"/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10230118" y="2385585"/>
                <a:ext cx="30162" cy="60325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2147483647 h 67"/>
                  <a:gd name="T4" fmla="*/ 0 w 61"/>
                  <a:gd name="T5" fmla="*/ 2147483647 h 67"/>
                  <a:gd name="T6" fmla="*/ 120778043 w 61"/>
                  <a:gd name="T7" fmla="*/ 2147483647 h 67"/>
                  <a:gd name="T8" fmla="*/ 241800348 w 61"/>
                  <a:gd name="T9" fmla="*/ 2147483647 h 67"/>
                  <a:gd name="T10" fmla="*/ 362578391 w 61"/>
                  <a:gd name="T11" fmla="*/ 2147483647 h 67"/>
                  <a:gd name="T12" fmla="*/ 725401045 w 61"/>
                  <a:gd name="T13" fmla="*/ 2147483647 h 67"/>
                  <a:gd name="T14" fmla="*/ 1450802089 w 61"/>
                  <a:gd name="T15" fmla="*/ 2147483647 h 67"/>
                  <a:gd name="T16" fmla="*/ 2147483647 w 61"/>
                  <a:gd name="T17" fmla="*/ 2147483647 h 67"/>
                  <a:gd name="T18" fmla="*/ 2147483647 w 61"/>
                  <a:gd name="T19" fmla="*/ 2147483647 h 67"/>
                  <a:gd name="T20" fmla="*/ 2147483647 w 61"/>
                  <a:gd name="T21" fmla="*/ 2147483647 h 67"/>
                  <a:gd name="T22" fmla="*/ 2147483647 w 61"/>
                  <a:gd name="T23" fmla="*/ 2147483647 h 67"/>
                  <a:gd name="T24" fmla="*/ 2147483647 w 61"/>
                  <a:gd name="T25" fmla="*/ 2147483647 h 67"/>
                  <a:gd name="T26" fmla="*/ 2147483647 w 61"/>
                  <a:gd name="T27" fmla="*/ 2147483647 h 67"/>
                  <a:gd name="T28" fmla="*/ 2147483647 w 61"/>
                  <a:gd name="T29" fmla="*/ 2147483647 h 67"/>
                  <a:gd name="T30" fmla="*/ 2147483647 w 61"/>
                  <a:gd name="T31" fmla="*/ 2147483647 h 67"/>
                  <a:gd name="T32" fmla="*/ 2147483647 w 61"/>
                  <a:gd name="T33" fmla="*/ 2147483647 h 67"/>
                  <a:gd name="T34" fmla="*/ 2147483647 w 61"/>
                  <a:gd name="T35" fmla="*/ 2147483647 h 67"/>
                  <a:gd name="T36" fmla="*/ 2147483647 w 61"/>
                  <a:gd name="T37" fmla="*/ 0 h 67"/>
                  <a:gd name="T38" fmla="*/ 2147483647 w 61"/>
                  <a:gd name="T39" fmla="*/ 2147483647 h 67"/>
                  <a:gd name="T40" fmla="*/ 2147483647 w 61"/>
                  <a:gd name="T41" fmla="*/ 2147483647 h 67"/>
                  <a:gd name="T42" fmla="*/ 1571580132 w 61"/>
                  <a:gd name="T43" fmla="*/ 2147483647 h 67"/>
                  <a:gd name="T44" fmla="*/ 1209001741 w 61"/>
                  <a:gd name="T45" fmla="*/ 2147483647 h 67"/>
                  <a:gd name="T46" fmla="*/ 725401045 w 61"/>
                  <a:gd name="T47" fmla="*/ 1460019864 h 67"/>
                  <a:gd name="T48" fmla="*/ 0 w 61"/>
                  <a:gd name="T49" fmla="*/ 0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0" name="Freeform 455"/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10201543" y="2390347"/>
                <a:ext cx="25400" cy="58738"/>
              </a:xfrm>
              <a:custGeom>
                <a:avLst/>
                <a:gdLst>
                  <a:gd name="T0" fmla="*/ 0 w 60"/>
                  <a:gd name="T1" fmla="*/ 2147483647 h 55"/>
                  <a:gd name="T2" fmla="*/ 0 w 60"/>
                  <a:gd name="T3" fmla="*/ 2147483647 h 55"/>
                  <a:gd name="T4" fmla="*/ 379390063 w 60"/>
                  <a:gd name="T5" fmla="*/ 2147483647 h 55"/>
                  <a:gd name="T6" fmla="*/ 758600633 w 60"/>
                  <a:gd name="T7" fmla="*/ 2147483647 h 55"/>
                  <a:gd name="T8" fmla="*/ 1213796997 w 60"/>
                  <a:gd name="T9" fmla="*/ 2147483647 h 55"/>
                  <a:gd name="T10" fmla="*/ 1593186637 w 60"/>
                  <a:gd name="T11" fmla="*/ 2147483647 h 55"/>
                  <a:gd name="T12" fmla="*/ 2048383000 w 60"/>
                  <a:gd name="T13" fmla="*/ 2147483647 h 55"/>
                  <a:gd name="T14" fmla="*/ 2147483647 w 60"/>
                  <a:gd name="T15" fmla="*/ 2147483647 h 55"/>
                  <a:gd name="T16" fmla="*/ 2147483647 w 60"/>
                  <a:gd name="T17" fmla="*/ 2147483647 h 55"/>
                  <a:gd name="T18" fmla="*/ 2147483647 w 60"/>
                  <a:gd name="T19" fmla="*/ 2147483647 h 55"/>
                  <a:gd name="T20" fmla="*/ 2147483647 w 60"/>
                  <a:gd name="T21" fmla="*/ 2147483647 h 55"/>
                  <a:gd name="T22" fmla="*/ 2147483647 w 60"/>
                  <a:gd name="T23" fmla="*/ 2147483647 h 55"/>
                  <a:gd name="T24" fmla="*/ 2147483647 w 60"/>
                  <a:gd name="T25" fmla="*/ 2147483647 h 55"/>
                  <a:gd name="T26" fmla="*/ 2147483647 w 60"/>
                  <a:gd name="T27" fmla="*/ 2147483647 h 55"/>
                  <a:gd name="T28" fmla="*/ 2147483647 w 60"/>
                  <a:gd name="T29" fmla="*/ 2147483647 h 55"/>
                  <a:gd name="T30" fmla="*/ 2147483647 w 60"/>
                  <a:gd name="T31" fmla="*/ 2147483647 h 55"/>
                  <a:gd name="T32" fmla="*/ 2147483647 w 60"/>
                  <a:gd name="T33" fmla="*/ 2147483647 h 55"/>
                  <a:gd name="T34" fmla="*/ 2147483647 w 60"/>
                  <a:gd name="T35" fmla="*/ 0 h 55"/>
                  <a:gd name="T36" fmla="*/ 1744978730 w 60"/>
                  <a:gd name="T37" fmla="*/ 1218103304 h 55"/>
                  <a:gd name="T38" fmla="*/ 1137990697 w 60"/>
                  <a:gd name="T39" fmla="*/ 2147483647 h 55"/>
                  <a:gd name="T40" fmla="*/ 531002663 w 60"/>
                  <a:gd name="T41" fmla="*/ 2147483647 h 55"/>
                  <a:gd name="T42" fmla="*/ 0 w 60"/>
                  <a:gd name="T43" fmla="*/ 2147483647 h 5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1" name="Freeform 456"/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10171380" y="2336372"/>
                <a:ext cx="52388" cy="77788"/>
              </a:xfrm>
              <a:custGeom>
                <a:avLst/>
                <a:gdLst>
                  <a:gd name="T0" fmla="*/ 2147483647 w 120"/>
                  <a:gd name="T1" fmla="*/ 2147483647 h 148"/>
                  <a:gd name="T2" fmla="*/ 2147483647 w 120"/>
                  <a:gd name="T3" fmla="*/ 2147483647 h 148"/>
                  <a:gd name="T4" fmla="*/ 2147483647 w 120"/>
                  <a:gd name="T5" fmla="*/ 2147483647 h 148"/>
                  <a:gd name="T6" fmla="*/ 2147483647 w 120"/>
                  <a:gd name="T7" fmla="*/ 2147483647 h 148"/>
                  <a:gd name="T8" fmla="*/ 2147483647 w 120"/>
                  <a:gd name="T9" fmla="*/ 2147483647 h 148"/>
                  <a:gd name="T10" fmla="*/ 2147483647 w 120"/>
                  <a:gd name="T11" fmla="*/ 2147483647 h 148"/>
                  <a:gd name="T12" fmla="*/ 2147483647 w 120"/>
                  <a:gd name="T13" fmla="*/ 2147483647 h 148"/>
                  <a:gd name="T14" fmla="*/ 2147483647 w 120"/>
                  <a:gd name="T15" fmla="*/ 2147483647 h 148"/>
                  <a:gd name="T16" fmla="*/ 2147483647 w 120"/>
                  <a:gd name="T17" fmla="*/ 2147483647 h 148"/>
                  <a:gd name="T18" fmla="*/ 2147483647 w 120"/>
                  <a:gd name="T19" fmla="*/ 2147483647 h 148"/>
                  <a:gd name="T20" fmla="*/ 2147483647 w 120"/>
                  <a:gd name="T21" fmla="*/ 2147483647 h 148"/>
                  <a:gd name="T22" fmla="*/ 2147483647 w 120"/>
                  <a:gd name="T23" fmla="*/ 2147483647 h 148"/>
                  <a:gd name="T24" fmla="*/ 1580948038 w 120"/>
                  <a:gd name="T25" fmla="*/ 2147483647 h 148"/>
                  <a:gd name="T26" fmla="*/ 915215304 w 120"/>
                  <a:gd name="T27" fmla="*/ 2147483647 h 148"/>
                  <a:gd name="T28" fmla="*/ 499156357 w 120"/>
                  <a:gd name="T29" fmla="*/ 2147483647 h 148"/>
                  <a:gd name="T30" fmla="*/ 249673350 w 120"/>
                  <a:gd name="T31" fmla="*/ 2147483647 h 148"/>
                  <a:gd name="T32" fmla="*/ 166385598 w 120"/>
                  <a:gd name="T33" fmla="*/ 2147483647 h 148"/>
                  <a:gd name="T34" fmla="*/ 83288189 w 120"/>
                  <a:gd name="T35" fmla="*/ 2147483647 h 148"/>
                  <a:gd name="T36" fmla="*/ 0 w 120"/>
                  <a:gd name="T37" fmla="*/ 2147483647 h 148"/>
                  <a:gd name="T38" fmla="*/ 166385598 w 120"/>
                  <a:gd name="T39" fmla="*/ 2147483647 h 148"/>
                  <a:gd name="T40" fmla="*/ 665732297 w 120"/>
                  <a:gd name="T41" fmla="*/ 2147483647 h 148"/>
                  <a:gd name="T42" fmla="*/ 1164888654 w 120"/>
                  <a:gd name="T43" fmla="*/ 2147483647 h 148"/>
                  <a:gd name="T44" fmla="*/ 1664045447 w 120"/>
                  <a:gd name="T45" fmla="*/ 2147483647 h 148"/>
                  <a:gd name="T46" fmla="*/ 2147483647 w 120"/>
                  <a:gd name="T47" fmla="*/ 2147483647 h 148"/>
                  <a:gd name="T48" fmla="*/ 2147483647 w 120"/>
                  <a:gd name="T49" fmla="*/ 2147483647 h 148"/>
                  <a:gd name="T50" fmla="*/ 2147483647 w 120"/>
                  <a:gd name="T51" fmla="*/ 2032645116 h 148"/>
                  <a:gd name="T52" fmla="*/ 2147483647 w 120"/>
                  <a:gd name="T53" fmla="*/ 1597275666 h 148"/>
                  <a:gd name="T54" fmla="*/ 2147483647 w 120"/>
                  <a:gd name="T55" fmla="*/ 725984367 h 148"/>
                  <a:gd name="T56" fmla="*/ 2147483647 w 120"/>
                  <a:gd name="T57" fmla="*/ 0 h 148"/>
                  <a:gd name="T58" fmla="*/ 2147483647 w 120"/>
                  <a:gd name="T59" fmla="*/ 290338454 h 148"/>
                  <a:gd name="T60" fmla="*/ 2147483647 w 120"/>
                  <a:gd name="T61" fmla="*/ 1016322821 h 148"/>
                  <a:gd name="T62" fmla="*/ 2147483647 w 120"/>
                  <a:gd name="T63" fmla="*/ 1451968207 h 148"/>
                  <a:gd name="T64" fmla="*/ 2147483647 w 120"/>
                  <a:gd name="T65" fmla="*/ 1887614120 h 148"/>
                  <a:gd name="T66" fmla="*/ 2147483647 w 120"/>
                  <a:gd name="T67" fmla="*/ 2147483647 h 148"/>
                  <a:gd name="T68" fmla="*/ 2147483647 w 120"/>
                  <a:gd name="T69" fmla="*/ 2147483647 h 148"/>
                  <a:gd name="T70" fmla="*/ 2147483647 w 120"/>
                  <a:gd name="T71" fmla="*/ 2147483647 h 148"/>
                  <a:gd name="T72" fmla="*/ 2147483647 w 120"/>
                  <a:gd name="T73" fmla="*/ 2147483647 h 148"/>
                  <a:gd name="T74" fmla="*/ 2147483647 w 120"/>
                  <a:gd name="T75" fmla="*/ 2147483647 h 148"/>
                  <a:gd name="T76" fmla="*/ 2147483647 w 120"/>
                  <a:gd name="T77" fmla="*/ 2147483647 h 148"/>
                  <a:gd name="T78" fmla="*/ 2147483647 w 120"/>
                  <a:gd name="T79" fmla="*/ 2147483647 h 148"/>
                  <a:gd name="T80" fmla="*/ 2147483647 w 120"/>
                  <a:gd name="T81" fmla="*/ 2147483647 h 148"/>
                  <a:gd name="T82" fmla="*/ 2147483647 w 120"/>
                  <a:gd name="T83" fmla="*/ 2147483647 h 148"/>
                  <a:gd name="T84" fmla="*/ 2147483647 w 120"/>
                  <a:gd name="T85" fmla="*/ 2147483647 h 148"/>
                  <a:gd name="T86" fmla="*/ 2147483647 w 120"/>
                  <a:gd name="T87" fmla="*/ 2147483647 h 148"/>
                  <a:gd name="T88" fmla="*/ 2147483647 w 120"/>
                  <a:gd name="T89" fmla="*/ 2147483647 h 148"/>
                  <a:gd name="T90" fmla="*/ 2147483647 w 120"/>
                  <a:gd name="T91" fmla="*/ 2147483647 h 148"/>
                  <a:gd name="T92" fmla="*/ 2147483647 w 120"/>
                  <a:gd name="T93" fmla="*/ 2147483647 h 148"/>
                  <a:gd name="T94" fmla="*/ 2147483647 w 120"/>
                  <a:gd name="T95" fmla="*/ 2147483647 h 148"/>
                  <a:gd name="T96" fmla="*/ 2147483647 w 120"/>
                  <a:gd name="T97" fmla="*/ 2147483647 h 148"/>
                  <a:gd name="T98" fmla="*/ 2147483647 w 120"/>
                  <a:gd name="T99" fmla="*/ 2147483647 h 148"/>
                  <a:gd name="T100" fmla="*/ 2147483647 w 120"/>
                  <a:gd name="T101" fmla="*/ 2147483647 h 148"/>
                  <a:gd name="T102" fmla="*/ 2147483647 w 120"/>
                  <a:gd name="T103" fmla="*/ 2147483647 h 148"/>
                  <a:gd name="T104" fmla="*/ 2147483647 w 120"/>
                  <a:gd name="T105" fmla="*/ 2147483647 h 148"/>
                  <a:gd name="T106" fmla="*/ 2147483647 w 120"/>
                  <a:gd name="T107" fmla="*/ 2147483647 h 148"/>
                  <a:gd name="T108" fmla="*/ 2147483647 w 120"/>
                  <a:gd name="T109" fmla="*/ 2147483647 h 148"/>
                  <a:gd name="T110" fmla="*/ 2147483647 w 120"/>
                  <a:gd name="T111" fmla="*/ 2147483647 h 148"/>
                  <a:gd name="T112" fmla="*/ 2147483647 w 120"/>
                  <a:gd name="T113" fmla="*/ 2147483647 h 148"/>
                  <a:gd name="T114" fmla="*/ 2147483647 w 120"/>
                  <a:gd name="T115" fmla="*/ 2147483647 h 148"/>
                  <a:gd name="T116" fmla="*/ 2147483647 w 120"/>
                  <a:gd name="T117" fmla="*/ 2147483647 h 148"/>
                  <a:gd name="T118" fmla="*/ 2147483647 w 120"/>
                  <a:gd name="T119" fmla="*/ 2147483647 h 14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2" name="Freeform 457"/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10603180" y="3141235"/>
                <a:ext cx="273050" cy="307975"/>
              </a:xfrm>
              <a:custGeom>
                <a:avLst/>
                <a:gdLst>
                  <a:gd name="T0" fmla="*/ 1701555862 w 631"/>
                  <a:gd name="T1" fmla="*/ 281462618 h 592"/>
                  <a:gd name="T2" fmla="*/ 2147483647 w 631"/>
                  <a:gd name="T3" fmla="*/ 563196276 h 592"/>
                  <a:gd name="T4" fmla="*/ 2147483647 w 631"/>
                  <a:gd name="T5" fmla="*/ 1126392031 h 592"/>
                  <a:gd name="T6" fmla="*/ 2147483647 w 631"/>
                  <a:gd name="T7" fmla="*/ 1548856737 h 592"/>
                  <a:gd name="T8" fmla="*/ 2147483647 w 631"/>
                  <a:gd name="T9" fmla="*/ 2147483647 h 592"/>
                  <a:gd name="T10" fmla="*/ 2147483647 w 631"/>
                  <a:gd name="T11" fmla="*/ 2147483647 h 592"/>
                  <a:gd name="T12" fmla="*/ 2147483647 w 631"/>
                  <a:gd name="T13" fmla="*/ 2147483647 h 592"/>
                  <a:gd name="T14" fmla="*/ 2147483647 w 631"/>
                  <a:gd name="T15" fmla="*/ 2147483647 h 592"/>
                  <a:gd name="T16" fmla="*/ 2147483647 w 631"/>
                  <a:gd name="T17" fmla="*/ 2147483647 h 592"/>
                  <a:gd name="T18" fmla="*/ 2147483647 w 631"/>
                  <a:gd name="T19" fmla="*/ 2147483647 h 592"/>
                  <a:gd name="T20" fmla="*/ 2147483647 w 631"/>
                  <a:gd name="T21" fmla="*/ 2147483647 h 592"/>
                  <a:gd name="T22" fmla="*/ 2147483647 w 631"/>
                  <a:gd name="T23" fmla="*/ 2147483647 h 592"/>
                  <a:gd name="T24" fmla="*/ 2147483647 w 631"/>
                  <a:gd name="T25" fmla="*/ 2147483647 h 592"/>
                  <a:gd name="T26" fmla="*/ 2147483647 w 631"/>
                  <a:gd name="T27" fmla="*/ 2147483647 h 592"/>
                  <a:gd name="T28" fmla="*/ 2147483647 w 631"/>
                  <a:gd name="T29" fmla="*/ 2147483647 h 592"/>
                  <a:gd name="T30" fmla="*/ 2147483647 w 631"/>
                  <a:gd name="T31" fmla="*/ 2147483647 h 592"/>
                  <a:gd name="T32" fmla="*/ 2147483647 w 631"/>
                  <a:gd name="T33" fmla="*/ 2147483647 h 592"/>
                  <a:gd name="T34" fmla="*/ 2147483647 w 631"/>
                  <a:gd name="T35" fmla="*/ 2147483647 h 592"/>
                  <a:gd name="T36" fmla="*/ 2147483647 w 631"/>
                  <a:gd name="T37" fmla="*/ 2147483647 h 592"/>
                  <a:gd name="T38" fmla="*/ 2147483647 w 631"/>
                  <a:gd name="T39" fmla="*/ 2147483647 h 592"/>
                  <a:gd name="T40" fmla="*/ 2147483647 w 631"/>
                  <a:gd name="T41" fmla="*/ 2147483647 h 592"/>
                  <a:gd name="T42" fmla="*/ 2147483647 w 631"/>
                  <a:gd name="T43" fmla="*/ 2147483647 h 592"/>
                  <a:gd name="T44" fmla="*/ 2147483647 w 631"/>
                  <a:gd name="T45" fmla="*/ 2147483647 h 592"/>
                  <a:gd name="T46" fmla="*/ 2147483647 w 631"/>
                  <a:gd name="T47" fmla="*/ 2147483647 h 592"/>
                  <a:gd name="T48" fmla="*/ 2147483647 w 631"/>
                  <a:gd name="T49" fmla="*/ 2147483647 h 592"/>
                  <a:gd name="T50" fmla="*/ 2147483647 w 631"/>
                  <a:gd name="T51" fmla="*/ 2147483647 h 592"/>
                  <a:gd name="T52" fmla="*/ 2147483647 w 631"/>
                  <a:gd name="T53" fmla="*/ 2147483647 h 592"/>
                  <a:gd name="T54" fmla="*/ 2147483647 w 631"/>
                  <a:gd name="T55" fmla="*/ 2147483647 h 592"/>
                  <a:gd name="T56" fmla="*/ 2147483647 w 631"/>
                  <a:gd name="T57" fmla="*/ 2147483647 h 592"/>
                  <a:gd name="T58" fmla="*/ 2147483647 w 631"/>
                  <a:gd name="T59" fmla="*/ 2147483647 h 592"/>
                  <a:gd name="T60" fmla="*/ 2147483647 w 631"/>
                  <a:gd name="T61" fmla="*/ 2147483647 h 592"/>
                  <a:gd name="T62" fmla="*/ 2147483647 w 631"/>
                  <a:gd name="T63" fmla="*/ 2147483647 h 592"/>
                  <a:gd name="T64" fmla="*/ 2147483647 w 631"/>
                  <a:gd name="T65" fmla="*/ 2147483647 h 592"/>
                  <a:gd name="T66" fmla="*/ 2147483647 w 631"/>
                  <a:gd name="T67" fmla="*/ 2147483647 h 592"/>
                  <a:gd name="T68" fmla="*/ 2147483647 w 631"/>
                  <a:gd name="T69" fmla="*/ 2147483647 h 592"/>
                  <a:gd name="T70" fmla="*/ 2147483647 w 631"/>
                  <a:gd name="T71" fmla="*/ 2147483647 h 592"/>
                  <a:gd name="T72" fmla="*/ 2147483647 w 631"/>
                  <a:gd name="T73" fmla="*/ 2147483647 h 592"/>
                  <a:gd name="T74" fmla="*/ 2147483647 w 631"/>
                  <a:gd name="T75" fmla="*/ 2147483647 h 592"/>
                  <a:gd name="T76" fmla="*/ 2147483647 w 631"/>
                  <a:gd name="T77" fmla="*/ 2147483647 h 592"/>
                  <a:gd name="T78" fmla="*/ 2147483647 w 631"/>
                  <a:gd name="T79" fmla="*/ 2147483647 h 592"/>
                  <a:gd name="T80" fmla="*/ 2147483647 w 631"/>
                  <a:gd name="T81" fmla="*/ 2147483647 h 592"/>
                  <a:gd name="T82" fmla="*/ 2147483647 w 631"/>
                  <a:gd name="T83" fmla="*/ 2147483647 h 592"/>
                  <a:gd name="T84" fmla="*/ 2147483647 w 631"/>
                  <a:gd name="T85" fmla="*/ 2147483647 h 592"/>
                  <a:gd name="T86" fmla="*/ 2025688281 w 631"/>
                  <a:gd name="T87" fmla="*/ 2147483647 h 592"/>
                  <a:gd name="T88" fmla="*/ 891317851 w 631"/>
                  <a:gd name="T89" fmla="*/ 2147483647 h 592"/>
                  <a:gd name="T90" fmla="*/ 161972741 w 631"/>
                  <a:gd name="T91" fmla="*/ 2147483647 h 592"/>
                  <a:gd name="T92" fmla="*/ 0 w 631"/>
                  <a:gd name="T93" fmla="*/ 2147483647 h 592"/>
                  <a:gd name="T94" fmla="*/ 243052580 w 631"/>
                  <a:gd name="T95" fmla="*/ 2147483647 h 592"/>
                  <a:gd name="T96" fmla="*/ 810238011 w 631"/>
                  <a:gd name="T97" fmla="*/ 2147483647 h 592"/>
                  <a:gd name="T98" fmla="*/ 1377423010 w 631"/>
                  <a:gd name="T99" fmla="*/ 2147483647 h 592"/>
                  <a:gd name="T100" fmla="*/ 1620662961 w 631"/>
                  <a:gd name="T101" fmla="*/ 2147483647 h 592"/>
                  <a:gd name="T102" fmla="*/ 1458503282 w 631"/>
                  <a:gd name="T103" fmla="*/ 2147483647 h 592"/>
                  <a:gd name="T104" fmla="*/ 1053290591 w 631"/>
                  <a:gd name="T105" fmla="*/ 2147483647 h 592"/>
                  <a:gd name="T106" fmla="*/ 729345110 w 631"/>
                  <a:gd name="T107" fmla="*/ 2147483647 h 592"/>
                  <a:gd name="T108" fmla="*/ 567185432 w 631"/>
                  <a:gd name="T109" fmla="*/ 2147483647 h 592"/>
                  <a:gd name="T110" fmla="*/ 1053290591 w 631"/>
                  <a:gd name="T111" fmla="*/ 0 h 5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3" name="Freeform 458"/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10198368" y="2776110"/>
                <a:ext cx="17462" cy="57150"/>
              </a:xfrm>
              <a:custGeom>
                <a:avLst/>
                <a:gdLst>
                  <a:gd name="T0" fmla="*/ 582400045 w 40"/>
                  <a:gd name="T1" fmla="*/ 2147483647 h 93"/>
                  <a:gd name="T2" fmla="*/ 832054259 w 40"/>
                  <a:gd name="T3" fmla="*/ 2147483647 h 93"/>
                  <a:gd name="T4" fmla="*/ 1164800091 w 40"/>
                  <a:gd name="T5" fmla="*/ 2147483647 h 93"/>
                  <a:gd name="T6" fmla="*/ 1663918183 w 40"/>
                  <a:gd name="T7" fmla="*/ 2147483647 h 93"/>
                  <a:gd name="T8" fmla="*/ 2079945531 w 40"/>
                  <a:gd name="T9" fmla="*/ 2147483647 h 93"/>
                  <a:gd name="T10" fmla="*/ 2147483647 w 40"/>
                  <a:gd name="T11" fmla="*/ 928214937 h 93"/>
                  <a:gd name="T12" fmla="*/ 2147483647 w 40"/>
                  <a:gd name="T13" fmla="*/ 0 h 93"/>
                  <a:gd name="T14" fmla="*/ 2147483647 w 40"/>
                  <a:gd name="T15" fmla="*/ 2147483647 h 93"/>
                  <a:gd name="T16" fmla="*/ 2147483647 w 40"/>
                  <a:gd name="T17" fmla="*/ 2147483647 h 93"/>
                  <a:gd name="T18" fmla="*/ 2147483647 w 40"/>
                  <a:gd name="T19" fmla="*/ 2147483647 h 93"/>
                  <a:gd name="T20" fmla="*/ 2147483647 w 40"/>
                  <a:gd name="T21" fmla="*/ 2147483647 h 93"/>
                  <a:gd name="T22" fmla="*/ 2147483647 w 40"/>
                  <a:gd name="T23" fmla="*/ 2147483647 h 93"/>
                  <a:gd name="T24" fmla="*/ 2147483647 w 40"/>
                  <a:gd name="T25" fmla="*/ 2147483647 h 93"/>
                  <a:gd name="T26" fmla="*/ 2147483647 w 40"/>
                  <a:gd name="T27" fmla="*/ 2147483647 h 93"/>
                  <a:gd name="T28" fmla="*/ 2147483647 w 40"/>
                  <a:gd name="T29" fmla="*/ 2147483647 h 93"/>
                  <a:gd name="T30" fmla="*/ 2147483647 w 40"/>
                  <a:gd name="T31" fmla="*/ 2147483647 h 93"/>
                  <a:gd name="T32" fmla="*/ 1081518138 w 40"/>
                  <a:gd name="T33" fmla="*/ 2147483647 h 93"/>
                  <a:gd name="T34" fmla="*/ 915145440 w 40"/>
                  <a:gd name="T35" fmla="*/ 2147483647 h 93"/>
                  <a:gd name="T36" fmla="*/ 665491226 w 40"/>
                  <a:gd name="T37" fmla="*/ 2147483647 h 93"/>
                  <a:gd name="T38" fmla="*/ 499118092 w 40"/>
                  <a:gd name="T39" fmla="*/ 2147483647 h 93"/>
                  <a:gd name="T40" fmla="*/ 332745395 w 40"/>
                  <a:gd name="T41" fmla="*/ 2147483647 h 93"/>
                  <a:gd name="T42" fmla="*/ 83281517 w 40"/>
                  <a:gd name="T43" fmla="*/ 2147483647 h 93"/>
                  <a:gd name="T44" fmla="*/ 0 w 40"/>
                  <a:gd name="T45" fmla="*/ 2147483647 h 93"/>
                  <a:gd name="T46" fmla="*/ 83281517 w 40"/>
                  <a:gd name="T47" fmla="*/ 2147483647 h 93"/>
                  <a:gd name="T48" fmla="*/ 249654651 w 40"/>
                  <a:gd name="T49" fmla="*/ 2147483647 h 93"/>
                  <a:gd name="T50" fmla="*/ 499118092 w 40"/>
                  <a:gd name="T51" fmla="*/ 2147483647 h 93"/>
                  <a:gd name="T52" fmla="*/ 582400045 w 40"/>
                  <a:gd name="T53" fmla="*/ 2147483647 h 9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4" name="Freeform 459"/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9838005" y="2526872"/>
                <a:ext cx="295275" cy="273050"/>
              </a:xfrm>
              <a:custGeom>
                <a:avLst/>
                <a:gdLst>
                  <a:gd name="T0" fmla="*/ 2147483647 w 664"/>
                  <a:gd name="T1" fmla="*/ 2147483647 h 518"/>
                  <a:gd name="T2" fmla="*/ 2147483647 w 664"/>
                  <a:gd name="T3" fmla="*/ 2147483647 h 518"/>
                  <a:gd name="T4" fmla="*/ 2147483647 w 664"/>
                  <a:gd name="T5" fmla="*/ 2147483647 h 518"/>
                  <a:gd name="T6" fmla="*/ 2147483647 w 664"/>
                  <a:gd name="T7" fmla="*/ 2147483647 h 518"/>
                  <a:gd name="T8" fmla="*/ 2147483647 w 664"/>
                  <a:gd name="T9" fmla="*/ 2147483647 h 518"/>
                  <a:gd name="T10" fmla="*/ 2147483647 w 664"/>
                  <a:gd name="T11" fmla="*/ 2147483647 h 518"/>
                  <a:gd name="T12" fmla="*/ 2147483647 w 664"/>
                  <a:gd name="T13" fmla="*/ 2147483647 h 518"/>
                  <a:gd name="T14" fmla="*/ 1758791307 w 664"/>
                  <a:gd name="T15" fmla="*/ 2147483647 h 518"/>
                  <a:gd name="T16" fmla="*/ 2110589235 w 664"/>
                  <a:gd name="T17" fmla="*/ 2147483647 h 518"/>
                  <a:gd name="T18" fmla="*/ 2147483647 w 664"/>
                  <a:gd name="T19" fmla="*/ 2147483647 h 518"/>
                  <a:gd name="T20" fmla="*/ 2147483647 w 664"/>
                  <a:gd name="T21" fmla="*/ 2147483647 h 518"/>
                  <a:gd name="T22" fmla="*/ 2147483647 w 664"/>
                  <a:gd name="T23" fmla="*/ 2147483647 h 518"/>
                  <a:gd name="T24" fmla="*/ 2147483647 w 664"/>
                  <a:gd name="T25" fmla="*/ 2147483647 h 518"/>
                  <a:gd name="T26" fmla="*/ 2147483647 w 664"/>
                  <a:gd name="T27" fmla="*/ 2147483647 h 518"/>
                  <a:gd name="T28" fmla="*/ 2147483647 w 664"/>
                  <a:gd name="T29" fmla="*/ 2147483647 h 518"/>
                  <a:gd name="T30" fmla="*/ 2147483647 w 664"/>
                  <a:gd name="T31" fmla="*/ 2147483647 h 518"/>
                  <a:gd name="T32" fmla="*/ 2147483647 w 664"/>
                  <a:gd name="T33" fmla="*/ 2147483647 h 518"/>
                  <a:gd name="T34" fmla="*/ 2147483647 w 664"/>
                  <a:gd name="T35" fmla="*/ 2147483647 h 518"/>
                  <a:gd name="T36" fmla="*/ 2147483647 w 664"/>
                  <a:gd name="T37" fmla="*/ 2147483647 h 518"/>
                  <a:gd name="T38" fmla="*/ 2147483647 w 664"/>
                  <a:gd name="T39" fmla="*/ 2147483647 h 518"/>
                  <a:gd name="T40" fmla="*/ 2147483647 w 664"/>
                  <a:gd name="T41" fmla="*/ 2147483647 h 518"/>
                  <a:gd name="T42" fmla="*/ 2147483647 w 664"/>
                  <a:gd name="T43" fmla="*/ 1757459442 h 518"/>
                  <a:gd name="T44" fmla="*/ 2147483647 w 664"/>
                  <a:gd name="T45" fmla="*/ 585727040 h 518"/>
                  <a:gd name="T46" fmla="*/ 2147483647 w 664"/>
                  <a:gd name="T47" fmla="*/ 2147483647 h 518"/>
                  <a:gd name="T48" fmla="*/ 2147483647 w 664"/>
                  <a:gd name="T49" fmla="*/ 2147483647 h 518"/>
                  <a:gd name="T50" fmla="*/ 2147483647 w 664"/>
                  <a:gd name="T51" fmla="*/ 2147483647 h 518"/>
                  <a:gd name="T52" fmla="*/ 2147483647 w 664"/>
                  <a:gd name="T53" fmla="*/ 2147483647 h 518"/>
                  <a:gd name="T54" fmla="*/ 2147483647 w 664"/>
                  <a:gd name="T55" fmla="*/ 2147483647 h 518"/>
                  <a:gd name="T56" fmla="*/ 2147483647 w 664"/>
                  <a:gd name="T57" fmla="*/ 2147483647 h 518"/>
                  <a:gd name="T58" fmla="*/ 2147483647 w 664"/>
                  <a:gd name="T59" fmla="*/ 2147483647 h 518"/>
                  <a:gd name="T60" fmla="*/ 2147483647 w 664"/>
                  <a:gd name="T61" fmla="*/ 2147483647 h 518"/>
                  <a:gd name="T62" fmla="*/ 2147483647 w 664"/>
                  <a:gd name="T63" fmla="*/ 2147483647 h 518"/>
                  <a:gd name="T64" fmla="*/ 2147483647 w 664"/>
                  <a:gd name="T65" fmla="*/ 2147483647 h 518"/>
                  <a:gd name="T66" fmla="*/ 2147483647 w 664"/>
                  <a:gd name="T67" fmla="*/ 2147483647 h 518"/>
                  <a:gd name="T68" fmla="*/ 2147483647 w 664"/>
                  <a:gd name="T69" fmla="*/ 2147483647 h 518"/>
                  <a:gd name="T70" fmla="*/ 2147483647 w 664"/>
                  <a:gd name="T71" fmla="*/ 2147483647 h 518"/>
                  <a:gd name="T72" fmla="*/ 2147483647 w 664"/>
                  <a:gd name="T73" fmla="*/ 2147483647 h 518"/>
                  <a:gd name="T74" fmla="*/ 2147483647 w 664"/>
                  <a:gd name="T75" fmla="*/ 2147483647 h 518"/>
                  <a:gd name="T76" fmla="*/ 2147483647 w 664"/>
                  <a:gd name="T77" fmla="*/ 2147483647 h 518"/>
                  <a:gd name="T78" fmla="*/ 2147483647 w 664"/>
                  <a:gd name="T79" fmla="*/ 2147483647 h 518"/>
                  <a:gd name="T80" fmla="*/ 2147483647 w 664"/>
                  <a:gd name="T81" fmla="*/ 2147483647 h 518"/>
                  <a:gd name="T82" fmla="*/ 2147483647 w 664"/>
                  <a:gd name="T83" fmla="*/ 2147483647 h 518"/>
                  <a:gd name="T84" fmla="*/ 2147483647 w 664"/>
                  <a:gd name="T85" fmla="*/ 2147483647 h 518"/>
                  <a:gd name="T86" fmla="*/ 2147483647 w 664"/>
                  <a:gd name="T87" fmla="*/ 2147483647 h 518"/>
                  <a:gd name="T88" fmla="*/ 2147483647 w 664"/>
                  <a:gd name="T89" fmla="*/ 2147483647 h 518"/>
                  <a:gd name="T90" fmla="*/ 2147483647 w 664"/>
                  <a:gd name="T91" fmla="*/ 2147483647 h 518"/>
                  <a:gd name="T92" fmla="*/ 2147483647 w 664"/>
                  <a:gd name="T93" fmla="*/ 2147483647 h 518"/>
                  <a:gd name="T94" fmla="*/ 2147483647 w 664"/>
                  <a:gd name="T95" fmla="*/ 2147483647 h 518"/>
                  <a:gd name="T96" fmla="*/ 2147483647 w 664"/>
                  <a:gd name="T97" fmla="*/ 2147483647 h 518"/>
                  <a:gd name="T98" fmla="*/ 2147483647 w 664"/>
                  <a:gd name="T99" fmla="*/ 2147483647 h 518"/>
                  <a:gd name="T100" fmla="*/ 2147483647 w 664"/>
                  <a:gd name="T101" fmla="*/ 2147483647 h 518"/>
                  <a:gd name="T102" fmla="*/ 2147483647 w 664"/>
                  <a:gd name="T103" fmla="*/ 2147483647 h 518"/>
                  <a:gd name="T104" fmla="*/ 2147483647 w 664"/>
                  <a:gd name="T105" fmla="*/ 2147483647 h 518"/>
                  <a:gd name="T106" fmla="*/ 2147483647 w 664"/>
                  <a:gd name="T107" fmla="*/ 2147483647 h 518"/>
                  <a:gd name="T108" fmla="*/ 2147483647 w 664"/>
                  <a:gd name="T109" fmla="*/ 2147483647 h 518"/>
                  <a:gd name="T110" fmla="*/ 2147483647 w 664"/>
                  <a:gd name="T111" fmla="*/ 2147483647 h 518"/>
                  <a:gd name="T112" fmla="*/ 2147483647 w 664"/>
                  <a:gd name="T113" fmla="*/ 2147483647 h 518"/>
                  <a:gd name="T114" fmla="*/ 2147483647 w 664"/>
                  <a:gd name="T115" fmla="*/ 2147483647 h 518"/>
                  <a:gd name="T116" fmla="*/ 2147483647 w 664"/>
                  <a:gd name="T117" fmla="*/ 2147483647 h 518"/>
                  <a:gd name="T118" fmla="*/ 2147483647 w 664"/>
                  <a:gd name="T119" fmla="*/ 2147483647 h 518"/>
                  <a:gd name="T120" fmla="*/ 2147483647 w 664"/>
                  <a:gd name="T121" fmla="*/ 2147483647 h 518"/>
                  <a:gd name="T122" fmla="*/ 2147483647 w 664"/>
                  <a:gd name="T123" fmla="*/ 2147483647 h 5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5" name="Freeform 460"/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10919093" y="2761822"/>
                <a:ext cx="150812" cy="82550"/>
              </a:xfrm>
              <a:custGeom>
                <a:avLst/>
                <a:gdLst>
                  <a:gd name="T0" fmla="*/ 2147483647 w 352"/>
                  <a:gd name="T1" fmla="*/ 2147483647 h 153"/>
                  <a:gd name="T2" fmla="*/ 2147483647 w 352"/>
                  <a:gd name="T3" fmla="*/ 2147483647 h 153"/>
                  <a:gd name="T4" fmla="*/ 2147483647 w 352"/>
                  <a:gd name="T5" fmla="*/ 2147483647 h 153"/>
                  <a:gd name="T6" fmla="*/ 2147483647 w 352"/>
                  <a:gd name="T7" fmla="*/ 2147483647 h 153"/>
                  <a:gd name="T8" fmla="*/ 2147483647 w 352"/>
                  <a:gd name="T9" fmla="*/ 2147483647 h 153"/>
                  <a:gd name="T10" fmla="*/ 2147483647 w 352"/>
                  <a:gd name="T11" fmla="*/ 2147483647 h 153"/>
                  <a:gd name="T12" fmla="*/ 2147483647 w 352"/>
                  <a:gd name="T13" fmla="*/ 2147483647 h 153"/>
                  <a:gd name="T14" fmla="*/ 2147483647 w 352"/>
                  <a:gd name="T15" fmla="*/ 2147483647 h 153"/>
                  <a:gd name="T16" fmla="*/ 2147483647 w 352"/>
                  <a:gd name="T17" fmla="*/ 2147483647 h 153"/>
                  <a:gd name="T18" fmla="*/ 2147483647 w 352"/>
                  <a:gd name="T19" fmla="*/ 2147483647 h 153"/>
                  <a:gd name="T20" fmla="*/ 2147483647 w 352"/>
                  <a:gd name="T21" fmla="*/ 2147483647 h 153"/>
                  <a:gd name="T22" fmla="*/ 2147483647 w 352"/>
                  <a:gd name="T23" fmla="*/ 2147483647 h 153"/>
                  <a:gd name="T24" fmla="*/ 2147483647 w 352"/>
                  <a:gd name="T25" fmla="*/ 2147483647 h 153"/>
                  <a:gd name="T26" fmla="*/ 2147483647 w 352"/>
                  <a:gd name="T27" fmla="*/ 2147483647 h 153"/>
                  <a:gd name="T28" fmla="*/ 2147483647 w 352"/>
                  <a:gd name="T29" fmla="*/ 2147483647 h 153"/>
                  <a:gd name="T30" fmla="*/ 2147483647 w 352"/>
                  <a:gd name="T31" fmla="*/ 2147483647 h 153"/>
                  <a:gd name="T32" fmla="*/ 2147483647 w 352"/>
                  <a:gd name="T33" fmla="*/ 2147483647 h 153"/>
                  <a:gd name="T34" fmla="*/ 2147483647 w 352"/>
                  <a:gd name="T35" fmla="*/ 2147483647 h 153"/>
                  <a:gd name="T36" fmla="*/ 2147483647 w 352"/>
                  <a:gd name="T37" fmla="*/ 2147483647 h 153"/>
                  <a:gd name="T38" fmla="*/ 2147483647 w 352"/>
                  <a:gd name="T39" fmla="*/ 2147483647 h 153"/>
                  <a:gd name="T40" fmla="*/ 2147483647 w 352"/>
                  <a:gd name="T41" fmla="*/ 2147483647 h 153"/>
                  <a:gd name="T42" fmla="*/ 2147483647 w 352"/>
                  <a:gd name="T43" fmla="*/ 2147483647 h 153"/>
                  <a:gd name="T44" fmla="*/ 2147483647 w 352"/>
                  <a:gd name="T45" fmla="*/ 2147483647 h 153"/>
                  <a:gd name="T46" fmla="*/ 2147483647 w 352"/>
                  <a:gd name="T47" fmla="*/ 2147483647 h 153"/>
                  <a:gd name="T48" fmla="*/ 2147483647 w 352"/>
                  <a:gd name="T49" fmla="*/ 2147483647 h 153"/>
                  <a:gd name="T50" fmla="*/ 2147483647 w 352"/>
                  <a:gd name="T51" fmla="*/ 2147483647 h 153"/>
                  <a:gd name="T52" fmla="*/ 1179762859 w 352"/>
                  <a:gd name="T53" fmla="*/ 1099507729 h 153"/>
                  <a:gd name="T54" fmla="*/ 0 w 352"/>
                  <a:gd name="T55" fmla="*/ 0 h 153"/>
                  <a:gd name="T56" fmla="*/ 550507073 w 352"/>
                  <a:gd name="T57" fmla="*/ 0 h 153"/>
                  <a:gd name="T58" fmla="*/ 2147483647 w 352"/>
                  <a:gd name="T59" fmla="*/ 2147483647 h 153"/>
                  <a:gd name="T60" fmla="*/ 2147483647 w 352"/>
                  <a:gd name="T61" fmla="*/ 2147483647 h 153"/>
                  <a:gd name="T62" fmla="*/ 2147483647 w 352"/>
                  <a:gd name="T63" fmla="*/ 2147483647 h 153"/>
                  <a:gd name="T64" fmla="*/ 2147483647 w 352"/>
                  <a:gd name="T65" fmla="*/ 2147483647 h 153"/>
                  <a:gd name="T66" fmla="*/ 2147483647 w 352"/>
                  <a:gd name="T67" fmla="*/ 2147483647 h 153"/>
                  <a:gd name="T68" fmla="*/ 2147483647 w 352"/>
                  <a:gd name="T69" fmla="*/ 2147483647 h 153"/>
                  <a:gd name="T70" fmla="*/ 2147483647 w 352"/>
                  <a:gd name="T71" fmla="*/ 2147483647 h 153"/>
                  <a:gd name="T72" fmla="*/ 2147483647 w 352"/>
                  <a:gd name="T73" fmla="*/ 2147483647 h 153"/>
                  <a:gd name="T74" fmla="*/ 2147483647 w 352"/>
                  <a:gd name="T75" fmla="*/ 2147483647 h 15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52" h="153">
                    <a:moveTo>
                      <a:pt x="332" y="91"/>
                    </a:moveTo>
                    <a:lnTo>
                      <a:pt x="352" y="153"/>
                    </a:lnTo>
                    <a:lnTo>
                      <a:pt x="326" y="141"/>
                    </a:lnTo>
                    <a:lnTo>
                      <a:pt x="299" y="129"/>
                    </a:lnTo>
                    <a:lnTo>
                      <a:pt x="266" y="141"/>
                    </a:lnTo>
                    <a:lnTo>
                      <a:pt x="232" y="141"/>
                    </a:lnTo>
                    <a:lnTo>
                      <a:pt x="227" y="135"/>
                    </a:lnTo>
                    <a:lnTo>
                      <a:pt x="226" y="135"/>
                    </a:lnTo>
                    <a:lnTo>
                      <a:pt x="219" y="129"/>
                    </a:lnTo>
                    <a:lnTo>
                      <a:pt x="213" y="125"/>
                    </a:lnTo>
                    <a:lnTo>
                      <a:pt x="205" y="121"/>
                    </a:lnTo>
                    <a:lnTo>
                      <a:pt x="197" y="118"/>
                    </a:lnTo>
                    <a:lnTo>
                      <a:pt x="181" y="113"/>
                    </a:lnTo>
                    <a:lnTo>
                      <a:pt x="163" y="110"/>
                    </a:lnTo>
                    <a:lnTo>
                      <a:pt x="126" y="107"/>
                    </a:lnTo>
                    <a:lnTo>
                      <a:pt x="86" y="104"/>
                    </a:lnTo>
                    <a:lnTo>
                      <a:pt x="85" y="94"/>
                    </a:lnTo>
                    <a:lnTo>
                      <a:pt x="82" y="84"/>
                    </a:lnTo>
                    <a:lnTo>
                      <a:pt x="80" y="75"/>
                    </a:lnTo>
                    <a:lnTo>
                      <a:pt x="75" y="67"/>
                    </a:lnTo>
                    <a:lnTo>
                      <a:pt x="71" y="59"/>
                    </a:lnTo>
                    <a:lnTo>
                      <a:pt x="67" y="52"/>
                    </a:lnTo>
                    <a:lnTo>
                      <a:pt x="61" y="44"/>
                    </a:lnTo>
                    <a:lnTo>
                      <a:pt x="56" y="37"/>
                    </a:lnTo>
                    <a:lnTo>
                      <a:pt x="44" y="26"/>
                    </a:lnTo>
                    <a:lnTo>
                      <a:pt x="29" y="16"/>
                    </a:lnTo>
                    <a:lnTo>
                      <a:pt x="15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60" y="18"/>
                    </a:lnTo>
                    <a:lnTo>
                      <a:pt x="106" y="30"/>
                    </a:lnTo>
                    <a:lnTo>
                      <a:pt x="134" y="18"/>
                    </a:lnTo>
                    <a:lnTo>
                      <a:pt x="180" y="36"/>
                    </a:lnTo>
                    <a:lnTo>
                      <a:pt x="206" y="55"/>
                    </a:lnTo>
                    <a:lnTo>
                      <a:pt x="246" y="49"/>
                    </a:lnTo>
                    <a:lnTo>
                      <a:pt x="286" y="61"/>
                    </a:lnTo>
                    <a:lnTo>
                      <a:pt x="313" y="79"/>
                    </a:lnTo>
                    <a:lnTo>
                      <a:pt x="332" y="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6" name="Freeform 461"/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10468243" y="2822147"/>
                <a:ext cx="147637" cy="173038"/>
              </a:xfrm>
              <a:custGeom>
                <a:avLst/>
                <a:gdLst>
                  <a:gd name="T0" fmla="*/ 2147483647 w 331"/>
                  <a:gd name="T1" fmla="*/ 2147483647 h 327"/>
                  <a:gd name="T2" fmla="*/ 2147483647 w 331"/>
                  <a:gd name="T3" fmla="*/ 2147483647 h 327"/>
                  <a:gd name="T4" fmla="*/ 2147483647 w 331"/>
                  <a:gd name="T5" fmla="*/ 2147483647 h 327"/>
                  <a:gd name="T6" fmla="*/ 2147483647 w 331"/>
                  <a:gd name="T7" fmla="*/ 2147483647 h 327"/>
                  <a:gd name="T8" fmla="*/ 2147483647 w 331"/>
                  <a:gd name="T9" fmla="*/ 2147483647 h 327"/>
                  <a:gd name="T10" fmla="*/ 2147483647 w 331"/>
                  <a:gd name="T11" fmla="*/ 2147483647 h 327"/>
                  <a:gd name="T12" fmla="*/ 2147483647 w 331"/>
                  <a:gd name="T13" fmla="*/ 2147483647 h 327"/>
                  <a:gd name="T14" fmla="*/ 2147483647 w 331"/>
                  <a:gd name="T15" fmla="*/ 2147483647 h 327"/>
                  <a:gd name="T16" fmla="*/ 2147483647 w 331"/>
                  <a:gd name="T17" fmla="*/ 2147483647 h 327"/>
                  <a:gd name="T18" fmla="*/ 2147483647 w 331"/>
                  <a:gd name="T19" fmla="*/ 2147483647 h 327"/>
                  <a:gd name="T20" fmla="*/ 2147483647 w 331"/>
                  <a:gd name="T21" fmla="*/ 2147483647 h 327"/>
                  <a:gd name="T22" fmla="*/ 2147483647 w 331"/>
                  <a:gd name="T23" fmla="*/ 2147483647 h 327"/>
                  <a:gd name="T24" fmla="*/ 2147483647 w 331"/>
                  <a:gd name="T25" fmla="*/ 2147483647 h 327"/>
                  <a:gd name="T26" fmla="*/ 2147483647 w 331"/>
                  <a:gd name="T27" fmla="*/ 2147483647 h 327"/>
                  <a:gd name="T28" fmla="*/ 2147483647 w 331"/>
                  <a:gd name="T29" fmla="*/ 2147483647 h 327"/>
                  <a:gd name="T30" fmla="*/ 2147483647 w 331"/>
                  <a:gd name="T31" fmla="*/ 2147483647 h 327"/>
                  <a:gd name="T32" fmla="*/ 2147483647 w 331"/>
                  <a:gd name="T33" fmla="*/ 2147483647 h 327"/>
                  <a:gd name="T34" fmla="*/ 2147483647 w 331"/>
                  <a:gd name="T35" fmla="*/ 2147483647 h 327"/>
                  <a:gd name="T36" fmla="*/ 2147483647 w 331"/>
                  <a:gd name="T37" fmla="*/ 2147483647 h 327"/>
                  <a:gd name="T38" fmla="*/ 2147483647 w 331"/>
                  <a:gd name="T39" fmla="*/ 2147483647 h 327"/>
                  <a:gd name="T40" fmla="*/ 2147483647 w 331"/>
                  <a:gd name="T41" fmla="*/ 2147483647 h 327"/>
                  <a:gd name="T42" fmla="*/ 2147483647 w 331"/>
                  <a:gd name="T43" fmla="*/ 2147483647 h 327"/>
                  <a:gd name="T44" fmla="*/ 2147483647 w 331"/>
                  <a:gd name="T45" fmla="*/ 2147483647 h 327"/>
                  <a:gd name="T46" fmla="*/ 2147483647 w 331"/>
                  <a:gd name="T47" fmla="*/ 2147483647 h 327"/>
                  <a:gd name="T48" fmla="*/ 2147483647 w 331"/>
                  <a:gd name="T49" fmla="*/ 2147483647 h 327"/>
                  <a:gd name="T50" fmla="*/ 2147483647 w 331"/>
                  <a:gd name="T51" fmla="*/ 2147483647 h 327"/>
                  <a:gd name="T52" fmla="*/ 2147483647 w 331"/>
                  <a:gd name="T53" fmla="*/ 2147483647 h 327"/>
                  <a:gd name="T54" fmla="*/ 2147483647 w 331"/>
                  <a:gd name="T55" fmla="*/ 2147483647 h 327"/>
                  <a:gd name="T56" fmla="*/ 2147483647 w 331"/>
                  <a:gd name="T57" fmla="*/ 2147483647 h 327"/>
                  <a:gd name="T58" fmla="*/ 2147483647 w 331"/>
                  <a:gd name="T59" fmla="*/ 2147483647 h 327"/>
                  <a:gd name="T60" fmla="*/ 2147483647 w 331"/>
                  <a:gd name="T61" fmla="*/ 2147483647 h 327"/>
                  <a:gd name="T62" fmla="*/ 2147483647 w 331"/>
                  <a:gd name="T63" fmla="*/ 2147483647 h 327"/>
                  <a:gd name="T64" fmla="*/ 2147483647 w 331"/>
                  <a:gd name="T65" fmla="*/ 2147483647 h 327"/>
                  <a:gd name="T66" fmla="*/ 2147483647 w 331"/>
                  <a:gd name="T67" fmla="*/ 2147483647 h 327"/>
                  <a:gd name="T68" fmla="*/ 1153486989 w 331"/>
                  <a:gd name="T69" fmla="*/ 2147483647 h 327"/>
                  <a:gd name="T70" fmla="*/ 0 w 331"/>
                  <a:gd name="T71" fmla="*/ 2147483647 h 327"/>
                  <a:gd name="T72" fmla="*/ 2147483647 w 331"/>
                  <a:gd name="T73" fmla="*/ 2147483647 h 327"/>
                  <a:gd name="T74" fmla="*/ 2147483647 w 331"/>
                  <a:gd name="T75" fmla="*/ 2147483647 h 327"/>
                  <a:gd name="T76" fmla="*/ 2147483647 w 331"/>
                  <a:gd name="T77" fmla="*/ 2147483647 h 327"/>
                  <a:gd name="T78" fmla="*/ 2147483647 w 331"/>
                  <a:gd name="T79" fmla="*/ 2147483647 h 327"/>
                  <a:gd name="T80" fmla="*/ 2147483647 w 331"/>
                  <a:gd name="T81" fmla="*/ 2074380602 h 327"/>
                  <a:gd name="T82" fmla="*/ 2147483647 w 331"/>
                  <a:gd name="T83" fmla="*/ 1037190301 h 327"/>
                  <a:gd name="T84" fmla="*/ 2147483647 w 331"/>
                  <a:gd name="T85" fmla="*/ 2074380602 h 327"/>
                  <a:gd name="T86" fmla="*/ 2147483647 w 331"/>
                  <a:gd name="T87" fmla="*/ 2147483647 h 327"/>
                  <a:gd name="T88" fmla="*/ 2147483647 w 331"/>
                  <a:gd name="T89" fmla="*/ 2147483647 h 327"/>
                  <a:gd name="T90" fmla="*/ 2147483647 w 331"/>
                  <a:gd name="T91" fmla="*/ 2147483647 h 327"/>
                  <a:gd name="T92" fmla="*/ 2147483647 w 331"/>
                  <a:gd name="T93" fmla="*/ 889060248 h 327"/>
                  <a:gd name="T94" fmla="*/ 2147483647 w 331"/>
                  <a:gd name="T95" fmla="*/ 2147483647 h 3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7" name="Freeform 462"/>
              <p:cNvSpPr>
                <a:spLocks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10552380" y="3014235"/>
                <a:ext cx="69850" cy="57150"/>
              </a:xfrm>
              <a:custGeom>
                <a:avLst/>
                <a:gdLst>
                  <a:gd name="T0" fmla="*/ 0 w 153"/>
                  <a:gd name="T1" fmla="*/ 0 h 49"/>
                  <a:gd name="T2" fmla="*/ 2147483647 w 153"/>
                  <a:gd name="T3" fmla="*/ 2147483647 h 49"/>
                  <a:gd name="T4" fmla="*/ 2147483647 w 153"/>
                  <a:gd name="T5" fmla="*/ 2147483647 h 49"/>
                  <a:gd name="T6" fmla="*/ 2147483647 w 153"/>
                  <a:gd name="T7" fmla="*/ 2147483647 h 49"/>
                  <a:gd name="T8" fmla="*/ 2147483647 w 153"/>
                  <a:gd name="T9" fmla="*/ 2147483647 h 49"/>
                  <a:gd name="T10" fmla="*/ 2147483647 w 153"/>
                  <a:gd name="T11" fmla="*/ 2147483647 h 49"/>
                  <a:gd name="T12" fmla="*/ 2147483647 w 153"/>
                  <a:gd name="T13" fmla="*/ 2147483647 h 49"/>
                  <a:gd name="T14" fmla="*/ 2147483647 w 153"/>
                  <a:gd name="T15" fmla="*/ 2147483647 h 49"/>
                  <a:gd name="T16" fmla="*/ 2147483647 w 153"/>
                  <a:gd name="T17" fmla="*/ 0 h 49"/>
                  <a:gd name="T18" fmla="*/ 2147483647 w 153"/>
                  <a:gd name="T19" fmla="*/ 2147483647 h 49"/>
                  <a:gd name="T20" fmla="*/ 2147483647 w 153"/>
                  <a:gd name="T21" fmla="*/ 2147483647 h 49"/>
                  <a:gd name="T22" fmla="*/ 2147483647 w 153"/>
                  <a:gd name="T23" fmla="*/ 2147483647 h 49"/>
                  <a:gd name="T24" fmla="*/ 2147483647 w 153"/>
                  <a:gd name="T25" fmla="*/ 2147483647 h 49"/>
                  <a:gd name="T26" fmla="*/ 2147483647 w 153"/>
                  <a:gd name="T27" fmla="*/ 2147483647 h 49"/>
                  <a:gd name="T28" fmla="*/ 2147483647 w 153"/>
                  <a:gd name="T29" fmla="*/ 2147483647 h 49"/>
                  <a:gd name="T30" fmla="*/ 2147483647 w 153"/>
                  <a:gd name="T31" fmla="*/ 2147483647 h 49"/>
                  <a:gd name="T32" fmla="*/ 2147483647 w 153"/>
                  <a:gd name="T33" fmla="*/ 2147483647 h 49"/>
                  <a:gd name="T34" fmla="*/ 2147483647 w 153"/>
                  <a:gd name="T35" fmla="*/ 2147483647 h 49"/>
                  <a:gd name="T36" fmla="*/ 2147483647 w 153"/>
                  <a:gd name="T37" fmla="*/ 2147483647 h 49"/>
                  <a:gd name="T38" fmla="*/ 2147483647 w 153"/>
                  <a:gd name="T39" fmla="*/ 2147483647 h 49"/>
                  <a:gd name="T40" fmla="*/ 2147483647 w 153"/>
                  <a:gd name="T41" fmla="*/ 2147483647 h 49"/>
                  <a:gd name="T42" fmla="*/ 2147483647 w 153"/>
                  <a:gd name="T43" fmla="*/ 2147483647 h 49"/>
                  <a:gd name="T44" fmla="*/ 2147483647 w 153"/>
                  <a:gd name="T45" fmla="*/ 2147483647 h 49"/>
                  <a:gd name="T46" fmla="*/ 2093421392 w 153"/>
                  <a:gd name="T47" fmla="*/ 2147483647 h 49"/>
                  <a:gd name="T48" fmla="*/ 0 w 153"/>
                  <a:gd name="T49" fmla="*/ 2147483647 h 49"/>
                  <a:gd name="T50" fmla="*/ 0 w 153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8" name="Freeform 463"/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9631630" y="3746072"/>
                <a:ext cx="187325" cy="158750"/>
              </a:xfrm>
              <a:custGeom>
                <a:avLst/>
                <a:gdLst>
                  <a:gd name="T0" fmla="*/ 2147483647 w 426"/>
                  <a:gd name="T1" fmla="*/ 2147483647 h 299"/>
                  <a:gd name="T2" fmla="*/ 2147483647 w 426"/>
                  <a:gd name="T3" fmla="*/ 2147483647 h 299"/>
                  <a:gd name="T4" fmla="*/ 2147483647 w 426"/>
                  <a:gd name="T5" fmla="*/ 2147483647 h 299"/>
                  <a:gd name="T6" fmla="*/ 2147483647 w 426"/>
                  <a:gd name="T7" fmla="*/ 2147483647 h 299"/>
                  <a:gd name="T8" fmla="*/ 2147483647 w 426"/>
                  <a:gd name="T9" fmla="*/ 2147483647 h 299"/>
                  <a:gd name="T10" fmla="*/ 2147483647 w 426"/>
                  <a:gd name="T11" fmla="*/ 2147483647 h 299"/>
                  <a:gd name="T12" fmla="*/ 2147483647 w 426"/>
                  <a:gd name="T13" fmla="*/ 2147483647 h 299"/>
                  <a:gd name="T14" fmla="*/ 2147483647 w 426"/>
                  <a:gd name="T15" fmla="*/ 2147483647 h 299"/>
                  <a:gd name="T16" fmla="*/ 2147483647 w 426"/>
                  <a:gd name="T17" fmla="*/ 2147483647 h 299"/>
                  <a:gd name="T18" fmla="*/ 2147483647 w 426"/>
                  <a:gd name="T19" fmla="*/ 2147483647 h 299"/>
                  <a:gd name="T20" fmla="*/ 2147483647 w 426"/>
                  <a:gd name="T21" fmla="*/ 2147483647 h 299"/>
                  <a:gd name="T22" fmla="*/ 2147483647 w 426"/>
                  <a:gd name="T23" fmla="*/ 2147483647 h 299"/>
                  <a:gd name="T24" fmla="*/ 2147483647 w 426"/>
                  <a:gd name="T25" fmla="*/ 2147483647 h 299"/>
                  <a:gd name="T26" fmla="*/ 2147483647 w 426"/>
                  <a:gd name="T27" fmla="*/ 2147483647 h 299"/>
                  <a:gd name="T28" fmla="*/ 2147483647 w 426"/>
                  <a:gd name="T29" fmla="*/ 2147483647 h 299"/>
                  <a:gd name="T30" fmla="*/ 2147483647 w 426"/>
                  <a:gd name="T31" fmla="*/ 2147483647 h 299"/>
                  <a:gd name="T32" fmla="*/ 2147483647 w 426"/>
                  <a:gd name="T33" fmla="*/ 2147483647 h 299"/>
                  <a:gd name="T34" fmla="*/ 2147483647 w 426"/>
                  <a:gd name="T35" fmla="*/ 2147483647 h 299"/>
                  <a:gd name="T36" fmla="*/ 2147483647 w 426"/>
                  <a:gd name="T37" fmla="*/ 2147483647 h 299"/>
                  <a:gd name="T38" fmla="*/ 2147483647 w 426"/>
                  <a:gd name="T39" fmla="*/ 2147483647 h 299"/>
                  <a:gd name="T40" fmla="*/ 2147483647 w 426"/>
                  <a:gd name="T41" fmla="*/ 2147483647 h 299"/>
                  <a:gd name="T42" fmla="*/ 2147483647 w 426"/>
                  <a:gd name="T43" fmla="*/ 2147483647 h 299"/>
                  <a:gd name="T44" fmla="*/ 2147483647 w 426"/>
                  <a:gd name="T45" fmla="*/ 2147483647 h 299"/>
                  <a:gd name="T46" fmla="*/ 2147483647 w 426"/>
                  <a:gd name="T47" fmla="*/ 2147483647 h 299"/>
                  <a:gd name="T48" fmla="*/ 2147483647 w 426"/>
                  <a:gd name="T49" fmla="*/ 2147483647 h 299"/>
                  <a:gd name="T50" fmla="*/ 2147483647 w 426"/>
                  <a:gd name="T51" fmla="*/ 2147483647 h 299"/>
                  <a:gd name="T52" fmla="*/ 2147483647 w 426"/>
                  <a:gd name="T53" fmla="*/ 2147483647 h 299"/>
                  <a:gd name="T54" fmla="*/ 2147483647 w 426"/>
                  <a:gd name="T55" fmla="*/ 2147483647 h 299"/>
                  <a:gd name="T56" fmla="*/ 2147483647 w 426"/>
                  <a:gd name="T57" fmla="*/ 2147483647 h 299"/>
                  <a:gd name="T58" fmla="*/ 2147483647 w 426"/>
                  <a:gd name="T59" fmla="*/ 2147483647 h 299"/>
                  <a:gd name="T60" fmla="*/ 2147483647 w 426"/>
                  <a:gd name="T61" fmla="*/ 2147483647 h 299"/>
                  <a:gd name="T62" fmla="*/ 2147483647 w 426"/>
                  <a:gd name="T63" fmla="*/ 2147483647 h 299"/>
                  <a:gd name="T64" fmla="*/ 2147483647 w 426"/>
                  <a:gd name="T65" fmla="*/ 2147483647 h 299"/>
                  <a:gd name="T66" fmla="*/ 2147483647 w 426"/>
                  <a:gd name="T67" fmla="*/ 2147483647 h 299"/>
                  <a:gd name="T68" fmla="*/ 2147483647 w 426"/>
                  <a:gd name="T69" fmla="*/ 2147483647 h 299"/>
                  <a:gd name="T70" fmla="*/ 2147483647 w 426"/>
                  <a:gd name="T71" fmla="*/ 2147483647 h 299"/>
                  <a:gd name="T72" fmla="*/ 2147483647 w 426"/>
                  <a:gd name="T73" fmla="*/ 2147483647 h 299"/>
                  <a:gd name="T74" fmla="*/ 2147483647 w 426"/>
                  <a:gd name="T75" fmla="*/ 2147483647 h 299"/>
                  <a:gd name="T76" fmla="*/ 2147483647 w 426"/>
                  <a:gd name="T77" fmla="*/ 2147483647 h 299"/>
                  <a:gd name="T78" fmla="*/ 2147483647 w 426"/>
                  <a:gd name="T79" fmla="*/ 2147483647 h 299"/>
                  <a:gd name="T80" fmla="*/ 2147483647 w 426"/>
                  <a:gd name="T81" fmla="*/ 2147483647 h 299"/>
                  <a:gd name="T82" fmla="*/ 2147483647 w 426"/>
                  <a:gd name="T83" fmla="*/ 2147483647 h 299"/>
                  <a:gd name="T84" fmla="*/ 2147483647 w 426"/>
                  <a:gd name="T85" fmla="*/ 2147483647 h 299"/>
                  <a:gd name="T86" fmla="*/ 2147483647 w 426"/>
                  <a:gd name="T87" fmla="*/ 2147483647 h 299"/>
                  <a:gd name="T88" fmla="*/ 2147483647 w 426"/>
                  <a:gd name="T89" fmla="*/ 2147483647 h 299"/>
                  <a:gd name="T90" fmla="*/ 2147483647 w 426"/>
                  <a:gd name="T91" fmla="*/ 2147483647 h 299"/>
                  <a:gd name="T92" fmla="*/ 2147483647 w 426"/>
                  <a:gd name="T93" fmla="*/ 2147483647 h 299"/>
                  <a:gd name="T94" fmla="*/ 2147483647 w 426"/>
                  <a:gd name="T95" fmla="*/ 2147483647 h 299"/>
                  <a:gd name="T96" fmla="*/ 2147483647 w 426"/>
                  <a:gd name="T97" fmla="*/ 2147483647 h 299"/>
                  <a:gd name="T98" fmla="*/ 2147483647 w 426"/>
                  <a:gd name="T99" fmla="*/ 2147483647 h 299"/>
                  <a:gd name="T100" fmla="*/ 2147483647 w 426"/>
                  <a:gd name="T101" fmla="*/ 2147483647 h 299"/>
                  <a:gd name="T102" fmla="*/ 2147483647 w 426"/>
                  <a:gd name="T103" fmla="*/ 2147483647 h 299"/>
                  <a:gd name="T104" fmla="*/ 2147483647 w 426"/>
                  <a:gd name="T105" fmla="*/ 2147483647 h 299"/>
                  <a:gd name="T106" fmla="*/ 2040748012 w 426"/>
                  <a:gd name="T107" fmla="*/ 2147483647 h 299"/>
                  <a:gd name="T108" fmla="*/ 680249191 w 426"/>
                  <a:gd name="T109" fmla="*/ 2147483647 h 299"/>
                  <a:gd name="T110" fmla="*/ 1275418972 w 426"/>
                  <a:gd name="T111" fmla="*/ 2147483647 h 299"/>
                  <a:gd name="T112" fmla="*/ 2147483647 w 426"/>
                  <a:gd name="T113" fmla="*/ 2147483647 h 299"/>
                  <a:gd name="T114" fmla="*/ 2147483647 w 426"/>
                  <a:gd name="T115" fmla="*/ 2147483647 h 299"/>
                  <a:gd name="T116" fmla="*/ 2147483647 w 426"/>
                  <a:gd name="T117" fmla="*/ 2147483647 h 299"/>
                  <a:gd name="T118" fmla="*/ 2147483647 w 426"/>
                  <a:gd name="T119" fmla="*/ 1945628850 h 29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29" name="Freeform 464"/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11676330" y="3009472"/>
                <a:ext cx="692150" cy="874713"/>
              </a:xfrm>
              <a:custGeom>
                <a:avLst/>
                <a:gdLst>
                  <a:gd name="T0" fmla="*/ 2147483647 w 1594"/>
                  <a:gd name="T1" fmla="*/ 2147483647 h 1670"/>
                  <a:gd name="T2" fmla="*/ 2147483647 w 1594"/>
                  <a:gd name="T3" fmla="*/ 2147483647 h 1670"/>
                  <a:gd name="T4" fmla="*/ 2147483647 w 1594"/>
                  <a:gd name="T5" fmla="*/ 2147483647 h 1670"/>
                  <a:gd name="T6" fmla="*/ 2147483647 w 1594"/>
                  <a:gd name="T7" fmla="*/ 2147483647 h 1670"/>
                  <a:gd name="T8" fmla="*/ 2147483647 w 1594"/>
                  <a:gd name="T9" fmla="*/ 2147483647 h 1670"/>
                  <a:gd name="T10" fmla="*/ 2147483647 w 1594"/>
                  <a:gd name="T11" fmla="*/ 2147483647 h 1670"/>
                  <a:gd name="T12" fmla="*/ 2147483647 w 1594"/>
                  <a:gd name="T13" fmla="*/ 2147483647 h 1670"/>
                  <a:gd name="T14" fmla="*/ 2147483647 w 1594"/>
                  <a:gd name="T15" fmla="*/ 2147483647 h 1670"/>
                  <a:gd name="T16" fmla="*/ 2147483647 w 1594"/>
                  <a:gd name="T17" fmla="*/ 2147483647 h 1670"/>
                  <a:gd name="T18" fmla="*/ 2147483647 w 1594"/>
                  <a:gd name="T19" fmla="*/ 2147483647 h 1670"/>
                  <a:gd name="T20" fmla="*/ 2147483647 w 1594"/>
                  <a:gd name="T21" fmla="*/ 2147483647 h 1670"/>
                  <a:gd name="T22" fmla="*/ 2147483647 w 1594"/>
                  <a:gd name="T23" fmla="*/ 2147483647 h 1670"/>
                  <a:gd name="T24" fmla="*/ 2147483647 w 1594"/>
                  <a:gd name="T25" fmla="*/ 2147483647 h 1670"/>
                  <a:gd name="T26" fmla="*/ 2147483647 w 1594"/>
                  <a:gd name="T27" fmla="*/ 2147483647 h 1670"/>
                  <a:gd name="T28" fmla="*/ 2147483647 w 1594"/>
                  <a:gd name="T29" fmla="*/ 2147483647 h 1670"/>
                  <a:gd name="T30" fmla="*/ 2147483647 w 1594"/>
                  <a:gd name="T31" fmla="*/ 2147483647 h 1670"/>
                  <a:gd name="T32" fmla="*/ 2147483647 w 1594"/>
                  <a:gd name="T33" fmla="*/ 2147483647 h 1670"/>
                  <a:gd name="T34" fmla="*/ 2147483647 w 1594"/>
                  <a:gd name="T35" fmla="*/ 2147483647 h 1670"/>
                  <a:gd name="T36" fmla="*/ 2147483647 w 1594"/>
                  <a:gd name="T37" fmla="*/ 2147483647 h 1670"/>
                  <a:gd name="T38" fmla="*/ 2147483647 w 1594"/>
                  <a:gd name="T39" fmla="*/ 2147483647 h 1670"/>
                  <a:gd name="T40" fmla="*/ 2147483647 w 1594"/>
                  <a:gd name="T41" fmla="*/ 2147483647 h 1670"/>
                  <a:gd name="T42" fmla="*/ 2147483647 w 1594"/>
                  <a:gd name="T43" fmla="*/ 2147483647 h 1670"/>
                  <a:gd name="T44" fmla="*/ 2147483647 w 1594"/>
                  <a:gd name="T45" fmla="*/ 2147483647 h 1670"/>
                  <a:gd name="T46" fmla="*/ 2147483647 w 1594"/>
                  <a:gd name="T47" fmla="*/ 2147483647 h 1670"/>
                  <a:gd name="T48" fmla="*/ 2147483647 w 1594"/>
                  <a:gd name="T49" fmla="*/ 2147483647 h 1670"/>
                  <a:gd name="T50" fmla="*/ 2147483647 w 1594"/>
                  <a:gd name="T51" fmla="*/ 2147483647 h 1670"/>
                  <a:gd name="T52" fmla="*/ 2147483647 w 1594"/>
                  <a:gd name="T53" fmla="*/ 2147483647 h 1670"/>
                  <a:gd name="T54" fmla="*/ 2147483647 w 1594"/>
                  <a:gd name="T55" fmla="*/ 2147483647 h 1670"/>
                  <a:gd name="T56" fmla="*/ 2147483647 w 1594"/>
                  <a:gd name="T57" fmla="*/ 2147483647 h 1670"/>
                  <a:gd name="T58" fmla="*/ 2147483647 w 1594"/>
                  <a:gd name="T59" fmla="*/ 2147483647 h 1670"/>
                  <a:gd name="T60" fmla="*/ 2147483647 w 1594"/>
                  <a:gd name="T61" fmla="*/ 2147483647 h 1670"/>
                  <a:gd name="T62" fmla="*/ 2147483647 w 1594"/>
                  <a:gd name="T63" fmla="*/ 2147483647 h 1670"/>
                  <a:gd name="T64" fmla="*/ 2147483647 w 1594"/>
                  <a:gd name="T65" fmla="*/ 2147483647 h 1670"/>
                  <a:gd name="T66" fmla="*/ 2147483647 w 1594"/>
                  <a:gd name="T67" fmla="*/ 2147483647 h 1670"/>
                  <a:gd name="T68" fmla="*/ 2147483647 w 1594"/>
                  <a:gd name="T69" fmla="*/ 2147483647 h 1670"/>
                  <a:gd name="T70" fmla="*/ 2147483647 w 1594"/>
                  <a:gd name="T71" fmla="*/ 2147483647 h 1670"/>
                  <a:gd name="T72" fmla="*/ 2147483647 w 1594"/>
                  <a:gd name="T73" fmla="*/ 2147483647 h 1670"/>
                  <a:gd name="T74" fmla="*/ 2147483647 w 1594"/>
                  <a:gd name="T75" fmla="*/ 2147483647 h 1670"/>
                  <a:gd name="T76" fmla="*/ 2147483647 w 1594"/>
                  <a:gd name="T77" fmla="*/ 2147483647 h 1670"/>
                  <a:gd name="T78" fmla="*/ 2147483647 w 1594"/>
                  <a:gd name="T79" fmla="*/ 2147483647 h 1670"/>
                  <a:gd name="T80" fmla="*/ 2147483647 w 1594"/>
                  <a:gd name="T81" fmla="*/ 2147483647 h 1670"/>
                  <a:gd name="T82" fmla="*/ 2147483647 w 1594"/>
                  <a:gd name="T83" fmla="*/ 2147483647 h 1670"/>
                  <a:gd name="T84" fmla="*/ 2147483647 w 1594"/>
                  <a:gd name="T85" fmla="*/ 2147483647 h 1670"/>
                  <a:gd name="T86" fmla="*/ 2147483647 w 1594"/>
                  <a:gd name="T87" fmla="*/ 2147483647 h 1670"/>
                  <a:gd name="T88" fmla="*/ 2147483647 w 1594"/>
                  <a:gd name="T89" fmla="*/ 2147483647 h 1670"/>
                  <a:gd name="T90" fmla="*/ 2147483647 w 1594"/>
                  <a:gd name="T91" fmla="*/ 2147483647 h 1670"/>
                  <a:gd name="T92" fmla="*/ 2147483647 w 1594"/>
                  <a:gd name="T93" fmla="*/ 2147483647 h 1670"/>
                  <a:gd name="T94" fmla="*/ 2147483647 w 1594"/>
                  <a:gd name="T95" fmla="*/ 2147483647 h 1670"/>
                  <a:gd name="T96" fmla="*/ 2147483647 w 1594"/>
                  <a:gd name="T97" fmla="*/ 2147483647 h 1670"/>
                  <a:gd name="T98" fmla="*/ 2147483647 w 1594"/>
                  <a:gd name="T99" fmla="*/ 2147483647 h 1670"/>
                  <a:gd name="T100" fmla="*/ 2147483647 w 1594"/>
                  <a:gd name="T101" fmla="*/ 2147483647 h 1670"/>
                  <a:gd name="T102" fmla="*/ 2147483647 w 1594"/>
                  <a:gd name="T103" fmla="*/ 2147483647 h 1670"/>
                  <a:gd name="T104" fmla="*/ 2147483647 w 1594"/>
                  <a:gd name="T105" fmla="*/ 2147483647 h 1670"/>
                  <a:gd name="T106" fmla="*/ 2147483647 w 1594"/>
                  <a:gd name="T107" fmla="*/ 2147483647 h 1670"/>
                  <a:gd name="T108" fmla="*/ 2147483647 w 1594"/>
                  <a:gd name="T109" fmla="*/ 2147483647 h 1670"/>
                  <a:gd name="T110" fmla="*/ 2147483647 w 1594"/>
                  <a:gd name="T111" fmla="*/ 2147483647 h 1670"/>
                  <a:gd name="T112" fmla="*/ 2147483647 w 1594"/>
                  <a:gd name="T113" fmla="*/ 2147483647 h 16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594" h="1670">
                    <a:moveTo>
                      <a:pt x="385" y="0"/>
                    </a:moveTo>
                    <a:lnTo>
                      <a:pt x="400" y="16"/>
                    </a:lnTo>
                    <a:lnTo>
                      <a:pt x="415" y="33"/>
                    </a:lnTo>
                    <a:lnTo>
                      <a:pt x="427" y="48"/>
                    </a:lnTo>
                    <a:lnTo>
                      <a:pt x="437" y="63"/>
                    </a:lnTo>
                    <a:lnTo>
                      <a:pt x="448" y="76"/>
                    </a:lnTo>
                    <a:lnTo>
                      <a:pt x="459" y="90"/>
                    </a:lnTo>
                    <a:lnTo>
                      <a:pt x="464" y="96"/>
                    </a:lnTo>
                    <a:lnTo>
                      <a:pt x="471" y="101"/>
                    </a:lnTo>
                    <a:lnTo>
                      <a:pt x="477" y="107"/>
                    </a:lnTo>
                    <a:lnTo>
                      <a:pt x="485" y="111"/>
                    </a:lnTo>
                    <a:lnTo>
                      <a:pt x="492" y="118"/>
                    </a:lnTo>
                    <a:lnTo>
                      <a:pt x="499" y="126"/>
                    </a:lnTo>
                    <a:lnTo>
                      <a:pt x="506" y="134"/>
                    </a:lnTo>
                    <a:lnTo>
                      <a:pt x="512" y="144"/>
                    </a:lnTo>
                    <a:lnTo>
                      <a:pt x="519" y="153"/>
                    </a:lnTo>
                    <a:lnTo>
                      <a:pt x="523" y="163"/>
                    </a:lnTo>
                    <a:lnTo>
                      <a:pt x="528" y="174"/>
                    </a:lnTo>
                    <a:lnTo>
                      <a:pt x="531" y="185"/>
                    </a:lnTo>
                    <a:lnTo>
                      <a:pt x="485" y="185"/>
                    </a:lnTo>
                    <a:lnTo>
                      <a:pt x="485" y="216"/>
                    </a:lnTo>
                    <a:lnTo>
                      <a:pt x="490" y="229"/>
                    </a:lnTo>
                    <a:lnTo>
                      <a:pt x="497" y="240"/>
                    </a:lnTo>
                    <a:lnTo>
                      <a:pt x="505" y="250"/>
                    </a:lnTo>
                    <a:lnTo>
                      <a:pt x="514" y="257"/>
                    </a:lnTo>
                    <a:lnTo>
                      <a:pt x="523" y="264"/>
                    </a:lnTo>
                    <a:lnTo>
                      <a:pt x="534" y="269"/>
                    </a:lnTo>
                    <a:lnTo>
                      <a:pt x="544" y="274"/>
                    </a:lnTo>
                    <a:lnTo>
                      <a:pt x="556" y="278"/>
                    </a:lnTo>
                    <a:lnTo>
                      <a:pt x="578" y="287"/>
                    </a:lnTo>
                    <a:lnTo>
                      <a:pt x="600" y="296"/>
                    </a:lnTo>
                    <a:lnTo>
                      <a:pt x="610" y="302"/>
                    </a:lnTo>
                    <a:lnTo>
                      <a:pt x="620" y="310"/>
                    </a:lnTo>
                    <a:lnTo>
                      <a:pt x="629" y="318"/>
                    </a:lnTo>
                    <a:lnTo>
                      <a:pt x="638" y="327"/>
                    </a:lnTo>
                    <a:lnTo>
                      <a:pt x="631" y="420"/>
                    </a:lnTo>
                    <a:lnTo>
                      <a:pt x="643" y="429"/>
                    </a:lnTo>
                    <a:lnTo>
                      <a:pt x="660" y="440"/>
                    </a:lnTo>
                    <a:lnTo>
                      <a:pt x="679" y="450"/>
                    </a:lnTo>
                    <a:lnTo>
                      <a:pt x="701" y="459"/>
                    </a:lnTo>
                    <a:lnTo>
                      <a:pt x="723" y="468"/>
                    </a:lnTo>
                    <a:lnTo>
                      <a:pt x="744" y="475"/>
                    </a:lnTo>
                    <a:lnTo>
                      <a:pt x="753" y="478"/>
                    </a:lnTo>
                    <a:lnTo>
                      <a:pt x="762" y="480"/>
                    </a:lnTo>
                    <a:lnTo>
                      <a:pt x="770" y="481"/>
                    </a:lnTo>
                    <a:lnTo>
                      <a:pt x="777" y="481"/>
                    </a:lnTo>
                    <a:lnTo>
                      <a:pt x="779" y="488"/>
                    </a:lnTo>
                    <a:lnTo>
                      <a:pt x="784" y="494"/>
                    </a:lnTo>
                    <a:lnTo>
                      <a:pt x="789" y="497"/>
                    </a:lnTo>
                    <a:lnTo>
                      <a:pt x="795" y="499"/>
                    </a:lnTo>
                    <a:lnTo>
                      <a:pt x="800" y="501"/>
                    </a:lnTo>
                    <a:lnTo>
                      <a:pt x="807" y="501"/>
                    </a:lnTo>
                    <a:lnTo>
                      <a:pt x="814" y="500"/>
                    </a:lnTo>
                    <a:lnTo>
                      <a:pt x="822" y="499"/>
                    </a:lnTo>
                    <a:lnTo>
                      <a:pt x="836" y="496"/>
                    </a:lnTo>
                    <a:lnTo>
                      <a:pt x="852" y="492"/>
                    </a:lnTo>
                    <a:lnTo>
                      <a:pt x="858" y="492"/>
                    </a:lnTo>
                    <a:lnTo>
                      <a:pt x="865" y="491"/>
                    </a:lnTo>
                    <a:lnTo>
                      <a:pt x="871" y="492"/>
                    </a:lnTo>
                    <a:lnTo>
                      <a:pt x="877" y="493"/>
                    </a:lnTo>
                    <a:lnTo>
                      <a:pt x="886" y="499"/>
                    </a:lnTo>
                    <a:lnTo>
                      <a:pt x="892" y="504"/>
                    </a:lnTo>
                    <a:lnTo>
                      <a:pt x="898" y="511"/>
                    </a:lnTo>
                    <a:lnTo>
                      <a:pt x="903" y="517"/>
                    </a:lnTo>
                    <a:lnTo>
                      <a:pt x="908" y="523"/>
                    </a:lnTo>
                    <a:lnTo>
                      <a:pt x="914" y="529"/>
                    </a:lnTo>
                    <a:lnTo>
                      <a:pt x="918" y="532"/>
                    </a:lnTo>
                    <a:lnTo>
                      <a:pt x="921" y="534"/>
                    </a:lnTo>
                    <a:lnTo>
                      <a:pt x="925" y="536"/>
                    </a:lnTo>
                    <a:lnTo>
                      <a:pt x="930" y="537"/>
                    </a:lnTo>
                    <a:lnTo>
                      <a:pt x="946" y="540"/>
                    </a:lnTo>
                    <a:lnTo>
                      <a:pt x="968" y="546"/>
                    </a:lnTo>
                    <a:lnTo>
                      <a:pt x="993" y="552"/>
                    </a:lnTo>
                    <a:lnTo>
                      <a:pt x="1021" y="559"/>
                    </a:lnTo>
                    <a:lnTo>
                      <a:pt x="1047" y="564"/>
                    </a:lnTo>
                    <a:lnTo>
                      <a:pt x="1071" y="568"/>
                    </a:lnTo>
                    <a:lnTo>
                      <a:pt x="1082" y="569"/>
                    </a:lnTo>
                    <a:lnTo>
                      <a:pt x="1090" y="570"/>
                    </a:lnTo>
                    <a:lnTo>
                      <a:pt x="1098" y="569"/>
                    </a:lnTo>
                    <a:lnTo>
                      <a:pt x="1102" y="567"/>
                    </a:lnTo>
                    <a:lnTo>
                      <a:pt x="1098" y="560"/>
                    </a:lnTo>
                    <a:lnTo>
                      <a:pt x="1093" y="552"/>
                    </a:lnTo>
                    <a:lnTo>
                      <a:pt x="1090" y="544"/>
                    </a:lnTo>
                    <a:lnTo>
                      <a:pt x="1088" y="535"/>
                    </a:lnTo>
                    <a:lnTo>
                      <a:pt x="1083" y="520"/>
                    </a:lnTo>
                    <a:lnTo>
                      <a:pt x="1082" y="512"/>
                    </a:lnTo>
                    <a:lnTo>
                      <a:pt x="1082" y="481"/>
                    </a:lnTo>
                    <a:lnTo>
                      <a:pt x="1082" y="450"/>
                    </a:lnTo>
                    <a:lnTo>
                      <a:pt x="1115" y="450"/>
                    </a:lnTo>
                    <a:lnTo>
                      <a:pt x="1121" y="461"/>
                    </a:lnTo>
                    <a:lnTo>
                      <a:pt x="1125" y="468"/>
                    </a:lnTo>
                    <a:lnTo>
                      <a:pt x="1131" y="474"/>
                    </a:lnTo>
                    <a:lnTo>
                      <a:pt x="1136" y="481"/>
                    </a:lnTo>
                    <a:lnTo>
                      <a:pt x="1135" y="497"/>
                    </a:lnTo>
                    <a:lnTo>
                      <a:pt x="1132" y="507"/>
                    </a:lnTo>
                    <a:lnTo>
                      <a:pt x="1130" y="515"/>
                    </a:lnTo>
                    <a:lnTo>
                      <a:pt x="1128" y="524"/>
                    </a:lnTo>
                    <a:lnTo>
                      <a:pt x="1149" y="530"/>
                    </a:lnTo>
                    <a:lnTo>
                      <a:pt x="1169" y="536"/>
                    </a:lnTo>
                    <a:lnTo>
                      <a:pt x="1179" y="539"/>
                    </a:lnTo>
                    <a:lnTo>
                      <a:pt x="1189" y="541"/>
                    </a:lnTo>
                    <a:lnTo>
                      <a:pt x="1199" y="542"/>
                    </a:lnTo>
                    <a:lnTo>
                      <a:pt x="1209" y="543"/>
                    </a:lnTo>
                    <a:lnTo>
                      <a:pt x="1210" y="547"/>
                    </a:lnTo>
                    <a:lnTo>
                      <a:pt x="1212" y="551"/>
                    </a:lnTo>
                    <a:lnTo>
                      <a:pt x="1215" y="554"/>
                    </a:lnTo>
                    <a:lnTo>
                      <a:pt x="1220" y="557"/>
                    </a:lnTo>
                    <a:lnTo>
                      <a:pt x="1228" y="560"/>
                    </a:lnTo>
                    <a:lnTo>
                      <a:pt x="1235" y="561"/>
                    </a:lnTo>
                    <a:lnTo>
                      <a:pt x="1243" y="561"/>
                    </a:lnTo>
                    <a:lnTo>
                      <a:pt x="1249" y="559"/>
                    </a:lnTo>
                    <a:lnTo>
                      <a:pt x="1256" y="556"/>
                    </a:lnTo>
                    <a:lnTo>
                      <a:pt x="1261" y="553"/>
                    </a:lnTo>
                    <a:lnTo>
                      <a:pt x="1267" y="549"/>
                    </a:lnTo>
                    <a:lnTo>
                      <a:pt x="1272" y="544"/>
                    </a:lnTo>
                    <a:lnTo>
                      <a:pt x="1277" y="539"/>
                    </a:lnTo>
                    <a:lnTo>
                      <a:pt x="1281" y="534"/>
                    </a:lnTo>
                    <a:lnTo>
                      <a:pt x="1289" y="521"/>
                    </a:lnTo>
                    <a:lnTo>
                      <a:pt x="1294" y="509"/>
                    </a:lnTo>
                    <a:lnTo>
                      <a:pt x="1299" y="498"/>
                    </a:lnTo>
                    <a:lnTo>
                      <a:pt x="1302" y="487"/>
                    </a:lnTo>
                    <a:lnTo>
                      <a:pt x="1312" y="476"/>
                    </a:lnTo>
                    <a:lnTo>
                      <a:pt x="1322" y="465"/>
                    </a:lnTo>
                    <a:lnTo>
                      <a:pt x="1333" y="456"/>
                    </a:lnTo>
                    <a:lnTo>
                      <a:pt x="1344" y="446"/>
                    </a:lnTo>
                    <a:lnTo>
                      <a:pt x="1356" y="438"/>
                    </a:lnTo>
                    <a:lnTo>
                      <a:pt x="1367" y="430"/>
                    </a:lnTo>
                    <a:lnTo>
                      <a:pt x="1379" y="423"/>
                    </a:lnTo>
                    <a:lnTo>
                      <a:pt x="1391" y="416"/>
                    </a:lnTo>
                    <a:lnTo>
                      <a:pt x="1404" y="409"/>
                    </a:lnTo>
                    <a:lnTo>
                      <a:pt x="1417" y="403"/>
                    </a:lnTo>
                    <a:lnTo>
                      <a:pt x="1430" y="398"/>
                    </a:lnTo>
                    <a:lnTo>
                      <a:pt x="1444" y="393"/>
                    </a:lnTo>
                    <a:lnTo>
                      <a:pt x="1472" y="384"/>
                    </a:lnTo>
                    <a:lnTo>
                      <a:pt x="1501" y="377"/>
                    </a:lnTo>
                    <a:lnTo>
                      <a:pt x="1507" y="385"/>
                    </a:lnTo>
                    <a:lnTo>
                      <a:pt x="1515" y="395"/>
                    </a:lnTo>
                    <a:lnTo>
                      <a:pt x="1526" y="406"/>
                    </a:lnTo>
                    <a:lnTo>
                      <a:pt x="1537" y="418"/>
                    </a:lnTo>
                    <a:lnTo>
                      <a:pt x="1549" y="428"/>
                    </a:lnTo>
                    <a:lnTo>
                      <a:pt x="1562" y="436"/>
                    </a:lnTo>
                    <a:lnTo>
                      <a:pt x="1568" y="440"/>
                    </a:lnTo>
                    <a:lnTo>
                      <a:pt x="1574" y="442"/>
                    </a:lnTo>
                    <a:lnTo>
                      <a:pt x="1581" y="444"/>
                    </a:lnTo>
                    <a:lnTo>
                      <a:pt x="1587" y="444"/>
                    </a:lnTo>
                    <a:lnTo>
                      <a:pt x="1594" y="432"/>
                    </a:lnTo>
                    <a:lnTo>
                      <a:pt x="1590" y="453"/>
                    </a:lnTo>
                    <a:lnTo>
                      <a:pt x="1585" y="477"/>
                    </a:lnTo>
                    <a:lnTo>
                      <a:pt x="1583" y="488"/>
                    </a:lnTo>
                    <a:lnTo>
                      <a:pt x="1579" y="498"/>
                    </a:lnTo>
                    <a:lnTo>
                      <a:pt x="1576" y="502"/>
                    </a:lnTo>
                    <a:lnTo>
                      <a:pt x="1574" y="506"/>
                    </a:lnTo>
                    <a:lnTo>
                      <a:pt x="1571" y="509"/>
                    </a:lnTo>
                    <a:lnTo>
                      <a:pt x="1568" y="512"/>
                    </a:lnTo>
                    <a:lnTo>
                      <a:pt x="1554" y="515"/>
                    </a:lnTo>
                    <a:lnTo>
                      <a:pt x="1531" y="523"/>
                    </a:lnTo>
                    <a:lnTo>
                      <a:pt x="1520" y="530"/>
                    </a:lnTo>
                    <a:lnTo>
                      <a:pt x="1511" y="536"/>
                    </a:lnTo>
                    <a:lnTo>
                      <a:pt x="1506" y="539"/>
                    </a:lnTo>
                    <a:lnTo>
                      <a:pt x="1504" y="542"/>
                    </a:lnTo>
                    <a:lnTo>
                      <a:pt x="1502" y="546"/>
                    </a:lnTo>
                    <a:lnTo>
                      <a:pt x="1501" y="549"/>
                    </a:lnTo>
                    <a:lnTo>
                      <a:pt x="1502" y="584"/>
                    </a:lnTo>
                    <a:lnTo>
                      <a:pt x="1501" y="624"/>
                    </a:lnTo>
                    <a:lnTo>
                      <a:pt x="1498" y="634"/>
                    </a:lnTo>
                    <a:lnTo>
                      <a:pt x="1497" y="645"/>
                    </a:lnTo>
                    <a:lnTo>
                      <a:pt x="1495" y="654"/>
                    </a:lnTo>
                    <a:lnTo>
                      <a:pt x="1493" y="663"/>
                    </a:lnTo>
                    <a:lnTo>
                      <a:pt x="1490" y="671"/>
                    </a:lnTo>
                    <a:lnTo>
                      <a:pt x="1485" y="679"/>
                    </a:lnTo>
                    <a:lnTo>
                      <a:pt x="1480" y="685"/>
                    </a:lnTo>
                    <a:lnTo>
                      <a:pt x="1474" y="690"/>
                    </a:lnTo>
                    <a:lnTo>
                      <a:pt x="1471" y="693"/>
                    </a:lnTo>
                    <a:lnTo>
                      <a:pt x="1464" y="694"/>
                    </a:lnTo>
                    <a:lnTo>
                      <a:pt x="1457" y="695"/>
                    </a:lnTo>
                    <a:lnTo>
                      <a:pt x="1449" y="696"/>
                    </a:lnTo>
                    <a:lnTo>
                      <a:pt x="1441" y="697"/>
                    </a:lnTo>
                    <a:lnTo>
                      <a:pt x="1434" y="700"/>
                    </a:lnTo>
                    <a:lnTo>
                      <a:pt x="1431" y="701"/>
                    </a:lnTo>
                    <a:lnTo>
                      <a:pt x="1429" y="704"/>
                    </a:lnTo>
                    <a:lnTo>
                      <a:pt x="1428" y="706"/>
                    </a:lnTo>
                    <a:lnTo>
                      <a:pt x="1428" y="709"/>
                    </a:lnTo>
                    <a:lnTo>
                      <a:pt x="1427" y="721"/>
                    </a:lnTo>
                    <a:lnTo>
                      <a:pt x="1427" y="735"/>
                    </a:lnTo>
                    <a:lnTo>
                      <a:pt x="1425" y="750"/>
                    </a:lnTo>
                    <a:lnTo>
                      <a:pt x="1423" y="764"/>
                    </a:lnTo>
                    <a:lnTo>
                      <a:pt x="1420" y="778"/>
                    </a:lnTo>
                    <a:lnTo>
                      <a:pt x="1417" y="791"/>
                    </a:lnTo>
                    <a:lnTo>
                      <a:pt x="1413" y="803"/>
                    </a:lnTo>
                    <a:lnTo>
                      <a:pt x="1408" y="814"/>
                    </a:lnTo>
                    <a:lnTo>
                      <a:pt x="1361" y="733"/>
                    </a:lnTo>
                    <a:lnTo>
                      <a:pt x="1359" y="737"/>
                    </a:lnTo>
                    <a:lnTo>
                      <a:pt x="1354" y="746"/>
                    </a:lnTo>
                    <a:lnTo>
                      <a:pt x="1349" y="751"/>
                    </a:lnTo>
                    <a:lnTo>
                      <a:pt x="1345" y="755"/>
                    </a:lnTo>
                    <a:lnTo>
                      <a:pt x="1340" y="758"/>
                    </a:lnTo>
                    <a:lnTo>
                      <a:pt x="1335" y="759"/>
                    </a:lnTo>
                    <a:lnTo>
                      <a:pt x="1329" y="758"/>
                    </a:lnTo>
                    <a:lnTo>
                      <a:pt x="1325" y="757"/>
                    </a:lnTo>
                    <a:lnTo>
                      <a:pt x="1321" y="754"/>
                    </a:lnTo>
                    <a:lnTo>
                      <a:pt x="1316" y="751"/>
                    </a:lnTo>
                    <a:lnTo>
                      <a:pt x="1313" y="746"/>
                    </a:lnTo>
                    <a:lnTo>
                      <a:pt x="1311" y="742"/>
                    </a:lnTo>
                    <a:lnTo>
                      <a:pt x="1308" y="738"/>
                    </a:lnTo>
                    <a:lnTo>
                      <a:pt x="1308" y="733"/>
                    </a:lnTo>
                    <a:lnTo>
                      <a:pt x="1308" y="727"/>
                    </a:lnTo>
                    <a:lnTo>
                      <a:pt x="1311" y="721"/>
                    </a:lnTo>
                    <a:lnTo>
                      <a:pt x="1313" y="715"/>
                    </a:lnTo>
                    <a:lnTo>
                      <a:pt x="1315" y="709"/>
                    </a:lnTo>
                    <a:lnTo>
                      <a:pt x="1323" y="698"/>
                    </a:lnTo>
                    <a:lnTo>
                      <a:pt x="1332" y="687"/>
                    </a:lnTo>
                    <a:lnTo>
                      <a:pt x="1340" y="677"/>
                    </a:lnTo>
                    <a:lnTo>
                      <a:pt x="1348" y="666"/>
                    </a:lnTo>
                    <a:lnTo>
                      <a:pt x="1350" y="660"/>
                    </a:lnTo>
                    <a:lnTo>
                      <a:pt x="1352" y="655"/>
                    </a:lnTo>
                    <a:lnTo>
                      <a:pt x="1355" y="648"/>
                    </a:lnTo>
                    <a:lnTo>
                      <a:pt x="1355" y="642"/>
                    </a:lnTo>
                    <a:lnTo>
                      <a:pt x="1235" y="642"/>
                    </a:lnTo>
                    <a:lnTo>
                      <a:pt x="1231" y="641"/>
                    </a:lnTo>
                    <a:lnTo>
                      <a:pt x="1225" y="638"/>
                    </a:lnTo>
                    <a:lnTo>
                      <a:pt x="1221" y="632"/>
                    </a:lnTo>
                    <a:lnTo>
                      <a:pt x="1217" y="626"/>
                    </a:lnTo>
                    <a:lnTo>
                      <a:pt x="1214" y="618"/>
                    </a:lnTo>
                    <a:lnTo>
                      <a:pt x="1211" y="610"/>
                    </a:lnTo>
                    <a:lnTo>
                      <a:pt x="1210" y="601"/>
                    </a:lnTo>
                    <a:lnTo>
                      <a:pt x="1209" y="592"/>
                    </a:lnTo>
                    <a:lnTo>
                      <a:pt x="1203" y="592"/>
                    </a:lnTo>
                    <a:lnTo>
                      <a:pt x="1198" y="591"/>
                    </a:lnTo>
                    <a:lnTo>
                      <a:pt x="1192" y="590"/>
                    </a:lnTo>
                    <a:lnTo>
                      <a:pt x="1187" y="588"/>
                    </a:lnTo>
                    <a:lnTo>
                      <a:pt x="1182" y="585"/>
                    </a:lnTo>
                    <a:lnTo>
                      <a:pt x="1179" y="582"/>
                    </a:lnTo>
                    <a:lnTo>
                      <a:pt x="1177" y="577"/>
                    </a:lnTo>
                    <a:lnTo>
                      <a:pt x="1176" y="573"/>
                    </a:lnTo>
                    <a:lnTo>
                      <a:pt x="1167" y="573"/>
                    </a:lnTo>
                    <a:lnTo>
                      <a:pt x="1159" y="573"/>
                    </a:lnTo>
                    <a:lnTo>
                      <a:pt x="1151" y="573"/>
                    </a:lnTo>
                    <a:lnTo>
                      <a:pt x="1143" y="573"/>
                    </a:lnTo>
                    <a:lnTo>
                      <a:pt x="1136" y="574"/>
                    </a:lnTo>
                    <a:lnTo>
                      <a:pt x="1131" y="575"/>
                    </a:lnTo>
                    <a:lnTo>
                      <a:pt x="1124" y="578"/>
                    </a:lnTo>
                    <a:lnTo>
                      <a:pt x="1117" y="582"/>
                    </a:lnTo>
                    <a:lnTo>
                      <a:pt x="1112" y="587"/>
                    </a:lnTo>
                    <a:lnTo>
                      <a:pt x="1106" y="592"/>
                    </a:lnTo>
                    <a:lnTo>
                      <a:pt x="1103" y="598"/>
                    </a:lnTo>
                    <a:lnTo>
                      <a:pt x="1102" y="604"/>
                    </a:lnTo>
                    <a:lnTo>
                      <a:pt x="1104" y="608"/>
                    </a:lnTo>
                    <a:lnTo>
                      <a:pt x="1110" y="613"/>
                    </a:lnTo>
                    <a:lnTo>
                      <a:pt x="1117" y="619"/>
                    </a:lnTo>
                    <a:lnTo>
                      <a:pt x="1127" y="625"/>
                    </a:lnTo>
                    <a:lnTo>
                      <a:pt x="1137" y="631"/>
                    </a:lnTo>
                    <a:lnTo>
                      <a:pt x="1147" y="636"/>
                    </a:lnTo>
                    <a:lnTo>
                      <a:pt x="1156" y="640"/>
                    </a:lnTo>
                    <a:lnTo>
                      <a:pt x="1162" y="642"/>
                    </a:lnTo>
                    <a:lnTo>
                      <a:pt x="1149" y="652"/>
                    </a:lnTo>
                    <a:lnTo>
                      <a:pt x="1134" y="664"/>
                    </a:lnTo>
                    <a:lnTo>
                      <a:pt x="1127" y="670"/>
                    </a:lnTo>
                    <a:lnTo>
                      <a:pt x="1121" y="677"/>
                    </a:lnTo>
                    <a:lnTo>
                      <a:pt x="1119" y="680"/>
                    </a:lnTo>
                    <a:lnTo>
                      <a:pt x="1117" y="683"/>
                    </a:lnTo>
                    <a:lnTo>
                      <a:pt x="1116" y="687"/>
                    </a:lnTo>
                    <a:lnTo>
                      <a:pt x="1115" y="690"/>
                    </a:lnTo>
                    <a:lnTo>
                      <a:pt x="1116" y="695"/>
                    </a:lnTo>
                    <a:lnTo>
                      <a:pt x="1117" y="698"/>
                    </a:lnTo>
                    <a:lnTo>
                      <a:pt x="1120" y="702"/>
                    </a:lnTo>
                    <a:lnTo>
                      <a:pt x="1122" y="706"/>
                    </a:lnTo>
                    <a:lnTo>
                      <a:pt x="1130" y="714"/>
                    </a:lnTo>
                    <a:lnTo>
                      <a:pt x="1139" y="722"/>
                    </a:lnTo>
                    <a:lnTo>
                      <a:pt x="1149" y="729"/>
                    </a:lnTo>
                    <a:lnTo>
                      <a:pt x="1160" y="735"/>
                    </a:lnTo>
                    <a:lnTo>
                      <a:pt x="1166" y="737"/>
                    </a:lnTo>
                    <a:lnTo>
                      <a:pt x="1171" y="738"/>
                    </a:lnTo>
                    <a:lnTo>
                      <a:pt x="1177" y="739"/>
                    </a:lnTo>
                    <a:lnTo>
                      <a:pt x="1182" y="740"/>
                    </a:lnTo>
                    <a:lnTo>
                      <a:pt x="1209" y="844"/>
                    </a:lnTo>
                    <a:lnTo>
                      <a:pt x="1194" y="844"/>
                    </a:lnTo>
                    <a:lnTo>
                      <a:pt x="1180" y="844"/>
                    </a:lnTo>
                    <a:lnTo>
                      <a:pt x="1167" y="844"/>
                    </a:lnTo>
                    <a:lnTo>
                      <a:pt x="1156" y="844"/>
                    </a:lnTo>
                    <a:lnTo>
                      <a:pt x="1149" y="843"/>
                    </a:lnTo>
                    <a:lnTo>
                      <a:pt x="1142" y="838"/>
                    </a:lnTo>
                    <a:lnTo>
                      <a:pt x="1137" y="836"/>
                    </a:lnTo>
                    <a:lnTo>
                      <a:pt x="1132" y="834"/>
                    </a:lnTo>
                    <a:lnTo>
                      <a:pt x="1127" y="833"/>
                    </a:lnTo>
                    <a:lnTo>
                      <a:pt x="1122" y="832"/>
                    </a:lnTo>
                    <a:lnTo>
                      <a:pt x="1117" y="834"/>
                    </a:lnTo>
                    <a:lnTo>
                      <a:pt x="1109" y="839"/>
                    </a:lnTo>
                    <a:lnTo>
                      <a:pt x="1099" y="846"/>
                    </a:lnTo>
                    <a:lnTo>
                      <a:pt x="1087" y="854"/>
                    </a:lnTo>
                    <a:lnTo>
                      <a:pt x="1075" y="864"/>
                    </a:lnTo>
                    <a:lnTo>
                      <a:pt x="1065" y="872"/>
                    </a:lnTo>
                    <a:lnTo>
                      <a:pt x="1058" y="878"/>
                    </a:lnTo>
                    <a:lnTo>
                      <a:pt x="1056" y="882"/>
                    </a:lnTo>
                    <a:lnTo>
                      <a:pt x="1076" y="894"/>
                    </a:lnTo>
                    <a:lnTo>
                      <a:pt x="1075" y="900"/>
                    </a:lnTo>
                    <a:lnTo>
                      <a:pt x="1072" y="907"/>
                    </a:lnTo>
                    <a:lnTo>
                      <a:pt x="1069" y="912"/>
                    </a:lnTo>
                    <a:lnTo>
                      <a:pt x="1066" y="919"/>
                    </a:lnTo>
                    <a:lnTo>
                      <a:pt x="1058" y="928"/>
                    </a:lnTo>
                    <a:lnTo>
                      <a:pt x="1049" y="937"/>
                    </a:lnTo>
                    <a:lnTo>
                      <a:pt x="1039" y="945"/>
                    </a:lnTo>
                    <a:lnTo>
                      <a:pt x="1027" y="952"/>
                    </a:lnTo>
                    <a:lnTo>
                      <a:pt x="1016" y="958"/>
                    </a:lnTo>
                    <a:lnTo>
                      <a:pt x="1004" y="964"/>
                    </a:lnTo>
                    <a:lnTo>
                      <a:pt x="992" y="972"/>
                    </a:lnTo>
                    <a:lnTo>
                      <a:pt x="981" y="978"/>
                    </a:lnTo>
                    <a:lnTo>
                      <a:pt x="971" y="985"/>
                    </a:lnTo>
                    <a:lnTo>
                      <a:pt x="962" y="993"/>
                    </a:lnTo>
                    <a:lnTo>
                      <a:pt x="957" y="997"/>
                    </a:lnTo>
                    <a:lnTo>
                      <a:pt x="954" y="1001"/>
                    </a:lnTo>
                    <a:lnTo>
                      <a:pt x="951" y="1006"/>
                    </a:lnTo>
                    <a:lnTo>
                      <a:pt x="948" y="1011"/>
                    </a:lnTo>
                    <a:lnTo>
                      <a:pt x="946" y="1017"/>
                    </a:lnTo>
                    <a:lnTo>
                      <a:pt x="944" y="1022"/>
                    </a:lnTo>
                    <a:lnTo>
                      <a:pt x="943" y="1029"/>
                    </a:lnTo>
                    <a:lnTo>
                      <a:pt x="943" y="1036"/>
                    </a:lnTo>
                    <a:lnTo>
                      <a:pt x="934" y="1039"/>
                    </a:lnTo>
                    <a:lnTo>
                      <a:pt x="926" y="1042"/>
                    </a:lnTo>
                    <a:lnTo>
                      <a:pt x="919" y="1046"/>
                    </a:lnTo>
                    <a:lnTo>
                      <a:pt x="912" y="1050"/>
                    </a:lnTo>
                    <a:lnTo>
                      <a:pt x="898" y="1060"/>
                    </a:lnTo>
                    <a:lnTo>
                      <a:pt x="886" y="1072"/>
                    </a:lnTo>
                    <a:lnTo>
                      <a:pt x="864" y="1099"/>
                    </a:lnTo>
                    <a:lnTo>
                      <a:pt x="843" y="1128"/>
                    </a:lnTo>
                    <a:lnTo>
                      <a:pt x="832" y="1143"/>
                    </a:lnTo>
                    <a:lnTo>
                      <a:pt x="821" y="1156"/>
                    </a:lnTo>
                    <a:lnTo>
                      <a:pt x="809" y="1168"/>
                    </a:lnTo>
                    <a:lnTo>
                      <a:pt x="796" y="1179"/>
                    </a:lnTo>
                    <a:lnTo>
                      <a:pt x="788" y="1184"/>
                    </a:lnTo>
                    <a:lnTo>
                      <a:pt x="780" y="1188"/>
                    </a:lnTo>
                    <a:lnTo>
                      <a:pt x="773" y="1192"/>
                    </a:lnTo>
                    <a:lnTo>
                      <a:pt x="764" y="1196"/>
                    </a:lnTo>
                    <a:lnTo>
                      <a:pt x="754" y="1199"/>
                    </a:lnTo>
                    <a:lnTo>
                      <a:pt x="745" y="1201"/>
                    </a:lnTo>
                    <a:lnTo>
                      <a:pt x="734" y="1202"/>
                    </a:lnTo>
                    <a:lnTo>
                      <a:pt x="723" y="1202"/>
                    </a:lnTo>
                    <a:lnTo>
                      <a:pt x="723" y="1211"/>
                    </a:lnTo>
                    <a:lnTo>
                      <a:pt x="723" y="1220"/>
                    </a:lnTo>
                    <a:lnTo>
                      <a:pt x="723" y="1227"/>
                    </a:lnTo>
                    <a:lnTo>
                      <a:pt x="723" y="1233"/>
                    </a:lnTo>
                    <a:lnTo>
                      <a:pt x="723" y="1244"/>
                    </a:lnTo>
                    <a:lnTo>
                      <a:pt x="723" y="1261"/>
                    </a:lnTo>
                    <a:lnTo>
                      <a:pt x="723" y="1279"/>
                    </a:lnTo>
                    <a:lnTo>
                      <a:pt x="725" y="1298"/>
                    </a:lnTo>
                    <a:lnTo>
                      <a:pt x="727" y="1308"/>
                    </a:lnTo>
                    <a:lnTo>
                      <a:pt x="729" y="1317"/>
                    </a:lnTo>
                    <a:lnTo>
                      <a:pt x="731" y="1325"/>
                    </a:lnTo>
                    <a:lnTo>
                      <a:pt x="735" y="1332"/>
                    </a:lnTo>
                    <a:lnTo>
                      <a:pt x="739" y="1339"/>
                    </a:lnTo>
                    <a:lnTo>
                      <a:pt x="744" y="1344"/>
                    </a:lnTo>
                    <a:lnTo>
                      <a:pt x="750" y="1348"/>
                    </a:lnTo>
                    <a:lnTo>
                      <a:pt x="757" y="1350"/>
                    </a:lnTo>
                    <a:lnTo>
                      <a:pt x="751" y="1366"/>
                    </a:lnTo>
                    <a:lnTo>
                      <a:pt x="744" y="1380"/>
                    </a:lnTo>
                    <a:lnTo>
                      <a:pt x="736" y="1393"/>
                    </a:lnTo>
                    <a:lnTo>
                      <a:pt x="729" y="1405"/>
                    </a:lnTo>
                    <a:lnTo>
                      <a:pt x="721" y="1419"/>
                    </a:lnTo>
                    <a:lnTo>
                      <a:pt x="716" y="1432"/>
                    </a:lnTo>
                    <a:lnTo>
                      <a:pt x="713" y="1438"/>
                    </a:lnTo>
                    <a:lnTo>
                      <a:pt x="712" y="1445"/>
                    </a:lnTo>
                    <a:lnTo>
                      <a:pt x="711" y="1453"/>
                    </a:lnTo>
                    <a:lnTo>
                      <a:pt x="710" y="1460"/>
                    </a:lnTo>
                    <a:lnTo>
                      <a:pt x="711" y="1463"/>
                    </a:lnTo>
                    <a:lnTo>
                      <a:pt x="712" y="1465"/>
                    </a:lnTo>
                    <a:lnTo>
                      <a:pt x="714" y="1467"/>
                    </a:lnTo>
                    <a:lnTo>
                      <a:pt x="718" y="1469"/>
                    </a:lnTo>
                    <a:lnTo>
                      <a:pt x="724" y="1473"/>
                    </a:lnTo>
                    <a:lnTo>
                      <a:pt x="730" y="1474"/>
                    </a:lnTo>
                    <a:lnTo>
                      <a:pt x="730" y="1510"/>
                    </a:lnTo>
                    <a:lnTo>
                      <a:pt x="722" y="1524"/>
                    </a:lnTo>
                    <a:lnTo>
                      <a:pt x="716" y="1539"/>
                    </a:lnTo>
                    <a:lnTo>
                      <a:pt x="711" y="1545"/>
                    </a:lnTo>
                    <a:lnTo>
                      <a:pt x="706" y="1549"/>
                    </a:lnTo>
                    <a:lnTo>
                      <a:pt x="702" y="1551"/>
                    </a:lnTo>
                    <a:lnTo>
                      <a:pt x="699" y="1552"/>
                    </a:lnTo>
                    <a:lnTo>
                      <a:pt x="695" y="1553"/>
                    </a:lnTo>
                    <a:lnTo>
                      <a:pt x="690" y="1553"/>
                    </a:lnTo>
                    <a:lnTo>
                      <a:pt x="690" y="1561"/>
                    </a:lnTo>
                    <a:lnTo>
                      <a:pt x="691" y="1571"/>
                    </a:lnTo>
                    <a:lnTo>
                      <a:pt x="693" y="1576"/>
                    </a:lnTo>
                    <a:lnTo>
                      <a:pt x="694" y="1580"/>
                    </a:lnTo>
                    <a:lnTo>
                      <a:pt x="695" y="1583"/>
                    </a:lnTo>
                    <a:lnTo>
                      <a:pt x="697" y="1584"/>
                    </a:lnTo>
                    <a:lnTo>
                      <a:pt x="671" y="1605"/>
                    </a:lnTo>
                    <a:lnTo>
                      <a:pt x="649" y="1622"/>
                    </a:lnTo>
                    <a:lnTo>
                      <a:pt x="639" y="1632"/>
                    </a:lnTo>
                    <a:lnTo>
                      <a:pt x="630" y="1643"/>
                    </a:lnTo>
                    <a:lnTo>
                      <a:pt x="620" y="1656"/>
                    </a:lnTo>
                    <a:lnTo>
                      <a:pt x="611" y="1670"/>
                    </a:lnTo>
                    <a:lnTo>
                      <a:pt x="595" y="1663"/>
                    </a:lnTo>
                    <a:lnTo>
                      <a:pt x="584" y="1656"/>
                    </a:lnTo>
                    <a:lnTo>
                      <a:pt x="575" y="1649"/>
                    </a:lnTo>
                    <a:lnTo>
                      <a:pt x="568" y="1641"/>
                    </a:lnTo>
                    <a:lnTo>
                      <a:pt x="563" y="1631"/>
                    </a:lnTo>
                    <a:lnTo>
                      <a:pt x="560" y="1621"/>
                    </a:lnTo>
                    <a:lnTo>
                      <a:pt x="555" y="1609"/>
                    </a:lnTo>
                    <a:lnTo>
                      <a:pt x="551" y="1597"/>
                    </a:lnTo>
                    <a:lnTo>
                      <a:pt x="542" y="1574"/>
                    </a:lnTo>
                    <a:lnTo>
                      <a:pt x="530" y="1552"/>
                    </a:lnTo>
                    <a:lnTo>
                      <a:pt x="516" y="1529"/>
                    </a:lnTo>
                    <a:lnTo>
                      <a:pt x="501" y="1505"/>
                    </a:lnTo>
                    <a:lnTo>
                      <a:pt x="486" y="1483"/>
                    </a:lnTo>
                    <a:lnTo>
                      <a:pt x="473" y="1461"/>
                    </a:lnTo>
                    <a:lnTo>
                      <a:pt x="461" y="1441"/>
                    </a:lnTo>
                    <a:lnTo>
                      <a:pt x="451" y="1424"/>
                    </a:lnTo>
                    <a:lnTo>
                      <a:pt x="442" y="1405"/>
                    </a:lnTo>
                    <a:lnTo>
                      <a:pt x="436" y="1388"/>
                    </a:lnTo>
                    <a:lnTo>
                      <a:pt x="430" y="1370"/>
                    </a:lnTo>
                    <a:lnTo>
                      <a:pt x="425" y="1352"/>
                    </a:lnTo>
                    <a:lnTo>
                      <a:pt x="419" y="1334"/>
                    </a:lnTo>
                    <a:lnTo>
                      <a:pt x="414" y="1316"/>
                    </a:lnTo>
                    <a:lnTo>
                      <a:pt x="407" y="1296"/>
                    </a:lnTo>
                    <a:lnTo>
                      <a:pt x="398" y="1276"/>
                    </a:lnTo>
                    <a:lnTo>
                      <a:pt x="376" y="1244"/>
                    </a:lnTo>
                    <a:lnTo>
                      <a:pt x="352" y="1214"/>
                    </a:lnTo>
                    <a:lnTo>
                      <a:pt x="341" y="1200"/>
                    </a:lnTo>
                    <a:lnTo>
                      <a:pt x="330" y="1184"/>
                    </a:lnTo>
                    <a:lnTo>
                      <a:pt x="320" y="1169"/>
                    </a:lnTo>
                    <a:lnTo>
                      <a:pt x="312" y="1153"/>
                    </a:lnTo>
                    <a:lnTo>
                      <a:pt x="301" y="1114"/>
                    </a:lnTo>
                    <a:lnTo>
                      <a:pt x="292" y="1078"/>
                    </a:lnTo>
                    <a:lnTo>
                      <a:pt x="284" y="1043"/>
                    </a:lnTo>
                    <a:lnTo>
                      <a:pt x="280" y="1008"/>
                    </a:lnTo>
                    <a:lnTo>
                      <a:pt x="275" y="974"/>
                    </a:lnTo>
                    <a:lnTo>
                      <a:pt x="273" y="938"/>
                    </a:lnTo>
                    <a:lnTo>
                      <a:pt x="272" y="901"/>
                    </a:lnTo>
                    <a:lnTo>
                      <a:pt x="272" y="864"/>
                    </a:lnTo>
                    <a:lnTo>
                      <a:pt x="268" y="863"/>
                    </a:lnTo>
                    <a:lnTo>
                      <a:pt x="263" y="862"/>
                    </a:lnTo>
                    <a:lnTo>
                      <a:pt x="259" y="861"/>
                    </a:lnTo>
                    <a:lnTo>
                      <a:pt x="256" y="857"/>
                    </a:lnTo>
                    <a:lnTo>
                      <a:pt x="252" y="855"/>
                    </a:lnTo>
                    <a:lnTo>
                      <a:pt x="250" y="852"/>
                    </a:lnTo>
                    <a:lnTo>
                      <a:pt x="247" y="848"/>
                    </a:lnTo>
                    <a:lnTo>
                      <a:pt x="246" y="844"/>
                    </a:lnTo>
                    <a:lnTo>
                      <a:pt x="242" y="836"/>
                    </a:lnTo>
                    <a:lnTo>
                      <a:pt x="240" y="827"/>
                    </a:lnTo>
                    <a:lnTo>
                      <a:pt x="239" y="817"/>
                    </a:lnTo>
                    <a:lnTo>
                      <a:pt x="239" y="808"/>
                    </a:lnTo>
                    <a:lnTo>
                      <a:pt x="230" y="814"/>
                    </a:lnTo>
                    <a:lnTo>
                      <a:pt x="224" y="821"/>
                    </a:lnTo>
                    <a:lnTo>
                      <a:pt x="217" y="828"/>
                    </a:lnTo>
                    <a:lnTo>
                      <a:pt x="210" y="836"/>
                    </a:lnTo>
                    <a:lnTo>
                      <a:pt x="201" y="852"/>
                    </a:lnTo>
                    <a:lnTo>
                      <a:pt x="192" y="869"/>
                    </a:lnTo>
                    <a:lnTo>
                      <a:pt x="186" y="876"/>
                    </a:lnTo>
                    <a:lnTo>
                      <a:pt x="182" y="883"/>
                    </a:lnTo>
                    <a:lnTo>
                      <a:pt x="176" y="890"/>
                    </a:lnTo>
                    <a:lnTo>
                      <a:pt x="171" y="895"/>
                    </a:lnTo>
                    <a:lnTo>
                      <a:pt x="164" y="900"/>
                    </a:lnTo>
                    <a:lnTo>
                      <a:pt x="157" y="903"/>
                    </a:lnTo>
                    <a:lnTo>
                      <a:pt x="148" y="905"/>
                    </a:lnTo>
                    <a:lnTo>
                      <a:pt x="139" y="906"/>
                    </a:lnTo>
                    <a:lnTo>
                      <a:pt x="134" y="905"/>
                    </a:lnTo>
                    <a:lnTo>
                      <a:pt x="127" y="903"/>
                    </a:lnTo>
                    <a:lnTo>
                      <a:pt x="120" y="900"/>
                    </a:lnTo>
                    <a:lnTo>
                      <a:pt x="113" y="895"/>
                    </a:lnTo>
                    <a:lnTo>
                      <a:pt x="105" y="889"/>
                    </a:lnTo>
                    <a:lnTo>
                      <a:pt x="97" y="883"/>
                    </a:lnTo>
                    <a:lnTo>
                      <a:pt x="90" y="876"/>
                    </a:lnTo>
                    <a:lnTo>
                      <a:pt x="82" y="868"/>
                    </a:lnTo>
                    <a:lnTo>
                      <a:pt x="75" y="860"/>
                    </a:lnTo>
                    <a:lnTo>
                      <a:pt x="69" y="851"/>
                    </a:lnTo>
                    <a:lnTo>
                      <a:pt x="62" y="842"/>
                    </a:lnTo>
                    <a:lnTo>
                      <a:pt x="57" y="833"/>
                    </a:lnTo>
                    <a:lnTo>
                      <a:pt x="52" y="825"/>
                    </a:lnTo>
                    <a:lnTo>
                      <a:pt x="49" y="817"/>
                    </a:lnTo>
                    <a:lnTo>
                      <a:pt x="47" y="809"/>
                    </a:lnTo>
                    <a:lnTo>
                      <a:pt x="46" y="801"/>
                    </a:lnTo>
                    <a:lnTo>
                      <a:pt x="51" y="798"/>
                    </a:lnTo>
                    <a:lnTo>
                      <a:pt x="63" y="792"/>
                    </a:lnTo>
                    <a:lnTo>
                      <a:pt x="77" y="786"/>
                    </a:lnTo>
                    <a:lnTo>
                      <a:pt x="85" y="783"/>
                    </a:lnTo>
                    <a:lnTo>
                      <a:pt x="77" y="783"/>
                    </a:lnTo>
                    <a:lnTo>
                      <a:pt x="67" y="782"/>
                    </a:lnTo>
                    <a:lnTo>
                      <a:pt x="59" y="780"/>
                    </a:lnTo>
                    <a:lnTo>
                      <a:pt x="51" y="779"/>
                    </a:lnTo>
                    <a:lnTo>
                      <a:pt x="44" y="776"/>
                    </a:lnTo>
                    <a:lnTo>
                      <a:pt x="37" y="774"/>
                    </a:lnTo>
                    <a:lnTo>
                      <a:pt x="30" y="771"/>
                    </a:lnTo>
                    <a:lnTo>
                      <a:pt x="25" y="767"/>
                    </a:lnTo>
                    <a:lnTo>
                      <a:pt x="21" y="763"/>
                    </a:lnTo>
                    <a:lnTo>
                      <a:pt x="16" y="759"/>
                    </a:lnTo>
                    <a:lnTo>
                      <a:pt x="12" y="754"/>
                    </a:lnTo>
                    <a:lnTo>
                      <a:pt x="8" y="750"/>
                    </a:lnTo>
                    <a:lnTo>
                      <a:pt x="3" y="738"/>
                    </a:lnTo>
                    <a:lnTo>
                      <a:pt x="0" y="727"/>
                    </a:lnTo>
                    <a:lnTo>
                      <a:pt x="10" y="719"/>
                    </a:lnTo>
                    <a:lnTo>
                      <a:pt x="21" y="713"/>
                    </a:lnTo>
                    <a:lnTo>
                      <a:pt x="32" y="708"/>
                    </a:lnTo>
                    <a:lnTo>
                      <a:pt x="44" y="704"/>
                    </a:lnTo>
                    <a:lnTo>
                      <a:pt x="67" y="699"/>
                    </a:lnTo>
                    <a:lnTo>
                      <a:pt x="90" y="695"/>
                    </a:lnTo>
                    <a:lnTo>
                      <a:pt x="102" y="693"/>
                    </a:lnTo>
                    <a:lnTo>
                      <a:pt x="113" y="689"/>
                    </a:lnTo>
                    <a:lnTo>
                      <a:pt x="123" y="686"/>
                    </a:lnTo>
                    <a:lnTo>
                      <a:pt x="133" y="681"/>
                    </a:lnTo>
                    <a:lnTo>
                      <a:pt x="142" y="676"/>
                    </a:lnTo>
                    <a:lnTo>
                      <a:pt x="151" y="668"/>
                    </a:lnTo>
                    <a:lnTo>
                      <a:pt x="159" y="659"/>
                    </a:lnTo>
                    <a:lnTo>
                      <a:pt x="165" y="648"/>
                    </a:lnTo>
                    <a:lnTo>
                      <a:pt x="161" y="646"/>
                    </a:lnTo>
                    <a:lnTo>
                      <a:pt x="157" y="643"/>
                    </a:lnTo>
                    <a:lnTo>
                      <a:pt x="151" y="639"/>
                    </a:lnTo>
                    <a:lnTo>
                      <a:pt x="145" y="633"/>
                    </a:lnTo>
                    <a:lnTo>
                      <a:pt x="131" y="621"/>
                    </a:lnTo>
                    <a:lnTo>
                      <a:pt x="118" y="607"/>
                    </a:lnTo>
                    <a:lnTo>
                      <a:pt x="106" y="592"/>
                    </a:lnTo>
                    <a:lnTo>
                      <a:pt x="95" y="576"/>
                    </a:lnTo>
                    <a:lnTo>
                      <a:pt x="92" y="569"/>
                    </a:lnTo>
                    <a:lnTo>
                      <a:pt x="89" y="562"/>
                    </a:lnTo>
                    <a:lnTo>
                      <a:pt x="86" y="555"/>
                    </a:lnTo>
                    <a:lnTo>
                      <a:pt x="85" y="549"/>
                    </a:lnTo>
                    <a:lnTo>
                      <a:pt x="81" y="548"/>
                    </a:lnTo>
                    <a:lnTo>
                      <a:pt x="77" y="547"/>
                    </a:lnTo>
                    <a:lnTo>
                      <a:pt x="73" y="545"/>
                    </a:lnTo>
                    <a:lnTo>
                      <a:pt x="70" y="541"/>
                    </a:lnTo>
                    <a:lnTo>
                      <a:pt x="64" y="534"/>
                    </a:lnTo>
                    <a:lnTo>
                      <a:pt x="59" y="524"/>
                    </a:lnTo>
                    <a:lnTo>
                      <a:pt x="59" y="500"/>
                    </a:lnTo>
                    <a:lnTo>
                      <a:pt x="73" y="499"/>
                    </a:lnTo>
                    <a:lnTo>
                      <a:pt x="86" y="498"/>
                    </a:lnTo>
                    <a:lnTo>
                      <a:pt x="98" y="496"/>
                    </a:lnTo>
                    <a:lnTo>
                      <a:pt x="109" y="492"/>
                    </a:lnTo>
                    <a:lnTo>
                      <a:pt x="119" y="489"/>
                    </a:lnTo>
                    <a:lnTo>
                      <a:pt x="129" y="484"/>
                    </a:lnTo>
                    <a:lnTo>
                      <a:pt x="138" y="479"/>
                    </a:lnTo>
                    <a:lnTo>
                      <a:pt x="147" y="473"/>
                    </a:lnTo>
                    <a:lnTo>
                      <a:pt x="154" y="466"/>
                    </a:lnTo>
                    <a:lnTo>
                      <a:pt x="162" y="459"/>
                    </a:lnTo>
                    <a:lnTo>
                      <a:pt x="169" y="452"/>
                    </a:lnTo>
                    <a:lnTo>
                      <a:pt x="175" y="444"/>
                    </a:lnTo>
                    <a:lnTo>
                      <a:pt x="186" y="428"/>
                    </a:lnTo>
                    <a:lnTo>
                      <a:pt x="197" y="410"/>
                    </a:lnTo>
                    <a:lnTo>
                      <a:pt x="216" y="374"/>
                    </a:lnTo>
                    <a:lnTo>
                      <a:pt x="235" y="338"/>
                    </a:lnTo>
                    <a:lnTo>
                      <a:pt x="246" y="322"/>
                    </a:lnTo>
                    <a:lnTo>
                      <a:pt x="257" y="308"/>
                    </a:lnTo>
                    <a:lnTo>
                      <a:pt x="263" y="300"/>
                    </a:lnTo>
                    <a:lnTo>
                      <a:pt x="270" y="294"/>
                    </a:lnTo>
                    <a:lnTo>
                      <a:pt x="277" y="289"/>
                    </a:lnTo>
                    <a:lnTo>
                      <a:pt x="285" y="284"/>
                    </a:lnTo>
                    <a:lnTo>
                      <a:pt x="279" y="272"/>
                    </a:lnTo>
                    <a:lnTo>
                      <a:pt x="274" y="261"/>
                    </a:lnTo>
                    <a:lnTo>
                      <a:pt x="273" y="256"/>
                    </a:lnTo>
                    <a:lnTo>
                      <a:pt x="272" y="251"/>
                    </a:lnTo>
                    <a:lnTo>
                      <a:pt x="272" y="245"/>
                    </a:lnTo>
                    <a:lnTo>
                      <a:pt x="272" y="240"/>
                    </a:lnTo>
                    <a:lnTo>
                      <a:pt x="273" y="235"/>
                    </a:lnTo>
                    <a:lnTo>
                      <a:pt x="274" y="230"/>
                    </a:lnTo>
                    <a:lnTo>
                      <a:pt x="276" y="226"/>
                    </a:lnTo>
                    <a:lnTo>
                      <a:pt x="280" y="222"/>
                    </a:lnTo>
                    <a:lnTo>
                      <a:pt x="283" y="219"/>
                    </a:lnTo>
                    <a:lnTo>
                      <a:pt x="287" y="216"/>
                    </a:lnTo>
                    <a:lnTo>
                      <a:pt x="293" y="213"/>
                    </a:lnTo>
                    <a:lnTo>
                      <a:pt x="298" y="210"/>
                    </a:lnTo>
                    <a:lnTo>
                      <a:pt x="269" y="183"/>
                    </a:lnTo>
                    <a:lnTo>
                      <a:pt x="247" y="163"/>
                    </a:lnTo>
                    <a:lnTo>
                      <a:pt x="237" y="153"/>
                    </a:lnTo>
                    <a:lnTo>
                      <a:pt x="227" y="142"/>
                    </a:lnTo>
                    <a:lnTo>
                      <a:pt x="217" y="128"/>
                    </a:lnTo>
                    <a:lnTo>
                      <a:pt x="205" y="111"/>
                    </a:lnTo>
                    <a:lnTo>
                      <a:pt x="205" y="68"/>
                    </a:lnTo>
                    <a:lnTo>
                      <a:pt x="229" y="68"/>
                    </a:lnTo>
                    <a:lnTo>
                      <a:pt x="256" y="66"/>
                    </a:lnTo>
                    <a:lnTo>
                      <a:pt x="270" y="65"/>
                    </a:lnTo>
                    <a:lnTo>
                      <a:pt x="283" y="63"/>
                    </a:lnTo>
                    <a:lnTo>
                      <a:pt x="297" y="60"/>
                    </a:lnTo>
                    <a:lnTo>
                      <a:pt x="310" y="57"/>
                    </a:lnTo>
                    <a:lnTo>
                      <a:pt x="322" y="54"/>
                    </a:lnTo>
                    <a:lnTo>
                      <a:pt x="335" y="49"/>
                    </a:lnTo>
                    <a:lnTo>
                      <a:pt x="347" y="44"/>
                    </a:lnTo>
                    <a:lnTo>
                      <a:pt x="357" y="37"/>
                    </a:lnTo>
                    <a:lnTo>
                      <a:pt x="366" y="30"/>
                    </a:lnTo>
                    <a:lnTo>
                      <a:pt x="374" y="21"/>
                    </a:lnTo>
                    <a:lnTo>
                      <a:pt x="381" y="11"/>
                    </a:lnTo>
                    <a:lnTo>
                      <a:pt x="38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0" name="Freeform 465"/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9798318" y="3804810"/>
                <a:ext cx="158750" cy="206375"/>
              </a:xfrm>
              <a:custGeom>
                <a:avLst/>
                <a:gdLst>
                  <a:gd name="T0" fmla="*/ 2147483647 w 359"/>
                  <a:gd name="T1" fmla="*/ 2147483647 h 394"/>
                  <a:gd name="T2" fmla="*/ 2147483647 w 359"/>
                  <a:gd name="T3" fmla="*/ 2147483647 h 394"/>
                  <a:gd name="T4" fmla="*/ 2147483647 w 359"/>
                  <a:gd name="T5" fmla="*/ 2147483647 h 394"/>
                  <a:gd name="T6" fmla="*/ 2147483647 w 359"/>
                  <a:gd name="T7" fmla="*/ 2147483647 h 394"/>
                  <a:gd name="T8" fmla="*/ 2147483647 w 359"/>
                  <a:gd name="T9" fmla="*/ 2147483647 h 394"/>
                  <a:gd name="T10" fmla="*/ 2147483647 w 359"/>
                  <a:gd name="T11" fmla="*/ 2147483647 h 394"/>
                  <a:gd name="T12" fmla="*/ 1124167120 w 359"/>
                  <a:gd name="T13" fmla="*/ 2147483647 h 394"/>
                  <a:gd name="T14" fmla="*/ 0 w 359"/>
                  <a:gd name="T15" fmla="*/ 2147483647 h 394"/>
                  <a:gd name="T16" fmla="*/ 2147483647 w 359"/>
                  <a:gd name="T17" fmla="*/ 2147483647 h 394"/>
                  <a:gd name="T18" fmla="*/ 2147483647 w 359"/>
                  <a:gd name="T19" fmla="*/ 2147483647 h 394"/>
                  <a:gd name="T20" fmla="*/ 2147483647 w 359"/>
                  <a:gd name="T21" fmla="*/ 2147483647 h 394"/>
                  <a:gd name="T22" fmla="*/ 2147483647 w 359"/>
                  <a:gd name="T23" fmla="*/ 2147483647 h 394"/>
                  <a:gd name="T24" fmla="*/ 2147483647 w 359"/>
                  <a:gd name="T25" fmla="*/ 2147483647 h 394"/>
                  <a:gd name="T26" fmla="*/ 2147483647 w 359"/>
                  <a:gd name="T27" fmla="*/ 2147483647 h 394"/>
                  <a:gd name="T28" fmla="*/ 2147483647 w 359"/>
                  <a:gd name="T29" fmla="*/ 2147483647 h 394"/>
                  <a:gd name="T30" fmla="*/ 2147483647 w 359"/>
                  <a:gd name="T31" fmla="*/ 2147483647 h 394"/>
                  <a:gd name="T32" fmla="*/ 2147483647 w 359"/>
                  <a:gd name="T33" fmla="*/ 2147483647 h 394"/>
                  <a:gd name="T34" fmla="*/ 2147483647 w 359"/>
                  <a:gd name="T35" fmla="*/ 2011885972 h 394"/>
                  <a:gd name="T36" fmla="*/ 2147483647 w 359"/>
                  <a:gd name="T37" fmla="*/ 0 h 394"/>
                  <a:gd name="T38" fmla="*/ 2147483647 w 359"/>
                  <a:gd name="T39" fmla="*/ 2147483647 h 394"/>
                  <a:gd name="T40" fmla="*/ 2147483647 w 359"/>
                  <a:gd name="T41" fmla="*/ 2147483647 h 394"/>
                  <a:gd name="T42" fmla="*/ 2147483647 w 359"/>
                  <a:gd name="T43" fmla="*/ 2147483647 h 394"/>
                  <a:gd name="T44" fmla="*/ 2147483647 w 359"/>
                  <a:gd name="T45" fmla="*/ 2147483647 h 394"/>
                  <a:gd name="T46" fmla="*/ 2147483647 w 359"/>
                  <a:gd name="T47" fmla="*/ 2147483647 h 394"/>
                  <a:gd name="T48" fmla="*/ 2147483647 w 359"/>
                  <a:gd name="T49" fmla="*/ 2147483647 h 394"/>
                  <a:gd name="T50" fmla="*/ 2147483647 w 359"/>
                  <a:gd name="T51" fmla="*/ 2147483647 h 394"/>
                  <a:gd name="T52" fmla="*/ 2147483647 w 359"/>
                  <a:gd name="T53" fmla="*/ 2147483647 h 394"/>
                  <a:gd name="T54" fmla="*/ 2147483647 w 359"/>
                  <a:gd name="T55" fmla="*/ 2147483647 h 394"/>
                  <a:gd name="T56" fmla="*/ 2147483647 w 359"/>
                  <a:gd name="T57" fmla="*/ 2147483647 h 394"/>
                  <a:gd name="T58" fmla="*/ 2147483647 w 359"/>
                  <a:gd name="T59" fmla="*/ 2147483647 h 394"/>
                  <a:gd name="T60" fmla="*/ 2147483647 w 359"/>
                  <a:gd name="T61" fmla="*/ 2147483647 h 394"/>
                  <a:gd name="T62" fmla="*/ 2147483647 w 359"/>
                  <a:gd name="T63" fmla="*/ 2147483647 h 394"/>
                  <a:gd name="T64" fmla="*/ 2147483647 w 359"/>
                  <a:gd name="T65" fmla="*/ 2147483647 h 394"/>
                  <a:gd name="T66" fmla="*/ 2147483647 w 359"/>
                  <a:gd name="T67" fmla="*/ 2147483647 h 394"/>
                  <a:gd name="T68" fmla="*/ 2147483647 w 359"/>
                  <a:gd name="T69" fmla="*/ 2147483647 h 394"/>
                  <a:gd name="T70" fmla="*/ 2147483647 w 359"/>
                  <a:gd name="T71" fmla="*/ 2147483647 h 394"/>
                  <a:gd name="T72" fmla="*/ 2147483647 w 359"/>
                  <a:gd name="T73" fmla="*/ 2147483647 h 394"/>
                  <a:gd name="T74" fmla="*/ 2147483647 w 359"/>
                  <a:gd name="T75" fmla="*/ 2147483647 h 394"/>
                  <a:gd name="T76" fmla="*/ 2147483647 w 359"/>
                  <a:gd name="T77" fmla="*/ 2147483647 h 394"/>
                  <a:gd name="T78" fmla="*/ 2147483647 w 359"/>
                  <a:gd name="T79" fmla="*/ 2147483647 h 394"/>
                  <a:gd name="T80" fmla="*/ 2147483647 w 359"/>
                  <a:gd name="T81" fmla="*/ 2147483647 h 394"/>
                  <a:gd name="T82" fmla="*/ 2147483647 w 359"/>
                  <a:gd name="T83" fmla="*/ 2147483647 h 394"/>
                  <a:gd name="T84" fmla="*/ 2147483647 w 359"/>
                  <a:gd name="T85" fmla="*/ 2147483647 h 394"/>
                  <a:gd name="T86" fmla="*/ 2147483647 w 359"/>
                  <a:gd name="T87" fmla="*/ 2147483647 h 394"/>
                  <a:gd name="T88" fmla="*/ 2147483647 w 359"/>
                  <a:gd name="T89" fmla="*/ 2147483647 h 394"/>
                  <a:gd name="T90" fmla="*/ 2147483647 w 359"/>
                  <a:gd name="T91" fmla="*/ 2147483647 h 394"/>
                  <a:gd name="T92" fmla="*/ 2147483647 w 359"/>
                  <a:gd name="T93" fmla="*/ 2147483647 h 394"/>
                  <a:gd name="T94" fmla="*/ 2147483647 w 359"/>
                  <a:gd name="T95" fmla="*/ 2147483647 h 394"/>
                  <a:gd name="T96" fmla="*/ 2147483647 w 359"/>
                  <a:gd name="T97" fmla="*/ 2147483647 h 394"/>
                  <a:gd name="T98" fmla="*/ 2147483647 w 359"/>
                  <a:gd name="T99" fmla="*/ 2147483647 h 394"/>
                  <a:gd name="T100" fmla="*/ 2147483647 w 359"/>
                  <a:gd name="T101" fmla="*/ 2147483647 h 394"/>
                  <a:gd name="T102" fmla="*/ 2147483647 w 359"/>
                  <a:gd name="T103" fmla="*/ 2147483647 h 394"/>
                  <a:gd name="T104" fmla="*/ 2147483647 w 359"/>
                  <a:gd name="T105" fmla="*/ 2147483647 h 394"/>
                  <a:gd name="T106" fmla="*/ 2147483647 w 359"/>
                  <a:gd name="T107" fmla="*/ 2147483647 h 394"/>
                  <a:gd name="T108" fmla="*/ 2147483647 w 359"/>
                  <a:gd name="T109" fmla="*/ 2147483647 h 394"/>
                  <a:gd name="T110" fmla="*/ 2147483647 w 359"/>
                  <a:gd name="T111" fmla="*/ 2147483647 h 394"/>
                  <a:gd name="T112" fmla="*/ 2147483647 w 359"/>
                  <a:gd name="T113" fmla="*/ 2147483647 h 394"/>
                  <a:gd name="T114" fmla="*/ 2147483647 w 359"/>
                  <a:gd name="T115" fmla="*/ 2147483647 h 39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1" name="Freeform 466"/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10866705" y="4000072"/>
                <a:ext cx="192088" cy="271463"/>
              </a:xfrm>
              <a:custGeom>
                <a:avLst/>
                <a:gdLst>
                  <a:gd name="T0" fmla="*/ 2147483647 w 449"/>
                  <a:gd name="T1" fmla="*/ 2147483647 h 523"/>
                  <a:gd name="T2" fmla="*/ 2147483647 w 449"/>
                  <a:gd name="T3" fmla="*/ 2147483647 h 523"/>
                  <a:gd name="T4" fmla="*/ 2147483647 w 449"/>
                  <a:gd name="T5" fmla="*/ 2147483647 h 523"/>
                  <a:gd name="T6" fmla="*/ 2147483647 w 449"/>
                  <a:gd name="T7" fmla="*/ 2147483647 h 523"/>
                  <a:gd name="T8" fmla="*/ 2147483647 w 449"/>
                  <a:gd name="T9" fmla="*/ 2147483647 h 523"/>
                  <a:gd name="T10" fmla="*/ 2147483647 w 449"/>
                  <a:gd name="T11" fmla="*/ 2147483647 h 523"/>
                  <a:gd name="T12" fmla="*/ 2147483647 w 449"/>
                  <a:gd name="T13" fmla="*/ 2147483647 h 523"/>
                  <a:gd name="T14" fmla="*/ 2147483647 w 449"/>
                  <a:gd name="T15" fmla="*/ 2147483647 h 523"/>
                  <a:gd name="T16" fmla="*/ 2147483647 w 449"/>
                  <a:gd name="T17" fmla="*/ 2147483647 h 523"/>
                  <a:gd name="T18" fmla="*/ 2147483647 w 449"/>
                  <a:gd name="T19" fmla="*/ 2147483647 h 523"/>
                  <a:gd name="T20" fmla="*/ 2147483647 w 449"/>
                  <a:gd name="T21" fmla="*/ 2147483647 h 523"/>
                  <a:gd name="T22" fmla="*/ 2147483647 w 449"/>
                  <a:gd name="T23" fmla="*/ 2147483647 h 523"/>
                  <a:gd name="T24" fmla="*/ 2147483647 w 449"/>
                  <a:gd name="T25" fmla="*/ 2147483647 h 523"/>
                  <a:gd name="T26" fmla="*/ 2147483647 w 449"/>
                  <a:gd name="T27" fmla="*/ 2147483647 h 523"/>
                  <a:gd name="T28" fmla="*/ 2147483647 w 449"/>
                  <a:gd name="T29" fmla="*/ 2147483647 h 523"/>
                  <a:gd name="T30" fmla="*/ 2147483647 w 449"/>
                  <a:gd name="T31" fmla="*/ 2147483647 h 523"/>
                  <a:gd name="T32" fmla="*/ 2147483647 w 449"/>
                  <a:gd name="T33" fmla="*/ 2147483647 h 523"/>
                  <a:gd name="T34" fmla="*/ 2147483647 w 449"/>
                  <a:gd name="T35" fmla="*/ 2147483647 h 523"/>
                  <a:gd name="T36" fmla="*/ 2147483647 w 449"/>
                  <a:gd name="T37" fmla="*/ 2147483647 h 523"/>
                  <a:gd name="T38" fmla="*/ 2147483647 w 449"/>
                  <a:gd name="T39" fmla="*/ 2147483647 h 523"/>
                  <a:gd name="T40" fmla="*/ 2147483647 w 449"/>
                  <a:gd name="T41" fmla="*/ 2147483647 h 523"/>
                  <a:gd name="T42" fmla="*/ 2147483647 w 449"/>
                  <a:gd name="T43" fmla="*/ 1678171290 h 523"/>
                  <a:gd name="T44" fmla="*/ 2147483647 w 449"/>
                  <a:gd name="T45" fmla="*/ 838950951 h 523"/>
                  <a:gd name="T46" fmla="*/ 2147483647 w 449"/>
                  <a:gd name="T47" fmla="*/ 1118600923 h 523"/>
                  <a:gd name="T48" fmla="*/ 2147483647 w 449"/>
                  <a:gd name="T49" fmla="*/ 838950951 h 523"/>
                  <a:gd name="T50" fmla="*/ 2147483647 w 449"/>
                  <a:gd name="T51" fmla="*/ 0 h 523"/>
                  <a:gd name="T52" fmla="*/ 2147483647 w 449"/>
                  <a:gd name="T53" fmla="*/ 0 h 523"/>
                  <a:gd name="T54" fmla="*/ 391488178 w 449"/>
                  <a:gd name="T55" fmla="*/ 0 h 523"/>
                  <a:gd name="T56" fmla="*/ 391488178 w 449"/>
                  <a:gd name="T57" fmla="*/ 2147483647 h 523"/>
                  <a:gd name="T58" fmla="*/ 391488178 w 449"/>
                  <a:gd name="T59" fmla="*/ 2147483647 h 523"/>
                  <a:gd name="T60" fmla="*/ 1174464107 w 449"/>
                  <a:gd name="T61" fmla="*/ 2147483647 h 523"/>
                  <a:gd name="T62" fmla="*/ 1800955055 w 449"/>
                  <a:gd name="T63" fmla="*/ 2147483647 h 523"/>
                  <a:gd name="T64" fmla="*/ 2147483647 w 449"/>
                  <a:gd name="T65" fmla="*/ 2147483647 h 523"/>
                  <a:gd name="T66" fmla="*/ 2147483647 w 449"/>
                  <a:gd name="T67" fmla="*/ 2147483647 h 523"/>
                  <a:gd name="T68" fmla="*/ 2147483647 w 449"/>
                  <a:gd name="T69" fmla="*/ 2147483647 h 523"/>
                  <a:gd name="T70" fmla="*/ 2147483647 w 449"/>
                  <a:gd name="T71" fmla="*/ 2147483647 h 523"/>
                  <a:gd name="T72" fmla="*/ 548156691 w 449"/>
                  <a:gd name="T73" fmla="*/ 2147483647 h 523"/>
                  <a:gd name="T74" fmla="*/ 782976357 w 449"/>
                  <a:gd name="T75" fmla="*/ 2147483647 h 523"/>
                  <a:gd name="T76" fmla="*/ 2147483647 w 449"/>
                  <a:gd name="T77" fmla="*/ 2147483647 h 523"/>
                  <a:gd name="T78" fmla="*/ 2147483647 w 449"/>
                  <a:gd name="T79" fmla="*/ 2147483647 h 523"/>
                  <a:gd name="T80" fmla="*/ 2147483647 w 449"/>
                  <a:gd name="T81" fmla="*/ 2147483647 h 523"/>
                  <a:gd name="T82" fmla="*/ 2147483647 w 449"/>
                  <a:gd name="T83" fmla="*/ 2147483647 h 523"/>
                  <a:gd name="T84" fmla="*/ 2147483647 w 449"/>
                  <a:gd name="T85" fmla="*/ 2147483647 h 523"/>
                  <a:gd name="T86" fmla="*/ 2147483647 w 449"/>
                  <a:gd name="T87" fmla="*/ 2147483647 h 523"/>
                  <a:gd name="T88" fmla="*/ 2147483647 w 449"/>
                  <a:gd name="T89" fmla="*/ 2147483647 h 523"/>
                  <a:gd name="T90" fmla="*/ 2147483647 w 449"/>
                  <a:gd name="T91" fmla="*/ 2147483647 h 523"/>
                  <a:gd name="T92" fmla="*/ 2147483647 w 449"/>
                  <a:gd name="T93" fmla="*/ 2147483647 h 523"/>
                  <a:gd name="T94" fmla="*/ 2147483647 w 449"/>
                  <a:gd name="T95" fmla="*/ 2147483647 h 523"/>
                  <a:gd name="T96" fmla="*/ 2147483647 w 449"/>
                  <a:gd name="T97" fmla="*/ 2147483647 h 523"/>
                  <a:gd name="T98" fmla="*/ 2147483647 w 449"/>
                  <a:gd name="T99" fmla="*/ 2147483647 h 523"/>
                  <a:gd name="T100" fmla="*/ 2147483647 w 449"/>
                  <a:gd name="T101" fmla="*/ 2147483647 h 523"/>
                  <a:gd name="T102" fmla="*/ 2147483647 w 449"/>
                  <a:gd name="T103" fmla="*/ 2147483647 h 523"/>
                  <a:gd name="T104" fmla="*/ 2147483647 w 449"/>
                  <a:gd name="T105" fmla="*/ 2147483647 h 523"/>
                  <a:gd name="T106" fmla="*/ 2147483647 w 449"/>
                  <a:gd name="T107" fmla="*/ 2147483647 h 523"/>
                  <a:gd name="T108" fmla="*/ 2147483647 w 449"/>
                  <a:gd name="T109" fmla="*/ 2147483647 h 52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2" name="Freeform 467"/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10849243" y="3085672"/>
                <a:ext cx="101600" cy="130175"/>
              </a:xfrm>
              <a:custGeom>
                <a:avLst/>
                <a:gdLst>
                  <a:gd name="T0" fmla="*/ 1090340181 w 226"/>
                  <a:gd name="T1" fmla="*/ 2147483647 h 246"/>
                  <a:gd name="T2" fmla="*/ 2147483647 w 226"/>
                  <a:gd name="T3" fmla="*/ 2147483647 h 246"/>
                  <a:gd name="T4" fmla="*/ 2147483647 w 226"/>
                  <a:gd name="T5" fmla="*/ 2147483647 h 246"/>
                  <a:gd name="T6" fmla="*/ 2147483647 w 226"/>
                  <a:gd name="T7" fmla="*/ 2147483647 h 246"/>
                  <a:gd name="T8" fmla="*/ 2147483647 w 226"/>
                  <a:gd name="T9" fmla="*/ 2147483647 h 246"/>
                  <a:gd name="T10" fmla="*/ 2147483647 w 226"/>
                  <a:gd name="T11" fmla="*/ 2147483647 h 246"/>
                  <a:gd name="T12" fmla="*/ 2147483647 w 226"/>
                  <a:gd name="T13" fmla="*/ 2147483647 h 246"/>
                  <a:gd name="T14" fmla="*/ 2147483647 w 226"/>
                  <a:gd name="T15" fmla="*/ 2147483647 h 246"/>
                  <a:gd name="T16" fmla="*/ 2147483647 w 226"/>
                  <a:gd name="T17" fmla="*/ 2147483647 h 246"/>
                  <a:gd name="T18" fmla="*/ 2147483647 w 226"/>
                  <a:gd name="T19" fmla="*/ 2147483647 h 246"/>
                  <a:gd name="T20" fmla="*/ 2147483647 w 226"/>
                  <a:gd name="T21" fmla="*/ 2147483647 h 246"/>
                  <a:gd name="T22" fmla="*/ 2147483647 w 226"/>
                  <a:gd name="T23" fmla="*/ 2147483647 h 246"/>
                  <a:gd name="T24" fmla="*/ 2147483647 w 226"/>
                  <a:gd name="T25" fmla="*/ 2147483647 h 246"/>
                  <a:gd name="T26" fmla="*/ 2147483647 w 226"/>
                  <a:gd name="T27" fmla="*/ 2147483647 h 246"/>
                  <a:gd name="T28" fmla="*/ 2147483647 w 226"/>
                  <a:gd name="T29" fmla="*/ 2147483647 h 246"/>
                  <a:gd name="T30" fmla="*/ 2147483647 w 226"/>
                  <a:gd name="T31" fmla="*/ 2147483647 h 246"/>
                  <a:gd name="T32" fmla="*/ 2147483647 w 226"/>
                  <a:gd name="T33" fmla="*/ 2147483647 h 246"/>
                  <a:gd name="T34" fmla="*/ 2147483647 w 226"/>
                  <a:gd name="T35" fmla="*/ 2147483647 h 246"/>
                  <a:gd name="T36" fmla="*/ 2147483647 w 226"/>
                  <a:gd name="T37" fmla="*/ 2147483647 h 246"/>
                  <a:gd name="T38" fmla="*/ 2147483647 w 226"/>
                  <a:gd name="T39" fmla="*/ 2147483647 h 246"/>
                  <a:gd name="T40" fmla="*/ 2147483647 w 226"/>
                  <a:gd name="T41" fmla="*/ 889055033 h 246"/>
                  <a:gd name="T42" fmla="*/ 2147483647 w 226"/>
                  <a:gd name="T43" fmla="*/ 148129096 h 246"/>
                  <a:gd name="T44" fmla="*/ 2147483647 w 226"/>
                  <a:gd name="T45" fmla="*/ 1037184129 h 246"/>
                  <a:gd name="T46" fmla="*/ 2147483647 w 226"/>
                  <a:gd name="T47" fmla="*/ 2147483647 h 246"/>
                  <a:gd name="T48" fmla="*/ 2147483647 w 226"/>
                  <a:gd name="T49" fmla="*/ 2147483647 h 246"/>
                  <a:gd name="T50" fmla="*/ 2147483647 w 226"/>
                  <a:gd name="T51" fmla="*/ 2147483647 h 246"/>
                  <a:gd name="T52" fmla="*/ 2147483647 w 226"/>
                  <a:gd name="T53" fmla="*/ 2147483647 h 246"/>
                  <a:gd name="T54" fmla="*/ 2147483647 w 226"/>
                  <a:gd name="T55" fmla="*/ 2147483647 h 246"/>
                  <a:gd name="T56" fmla="*/ 2147483647 w 226"/>
                  <a:gd name="T57" fmla="*/ 2147483647 h 246"/>
                  <a:gd name="T58" fmla="*/ 2147483647 w 226"/>
                  <a:gd name="T59" fmla="*/ 2147483647 h 246"/>
                  <a:gd name="T60" fmla="*/ 2147483647 w 226"/>
                  <a:gd name="T61" fmla="*/ 2147483647 h 246"/>
                  <a:gd name="T62" fmla="*/ 1635408896 w 226"/>
                  <a:gd name="T63" fmla="*/ 2147483647 h 246"/>
                  <a:gd name="T64" fmla="*/ 908650609 w 226"/>
                  <a:gd name="T65" fmla="*/ 2147483647 h 246"/>
                  <a:gd name="T66" fmla="*/ 272635508 w 226"/>
                  <a:gd name="T67" fmla="*/ 2147483647 h 24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26" h="246">
                    <a:moveTo>
                      <a:pt x="0" y="221"/>
                    </a:moveTo>
                    <a:lnTo>
                      <a:pt x="12" y="228"/>
                    </a:lnTo>
                    <a:lnTo>
                      <a:pt x="27" y="236"/>
                    </a:lnTo>
                    <a:lnTo>
                      <a:pt x="36" y="240"/>
                    </a:lnTo>
                    <a:lnTo>
                      <a:pt x="44" y="243"/>
                    </a:lnTo>
                    <a:lnTo>
                      <a:pt x="53" y="245"/>
                    </a:lnTo>
                    <a:lnTo>
                      <a:pt x="60" y="246"/>
                    </a:lnTo>
                    <a:lnTo>
                      <a:pt x="68" y="245"/>
                    </a:lnTo>
                    <a:lnTo>
                      <a:pt x="76" y="243"/>
                    </a:lnTo>
                    <a:lnTo>
                      <a:pt x="85" y="241"/>
                    </a:lnTo>
                    <a:lnTo>
                      <a:pt x="92" y="237"/>
                    </a:lnTo>
                    <a:lnTo>
                      <a:pt x="110" y="228"/>
                    </a:lnTo>
                    <a:lnTo>
                      <a:pt x="126" y="217"/>
                    </a:lnTo>
                    <a:lnTo>
                      <a:pt x="141" y="205"/>
                    </a:lnTo>
                    <a:lnTo>
                      <a:pt x="153" y="194"/>
                    </a:lnTo>
                    <a:lnTo>
                      <a:pt x="161" y="184"/>
                    </a:lnTo>
                    <a:lnTo>
                      <a:pt x="167" y="178"/>
                    </a:lnTo>
                    <a:lnTo>
                      <a:pt x="159" y="173"/>
                    </a:lnTo>
                    <a:lnTo>
                      <a:pt x="154" y="167"/>
                    </a:lnTo>
                    <a:lnTo>
                      <a:pt x="149" y="160"/>
                    </a:lnTo>
                    <a:lnTo>
                      <a:pt x="146" y="152"/>
                    </a:lnTo>
                    <a:lnTo>
                      <a:pt x="143" y="145"/>
                    </a:lnTo>
                    <a:lnTo>
                      <a:pt x="142" y="137"/>
                    </a:lnTo>
                    <a:lnTo>
                      <a:pt x="141" y="130"/>
                    </a:lnTo>
                    <a:lnTo>
                      <a:pt x="139" y="123"/>
                    </a:lnTo>
                    <a:lnTo>
                      <a:pt x="141" y="116"/>
                    </a:lnTo>
                    <a:lnTo>
                      <a:pt x="143" y="110"/>
                    </a:lnTo>
                    <a:lnTo>
                      <a:pt x="146" y="105"/>
                    </a:lnTo>
                    <a:lnTo>
                      <a:pt x="150" y="100"/>
                    </a:lnTo>
                    <a:lnTo>
                      <a:pt x="156" y="94"/>
                    </a:lnTo>
                    <a:lnTo>
                      <a:pt x="161" y="90"/>
                    </a:lnTo>
                    <a:lnTo>
                      <a:pt x="168" y="86"/>
                    </a:lnTo>
                    <a:lnTo>
                      <a:pt x="176" y="82"/>
                    </a:lnTo>
                    <a:lnTo>
                      <a:pt x="204" y="71"/>
                    </a:lnTo>
                    <a:lnTo>
                      <a:pt x="226" y="61"/>
                    </a:lnTo>
                    <a:lnTo>
                      <a:pt x="225" y="49"/>
                    </a:lnTo>
                    <a:lnTo>
                      <a:pt x="223" y="38"/>
                    </a:lnTo>
                    <a:lnTo>
                      <a:pt x="221" y="30"/>
                    </a:lnTo>
                    <a:lnTo>
                      <a:pt x="217" y="23"/>
                    </a:lnTo>
                    <a:lnTo>
                      <a:pt x="214" y="17"/>
                    </a:lnTo>
                    <a:lnTo>
                      <a:pt x="212" y="12"/>
                    </a:lnTo>
                    <a:lnTo>
                      <a:pt x="212" y="6"/>
                    </a:lnTo>
                    <a:lnTo>
                      <a:pt x="213" y="0"/>
                    </a:lnTo>
                    <a:lnTo>
                      <a:pt x="202" y="1"/>
                    </a:lnTo>
                    <a:lnTo>
                      <a:pt x="191" y="4"/>
                    </a:lnTo>
                    <a:lnTo>
                      <a:pt x="181" y="7"/>
                    </a:lnTo>
                    <a:lnTo>
                      <a:pt x="171" y="11"/>
                    </a:lnTo>
                    <a:lnTo>
                      <a:pt x="154" y="20"/>
                    </a:lnTo>
                    <a:lnTo>
                      <a:pt x="136" y="29"/>
                    </a:lnTo>
                    <a:lnTo>
                      <a:pt x="121" y="38"/>
                    </a:lnTo>
                    <a:lnTo>
                      <a:pt x="107" y="47"/>
                    </a:lnTo>
                    <a:lnTo>
                      <a:pt x="100" y="51"/>
                    </a:lnTo>
                    <a:lnTo>
                      <a:pt x="93" y="53"/>
                    </a:lnTo>
                    <a:lnTo>
                      <a:pt x="87" y="55"/>
                    </a:lnTo>
                    <a:lnTo>
                      <a:pt x="80" y="55"/>
                    </a:lnTo>
                    <a:lnTo>
                      <a:pt x="75" y="54"/>
                    </a:lnTo>
                    <a:lnTo>
                      <a:pt x="67" y="51"/>
                    </a:lnTo>
                    <a:lnTo>
                      <a:pt x="59" y="47"/>
                    </a:lnTo>
                    <a:lnTo>
                      <a:pt x="51" y="41"/>
                    </a:lnTo>
                    <a:lnTo>
                      <a:pt x="36" y="31"/>
                    </a:lnTo>
                    <a:lnTo>
                      <a:pt x="27" y="24"/>
                    </a:lnTo>
                    <a:lnTo>
                      <a:pt x="24" y="39"/>
                    </a:lnTo>
                    <a:lnTo>
                      <a:pt x="21" y="64"/>
                    </a:lnTo>
                    <a:lnTo>
                      <a:pt x="18" y="95"/>
                    </a:lnTo>
                    <a:lnTo>
                      <a:pt x="13" y="129"/>
                    </a:lnTo>
                    <a:lnTo>
                      <a:pt x="10" y="163"/>
                    </a:lnTo>
                    <a:lnTo>
                      <a:pt x="7" y="191"/>
                    </a:lnTo>
                    <a:lnTo>
                      <a:pt x="3" y="212"/>
                    </a:lnTo>
                    <a:lnTo>
                      <a:pt x="0" y="22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3" name="Freeform 468"/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11147693" y="3188860"/>
                <a:ext cx="22225" cy="55562"/>
              </a:xfrm>
              <a:custGeom>
                <a:avLst/>
                <a:gdLst>
                  <a:gd name="T0" fmla="*/ 1372222247 w 60"/>
                  <a:gd name="T1" fmla="*/ 0 h 81"/>
                  <a:gd name="T2" fmla="*/ 1473893843 w 60"/>
                  <a:gd name="T3" fmla="*/ 645564589 h 81"/>
                  <a:gd name="T4" fmla="*/ 1626332525 w 60"/>
                  <a:gd name="T5" fmla="*/ 968346883 h 81"/>
                  <a:gd name="T6" fmla="*/ 1829675348 w 60"/>
                  <a:gd name="T7" fmla="*/ 968346883 h 81"/>
                  <a:gd name="T8" fmla="*/ 2033018540 w 60"/>
                  <a:gd name="T9" fmla="*/ 645564589 h 81"/>
                  <a:gd name="T10" fmla="*/ 2147483647 w 60"/>
                  <a:gd name="T11" fmla="*/ 322782294 h 81"/>
                  <a:gd name="T12" fmla="*/ 2147483647 w 60"/>
                  <a:gd name="T13" fmla="*/ 0 h 81"/>
                  <a:gd name="T14" fmla="*/ 2147483647 w 60"/>
                  <a:gd name="T15" fmla="*/ 2147483647 h 81"/>
                  <a:gd name="T16" fmla="*/ 2147483647 w 60"/>
                  <a:gd name="T17" fmla="*/ 2147483647 h 81"/>
                  <a:gd name="T18" fmla="*/ 2147483647 w 60"/>
                  <a:gd name="T19" fmla="*/ 2147483647 h 81"/>
                  <a:gd name="T20" fmla="*/ 2147483647 w 60"/>
                  <a:gd name="T21" fmla="*/ 2147483647 h 81"/>
                  <a:gd name="T22" fmla="*/ 2147483647 w 60"/>
                  <a:gd name="T23" fmla="*/ 2147483647 h 81"/>
                  <a:gd name="T24" fmla="*/ 2147483647 w 60"/>
                  <a:gd name="T25" fmla="*/ 2147483647 h 81"/>
                  <a:gd name="T26" fmla="*/ 1016440743 w 60"/>
                  <a:gd name="T27" fmla="*/ 2147483647 h 81"/>
                  <a:gd name="T28" fmla="*/ 711563379 w 60"/>
                  <a:gd name="T29" fmla="*/ 2147483647 h 81"/>
                  <a:gd name="T30" fmla="*/ 355781504 w 60"/>
                  <a:gd name="T31" fmla="*/ 2147483647 h 81"/>
                  <a:gd name="T32" fmla="*/ 254110278 w 60"/>
                  <a:gd name="T33" fmla="*/ 2147483647 h 81"/>
                  <a:gd name="T34" fmla="*/ 101671596 w 60"/>
                  <a:gd name="T35" fmla="*/ 2147483647 h 81"/>
                  <a:gd name="T36" fmla="*/ 50767086 w 60"/>
                  <a:gd name="T37" fmla="*/ 2147483647 h 81"/>
                  <a:gd name="T38" fmla="*/ 0 w 60"/>
                  <a:gd name="T39" fmla="*/ 2147483647 h 81"/>
                  <a:gd name="T40" fmla="*/ 355781504 w 60"/>
                  <a:gd name="T41" fmla="*/ 2147483647 h 81"/>
                  <a:gd name="T42" fmla="*/ 1016440743 w 60"/>
                  <a:gd name="T43" fmla="*/ 1936694452 h 81"/>
                  <a:gd name="T44" fmla="*/ 1728004122 w 60"/>
                  <a:gd name="T45" fmla="*/ 0 h 81"/>
                  <a:gd name="T46" fmla="*/ 1372222247 w 60"/>
                  <a:gd name="T47" fmla="*/ 0 h 8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60" h="81">
                    <a:moveTo>
                      <a:pt x="27" y="0"/>
                    </a:moveTo>
                    <a:lnTo>
                      <a:pt x="29" y="2"/>
                    </a:lnTo>
                    <a:lnTo>
                      <a:pt x="32" y="3"/>
                    </a:lnTo>
                    <a:lnTo>
                      <a:pt x="36" y="3"/>
                    </a:lnTo>
                    <a:lnTo>
                      <a:pt x="40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3" y="26"/>
                    </a:lnTo>
                    <a:lnTo>
                      <a:pt x="54" y="47"/>
                    </a:lnTo>
                    <a:lnTo>
                      <a:pt x="54" y="57"/>
                    </a:lnTo>
                    <a:lnTo>
                      <a:pt x="56" y="65"/>
                    </a:lnTo>
                    <a:lnTo>
                      <a:pt x="58" y="73"/>
                    </a:lnTo>
                    <a:lnTo>
                      <a:pt x="60" y="81"/>
                    </a:lnTo>
                    <a:lnTo>
                      <a:pt x="20" y="81"/>
                    </a:lnTo>
                    <a:lnTo>
                      <a:pt x="14" y="80"/>
                    </a:lnTo>
                    <a:lnTo>
                      <a:pt x="7" y="77"/>
                    </a:lnTo>
                    <a:lnTo>
                      <a:pt x="5" y="74"/>
                    </a:lnTo>
                    <a:lnTo>
                      <a:pt x="2" y="72"/>
                    </a:lnTo>
                    <a:lnTo>
                      <a:pt x="1" y="70"/>
                    </a:lnTo>
                    <a:lnTo>
                      <a:pt x="0" y="68"/>
                    </a:lnTo>
                    <a:lnTo>
                      <a:pt x="7" y="12"/>
                    </a:lnTo>
                    <a:lnTo>
                      <a:pt x="20" y="6"/>
                    </a:lnTo>
                    <a:lnTo>
                      <a:pt x="34" y="0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4" name="Freeform 469"/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10434905" y="2323672"/>
                <a:ext cx="161925" cy="66675"/>
              </a:xfrm>
              <a:custGeom>
                <a:avLst/>
                <a:gdLst>
                  <a:gd name="T0" fmla="*/ 2147483647 w 370"/>
                  <a:gd name="T1" fmla="*/ 2147483647 h 129"/>
                  <a:gd name="T2" fmla="*/ 2147483647 w 370"/>
                  <a:gd name="T3" fmla="*/ 2147483647 h 129"/>
                  <a:gd name="T4" fmla="*/ 2147483647 w 370"/>
                  <a:gd name="T5" fmla="*/ 2147483647 h 129"/>
                  <a:gd name="T6" fmla="*/ 2147483647 w 370"/>
                  <a:gd name="T7" fmla="*/ 2147483647 h 129"/>
                  <a:gd name="T8" fmla="*/ 2147483647 w 370"/>
                  <a:gd name="T9" fmla="*/ 2147483647 h 129"/>
                  <a:gd name="T10" fmla="*/ 2147483647 w 370"/>
                  <a:gd name="T11" fmla="*/ 2147483647 h 129"/>
                  <a:gd name="T12" fmla="*/ 2147483647 w 370"/>
                  <a:gd name="T13" fmla="*/ 2147483647 h 129"/>
                  <a:gd name="T14" fmla="*/ 2147483647 w 370"/>
                  <a:gd name="T15" fmla="*/ 2147483647 h 129"/>
                  <a:gd name="T16" fmla="*/ 2147483647 w 370"/>
                  <a:gd name="T17" fmla="*/ 2147483647 h 129"/>
                  <a:gd name="T18" fmla="*/ 2147483647 w 370"/>
                  <a:gd name="T19" fmla="*/ 2147483647 h 129"/>
                  <a:gd name="T20" fmla="*/ 2147483647 w 370"/>
                  <a:gd name="T21" fmla="*/ 2071173076 h 129"/>
                  <a:gd name="T22" fmla="*/ 2147483647 w 370"/>
                  <a:gd name="T23" fmla="*/ 1242757392 h 129"/>
                  <a:gd name="T24" fmla="*/ 2147483647 w 370"/>
                  <a:gd name="T25" fmla="*/ 276227806 h 129"/>
                  <a:gd name="T26" fmla="*/ 2147483647 w 370"/>
                  <a:gd name="T27" fmla="*/ 0 h 129"/>
                  <a:gd name="T28" fmla="*/ 2147483647 w 370"/>
                  <a:gd name="T29" fmla="*/ 0 h 129"/>
                  <a:gd name="T30" fmla="*/ 2147483647 w 370"/>
                  <a:gd name="T31" fmla="*/ 138113903 h 129"/>
                  <a:gd name="T32" fmla="*/ 2147483647 w 370"/>
                  <a:gd name="T33" fmla="*/ 276227806 h 129"/>
                  <a:gd name="T34" fmla="*/ 2147483647 w 370"/>
                  <a:gd name="T35" fmla="*/ 414341709 h 129"/>
                  <a:gd name="T36" fmla="*/ 2147483647 w 370"/>
                  <a:gd name="T37" fmla="*/ 966529587 h 129"/>
                  <a:gd name="T38" fmla="*/ 2147483647 w 370"/>
                  <a:gd name="T39" fmla="*/ 1656831884 h 129"/>
                  <a:gd name="T40" fmla="*/ 2147483647 w 370"/>
                  <a:gd name="T41" fmla="*/ 2147483647 h 129"/>
                  <a:gd name="T42" fmla="*/ 2147483647 w 370"/>
                  <a:gd name="T43" fmla="*/ 2147483647 h 129"/>
                  <a:gd name="T44" fmla="*/ 2147483647 w 370"/>
                  <a:gd name="T45" fmla="*/ 2147483647 h 129"/>
                  <a:gd name="T46" fmla="*/ 2147483647 w 370"/>
                  <a:gd name="T47" fmla="*/ 2147483647 h 129"/>
                  <a:gd name="T48" fmla="*/ 2147483647 w 370"/>
                  <a:gd name="T49" fmla="*/ 2147483647 h 129"/>
                  <a:gd name="T50" fmla="*/ 2147483647 w 370"/>
                  <a:gd name="T51" fmla="*/ 2147483647 h 129"/>
                  <a:gd name="T52" fmla="*/ 2147483647 w 370"/>
                  <a:gd name="T53" fmla="*/ 2147483647 h 129"/>
                  <a:gd name="T54" fmla="*/ 2147483647 w 370"/>
                  <a:gd name="T55" fmla="*/ 2147483647 h 129"/>
                  <a:gd name="T56" fmla="*/ 2147483647 w 370"/>
                  <a:gd name="T57" fmla="*/ 2147483647 h 129"/>
                  <a:gd name="T58" fmla="*/ 2147483647 w 370"/>
                  <a:gd name="T59" fmla="*/ 2147483647 h 129"/>
                  <a:gd name="T60" fmla="*/ 2147483647 w 370"/>
                  <a:gd name="T61" fmla="*/ 2147483647 h 129"/>
                  <a:gd name="T62" fmla="*/ 1760110308 w 370"/>
                  <a:gd name="T63" fmla="*/ 2147483647 h 129"/>
                  <a:gd name="T64" fmla="*/ 1341054535 w 370"/>
                  <a:gd name="T65" fmla="*/ 2147483647 h 129"/>
                  <a:gd name="T66" fmla="*/ 1005886853 w 370"/>
                  <a:gd name="T67" fmla="*/ 2147483647 h 129"/>
                  <a:gd name="T68" fmla="*/ 754415140 w 370"/>
                  <a:gd name="T69" fmla="*/ 2147483647 h 129"/>
                  <a:gd name="T70" fmla="*/ 419055773 w 370"/>
                  <a:gd name="T71" fmla="*/ 2147483647 h 129"/>
                  <a:gd name="T72" fmla="*/ 251471713 w 370"/>
                  <a:gd name="T73" fmla="*/ 2147483647 h 129"/>
                  <a:gd name="T74" fmla="*/ 83887653 w 370"/>
                  <a:gd name="T75" fmla="*/ 2147483647 h 129"/>
                  <a:gd name="T76" fmla="*/ 0 w 370"/>
                  <a:gd name="T77" fmla="*/ 2147483647 h 129"/>
                  <a:gd name="T78" fmla="*/ 0 w 370"/>
                  <a:gd name="T79" fmla="*/ 2147483647 h 129"/>
                  <a:gd name="T80" fmla="*/ 83887653 w 370"/>
                  <a:gd name="T81" fmla="*/ 2147483647 h 129"/>
                  <a:gd name="T82" fmla="*/ 251471713 w 370"/>
                  <a:gd name="T83" fmla="*/ 2147483647 h 129"/>
                  <a:gd name="T84" fmla="*/ 502943426 w 370"/>
                  <a:gd name="T85" fmla="*/ 2147483647 h 129"/>
                  <a:gd name="T86" fmla="*/ 921999199 w 370"/>
                  <a:gd name="T87" fmla="*/ 2147483647 h 129"/>
                  <a:gd name="T88" fmla="*/ 1676413901 w 370"/>
                  <a:gd name="T89" fmla="*/ 2147483647 h 129"/>
                  <a:gd name="T90" fmla="*/ 2147483647 w 370"/>
                  <a:gd name="T91" fmla="*/ 2147483647 h 129"/>
                  <a:gd name="T92" fmla="*/ 2147483647 w 370"/>
                  <a:gd name="T93" fmla="*/ 2147483647 h 129"/>
                  <a:gd name="T94" fmla="*/ 2147483647 w 370"/>
                  <a:gd name="T95" fmla="*/ 2147483647 h 129"/>
                  <a:gd name="T96" fmla="*/ 2147483647 w 370"/>
                  <a:gd name="T97" fmla="*/ 2147483647 h 129"/>
                  <a:gd name="T98" fmla="*/ 2147483647 w 370"/>
                  <a:gd name="T99" fmla="*/ 2147483647 h 129"/>
                  <a:gd name="T100" fmla="*/ 2147483647 w 370"/>
                  <a:gd name="T101" fmla="*/ 2147483647 h 129"/>
                  <a:gd name="T102" fmla="*/ 2147483647 w 370"/>
                  <a:gd name="T103" fmla="*/ 2147483647 h 129"/>
                  <a:gd name="T104" fmla="*/ 2147483647 w 370"/>
                  <a:gd name="T105" fmla="*/ 2147483647 h 129"/>
                  <a:gd name="T106" fmla="*/ 2147483647 w 370"/>
                  <a:gd name="T107" fmla="*/ 2147483647 h 129"/>
                  <a:gd name="T108" fmla="*/ 2147483647 w 370"/>
                  <a:gd name="T109" fmla="*/ 2147483647 h 129"/>
                  <a:gd name="T110" fmla="*/ 2147483647 w 370"/>
                  <a:gd name="T111" fmla="*/ 2147483647 h 129"/>
                  <a:gd name="T112" fmla="*/ 2147483647 w 370"/>
                  <a:gd name="T113" fmla="*/ 2147483647 h 129"/>
                  <a:gd name="T114" fmla="*/ 2147483647 w 370"/>
                  <a:gd name="T115" fmla="*/ 2147483647 h 129"/>
                  <a:gd name="T116" fmla="*/ 2147483647 w 370"/>
                  <a:gd name="T117" fmla="*/ 2147483647 h 129"/>
                  <a:gd name="T118" fmla="*/ 2147483647 w 370"/>
                  <a:gd name="T119" fmla="*/ 2147483647 h 12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5" name="Freeform 470"/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10846068" y="3044397"/>
                <a:ext cx="30162" cy="57150"/>
              </a:xfrm>
              <a:custGeom>
                <a:avLst/>
                <a:gdLst>
                  <a:gd name="T0" fmla="*/ 1447065308 w 80"/>
                  <a:gd name="T1" fmla="*/ 224739943 h 94"/>
                  <a:gd name="T2" fmla="*/ 1822193118 w 80"/>
                  <a:gd name="T3" fmla="*/ 0 h 94"/>
                  <a:gd name="T4" fmla="*/ 2147483647 w 80"/>
                  <a:gd name="T5" fmla="*/ 0 h 94"/>
                  <a:gd name="T6" fmla="*/ 2147483647 w 80"/>
                  <a:gd name="T7" fmla="*/ 449479886 h 94"/>
                  <a:gd name="T8" fmla="*/ 2147483647 w 80"/>
                  <a:gd name="T9" fmla="*/ 898959772 h 94"/>
                  <a:gd name="T10" fmla="*/ 2147483647 w 80"/>
                  <a:gd name="T11" fmla="*/ 1348439659 h 94"/>
                  <a:gd name="T12" fmla="*/ 2147483647 w 80"/>
                  <a:gd name="T13" fmla="*/ 1797920153 h 94"/>
                  <a:gd name="T14" fmla="*/ 2147483647 w 80"/>
                  <a:gd name="T15" fmla="*/ 1797920153 h 94"/>
                  <a:gd name="T16" fmla="*/ 2147483647 w 80"/>
                  <a:gd name="T17" fmla="*/ 1573179602 h 94"/>
                  <a:gd name="T18" fmla="*/ 2147483647 w 80"/>
                  <a:gd name="T19" fmla="*/ 2147483647 h 94"/>
                  <a:gd name="T20" fmla="*/ 2147483647 w 80"/>
                  <a:gd name="T21" fmla="*/ 2147483647 h 94"/>
                  <a:gd name="T22" fmla="*/ 2147483647 w 80"/>
                  <a:gd name="T23" fmla="*/ 2147483647 h 94"/>
                  <a:gd name="T24" fmla="*/ 2147483647 w 80"/>
                  <a:gd name="T25" fmla="*/ 2147483647 h 94"/>
                  <a:gd name="T26" fmla="*/ 2147483647 w 80"/>
                  <a:gd name="T27" fmla="*/ 2147483647 h 94"/>
                  <a:gd name="T28" fmla="*/ 2147483647 w 80"/>
                  <a:gd name="T29" fmla="*/ 2147483647 h 94"/>
                  <a:gd name="T30" fmla="*/ 2147483647 w 80"/>
                  <a:gd name="T31" fmla="*/ 2147483647 h 94"/>
                  <a:gd name="T32" fmla="*/ 2147483647 w 80"/>
                  <a:gd name="T33" fmla="*/ 2147483647 h 94"/>
                  <a:gd name="T34" fmla="*/ 2143731726 w 80"/>
                  <a:gd name="T35" fmla="*/ 2147483647 h 94"/>
                  <a:gd name="T36" fmla="*/ 1982962610 w 80"/>
                  <a:gd name="T37" fmla="*/ 2147483647 h 94"/>
                  <a:gd name="T38" fmla="*/ 1822193118 w 80"/>
                  <a:gd name="T39" fmla="*/ 2147483647 h 94"/>
                  <a:gd name="T40" fmla="*/ 1554244467 w 80"/>
                  <a:gd name="T41" fmla="*/ 2147483647 h 94"/>
                  <a:gd name="T42" fmla="*/ 1232706236 w 80"/>
                  <a:gd name="T43" fmla="*/ 2147483647 h 94"/>
                  <a:gd name="T44" fmla="*/ 1018205026 w 80"/>
                  <a:gd name="T45" fmla="*/ 2147483647 h 94"/>
                  <a:gd name="T46" fmla="*/ 696666795 w 80"/>
                  <a:gd name="T47" fmla="*/ 2147483647 h 94"/>
                  <a:gd name="T48" fmla="*/ 375128187 w 80"/>
                  <a:gd name="T49" fmla="*/ 2147483647 h 94"/>
                  <a:gd name="T50" fmla="*/ 0 w 80"/>
                  <a:gd name="T51" fmla="*/ 2147483647 h 94"/>
                  <a:gd name="T52" fmla="*/ 428717767 w 80"/>
                  <a:gd name="T53" fmla="*/ 2147483647 h 94"/>
                  <a:gd name="T54" fmla="*/ 696666795 w 80"/>
                  <a:gd name="T55" fmla="*/ 2147483647 h 94"/>
                  <a:gd name="T56" fmla="*/ 1018205026 w 80"/>
                  <a:gd name="T57" fmla="*/ 2147483647 h 94"/>
                  <a:gd name="T58" fmla="*/ 1447065308 w 80"/>
                  <a:gd name="T59" fmla="*/ 224739943 h 9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80" h="94">
                    <a:moveTo>
                      <a:pt x="27" y="1"/>
                    </a:moveTo>
                    <a:lnTo>
                      <a:pt x="34" y="0"/>
                    </a:lnTo>
                    <a:lnTo>
                      <a:pt x="41" y="0"/>
                    </a:lnTo>
                    <a:lnTo>
                      <a:pt x="47" y="2"/>
                    </a:lnTo>
                    <a:lnTo>
                      <a:pt x="54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3" y="8"/>
                    </a:lnTo>
                    <a:lnTo>
                      <a:pt x="80" y="7"/>
                    </a:lnTo>
                    <a:lnTo>
                      <a:pt x="80" y="38"/>
                    </a:lnTo>
                    <a:lnTo>
                      <a:pt x="75" y="44"/>
                    </a:lnTo>
                    <a:lnTo>
                      <a:pt x="69" y="51"/>
                    </a:lnTo>
                    <a:lnTo>
                      <a:pt x="64" y="59"/>
                    </a:lnTo>
                    <a:lnTo>
                      <a:pt x="58" y="68"/>
                    </a:lnTo>
                    <a:lnTo>
                      <a:pt x="51" y="84"/>
                    </a:lnTo>
                    <a:lnTo>
                      <a:pt x="47" y="94"/>
                    </a:lnTo>
                    <a:lnTo>
                      <a:pt x="43" y="93"/>
                    </a:lnTo>
                    <a:lnTo>
                      <a:pt x="40" y="92"/>
                    </a:lnTo>
                    <a:lnTo>
                      <a:pt x="37" y="91"/>
                    </a:lnTo>
                    <a:lnTo>
                      <a:pt x="34" y="89"/>
                    </a:lnTo>
                    <a:lnTo>
                      <a:pt x="29" y="84"/>
                    </a:lnTo>
                    <a:lnTo>
                      <a:pt x="23" y="78"/>
                    </a:lnTo>
                    <a:lnTo>
                      <a:pt x="19" y="72"/>
                    </a:lnTo>
                    <a:lnTo>
                      <a:pt x="13" y="65"/>
                    </a:lnTo>
                    <a:lnTo>
                      <a:pt x="7" y="60"/>
                    </a:lnTo>
                    <a:lnTo>
                      <a:pt x="0" y="56"/>
                    </a:lnTo>
                    <a:lnTo>
                      <a:pt x="8" y="41"/>
                    </a:lnTo>
                    <a:lnTo>
                      <a:pt x="13" y="29"/>
                    </a:lnTo>
                    <a:lnTo>
                      <a:pt x="19" y="17"/>
                    </a:lnTo>
                    <a:lnTo>
                      <a:pt x="27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6" name="Freeform 471"/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10661918" y="5055760"/>
                <a:ext cx="61912" cy="57150"/>
              </a:xfrm>
              <a:custGeom>
                <a:avLst/>
                <a:gdLst>
                  <a:gd name="T0" fmla="*/ 289401453 w 135"/>
                  <a:gd name="T1" fmla="*/ 2147483647 h 98"/>
                  <a:gd name="T2" fmla="*/ 1061068035 w 135"/>
                  <a:gd name="T3" fmla="*/ 2147483647 h 98"/>
                  <a:gd name="T4" fmla="*/ 1736197757 w 135"/>
                  <a:gd name="T5" fmla="*/ 2147483647 h 98"/>
                  <a:gd name="T6" fmla="*/ 2147483647 w 135"/>
                  <a:gd name="T7" fmla="*/ 2147483647 h 98"/>
                  <a:gd name="T8" fmla="*/ 2147483647 w 135"/>
                  <a:gd name="T9" fmla="*/ 2147483647 h 98"/>
                  <a:gd name="T10" fmla="*/ 2147483647 w 135"/>
                  <a:gd name="T11" fmla="*/ 2147483647 h 98"/>
                  <a:gd name="T12" fmla="*/ 2147483647 w 135"/>
                  <a:gd name="T13" fmla="*/ 2147483647 h 98"/>
                  <a:gd name="T14" fmla="*/ 2147483647 w 135"/>
                  <a:gd name="T15" fmla="*/ 2147483647 h 98"/>
                  <a:gd name="T16" fmla="*/ 2147483647 w 135"/>
                  <a:gd name="T17" fmla="*/ 1586470587 h 98"/>
                  <a:gd name="T18" fmla="*/ 2147483647 w 135"/>
                  <a:gd name="T19" fmla="*/ 991671465 h 98"/>
                  <a:gd name="T20" fmla="*/ 2147483647 w 135"/>
                  <a:gd name="T21" fmla="*/ 396532359 h 98"/>
                  <a:gd name="T22" fmla="*/ 2147483647 w 135"/>
                  <a:gd name="T23" fmla="*/ 0 h 98"/>
                  <a:gd name="T24" fmla="*/ 2147483647 w 135"/>
                  <a:gd name="T25" fmla="*/ 0 h 98"/>
                  <a:gd name="T26" fmla="*/ 2147483647 w 135"/>
                  <a:gd name="T27" fmla="*/ 0 h 98"/>
                  <a:gd name="T28" fmla="*/ 2147483647 w 135"/>
                  <a:gd name="T29" fmla="*/ 594799122 h 98"/>
                  <a:gd name="T30" fmla="*/ 2147483647 w 135"/>
                  <a:gd name="T31" fmla="*/ 1189937645 h 98"/>
                  <a:gd name="T32" fmla="*/ 2147483647 w 135"/>
                  <a:gd name="T33" fmla="*/ 2147483647 h 98"/>
                  <a:gd name="T34" fmla="*/ 2147483647 w 135"/>
                  <a:gd name="T35" fmla="*/ 2147483647 h 98"/>
                  <a:gd name="T36" fmla="*/ 2147483647 w 135"/>
                  <a:gd name="T37" fmla="*/ 2147483647 h 98"/>
                  <a:gd name="T38" fmla="*/ 2147483647 w 135"/>
                  <a:gd name="T39" fmla="*/ 2147483647 h 98"/>
                  <a:gd name="T40" fmla="*/ 2147483647 w 135"/>
                  <a:gd name="T41" fmla="*/ 2147483647 h 98"/>
                  <a:gd name="T42" fmla="*/ 2147483647 w 135"/>
                  <a:gd name="T43" fmla="*/ 2147483647 h 98"/>
                  <a:gd name="T44" fmla="*/ 2147483647 w 135"/>
                  <a:gd name="T45" fmla="*/ 2147483647 h 98"/>
                  <a:gd name="T46" fmla="*/ 2147483647 w 135"/>
                  <a:gd name="T47" fmla="*/ 2147483647 h 98"/>
                  <a:gd name="T48" fmla="*/ 2147483647 w 135"/>
                  <a:gd name="T49" fmla="*/ 2147483647 h 98"/>
                  <a:gd name="T50" fmla="*/ 2147483647 w 135"/>
                  <a:gd name="T51" fmla="*/ 2147483647 h 98"/>
                  <a:gd name="T52" fmla="*/ 2147483647 w 135"/>
                  <a:gd name="T53" fmla="*/ 2147483647 h 98"/>
                  <a:gd name="T54" fmla="*/ 2147483647 w 135"/>
                  <a:gd name="T55" fmla="*/ 2147483647 h 98"/>
                  <a:gd name="T56" fmla="*/ 2147483647 w 135"/>
                  <a:gd name="T57" fmla="*/ 2147483647 h 98"/>
                  <a:gd name="T58" fmla="*/ 2147483647 w 135"/>
                  <a:gd name="T59" fmla="*/ 2147483647 h 98"/>
                  <a:gd name="T60" fmla="*/ 2147483647 w 135"/>
                  <a:gd name="T61" fmla="*/ 2147483647 h 98"/>
                  <a:gd name="T62" fmla="*/ 2147483647 w 135"/>
                  <a:gd name="T63" fmla="*/ 2147483647 h 98"/>
                  <a:gd name="T64" fmla="*/ 2147483647 w 135"/>
                  <a:gd name="T65" fmla="*/ 2147483647 h 98"/>
                  <a:gd name="T66" fmla="*/ 2147483647 w 135"/>
                  <a:gd name="T67" fmla="*/ 2147483647 h 98"/>
                  <a:gd name="T68" fmla="*/ 2025599210 w 135"/>
                  <a:gd name="T69" fmla="*/ 2147483647 h 98"/>
                  <a:gd name="T70" fmla="*/ 1061068035 w 135"/>
                  <a:gd name="T71" fmla="*/ 2147483647 h 98"/>
                  <a:gd name="T72" fmla="*/ 482265588 w 135"/>
                  <a:gd name="T73" fmla="*/ 2147483647 h 98"/>
                  <a:gd name="T74" fmla="*/ 96537318 w 135"/>
                  <a:gd name="T75" fmla="*/ 2147483647 h 98"/>
                  <a:gd name="T76" fmla="*/ 0 w 135"/>
                  <a:gd name="T77" fmla="*/ 2147483647 h 98"/>
                  <a:gd name="T78" fmla="*/ 0 w 135"/>
                  <a:gd name="T79" fmla="*/ 2147483647 h 98"/>
                  <a:gd name="T80" fmla="*/ 289401453 w 135"/>
                  <a:gd name="T81" fmla="*/ 2147483647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7" name="Freeform 472"/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10433318" y="2371297"/>
                <a:ext cx="131762" cy="84138"/>
              </a:xfrm>
              <a:custGeom>
                <a:avLst/>
                <a:gdLst>
                  <a:gd name="T0" fmla="*/ 2147483647 w 312"/>
                  <a:gd name="T1" fmla="*/ 2147483647 h 155"/>
                  <a:gd name="T2" fmla="*/ 2147483647 w 312"/>
                  <a:gd name="T3" fmla="*/ 2147483647 h 155"/>
                  <a:gd name="T4" fmla="*/ 2147483647 w 312"/>
                  <a:gd name="T5" fmla="*/ 2147483647 h 155"/>
                  <a:gd name="T6" fmla="*/ 2147483647 w 312"/>
                  <a:gd name="T7" fmla="*/ 2147483647 h 155"/>
                  <a:gd name="T8" fmla="*/ 2147483647 w 312"/>
                  <a:gd name="T9" fmla="*/ 2147483647 h 155"/>
                  <a:gd name="T10" fmla="*/ 2147483647 w 312"/>
                  <a:gd name="T11" fmla="*/ 2147483647 h 155"/>
                  <a:gd name="T12" fmla="*/ 2147483647 w 312"/>
                  <a:gd name="T13" fmla="*/ 2147483647 h 155"/>
                  <a:gd name="T14" fmla="*/ 2147483647 w 312"/>
                  <a:gd name="T15" fmla="*/ 2147483647 h 155"/>
                  <a:gd name="T16" fmla="*/ 2147483647 w 312"/>
                  <a:gd name="T17" fmla="*/ 2147483647 h 155"/>
                  <a:gd name="T18" fmla="*/ 2147483647 w 312"/>
                  <a:gd name="T19" fmla="*/ 2147483647 h 155"/>
                  <a:gd name="T20" fmla="*/ 2147483647 w 312"/>
                  <a:gd name="T21" fmla="*/ 2147483647 h 155"/>
                  <a:gd name="T22" fmla="*/ 2147483647 w 312"/>
                  <a:gd name="T23" fmla="*/ 2147483647 h 155"/>
                  <a:gd name="T24" fmla="*/ 2147483647 w 312"/>
                  <a:gd name="T25" fmla="*/ 2147483647 h 155"/>
                  <a:gd name="T26" fmla="*/ 2147483647 w 312"/>
                  <a:gd name="T27" fmla="*/ 2147483647 h 155"/>
                  <a:gd name="T28" fmla="*/ 2147483647 w 312"/>
                  <a:gd name="T29" fmla="*/ 2147483647 h 155"/>
                  <a:gd name="T30" fmla="*/ 2147483647 w 312"/>
                  <a:gd name="T31" fmla="*/ 2147483647 h 155"/>
                  <a:gd name="T32" fmla="*/ 2147483647 w 312"/>
                  <a:gd name="T33" fmla="*/ 2147483647 h 155"/>
                  <a:gd name="T34" fmla="*/ 2147483647 w 312"/>
                  <a:gd name="T35" fmla="*/ 2147483647 h 155"/>
                  <a:gd name="T36" fmla="*/ 2147483647 w 312"/>
                  <a:gd name="T37" fmla="*/ 2147483647 h 155"/>
                  <a:gd name="T38" fmla="*/ 2147483647 w 312"/>
                  <a:gd name="T39" fmla="*/ 2147483647 h 155"/>
                  <a:gd name="T40" fmla="*/ 2147483647 w 312"/>
                  <a:gd name="T41" fmla="*/ 2147483647 h 155"/>
                  <a:gd name="T42" fmla="*/ 2147483647 w 312"/>
                  <a:gd name="T43" fmla="*/ 2147483647 h 155"/>
                  <a:gd name="T44" fmla="*/ 2147483647 w 312"/>
                  <a:gd name="T45" fmla="*/ 2147483647 h 155"/>
                  <a:gd name="T46" fmla="*/ 2147483647 w 312"/>
                  <a:gd name="T47" fmla="*/ 2147483647 h 155"/>
                  <a:gd name="T48" fmla="*/ 2147483647 w 312"/>
                  <a:gd name="T49" fmla="*/ 2147483647 h 155"/>
                  <a:gd name="T50" fmla="*/ 2147483647 w 312"/>
                  <a:gd name="T51" fmla="*/ 2147483647 h 155"/>
                  <a:gd name="T52" fmla="*/ 2147483647 w 312"/>
                  <a:gd name="T53" fmla="*/ 2147483647 h 155"/>
                  <a:gd name="T54" fmla="*/ 2147483647 w 312"/>
                  <a:gd name="T55" fmla="*/ 2147483647 h 155"/>
                  <a:gd name="T56" fmla="*/ 2147483647 w 312"/>
                  <a:gd name="T57" fmla="*/ 2147483647 h 155"/>
                  <a:gd name="T58" fmla="*/ 2147483647 w 312"/>
                  <a:gd name="T59" fmla="*/ 2147483647 h 155"/>
                  <a:gd name="T60" fmla="*/ 2147483647 w 312"/>
                  <a:gd name="T61" fmla="*/ 2079414759 h 155"/>
                  <a:gd name="T62" fmla="*/ 2147483647 w 312"/>
                  <a:gd name="T63" fmla="*/ 1439413362 h 155"/>
                  <a:gd name="T64" fmla="*/ 2147483647 w 312"/>
                  <a:gd name="T65" fmla="*/ 959707341 h 155"/>
                  <a:gd name="T66" fmla="*/ 2147483647 w 312"/>
                  <a:gd name="T67" fmla="*/ 479706022 h 155"/>
                  <a:gd name="T68" fmla="*/ 2147483647 w 312"/>
                  <a:gd name="T69" fmla="*/ 160000078 h 155"/>
                  <a:gd name="T70" fmla="*/ 2147483647 w 312"/>
                  <a:gd name="T71" fmla="*/ 0 h 155"/>
                  <a:gd name="T72" fmla="*/ 2147483647 w 312"/>
                  <a:gd name="T73" fmla="*/ 160000078 h 155"/>
                  <a:gd name="T74" fmla="*/ 2147483647 w 312"/>
                  <a:gd name="T75" fmla="*/ 639706642 h 155"/>
                  <a:gd name="T76" fmla="*/ 2147483647 w 312"/>
                  <a:gd name="T77" fmla="*/ 959707341 h 155"/>
                  <a:gd name="T78" fmla="*/ 2147483647 w 312"/>
                  <a:gd name="T79" fmla="*/ 1279707496 h 155"/>
                  <a:gd name="T80" fmla="*/ 1355810709 w 312"/>
                  <a:gd name="T81" fmla="*/ 1599413440 h 155"/>
                  <a:gd name="T82" fmla="*/ 527200033 w 312"/>
                  <a:gd name="T83" fmla="*/ 1919414138 h 155"/>
                  <a:gd name="T84" fmla="*/ 677905354 w 312"/>
                  <a:gd name="T85" fmla="*/ 2147483647 h 155"/>
                  <a:gd name="T86" fmla="*/ 828432037 w 312"/>
                  <a:gd name="T87" fmla="*/ 2147483647 h 155"/>
                  <a:gd name="T88" fmla="*/ 979136936 w 312"/>
                  <a:gd name="T89" fmla="*/ 2147483647 h 155"/>
                  <a:gd name="T90" fmla="*/ 1129842257 w 312"/>
                  <a:gd name="T91" fmla="*/ 2147483647 h 155"/>
                  <a:gd name="T92" fmla="*/ 1355810709 w 312"/>
                  <a:gd name="T93" fmla="*/ 2147483647 h 155"/>
                  <a:gd name="T94" fmla="*/ 1431073839 w 312"/>
                  <a:gd name="T95" fmla="*/ 2147483647 h 155"/>
                  <a:gd name="T96" fmla="*/ 1506337391 w 312"/>
                  <a:gd name="T97" fmla="*/ 2147483647 h 155"/>
                  <a:gd name="T98" fmla="*/ 1506337391 w 312"/>
                  <a:gd name="T99" fmla="*/ 2147483647 h 155"/>
                  <a:gd name="T100" fmla="*/ 1506337391 w 312"/>
                  <a:gd name="T101" fmla="*/ 2147483647 h 155"/>
                  <a:gd name="T102" fmla="*/ 1431073839 w 312"/>
                  <a:gd name="T103" fmla="*/ 2147483647 h 155"/>
                  <a:gd name="T104" fmla="*/ 1355810709 w 312"/>
                  <a:gd name="T105" fmla="*/ 2147483647 h 155"/>
                  <a:gd name="T106" fmla="*/ 1129842257 w 312"/>
                  <a:gd name="T107" fmla="*/ 2147483647 h 155"/>
                  <a:gd name="T108" fmla="*/ 903873806 w 312"/>
                  <a:gd name="T109" fmla="*/ 2147483647 h 155"/>
                  <a:gd name="T110" fmla="*/ 677905354 w 312"/>
                  <a:gd name="T111" fmla="*/ 2147483647 h 155"/>
                  <a:gd name="T112" fmla="*/ 301232004 w 312"/>
                  <a:gd name="T113" fmla="*/ 2147483647 h 155"/>
                  <a:gd name="T114" fmla="*/ 0 w 312"/>
                  <a:gd name="T115" fmla="*/ 2147483647 h 155"/>
                  <a:gd name="T116" fmla="*/ 2147483647 w 312"/>
                  <a:gd name="T117" fmla="*/ 2147483647 h 155"/>
                  <a:gd name="T118" fmla="*/ 2147483647 w 312"/>
                  <a:gd name="T119" fmla="*/ 2147483647 h 155"/>
                  <a:gd name="T120" fmla="*/ 2147483647 w 312"/>
                  <a:gd name="T121" fmla="*/ 2147483647 h 155"/>
                  <a:gd name="T122" fmla="*/ 2147483647 w 312"/>
                  <a:gd name="T123" fmla="*/ 2147483647 h 15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8" name="Freeform 473"/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10139630" y="2557035"/>
                <a:ext cx="19050" cy="60325"/>
              </a:xfrm>
              <a:custGeom>
                <a:avLst/>
                <a:gdLst>
                  <a:gd name="T0" fmla="*/ 0 w 46"/>
                  <a:gd name="T1" fmla="*/ 2147483647 h 50"/>
                  <a:gd name="T2" fmla="*/ 142005326 w 46"/>
                  <a:gd name="T3" fmla="*/ 2147483647 h 50"/>
                  <a:gd name="T4" fmla="*/ 71002663 w 46"/>
                  <a:gd name="T5" fmla="*/ 2147483647 h 50"/>
                  <a:gd name="T6" fmla="*/ 142005326 w 46"/>
                  <a:gd name="T7" fmla="*/ 2147483647 h 50"/>
                  <a:gd name="T8" fmla="*/ 213007989 w 46"/>
                  <a:gd name="T9" fmla="*/ 2147483647 h 50"/>
                  <a:gd name="T10" fmla="*/ 426187428 w 46"/>
                  <a:gd name="T11" fmla="*/ 2147483647 h 50"/>
                  <a:gd name="T12" fmla="*/ 923377520 w 46"/>
                  <a:gd name="T13" fmla="*/ 2147483647 h 50"/>
                  <a:gd name="T14" fmla="*/ 2147483647 w 46"/>
                  <a:gd name="T15" fmla="*/ 0 h 50"/>
                  <a:gd name="T16" fmla="*/ 2147483647 w 46"/>
                  <a:gd name="T17" fmla="*/ 2147483647 h 50"/>
                  <a:gd name="T18" fmla="*/ 2147483647 w 46"/>
                  <a:gd name="T19" fmla="*/ 2147483647 h 50"/>
                  <a:gd name="T20" fmla="*/ 2147483647 w 46"/>
                  <a:gd name="T21" fmla="*/ 2147483647 h 50"/>
                  <a:gd name="T22" fmla="*/ 1775580926 w 46"/>
                  <a:gd name="T23" fmla="*/ 2147483647 h 50"/>
                  <a:gd name="T24" fmla="*/ 1207388172 w 46"/>
                  <a:gd name="T25" fmla="*/ 2147483647 h 50"/>
                  <a:gd name="T26" fmla="*/ 355184765 w 46"/>
                  <a:gd name="T27" fmla="*/ 2147483647 h 50"/>
                  <a:gd name="T28" fmla="*/ 0 w 46"/>
                  <a:gd name="T29" fmla="*/ 2147483647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39" name="Freeform 474"/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10836543" y="4441397"/>
                <a:ext cx="69850" cy="241300"/>
              </a:xfrm>
              <a:custGeom>
                <a:avLst/>
                <a:gdLst>
                  <a:gd name="T0" fmla="*/ 745061758 w 166"/>
                  <a:gd name="T1" fmla="*/ 2147483647 h 456"/>
                  <a:gd name="T2" fmla="*/ 1415582204 w 166"/>
                  <a:gd name="T3" fmla="*/ 2147483647 h 456"/>
                  <a:gd name="T4" fmla="*/ 2147483647 w 166"/>
                  <a:gd name="T5" fmla="*/ 2147483647 h 456"/>
                  <a:gd name="T6" fmla="*/ 2147483647 w 166"/>
                  <a:gd name="T7" fmla="*/ 2147483647 h 456"/>
                  <a:gd name="T8" fmla="*/ 2147483647 w 166"/>
                  <a:gd name="T9" fmla="*/ 2147483647 h 456"/>
                  <a:gd name="T10" fmla="*/ 2147483647 w 166"/>
                  <a:gd name="T11" fmla="*/ 2147483647 h 456"/>
                  <a:gd name="T12" fmla="*/ 2147483647 w 166"/>
                  <a:gd name="T13" fmla="*/ 2147483647 h 456"/>
                  <a:gd name="T14" fmla="*/ 2147483647 w 166"/>
                  <a:gd name="T15" fmla="*/ 2147483647 h 456"/>
                  <a:gd name="T16" fmla="*/ 2147483647 w 166"/>
                  <a:gd name="T17" fmla="*/ 2147483647 h 456"/>
                  <a:gd name="T18" fmla="*/ 2147483647 w 166"/>
                  <a:gd name="T19" fmla="*/ 2147483647 h 456"/>
                  <a:gd name="T20" fmla="*/ 2147483647 w 166"/>
                  <a:gd name="T21" fmla="*/ 2147483647 h 456"/>
                  <a:gd name="T22" fmla="*/ 2147483647 w 166"/>
                  <a:gd name="T23" fmla="*/ 2147483647 h 456"/>
                  <a:gd name="T24" fmla="*/ 2147483647 w 166"/>
                  <a:gd name="T25" fmla="*/ 2147483647 h 456"/>
                  <a:gd name="T26" fmla="*/ 2147483647 w 166"/>
                  <a:gd name="T27" fmla="*/ 2147483647 h 456"/>
                  <a:gd name="T28" fmla="*/ 2147483647 w 166"/>
                  <a:gd name="T29" fmla="*/ 2147483647 h 456"/>
                  <a:gd name="T30" fmla="*/ 2147483647 w 166"/>
                  <a:gd name="T31" fmla="*/ 2147483647 h 456"/>
                  <a:gd name="T32" fmla="*/ 2147483647 w 166"/>
                  <a:gd name="T33" fmla="*/ 2147483647 h 456"/>
                  <a:gd name="T34" fmla="*/ 2147483647 w 166"/>
                  <a:gd name="T35" fmla="*/ 2147483647 h 456"/>
                  <a:gd name="T36" fmla="*/ 2147483647 w 166"/>
                  <a:gd name="T37" fmla="*/ 2147483647 h 456"/>
                  <a:gd name="T38" fmla="*/ 2147483647 w 166"/>
                  <a:gd name="T39" fmla="*/ 2147483647 h 456"/>
                  <a:gd name="T40" fmla="*/ 2147483647 w 166"/>
                  <a:gd name="T41" fmla="*/ 2147483647 h 456"/>
                  <a:gd name="T42" fmla="*/ 2147483647 w 166"/>
                  <a:gd name="T43" fmla="*/ 2147483647 h 456"/>
                  <a:gd name="T44" fmla="*/ 2147483647 w 166"/>
                  <a:gd name="T45" fmla="*/ 2147483647 h 456"/>
                  <a:gd name="T46" fmla="*/ 2147483647 w 166"/>
                  <a:gd name="T47" fmla="*/ 2147483647 h 456"/>
                  <a:gd name="T48" fmla="*/ 2147483647 w 166"/>
                  <a:gd name="T49" fmla="*/ 2147483647 h 456"/>
                  <a:gd name="T50" fmla="*/ 2147483647 w 166"/>
                  <a:gd name="T51" fmla="*/ 2147483647 h 456"/>
                  <a:gd name="T52" fmla="*/ 2147483647 w 166"/>
                  <a:gd name="T53" fmla="*/ 2147483647 h 456"/>
                  <a:gd name="T54" fmla="*/ 2147483647 w 166"/>
                  <a:gd name="T55" fmla="*/ 2147483647 h 456"/>
                  <a:gd name="T56" fmla="*/ 2147483647 w 166"/>
                  <a:gd name="T57" fmla="*/ 2147483647 h 456"/>
                  <a:gd name="T58" fmla="*/ 2147483647 w 166"/>
                  <a:gd name="T59" fmla="*/ 2147483647 h 456"/>
                  <a:gd name="T60" fmla="*/ 2147483647 w 166"/>
                  <a:gd name="T61" fmla="*/ 2147483647 h 456"/>
                  <a:gd name="T62" fmla="*/ 2147483647 w 166"/>
                  <a:gd name="T63" fmla="*/ 2147483647 h 456"/>
                  <a:gd name="T64" fmla="*/ 2147483647 w 166"/>
                  <a:gd name="T65" fmla="*/ 2147483647 h 456"/>
                  <a:gd name="T66" fmla="*/ 2147483647 w 166"/>
                  <a:gd name="T67" fmla="*/ 2147483647 h 456"/>
                  <a:gd name="T68" fmla="*/ 2147483647 w 166"/>
                  <a:gd name="T69" fmla="*/ 2147483647 h 456"/>
                  <a:gd name="T70" fmla="*/ 2147483647 w 166"/>
                  <a:gd name="T71" fmla="*/ 2147483647 h 456"/>
                  <a:gd name="T72" fmla="*/ 2147483647 w 166"/>
                  <a:gd name="T73" fmla="*/ 2147483647 h 456"/>
                  <a:gd name="T74" fmla="*/ 2147483647 w 166"/>
                  <a:gd name="T75" fmla="*/ 2147483647 h 456"/>
                  <a:gd name="T76" fmla="*/ 2147483647 w 166"/>
                  <a:gd name="T77" fmla="*/ 1185313754 h 456"/>
                  <a:gd name="T78" fmla="*/ 2147483647 w 166"/>
                  <a:gd name="T79" fmla="*/ 592796842 h 456"/>
                  <a:gd name="T80" fmla="*/ 893968072 w 166"/>
                  <a:gd name="T81" fmla="*/ 1481851875 h 456"/>
                  <a:gd name="T82" fmla="*/ 1639029829 w 166"/>
                  <a:gd name="T83" fmla="*/ 2147483647 h 456"/>
                  <a:gd name="T84" fmla="*/ 2147483647 w 166"/>
                  <a:gd name="T85" fmla="*/ 2147483647 h 456"/>
                  <a:gd name="T86" fmla="*/ 2147483647 w 166"/>
                  <a:gd name="T87" fmla="*/ 2147483647 h 456"/>
                  <a:gd name="T88" fmla="*/ 2147483647 w 166"/>
                  <a:gd name="T89" fmla="*/ 2147483647 h 456"/>
                  <a:gd name="T90" fmla="*/ 2147483647 w 166"/>
                  <a:gd name="T91" fmla="*/ 2147483647 h 456"/>
                  <a:gd name="T92" fmla="*/ 2147483647 w 166"/>
                  <a:gd name="T93" fmla="*/ 2147483647 h 456"/>
                  <a:gd name="T94" fmla="*/ 2147483647 w 166"/>
                  <a:gd name="T95" fmla="*/ 2147483647 h 456"/>
                  <a:gd name="T96" fmla="*/ 1117592847 w 166"/>
                  <a:gd name="T97" fmla="*/ 2147483647 h 456"/>
                  <a:gd name="T98" fmla="*/ 223447625 w 166"/>
                  <a:gd name="T99" fmla="*/ 2147483647 h 456"/>
                  <a:gd name="T100" fmla="*/ 521436983 w 166"/>
                  <a:gd name="T101" fmla="*/ 2147483647 h 45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0" name="Freeform 475"/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10328543" y="3012647"/>
                <a:ext cx="14287" cy="57150"/>
              </a:xfrm>
              <a:custGeom>
                <a:avLst/>
                <a:gdLst>
                  <a:gd name="T0" fmla="*/ 2147483647 w 27"/>
                  <a:gd name="T1" fmla="*/ 0 h 19"/>
                  <a:gd name="T2" fmla="*/ 2147483647 w 27"/>
                  <a:gd name="T3" fmla="*/ 2147483647 h 19"/>
                  <a:gd name="T4" fmla="*/ 2147483647 w 27"/>
                  <a:gd name="T5" fmla="*/ 2147483647 h 19"/>
                  <a:gd name="T6" fmla="*/ 1333349091 w 27"/>
                  <a:gd name="T7" fmla="*/ 2147483647 h 19"/>
                  <a:gd name="T8" fmla="*/ 0 w 27"/>
                  <a:gd name="T9" fmla="*/ 2147483647 h 19"/>
                  <a:gd name="T10" fmla="*/ 1333349091 w 27"/>
                  <a:gd name="T11" fmla="*/ 2147483647 h 19"/>
                  <a:gd name="T12" fmla="*/ 2147483647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1" name="Freeform 476"/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10647630" y="4633485"/>
                <a:ext cx="188913" cy="217487"/>
              </a:xfrm>
              <a:custGeom>
                <a:avLst/>
                <a:gdLst>
                  <a:gd name="T0" fmla="*/ 2147483647 w 438"/>
                  <a:gd name="T1" fmla="*/ 1229604538 h 406"/>
                  <a:gd name="T2" fmla="*/ 2147483647 w 438"/>
                  <a:gd name="T3" fmla="*/ 2147483647 h 406"/>
                  <a:gd name="T4" fmla="*/ 2147483647 w 438"/>
                  <a:gd name="T5" fmla="*/ 2147483647 h 406"/>
                  <a:gd name="T6" fmla="*/ 2147483647 w 438"/>
                  <a:gd name="T7" fmla="*/ 2147483647 h 406"/>
                  <a:gd name="T8" fmla="*/ 2147483647 w 438"/>
                  <a:gd name="T9" fmla="*/ 2147483647 h 406"/>
                  <a:gd name="T10" fmla="*/ 2147483647 w 438"/>
                  <a:gd name="T11" fmla="*/ 2147483647 h 406"/>
                  <a:gd name="T12" fmla="*/ 2147483647 w 438"/>
                  <a:gd name="T13" fmla="*/ 2147483647 h 406"/>
                  <a:gd name="T14" fmla="*/ 2147483647 w 438"/>
                  <a:gd name="T15" fmla="*/ 2147483647 h 406"/>
                  <a:gd name="T16" fmla="*/ 2147483647 w 438"/>
                  <a:gd name="T17" fmla="*/ 2147483647 h 406"/>
                  <a:gd name="T18" fmla="*/ 2147483647 w 438"/>
                  <a:gd name="T19" fmla="*/ 2147483647 h 406"/>
                  <a:gd name="T20" fmla="*/ 2147483647 w 438"/>
                  <a:gd name="T21" fmla="*/ 2147483647 h 406"/>
                  <a:gd name="T22" fmla="*/ 2147483647 w 438"/>
                  <a:gd name="T23" fmla="*/ 2147483647 h 406"/>
                  <a:gd name="T24" fmla="*/ 2147483647 w 438"/>
                  <a:gd name="T25" fmla="*/ 2147483647 h 406"/>
                  <a:gd name="T26" fmla="*/ 2147483647 w 438"/>
                  <a:gd name="T27" fmla="*/ 2147483647 h 406"/>
                  <a:gd name="T28" fmla="*/ 2147483647 w 438"/>
                  <a:gd name="T29" fmla="*/ 2147483647 h 406"/>
                  <a:gd name="T30" fmla="*/ 2147483647 w 438"/>
                  <a:gd name="T31" fmla="*/ 2147483647 h 406"/>
                  <a:gd name="T32" fmla="*/ 2147483647 w 438"/>
                  <a:gd name="T33" fmla="*/ 2147483647 h 406"/>
                  <a:gd name="T34" fmla="*/ 2147483647 w 438"/>
                  <a:gd name="T35" fmla="*/ 2147483647 h 406"/>
                  <a:gd name="T36" fmla="*/ 2147483647 w 438"/>
                  <a:gd name="T37" fmla="*/ 2147483647 h 406"/>
                  <a:gd name="T38" fmla="*/ 2147483647 w 438"/>
                  <a:gd name="T39" fmla="*/ 2147483647 h 406"/>
                  <a:gd name="T40" fmla="*/ 2147483647 w 438"/>
                  <a:gd name="T41" fmla="*/ 2147483647 h 406"/>
                  <a:gd name="T42" fmla="*/ 2147483647 w 438"/>
                  <a:gd name="T43" fmla="*/ 2147483647 h 406"/>
                  <a:gd name="T44" fmla="*/ 2147483647 w 438"/>
                  <a:gd name="T45" fmla="*/ 2147483647 h 406"/>
                  <a:gd name="T46" fmla="*/ 2147483647 w 438"/>
                  <a:gd name="T47" fmla="*/ 2147483647 h 406"/>
                  <a:gd name="T48" fmla="*/ 2147483647 w 438"/>
                  <a:gd name="T49" fmla="*/ 2147483647 h 406"/>
                  <a:gd name="T50" fmla="*/ 2147483647 w 438"/>
                  <a:gd name="T51" fmla="*/ 2147483647 h 406"/>
                  <a:gd name="T52" fmla="*/ 2147483647 w 438"/>
                  <a:gd name="T53" fmla="*/ 2147483647 h 406"/>
                  <a:gd name="T54" fmla="*/ 2147483647 w 438"/>
                  <a:gd name="T55" fmla="*/ 2147483647 h 406"/>
                  <a:gd name="T56" fmla="*/ 2147483647 w 438"/>
                  <a:gd name="T57" fmla="*/ 2147483647 h 406"/>
                  <a:gd name="T58" fmla="*/ 1925563037 w 438"/>
                  <a:gd name="T59" fmla="*/ 2147483647 h 406"/>
                  <a:gd name="T60" fmla="*/ 1043052075 w 438"/>
                  <a:gd name="T61" fmla="*/ 2147483647 h 406"/>
                  <a:gd name="T62" fmla="*/ 320896334 w 438"/>
                  <a:gd name="T63" fmla="*/ 2147483647 h 406"/>
                  <a:gd name="T64" fmla="*/ 0 w 438"/>
                  <a:gd name="T65" fmla="*/ 2147483647 h 406"/>
                  <a:gd name="T66" fmla="*/ 1444311913 w 438"/>
                  <a:gd name="T67" fmla="*/ 2147483647 h 406"/>
                  <a:gd name="T68" fmla="*/ 2147483647 w 438"/>
                  <a:gd name="T69" fmla="*/ 2147483647 h 406"/>
                  <a:gd name="T70" fmla="*/ 2147483647 w 438"/>
                  <a:gd name="T71" fmla="*/ 2147483647 h 406"/>
                  <a:gd name="T72" fmla="*/ 2147483647 w 438"/>
                  <a:gd name="T73" fmla="*/ 2147483647 h 406"/>
                  <a:gd name="T74" fmla="*/ 2147483647 w 438"/>
                  <a:gd name="T75" fmla="*/ 2147483647 h 406"/>
                  <a:gd name="T76" fmla="*/ 2147483647 w 438"/>
                  <a:gd name="T77" fmla="*/ 2147483647 h 406"/>
                  <a:gd name="T78" fmla="*/ 2147483647 w 438"/>
                  <a:gd name="T79" fmla="*/ 2147483647 h 406"/>
                  <a:gd name="T80" fmla="*/ 2147483647 w 438"/>
                  <a:gd name="T81" fmla="*/ 2147483647 h 406"/>
                  <a:gd name="T82" fmla="*/ 2147483647 w 438"/>
                  <a:gd name="T83" fmla="*/ 2147483647 h 406"/>
                  <a:gd name="T84" fmla="*/ 2147483647 w 438"/>
                  <a:gd name="T85" fmla="*/ 2147483647 h 406"/>
                  <a:gd name="T86" fmla="*/ 2147483647 w 438"/>
                  <a:gd name="T87" fmla="*/ 2147483647 h 406"/>
                  <a:gd name="T88" fmla="*/ 2147483647 w 438"/>
                  <a:gd name="T89" fmla="*/ 2147483647 h 406"/>
                  <a:gd name="T90" fmla="*/ 2147483647 w 438"/>
                  <a:gd name="T91" fmla="*/ 2147483647 h 406"/>
                  <a:gd name="T92" fmla="*/ 2147483647 w 438"/>
                  <a:gd name="T93" fmla="*/ 2147483647 h 406"/>
                  <a:gd name="T94" fmla="*/ 2147483647 w 438"/>
                  <a:gd name="T95" fmla="*/ 2147483647 h 406"/>
                  <a:gd name="T96" fmla="*/ 2147483647 w 438"/>
                  <a:gd name="T97" fmla="*/ 1844550102 h 406"/>
                  <a:gd name="T98" fmla="*/ 2147483647 w 438"/>
                  <a:gd name="T99" fmla="*/ 1844550102 h 406"/>
                  <a:gd name="T100" fmla="*/ 2147483647 w 438"/>
                  <a:gd name="T101" fmla="*/ 1383412308 h 406"/>
                  <a:gd name="T102" fmla="*/ 2147483647 w 438"/>
                  <a:gd name="T103" fmla="*/ 614945564 h 406"/>
                  <a:gd name="T104" fmla="*/ 2147483647 w 438"/>
                  <a:gd name="T105" fmla="*/ 307329487 h 406"/>
                  <a:gd name="T106" fmla="*/ 2147483647 w 438"/>
                  <a:gd name="T107" fmla="*/ 461137258 h 406"/>
                  <a:gd name="T108" fmla="*/ 2147483647 w 438"/>
                  <a:gd name="T109" fmla="*/ 153808306 h 40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2" name="Freeform 477"/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10560318" y="4409647"/>
                <a:ext cx="293687" cy="300038"/>
              </a:xfrm>
              <a:custGeom>
                <a:avLst/>
                <a:gdLst>
                  <a:gd name="T0" fmla="*/ 2147483647 w 678"/>
                  <a:gd name="T1" fmla="*/ 1142648724 h 574"/>
                  <a:gd name="T2" fmla="*/ 2147483647 w 678"/>
                  <a:gd name="T3" fmla="*/ 2147483647 h 574"/>
                  <a:gd name="T4" fmla="*/ 2147483647 w 678"/>
                  <a:gd name="T5" fmla="*/ 2147483647 h 574"/>
                  <a:gd name="T6" fmla="*/ 2147483647 w 678"/>
                  <a:gd name="T7" fmla="*/ 2147483647 h 574"/>
                  <a:gd name="T8" fmla="*/ 2147483647 w 678"/>
                  <a:gd name="T9" fmla="*/ 2147483647 h 574"/>
                  <a:gd name="T10" fmla="*/ 2147483647 w 678"/>
                  <a:gd name="T11" fmla="*/ 2147483647 h 574"/>
                  <a:gd name="T12" fmla="*/ 2147483647 w 678"/>
                  <a:gd name="T13" fmla="*/ 2147483647 h 574"/>
                  <a:gd name="T14" fmla="*/ 2147483647 w 678"/>
                  <a:gd name="T15" fmla="*/ 2147483647 h 574"/>
                  <a:gd name="T16" fmla="*/ 2147483647 w 678"/>
                  <a:gd name="T17" fmla="*/ 2147483647 h 574"/>
                  <a:gd name="T18" fmla="*/ 2147483647 w 678"/>
                  <a:gd name="T19" fmla="*/ 2147483647 h 574"/>
                  <a:gd name="T20" fmla="*/ 2147483647 w 678"/>
                  <a:gd name="T21" fmla="*/ 2147483647 h 574"/>
                  <a:gd name="T22" fmla="*/ 2147483647 w 678"/>
                  <a:gd name="T23" fmla="*/ 2147483647 h 574"/>
                  <a:gd name="T24" fmla="*/ 2147483647 w 678"/>
                  <a:gd name="T25" fmla="*/ 2147483647 h 574"/>
                  <a:gd name="T26" fmla="*/ 2147483647 w 678"/>
                  <a:gd name="T27" fmla="*/ 2147483647 h 574"/>
                  <a:gd name="T28" fmla="*/ 2147483647 w 678"/>
                  <a:gd name="T29" fmla="*/ 2147483647 h 574"/>
                  <a:gd name="T30" fmla="*/ 2147483647 w 678"/>
                  <a:gd name="T31" fmla="*/ 2147483647 h 574"/>
                  <a:gd name="T32" fmla="*/ 2147483647 w 678"/>
                  <a:gd name="T33" fmla="*/ 2147483647 h 574"/>
                  <a:gd name="T34" fmla="*/ 2147483647 w 678"/>
                  <a:gd name="T35" fmla="*/ 2147483647 h 574"/>
                  <a:gd name="T36" fmla="*/ 2147483647 w 678"/>
                  <a:gd name="T37" fmla="*/ 2147483647 h 574"/>
                  <a:gd name="T38" fmla="*/ 2147483647 w 678"/>
                  <a:gd name="T39" fmla="*/ 2147483647 h 574"/>
                  <a:gd name="T40" fmla="*/ 2147483647 w 678"/>
                  <a:gd name="T41" fmla="*/ 2147483647 h 574"/>
                  <a:gd name="T42" fmla="*/ 2147483647 w 678"/>
                  <a:gd name="T43" fmla="*/ 2147483647 h 574"/>
                  <a:gd name="T44" fmla="*/ 2147483647 w 678"/>
                  <a:gd name="T45" fmla="*/ 2147483647 h 574"/>
                  <a:gd name="T46" fmla="*/ 2147483647 w 678"/>
                  <a:gd name="T47" fmla="*/ 2147483647 h 574"/>
                  <a:gd name="T48" fmla="*/ 2147483647 w 678"/>
                  <a:gd name="T49" fmla="*/ 2147483647 h 574"/>
                  <a:gd name="T50" fmla="*/ 2147483647 w 678"/>
                  <a:gd name="T51" fmla="*/ 2147483647 h 574"/>
                  <a:gd name="T52" fmla="*/ 2147483647 w 678"/>
                  <a:gd name="T53" fmla="*/ 2147483647 h 574"/>
                  <a:gd name="T54" fmla="*/ 2147483647 w 678"/>
                  <a:gd name="T55" fmla="*/ 2147483647 h 574"/>
                  <a:gd name="T56" fmla="*/ 2147483647 w 678"/>
                  <a:gd name="T57" fmla="*/ 2147483647 h 574"/>
                  <a:gd name="T58" fmla="*/ 2147483647 w 678"/>
                  <a:gd name="T59" fmla="*/ 2147483647 h 574"/>
                  <a:gd name="T60" fmla="*/ 2147483647 w 678"/>
                  <a:gd name="T61" fmla="*/ 2147483647 h 574"/>
                  <a:gd name="T62" fmla="*/ 2147483647 w 678"/>
                  <a:gd name="T63" fmla="*/ 2147483647 h 574"/>
                  <a:gd name="T64" fmla="*/ 0 w 678"/>
                  <a:gd name="T65" fmla="*/ 2147483647 h 574"/>
                  <a:gd name="T66" fmla="*/ 2147483647 w 678"/>
                  <a:gd name="T67" fmla="*/ 2147483647 h 574"/>
                  <a:gd name="T68" fmla="*/ 2147483647 w 678"/>
                  <a:gd name="T69" fmla="*/ 2147483647 h 574"/>
                  <a:gd name="T70" fmla="*/ 2147483647 w 678"/>
                  <a:gd name="T71" fmla="*/ 2147483647 h 574"/>
                  <a:gd name="T72" fmla="*/ 2147483647 w 678"/>
                  <a:gd name="T73" fmla="*/ 2147483647 h 574"/>
                  <a:gd name="T74" fmla="*/ 2147483647 w 678"/>
                  <a:gd name="T75" fmla="*/ 2147483647 h 574"/>
                  <a:gd name="T76" fmla="*/ 2147483647 w 678"/>
                  <a:gd name="T77" fmla="*/ 2147483647 h 574"/>
                  <a:gd name="T78" fmla="*/ 2147483647 w 678"/>
                  <a:gd name="T79" fmla="*/ 2147483647 h 574"/>
                  <a:gd name="T80" fmla="*/ 2147483647 w 678"/>
                  <a:gd name="T81" fmla="*/ 2147483647 h 574"/>
                  <a:gd name="T82" fmla="*/ 2147483647 w 678"/>
                  <a:gd name="T83" fmla="*/ 2147483647 h 574"/>
                  <a:gd name="T84" fmla="*/ 2147483647 w 678"/>
                  <a:gd name="T85" fmla="*/ 2147483647 h 574"/>
                  <a:gd name="T86" fmla="*/ 2147483647 w 678"/>
                  <a:gd name="T87" fmla="*/ 2147483647 h 574"/>
                  <a:gd name="T88" fmla="*/ 2147483647 w 678"/>
                  <a:gd name="T89" fmla="*/ 2147483647 h 574"/>
                  <a:gd name="T90" fmla="*/ 2147483647 w 678"/>
                  <a:gd name="T91" fmla="*/ 2147483647 h 574"/>
                  <a:gd name="T92" fmla="*/ 2147483647 w 678"/>
                  <a:gd name="T93" fmla="*/ 2147483647 h 574"/>
                  <a:gd name="T94" fmla="*/ 2147483647 w 678"/>
                  <a:gd name="T95" fmla="*/ 2147483647 h 574"/>
                  <a:gd name="T96" fmla="*/ 2147483647 w 678"/>
                  <a:gd name="T97" fmla="*/ 2147483647 h 574"/>
                  <a:gd name="T98" fmla="*/ 2147483647 w 678"/>
                  <a:gd name="T99" fmla="*/ 2147483647 h 574"/>
                  <a:gd name="T100" fmla="*/ 2147483647 w 678"/>
                  <a:gd name="T101" fmla="*/ 2147483647 h 574"/>
                  <a:gd name="T102" fmla="*/ 2147483647 w 678"/>
                  <a:gd name="T103" fmla="*/ 2147483647 h 574"/>
                  <a:gd name="T104" fmla="*/ 2147483647 w 678"/>
                  <a:gd name="T105" fmla="*/ 2147483647 h 574"/>
                  <a:gd name="T106" fmla="*/ 2147483647 w 678"/>
                  <a:gd name="T107" fmla="*/ 2147483647 h 574"/>
                  <a:gd name="T108" fmla="*/ 2147483647 w 678"/>
                  <a:gd name="T109" fmla="*/ 2147483647 h 574"/>
                  <a:gd name="T110" fmla="*/ 2147483647 w 678"/>
                  <a:gd name="T111" fmla="*/ 1428174607 h 574"/>
                  <a:gd name="T112" fmla="*/ 2147483647 w 678"/>
                  <a:gd name="T113" fmla="*/ 856849984 h 574"/>
                  <a:gd name="T114" fmla="*/ 2147483647 w 678"/>
                  <a:gd name="T115" fmla="*/ 1142648724 h 574"/>
                  <a:gd name="T116" fmla="*/ 2147483647 w 678"/>
                  <a:gd name="T117" fmla="*/ 142899631 h 57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3" name="Freeform 478"/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10296793" y="4682697"/>
                <a:ext cx="350837" cy="381000"/>
              </a:xfrm>
              <a:custGeom>
                <a:avLst/>
                <a:gdLst>
                  <a:gd name="T0" fmla="*/ 2147483647 w 810"/>
                  <a:gd name="T1" fmla="*/ 2147483647 h 727"/>
                  <a:gd name="T2" fmla="*/ 2147483647 w 810"/>
                  <a:gd name="T3" fmla="*/ 2147483647 h 727"/>
                  <a:gd name="T4" fmla="*/ 2147483647 w 810"/>
                  <a:gd name="T5" fmla="*/ 2147483647 h 727"/>
                  <a:gd name="T6" fmla="*/ 2147483647 w 810"/>
                  <a:gd name="T7" fmla="*/ 2147483647 h 727"/>
                  <a:gd name="T8" fmla="*/ 2147483647 w 810"/>
                  <a:gd name="T9" fmla="*/ 2147483647 h 727"/>
                  <a:gd name="T10" fmla="*/ 2147483647 w 810"/>
                  <a:gd name="T11" fmla="*/ 2147483647 h 727"/>
                  <a:gd name="T12" fmla="*/ 2147483647 w 810"/>
                  <a:gd name="T13" fmla="*/ 2147483647 h 727"/>
                  <a:gd name="T14" fmla="*/ 2147483647 w 810"/>
                  <a:gd name="T15" fmla="*/ 2147483647 h 727"/>
                  <a:gd name="T16" fmla="*/ 2147483647 w 810"/>
                  <a:gd name="T17" fmla="*/ 0 h 727"/>
                  <a:gd name="T18" fmla="*/ 2147483647 w 810"/>
                  <a:gd name="T19" fmla="*/ 719585319 h 727"/>
                  <a:gd name="T20" fmla="*/ 2147483647 w 810"/>
                  <a:gd name="T21" fmla="*/ 2147483647 h 727"/>
                  <a:gd name="T22" fmla="*/ 0 w 810"/>
                  <a:gd name="T23" fmla="*/ 2147483647 h 727"/>
                  <a:gd name="T24" fmla="*/ 568813761 w 810"/>
                  <a:gd name="T25" fmla="*/ 2147483647 h 727"/>
                  <a:gd name="T26" fmla="*/ 2112602245 w 810"/>
                  <a:gd name="T27" fmla="*/ 2147483647 h 727"/>
                  <a:gd name="T28" fmla="*/ 2147483647 w 810"/>
                  <a:gd name="T29" fmla="*/ 2147483647 h 727"/>
                  <a:gd name="T30" fmla="*/ 2147483647 w 810"/>
                  <a:gd name="T31" fmla="*/ 2147483647 h 727"/>
                  <a:gd name="T32" fmla="*/ 2147483647 w 810"/>
                  <a:gd name="T33" fmla="*/ 2147483647 h 727"/>
                  <a:gd name="T34" fmla="*/ 2147483647 w 810"/>
                  <a:gd name="T35" fmla="*/ 2147483647 h 727"/>
                  <a:gd name="T36" fmla="*/ 2147483647 w 810"/>
                  <a:gd name="T37" fmla="*/ 2147483647 h 727"/>
                  <a:gd name="T38" fmla="*/ 2147483647 w 810"/>
                  <a:gd name="T39" fmla="*/ 2147483647 h 727"/>
                  <a:gd name="T40" fmla="*/ 2147483647 w 810"/>
                  <a:gd name="T41" fmla="*/ 2147483647 h 727"/>
                  <a:gd name="T42" fmla="*/ 2147483647 w 810"/>
                  <a:gd name="T43" fmla="*/ 2147483647 h 727"/>
                  <a:gd name="T44" fmla="*/ 2147483647 w 810"/>
                  <a:gd name="T45" fmla="*/ 2147483647 h 727"/>
                  <a:gd name="T46" fmla="*/ 2147483647 w 810"/>
                  <a:gd name="T47" fmla="*/ 2147483647 h 727"/>
                  <a:gd name="T48" fmla="*/ 2147483647 w 810"/>
                  <a:gd name="T49" fmla="*/ 2147483647 h 727"/>
                  <a:gd name="T50" fmla="*/ 2147483647 w 810"/>
                  <a:gd name="T51" fmla="*/ 2147483647 h 727"/>
                  <a:gd name="T52" fmla="*/ 2147483647 w 810"/>
                  <a:gd name="T53" fmla="*/ 2147483647 h 727"/>
                  <a:gd name="T54" fmla="*/ 2147483647 w 810"/>
                  <a:gd name="T55" fmla="*/ 2147483647 h 727"/>
                  <a:gd name="T56" fmla="*/ 2147483647 w 810"/>
                  <a:gd name="T57" fmla="*/ 2147483647 h 727"/>
                  <a:gd name="T58" fmla="*/ 2147483647 w 810"/>
                  <a:gd name="T59" fmla="*/ 2147483647 h 727"/>
                  <a:gd name="T60" fmla="*/ 2147483647 w 810"/>
                  <a:gd name="T61" fmla="*/ 2147483647 h 727"/>
                  <a:gd name="T62" fmla="*/ 2147483647 w 810"/>
                  <a:gd name="T63" fmla="*/ 2147483647 h 727"/>
                  <a:gd name="T64" fmla="*/ 2147483647 w 810"/>
                  <a:gd name="T65" fmla="*/ 2147483647 h 727"/>
                  <a:gd name="T66" fmla="*/ 2147483647 w 810"/>
                  <a:gd name="T67" fmla="*/ 2147483647 h 727"/>
                  <a:gd name="T68" fmla="*/ 2147483647 w 810"/>
                  <a:gd name="T69" fmla="*/ 2147483647 h 727"/>
                  <a:gd name="T70" fmla="*/ 2147483647 w 810"/>
                  <a:gd name="T71" fmla="*/ 2147483647 h 727"/>
                  <a:gd name="T72" fmla="*/ 2147483647 w 810"/>
                  <a:gd name="T73" fmla="*/ 2147483647 h 727"/>
                  <a:gd name="T74" fmla="*/ 2147483647 w 810"/>
                  <a:gd name="T75" fmla="*/ 2147483647 h 727"/>
                  <a:gd name="T76" fmla="*/ 2147483647 w 810"/>
                  <a:gd name="T77" fmla="*/ 2147483647 h 727"/>
                  <a:gd name="T78" fmla="*/ 2147483647 w 810"/>
                  <a:gd name="T79" fmla="*/ 2147483647 h 727"/>
                  <a:gd name="T80" fmla="*/ 2147483647 w 810"/>
                  <a:gd name="T81" fmla="*/ 2147483647 h 727"/>
                  <a:gd name="T82" fmla="*/ 2147483647 w 810"/>
                  <a:gd name="T83" fmla="*/ 2147483647 h 727"/>
                  <a:gd name="T84" fmla="*/ 2147483647 w 810"/>
                  <a:gd name="T85" fmla="*/ 2147483647 h 727"/>
                  <a:gd name="T86" fmla="*/ 2147483647 w 810"/>
                  <a:gd name="T87" fmla="*/ 2147483647 h 727"/>
                  <a:gd name="T88" fmla="*/ 2147483647 w 810"/>
                  <a:gd name="T89" fmla="*/ 2147483647 h 727"/>
                  <a:gd name="T90" fmla="*/ 2147483647 w 810"/>
                  <a:gd name="T91" fmla="*/ 2147483647 h 727"/>
                  <a:gd name="T92" fmla="*/ 2147483647 w 810"/>
                  <a:gd name="T93" fmla="*/ 2147483647 h 727"/>
                  <a:gd name="T94" fmla="*/ 2147483647 w 810"/>
                  <a:gd name="T95" fmla="*/ 2147483647 h 727"/>
                  <a:gd name="T96" fmla="*/ 2147483647 w 810"/>
                  <a:gd name="T97" fmla="*/ 2147483647 h 727"/>
                  <a:gd name="T98" fmla="*/ 2147483647 w 810"/>
                  <a:gd name="T99" fmla="*/ 2147483647 h 727"/>
                  <a:gd name="T100" fmla="*/ 2147483647 w 810"/>
                  <a:gd name="T101" fmla="*/ 2147483647 h 727"/>
                  <a:gd name="T102" fmla="*/ 2147483647 w 810"/>
                  <a:gd name="T103" fmla="*/ 2147483647 h 72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4" name="Freeform 479"/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9576068" y="3612722"/>
                <a:ext cx="161925" cy="141288"/>
              </a:xfrm>
              <a:custGeom>
                <a:avLst/>
                <a:gdLst>
                  <a:gd name="T0" fmla="*/ 2147483647 w 365"/>
                  <a:gd name="T1" fmla="*/ 2147483647 h 271"/>
                  <a:gd name="T2" fmla="*/ 2147483647 w 365"/>
                  <a:gd name="T3" fmla="*/ 2147483647 h 271"/>
                  <a:gd name="T4" fmla="*/ 2147483647 w 365"/>
                  <a:gd name="T5" fmla="*/ 2147483647 h 271"/>
                  <a:gd name="T6" fmla="*/ 2147483647 w 365"/>
                  <a:gd name="T7" fmla="*/ 2147483647 h 271"/>
                  <a:gd name="T8" fmla="*/ 2147483647 w 365"/>
                  <a:gd name="T9" fmla="*/ 2147483647 h 271"/>
                  <a:gd name="T10" fmla="*/ 2147483647 w 365"/>
                  <a:gd name="T11" fmla="*/ 2147483647 h 271"/>
                  <a:gd name="T12" fmla="*/ 1746274617 w 365"/>
                  <a:gd name="T13" fmla="*/ 2147483647 h 271"/>
                  <a:gd name="T14" fmla="*/ 1484323443 w 365"/>
                  <a:gd name="T15" fmla="*/ 2147483647 h 271"/>
                  <a:gd name="T16" fmla="*/ 1571509630 w 365"/>
                  <a:gd name="T17" fmla="*/ 2147483647 h 271"/>
                  <a:gd name="T18" fmla="*/ 2147483647 w 365"/>
                  <a:gd name="T19" fmla="*/ 2147483647 h 271"/>
                  <a:gd name="T20" fmla="*/ 2147483647 w 365"/>
                  <a:gd name="T21" fmla="*/ 2147483647 h 271"/>
                  <a:gd name="T22" fmla="*/ 2147483647 w 365"/>
                  <a:gd name="T23" fmla="*/ 2147483647 h 271"/>
                  <a:gd name="T24" fmla="*/ 2147483647 w 365"/>
                  <a:gd name="T25" fmla="*/ 2147483647 h 271"/>
                  <a:gd name="T26" fmla="*/ 2147483647 w 365"/>
                  <a:gd name="T27" fmla="*/ 2147483647 h 271"/>
                  <a:gd name="T28" fmla="*/ 2147483647 w 365"/>
                  <a:gd name="T29" fmla="*/ 2147483647 h 271"/>
                  <a:gd name="T30" fmla="*/ 2147483647 w 365"/>
                  <a:gd name="T31" fmla="*/ 2147483647 h 271"/>
                  <a:gd name="T32" fmla="*/ 2147483647 w 365"/>
                  <a:gd name="T33" fmla="*/ 2147483647 h 271"/>
                  <a:gd name="T34" fmla="*/ 2147483647 w 365"/>
                  <a:gd name="T35" fmla="*/ 2147483647 h 271"/>
                  <a:gd name="T36" fmla="*/ 2147483647 w 365"/>
                  <a:gd name="T37" fmla="*/ 2147483647 h 271"/>
                  <a:gd name="T38" fmla="*/ 2147483647 w 365"/>
                  <a:gd name="T39" fmla="*/ 2147483647 h 271"/>
                  <a:gd name="T40" fmla="*/ 2147483647 w 365"/>
                  <a:gd name="T41" fmla="*/ 2147483647 h 271"/>
                  <a:gd name="T42" fmla="*/ 2147483647 w 365"/>
                  <a:gd name="T43" fmla="*/ 2147483647 h 271"/>
                  <a:gd name="T44" fmla="*/ 2147483647 w 365"/>
                  <a:gd name="T45" fmla="*/ 2147483647 h 271"/>
                  <a:gd name="T46" fmla="*/ 2147483647 w 365"/>
                  <a:gd name="T47" fmla="*/ 2147483647 h 271"/>
                  <a:gd name="T48" fmla="*/ 2147483647 w 365"/>
                  <a:gd name="T49" fmla="*/ 2147483647 h 271"/>
                  <a:gd name="T50" fmla="*/ 2147483647 w 365"/>
                  <a:gd name="T51" fmla="*/ 2147483647 h 271"/>
                  <a:gd name="T52" fmla="*/ 2147483647 w 365"/>
                  <a:gd name="T53" fmla="*/ 2147483647 h 271"/>
                  <a:gd name="T54" fmla="*/ 2147483647 w 365"/>
                  <a:gd name="T55" fmla="*/ 2147483647 h 271"/>
                  <a:gd name="T56" fmla="*/ 1134989997 w 365"/>
                  <a:gd name="T57" fmla="*/ 2147483647 h 271"/>
                  <a:gd name="T58" fmla="*/ 960421538 w 365"/>
                  <a:gd name="T59" fmla="*/ 2147483647 h 271"/>
                  <a:gd name="T60" fmla="*/ 523901905 w 365"/>
                  <a:gd name="T61" fmla="*/ 2147483647 h 271"/>
                  <a:gd name="T62" fmla="*/ 174568459 w 365"/>
                  <a:gd name="T63" fmla="*/ 2147483647 h 271"/>
                  <a:gd name="T64" fmla="*/ 0 w 365"/>
                  <a:gd name="T65" fmla="*/ 2147483647 h 271"/>
                  <a:gd name="T66" fmla="*/ 436519633 w 365"/>
                  <a:gd name="T67" fmla="*/ 2147483647 h 271"/>
                  <a:gd name="T68" fmla="*/ 1484323443 w 365"/>
                  <a:gd name="T69" fmla="*/ 2147483647 h 271"/>
                  <a:gd name="T70" fmla="*/ 2147483647 w 365"/>
                  <a:gd name="T71" fmla="*/ 2147483647 h 271"/>
                  <a:gd name="T72" fmla="*/ 2147483647 w 365"/>
                  <a:gd name="T73" fmla="*/ 2147483647 h 271"/>
                  <a:gd name="T74" fmla="*/ 2147483647 w 365"/>
                  <a:gd name="T75" fmla="*/ 2147483647 h 271"/>
                  <a:gd name="T76" fmla="*/ 2147483647 w 365"/>
                  <a:gd name="T77" fmla="*/ 2147483647 h 271"/>
                  <a:gd name="T78" fmla="*/ 2147483647 w 365"/>
                  <a:gd name="T79" fmla="*/ 2147483647 h 271"/>
                  <a:gd name="T80" fmla="*/ 2147483647 w 365"/>
                  <a:gd name="T81" fmla="*/ 2147483647 h 271"/>
                  <a:gd name="T82" fmla="*/ 2147483647 w 365"/>
                  <a:gd name="T83" fmla="*/ 2147483647 h 271"/>
                  <a:gd name="T84" fmla="*/ 2147483647 w 365"/>
                  <a:gd name="T85" fmla="*/ 0 h 271"/>
                  <a:gd name="T86" fmla="*/ 2147483647 w 365"/>
                  <a:gd name="T87" fmla="*/ 2125586201 h 271"/>
                  <a:gd name="T88" fmla="*/ 2147483647 w 365"/>
                  <a:gd name="T89" fmla="*/ 2147483647 h 271"/>
                  <a:gd name="T90" fmla="*/ 2147483647 w 365"/>
                  <a:gd name="T91" fmla="*/ 2147483647 h 271"/>
                  <a:gd name="T92" fmla="*/ 2147483647 w 365"/>
                  <a:gd name="T93" fmla="*/ 2147483647 h 271"/>
                  <a:gd name="T94" fmla="*/ 2147483647 w 365"/>
                  <a:gd name="T95" fmla="*/ 2147483647 h 271"/>
                  <a:gd name="T96" fmla="*/ 2147483647 w 365"/>
                  <a:gd name="T97" fmla="*/ 2147483647 h 271"/>
                  <a:gd name="T98" fmla="*/ 2147483647 w 365"/>
                  <a:gd name="T99" fmla="*/ 2147483647 h 271"/>
                  <a:gd name="T100" fmla="*/ 2147483647 w 365"/>
                  <a:gd name="T101" fmla="*/ 2147483647 h 271"/>
                  <a:gd name="T102" fmla="*/ 2147483647 w 365"/>
                  <a:gd name="T103" fmla="*/ 2147483647 h 271"/>
                  <a:gd name="T104" fmla="*/ 2147483647 w 365"/>
                  <a:gd name="T105" fmla="*/ 2147483647 h 271"/>
                  <a:gd name="T106" fmla="*/ 2147483647 w 365"/>
                  <a:gd name="T107" fmla="*/ 2147483647 h 271"/>
                  <a:gd name="T108" fmla="*/ 2147483647 w 365"/>
                  <a:gd name="T109" fmla="*/ 2147483647 h 271"/>
                  <a:gd name="T110" fmla="*/ 2147483647 w 365"/>
                  <a:gd name="T111" fmla="*/ 2147483647 h 271"/>
                  <a:gd name="T112" fmla="*/ 2147483647 w 365"/>
                  <a:gd name="T113" fmla="*/ 2147483647 h 271"/>
                  <a:gd name="T114" fmla="*/ 2147483647 w 365"/>
                  <a:gd name="T115" fmla="*/ 2147483647 h 271"/>
                  <a:gd name="T116" fmla="*/ 2147483647 w 365"/>
                  <a:gd name="T117" fmla="*/ 2147483647 h 27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5" name="Freeform 480"/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10749230" y="4174697"/>
                <a:ext cx="269875" cy="334963"/>
              </a:xfrm>
              <a:custGeom>
                <a:avLst/>
                <a:gdLst>
                  <a:gd name="T0" fmla="*/ 2147483647 w 624"/>
                  <a:gd name="T1" fmla="*/ 1720531169 h 640"/>
                  <a:gd name="T2" fmla="*/ 2147483647 w 624"/>
                  <a:gd name="T3" fmla="*/ 1720531169 h 640"/>
                  <a:gd name="T4" fmla="*/ 2147483647 w 624"/>
                  <a:gd name="T5" fmla="*/ 716865307 h 640"/>
                  <a:gd name="T6" fmla="*/ 2147483647 w 624"/>
                  <a:gd name="T7" fmla="*/ 2147483647 h 640"/>
                  <a:gd name="T8" fmla="*/ 2147483647 w 624"/>
                  <a:gd name="T9" fmla="*/ 2147483647 h 640"/>
                  <a:gd name="T10" fmla="*/ 2147483647 w 624"/>
                  <a:gd name="T11" fmla="*/ 2147483647 h 640"/>
                  <a:gd name="T12" fmla="*/ 2147483647 w 624"/>
                  <a:gd name="T13" fmla="*/ 2147483647 h 640"/>
                  <a:gd name="T14" fmla="*/ 2147483647 w 624"/>
                  <a:gd name="T15" fmla="*/ 2147483647 h 640"/>
                  <a:gd name="T16" fmla="*/ 2147483647 w 624"/>
                  <a:gd name="T17" fmla="*/ 2147483647 h 640"/>
                  <a:gd name="T18" fmla="*/ 2147483647 w 624"/>
                  <a:gd name="T19" fmla="*/ 2147483647 h 640"/>
                  <a:gd name="T20" fmla="*/ 2147483647 w 624"/>
                  <a:gd name="T21" fmla="*/ 2147483647 h 640"/>
                  <a:gd name="T22" fmla="*/ 2147483647 w 624"/>
                  <a:gd name="T23" fmla="*/ 2147483647 h 640"/>
                  <a:gd name="T24" fmla="*/ 2147483647 w 624"/>
                  <a:gd name="T25" fmla="*/ 2147483647 h 640"/>
                  <a:gd name="T26" fmla="*/ 2147483647 w 624"/>
                  <a:gd name="T27" fmla="*/ 2147483647 h 640"/>
                  <a:gd name="T28" fmla="*/ 2147483647 w 624"/>
                  <a:gd name="T29" fmla="*/ 2147483647 h 640"/>
                  <a:gd name="T30" fmla="*/ 2147483647 w 624"/>
                  <a:gd name="T31" fmla="*/ 2147483647 h 640"/>
                  <a:gd name="T32" fmla="*/ 2147483647 w 624"/>
                  <a:gd name="T33" fmla="*/ 2147483647 h 640"/>
                  <a:gd name="T34" fmla="*/ 2147483647 w 624"/>
                  <a:gd name="T35" fmla="*/ 2147483647 h 640"/>
                  <a:gd name="T36" fmla="*/ 2147483647 w 624"/>
                  <a:gd name="T37" fmla="*/ 2147483647 h 640"/>
                  <a:gd name="T38" fmla="*/ 2147483647 w 624"/>
                  <a:gd name="T39" fmla="*/ 2147483647 h 640"/>
                  <a:gd name="T40" fmla="*/ 2147483647 w 624"/>
                  <a:gd name="T41" fmla="*/ 2147483647 h 640"/>
                  <a:gd name="T42" fmla="*/ 2147483647 w 624"/>
                  <a:gd name="T43" fmla="*/ 2147483647 h 640"/>
                  <a:gd name="T44" fmla="*/ 2147483647 w 624"/>
                  <a:gd name="T45" fmla="*/ 2147483647 h 640"/>
                  <a:gd name="T46" fmla="*/ 2147483647 w 624"/>
                  <a:gd name="T47" fmla="*/ 2147483647 h 640"/>
                  <a:gd name="T48" fmla="*/ 2147483647 w 624"/>
                  <a:gd name="T49" fmla="*/ 2147483647 h 640"/>
                  <a:gd name="T50" fmla="*/ 2147483647 w 624"/>
                  <a:gd name="T51" fmla="*/ 2147483647 h 640"/>
                  <a:gd name="T52" fmla="*/ 2147483647 w 624"/>
                  <a:gd name="T53" fmla="*/ 2147483647 h 640"/>
                  <a:gd name="T54" fmla="*/ 2147483647 w 624"/>
                  <a:gd name="T55" fmla="*/ 2147483647 h 640"/>
                  <a:gd name="T56" fmla="*/ 2147483647 w 624"/>
                  <a:gd name="T57" fmla="*/ 2147483647 h 640"/>
                  <a:gd name="T58" fmla="*/ 2147483647 w 624"/>
                  <a:gd name="T59" fmla="*/ 2147483647 h 640"/>
                  <a:gd name="T60" fmla="*/ 2147483647 w 624"/>
                  <a:gd name="T61" fmla="*/ 2147483647 h 640"/>
                  <a:gd name="T62" fmla="*/ 2147483647 w 624"/>
                  <a:gd name="T63" fmla="*/ 2147483647 h 640"/>
                  <a:gd name="T64" fmla="*/ 2147483647 w 624"/>
                  <a:gd name="T65" fmla="*/ 2147483647 h 640"/>
                  <a:gd name="T66" fmla="*/ 2147483647 w 624"/>
                  <a:gd name="T67" fmla="*/ 2147483647 h 640"/>
                  <a:gd name="T68" fmla="*/ 2147483647 w 624"/>
                  <a:gd name="T69" fmla="*/ 2147483647 h 640"/>
                  <a:gd name="T70" fmla="*/ 2147483647 w 624"/>
                  <a:gd name="T71" fmla="*/ 2147483647 h 640"/>
                  <a:gd name="T72" fmla="*/ 2147483647 w 624"/>
                  <a:gd name="T73" fmla="*/ 2147483647 h 640"/>
                  <a:gd name="T74" fmla="*/ 2147483647 w 624"/>
                  <a:gd name="T75" fmla="*/ 2147483647 h 640"/>
                  <a:gd name="T76" fmla="*/ 2147483647 w 624"/>
                  <a:gd name="T77" fmla="*/ 2147483647 h 640"/>
                  <a:gd name="T78" fmla="*/ 2147483647 w 624"/>
                  <a:gd name="T79" fmla="*/ 2147483647 h 640"/>
                  <a:gd name="T80" fmla="*/ 2147483647 w 624"/>
                  <a:gd name="T81" fmla="*/ 2147483647 h 640"/>
                  <a:gd name="T82" fmla="*/ 2147483647 w 624"/>
                  <a:gd name="T83" fmla="*/ 2147483647 h 640"/>
                  <a:gd name="T84" fmla="*/ 2147483647 w 624"/>
                  <a:gd name="T85" fmla="*/ 2147483647 h 640"/>
                  <a:gd name="T86" fmla="*/ 970785787 w 624"/>
                  <a:gd name="T87" fmla="*/ 2147483647 h 640"/>
                  <a:gd name="T88" fmla="*/ 404400768 w 624"/>
                  <a:gd name="T89" fmla="*/ 2147483647 h 640"/>
                  <a:gd name="T90" fmla="*/ 0 w 624"/>
                  <a:gd name="T91" fmla="*/ 2147483647 h 640"/>
                  <a:gd name="T92" fmla="*/ 0 w 624"/>
                  <a:gd name="T93" fmla="*/ 2147483647 h 640"/>
                  <a:gd name="T94" fmla="*/ 808988372 w 624"/>
                  <a:gd name="T95" fmla="*/ 2147483647 h 640"/>
                  <a:gd name="T96" fmla="*/ 2147483647 w 624"/>
                  <a:gd name="T97" fmla="*/ 2147483647 h 640"/>
                  <a:gd name="T98" fmla="*/ 2147483647 w 624"/>
                  <a:gd name="T99" fmla="*/ 2147483647 h 640"/>
                  <a:gd name="T100" fmla="*/ 2147483647 w 624"/>
                  <a:gd name="T101" fmla="*/ 2147483647 h 640"/>
                  <a:gd name="T102" fmla="*/ 2147483647 w 624"/>
                  <a:gd name="T103" fmla="*/ 2147483647 h 640"/>
                  <a:gd name="T104" fmla="*/ 2147483647 w 624"/>
                  <a:gd name="T105" fmla="*/ 1146929537 h 6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6" name="Freeform 481"/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13313043" y="2688797"/>
                <a:ext cx="19050" cy="57150"/>
              </a:xfrm>
              <a:custGeom>
                <a:avLst/>
                <a:gdLst>
                  <a:gd name="T0" fmla="*/ 639239968 w 52"/>
                  <a:gd name="T1" fmla="*/ 2147483647 h 50"/>
                  <a:gd name="T2" fmla="*/ 0 w 52"/>
                  <a:gd name="T3" fmla="*/ 2147483647 h 50"/>
                  <a:gd name="T4" fmla="*/ 98375665 w 52"/>
                  <a:gd name="T5" fmla="*/ 2147483647 h 50"/>
                  <a:gd name="T6" fmla="*/ 294992547 w 52"/>
                  <a:gd name="T7" fmla="*/ 2147483647 h 50"/>
                  <a:gd name="T8" fmla="*/ 589985094 w 52"/>
                  <a:gd name="T9" fmla="*/ 2147483647 h 50"/>
                  <a:gd name="T10" fmla="*/ 884977641 w 52"/>
                  <a:gd name="T11" fmla="*/ 2147483647 h 50"/>
                  <a:gd name="T12" fmla="*/ 1278345488 w 52"/>
                  <a:gd name="T13" fmla="*/ 2147483647 h 50"/>
                  <a:gd name="T14" fmla="*/ 1671713700 w 52"/>
                  <a:gd name="T15" fmla="*/ 2147483647 h 50"/>
                  <a:gd name="T16" fmla="*/ 2114202338 w 52"/>
                  <a:gd name="T17" fmla="*/ 1493271207 h 50"/>
                  <a:gd name="T18" fmla="*/ 2147483647 w 52"/>
                  <a:gd name="T19" fmla="*/ 0 h 50"/>
                  <a:gd name="T20" fmla="*/ 1966706247 w 52"/>
                  <a:gd name="T21" fmla="*/ 2147483647 h 50"/>
                  <a:gd name="T22" fmla="*/ 1327466279 w 52"/>
                  <a:gd name="T23" fmla="*/ 2147483647 h 50"/>
                  <a:gd name="T24" fmla="*/ 1081728606 w 52"/>
                  <a:gd name="T25" fmla="*/ 2147483647 h 50"/>
                  <a:gd name="T26" fmla="*/ 835856850 w 52"/>
                  <a:gd name="T27" fmla="*/ 2147483647 h 50"/>
                  <a:gd name="T28" fmla="*/ 688360393 w 52"/>
                  <a:gd name="T29" fmla="*/ 2147483647 h 50"/>
                  <a:gd name="T30" fmla="*/ 639239968 w 52"/>
                  <a:gd name="T31" fmla="*/ 2147483647 h 5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7" name="Freeform 482"/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13171755" y="2690385"/>
                <a:ext cx="141288" cy="125412"/>
              </a:xfrm>
              <a:custGeom>
                <a:avLst/>
                <a:gdLst>
                  <a:gd name="T0" fmla="*/ 2147483647 w 320"/>
                  <a:gd name="T1" fmla="*/ 2147483647 h 234"/>
                  <a:gd name="T2" fmla="*/ 2147483647 w 320"/>
                  <a:gd name="T3" fmla="*/ 2147483647 h 234"/>
                  <a:gd name="T4" fmla="*/ 2147483647 w 320"/>
                  <a:gd name="T5" fmla="*/ 2147483647 h 234"/>
                  <a:gd name="T6" fmla="*/ 2147483647 w 320"/>
                  <a:gd name="T7" fmla="*/ 2147483647 h 234"/>
                  <a:gd name="T8" fmla="*/ 2147483647 w 320"/>
                  <a:gd name="T9" fmla="*/ 2147483647 h 234"/>
                  <a:gd name="T10" fmla="*/ 2147483647 w 320"/>
                  <a:gd name="T11" fmla="*/ 2147483647 h 234"/>
                  <a:gd name="T12" fmla="*/ 2147483647 w 320"/>
                  <a:gd name="T13" fmla="*/ 2147483647 h 234"/>
                  <a:gd name="T14" fmla="*/ 2147483647 w 320"/>
                  <a:gd name="T15" fmla="*/ 2147483647 h 234"/>
                  <a:gd name="T16" fmla="*/ 2147483647 w 320"/>
                  <a:gd name="T17" fmla="*/ 2147483647 h 234"/>
                  <a:gd name="T18" fmla="*/ 2147483647 w 320"/>
                  <a:gd name="T19" fmla="*/ 2147483647 h 234"/>
                  <a:gd name="T20" fmla="*/ 2147483647 w 320"/>
                  <a:gd name="T21" fmla="*/ 2147483647 h 234"/>
                  <a:gd name="T22" fmla="*/ 2147483647 w 320"/>
                  <a:gd name="T23" fmla="*/ 2147483647 h 234"/>
                  <a:gd name="T24" fmla="*/ 2147483647 w 320"/>
                  <a:gd name="T25" fmla="*/ 2147483647 h 234"/>
                  <a:gd name="T26" fmla="*/ 2147483647 w 320"/>
                  <a:gd name="T27" fmla="*/ 2147483647 h 234"/>
                  <a:gd name="T28" fmla="*/ 2147483647 w 320"/>
                  <a:gd name="T29" fmla="*/ 2147483647 h 234"/>
                  <a:gd name="T30" fmla="*/ 2147483647 w 320"/>
                  <a:gd name="T31" fmla="*/ 2147483647 h 234"/>
                  <a:gd name="T32" fmla="*/ 2147483647 w 320"/>
                  <a:gd name="T33" fmla="*/ 2147483647 h 234"/>
                  <a:gd name="T34" fmla="*/ 2147483647 w 320"/>
                  <a:gd name="T35" fmla="*/ 2147483647 h 234"/>
                  <a:gd name="T36" fmla="*/ 2147483647 w 320"/>
                  <a:gd name="T37" fmla="*/ 2147483647 h 234"/>
                  <a:gd name="T38" fmla="*/ 2147483647 w 320"/>
                  <a:gd name="T39" fmla="*/ 2147483647 h 234"/>
                  <a:gd name="T40" fmla="*/ 1721553218 w 320"/>
                  <a:gd name="T41" fmla="*/ 2147483647 h 234"/>
                  <a:gd name="T42" fmla="*/ 602573010 w 320"/>
                  <a:gd name="T43" fmla="*/ 1539324574 h 234"/>
                  <a:gd name="T44" fmla="*/ 774708596 w 320"/>
                  <a:gd name="T45" fmla="*/ 0 h 234"/>
                  <a:gd name="T46" fmla="*/ 2065824831 w 320"/>
                  <a:gd name="T47" fmla="*/ 0 h 234"/>
                  <a:gd name="T48" fmla="*/ 2147483647 w 320"/>
                  <a:gd name="T49" fmla="*/ 461883821 h 234"/>
                  <a:gd name="T50" fmla="*/ 2147483647 w 320"/>
                  <a:gd name="T51" fmla="*/ 2147483647 h 234"/>
                  <a:gd name="T52" fmla="*/ 2147483647 w 320"/>
                  <a:gd name="T53" fmla="*/ 2147483647 h 234"/>
                  <a:gd name="T54" fmla="*/ 2147483647 w 320"/>
                  <a:gd name="T55" fmla="*/ 2147483647 h 234"/>
                  <a:gd name="T56" fmla="*/ 2147483647 w 320"/>
                  <a:gd name="T57" fmla="*/ 2147483647 h 234"/>
                  <a:gd name="T58" fmla="*/ 2147483647 w 320"/>
                  <a:gd name="T59" fmla="*/ 2147483647 h 234"/>
                  <a:gd name="T60" fmla="*/ 2147483647 w 320"/>
                  <a:gd name="T61" fmla="*/ 2147483647 h 234"/>
                  <a:gd name="T62" fmla="*/ 2147483647 w 320"/>
                  <a:gd name="T63" fmla="*/ 2147483647 h 234"/>
                  <a:gd name="T64" fmla="*/ 2147483647 w 320"/>
                  <a:gd name="T65" fmla="*/ 2147483647 h 234"/>
                  <a:gd name="T66" fmla="*/ 2147483647 w 320"/>
                  <a:gd name="T67" fmla="*/ 2147483647 h 234"/>
                  <a:gd name="T68" fmla="*/ 2147483647 w 320"/>
                  <a:gd name="T69" fmla="*/ 2147483647 h 234"/>
                  <a:gd name="T70" fmla="*/ 2147483647 w 320"/>
                  <a:gd name="T71" fmla="*/ 2147483647 h 234"/>
                  <a:gd name="T72" fmla="*/ 2147483647 w 320"/>
                  <a:gd name="T73" fmla="*/ 2147483647 h 234"/>
                  <a:gd name="T74" fmla="*/ 2147483647 w 320"/>
                  <a:gd name="T75" fmla="*/ 2147483647 h 234"/>
                  <a:gd name="T76" fmla="*/ 2147483647 w 320"/>
                  <a:gd name="T77" fmla="*/ 2147483647 h 234"/>
                  <a:gd name="T78" fmla="*/ 2147483647 w 320"/>
                  <a:gd name="T79" fmla="*/ 2147483647 h 234"/>
                  <a:gd name="T80" fmla="*/ 2147483647 w 320"/>
                  <a:gd name="T81" fmla="*/ 2147483647 h 234"/>
                  <a:gd name="T82" fmla="*/ 2147483647 w 320"/>
                  <a:gd name="T83" fmla="*/ 2147483647 h 234"/>
                  <a:gd name="T84" fmla="*/ 2147483647 w 320"/>
                  <a:gd name="T85" fmla="*/ 2147483647 h 234"/>
                  <a:gd name="T86" fmla="*/ 2147483647 w 320"/>
                  <a:gd name="T87" fmla="*/ 2147483647 h 234"/>
                  <a:gd name="T88" fmla="*/ 2147483647 w 320"/>
                  <a:gd name="T89" fmla="*/ 2147483647 h 234"/>
                  <a:gd name="T90" fmla="*/ 2147483647 w 320"/>
                  <a:gd name="T91" fmla="*/ 2147483647 h 234"/>
                  <a:gd name="T92" fmla="*/ 2147483647 w 320"/>
                  <a:gd name="T93" fmla="*/ 2147483647 h 234"/>
                  <a:gd name="T94" fmla="*/ 2147483647 w 320"/>
                  <a:gd name="T95" fmla="*/ 2147483647 h 234"/>
                  <a:gd name="T96" fmla="*/ 2147483647 w 320"/>
                  <a:gd name="T97" fmla="*/ 2147483647 h 234"/>
                  <a:gd name="T98" fmla="*/ 2147483647 w 320"/>
                  <a:gd name="T99" fmla="*/ 2147483647 h 234"/>
                  <a:gd name="T100" fmla="*/ 2147483647 w 320"/>
                  <a:gd name="T101" fmla="*/ 2147483647 h 234"/>
                  <a:gd name="T102" fmla="*/ 2147483647 w 320"/>
                  <a:gd name="T103" fmla="*/ 2147483647 h 234"/>
                  <a:gd name="T104" fmla="*/ 2147483647 w 320"/>
                  <a:gd name="T105" fmla="*/ 2147483647 h 234"/>
                  <a:gd name="T106" fmla="*/ 2147483647 w 320"/>
                  <a:gd name="T107" fmla="*/ 2147483647 h 234"/>
                  <a:gd name="T108" fmla="*/ 2147483647 w 320"/>
                  <a:gd name="T109" fmla="*/ 2147483647 h 234"/>
                  <a:gd name="T110" fmla="*/ 2147483647 w 320"/>
                  <a:gd name="T111" fmla="*/ 2147483647 h 234"/>
                  <a:gd name="T112" fmla="*/ 2147483647 w 320"/>
                  <a:gd name="T113" fmla="*/ 2147483647 h 234"/>
                  <a:gd name="T114" fmla="*/ 2147483647 w 320"/>
                  <a:gd name="T115" fmla="*/ 2147483647 h 234"/>
                  <a:gd name="T116" fmla="*/ 2147483647 w 320"/>
                  <a:gd name="T117" fmla="*/ 2147483647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8" name="Freeform 483"/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13141593" y="3044397"/>
                <a:ext cx="52387" cy="57150"/>
              </a:xfrm>
              <a:custGeom>
                <a:avLst/>
                <a:gdLst>
                  <a:gd name="T0" fmla="*/ 2147483647 w 125"/>
                  <a:gd name="T1" fmla="*/ 2147483647 h 93"/>
                  <a:gd name="T2" fmla="*/ 2147483647 w 125"/>
                  <a:gd name="T3" fmla="*/ 2147483647 h 93"/>
                  <a:gd name="T4" fmla="*/ 2147483647 w 125"/>
                  <a:gd name="T5" fmla="*/ 2147483647 h 93"/>
                  <a:gd name="T6" fmla="*/ 2147483647 w 125"/>
                  <a:gd name="T7" fmla="*/ 2147483647 h 93"/>
                  <a:gd name="T8" fmla="*/ 2147483647 w 125"/>
                  <a:gd name="T9" fmla="*/ 2147483647 h 93"/>
                  <a:gd name="T10" fmla="*/ 2147483647 w 125"/>
                  <a:gd name="T11" fmla="*/ 2147483647 h 93"/>
                  <a:gd name="T12" fmla="*/ 2147483647 w 125"/>
                  <a:gd name="T13" fmla="*/ 2147483647 h 93"/>
                  <a:gd name="T14" fmla="*/ 2147483647 w 125"/>
                  <a:gd name="T15" fmla="*/ 1856429260 h 93"/>
                  <a:gd name="T16" fmla="*/ 2147483647 w 125"/>
                  <a:gd name="T17" fmla="*/ 1160457174 h 93"/>
                  <a:gd name="T18" fmla="*/ 2147483647 w 125"/>
                  <a:gd name="T19" fmla="*/ 696350013 h 93"/>
                  <a:gd name="T20" fmla="*/ 2147483647 w 125"/>
                  <a:gd name="T21" fmla="*/ 0 h 93"/>
                  <a:gd name="T22" fmla="*/ 2147483647 w 125"/>
                  <a:gd name="T23" fmla="*/ 0 h 93"/>
                  <a:gd name="T24" fmla="*/ 2147483647 w 125"/>
                  <a:gd name="T25" fmla="*/ 2147483647 h 93"/>
                  <a:gd name="T26" fmla="*/ 2147483647 w 125"/>
                  <a:gd name="T27" fmla="*/ 2147483647 h 93"/>
                  <a:gd name="T28" fmla="*/ 2147483647 w 125"/>
                  <a:gd name="T29" fmla="*/ 2147483647 h 93"/>
                  <a:gd name="T30" fmla="*/ 2147483647 w 125"/>
                  <a:gd name="T31" fmla="*/ 2147483647 h 93"/>
                  <a:gd name="T32" fmla="*/ 2147483647 w 125"/>
                  <a:gd name="T33" fmla="*/ 2147483647 h 93"/>
                  <a:gd name="T34" fmla="*/ 2147483647 w 125"/>
                  <a:gd name="T35" fmla="*/ 2147483647 h 93"/>
                  <a:gd name="T36" fmla="*/ 2147483647 w 125"/>
                  <a:gd name="T37" fmla="*/ 2147483647 h 93"/>
                  <a:gd name="T38" fmla="*/ 2147483647 w 125"/>
                  <a:gd name="T39" fmla="*/ 2147483647 h 93"/>
                  <a:gd name="T40" fmla="*/ 2147483647 w 125"/>
                  <a:gd name="T41" fmla="*/ 2147483647 h 93"/>
                  <a:gd name="T42" fmla="*/ 2147483647 w 125"/>
                  <a:gd name="T43" fmla="*/ 2147483647 h 93"/>
                  <a:gd name="T44" fmla="*/ 2147483647 w 125"/>
                  <a:gd name="T45" fmla="*/ 2147483647 h 93"/>
                  <a:gd name="T46" fmla="*/ 2147483647 w 125"/>
                  <a:gd name="T47" fmla="*/ 2147483647 h 93"/>
                  <a:gd name="T48" fmla="*/ 2147483647 w 125"/>
                  <a:gd name="T49" fmla="*/ 2147483647 h 93"/>
                  <a:gd name="T50" fmla="*/ 2147483647 w 125"/>
                  <a:gd name="T51" fmla="*/ 2147483647 h 93"/>
                  <a:gd name="T52" fmla="*/ 2147483647 w 125"/>
                  <a:gd name="T53" fmla="*/ 2147483647 h 93"/>
                  <a:gd name="T54" fmla="*/ 2147483647 w 125"/>
                  <a:gd name="T55" fmla="*/ 2147483647 h 93"/>
                  <a:gd name="T56" fmla="*/ 2147483647 w 125"/>
                  <a:gd name="T57" fmla="*/ 2147483647 h 93"/>
                  <a:gd name="T58" fmla="*/ 1987558589 w 125"/>
                  <a:gd name="T59" fmla="*/ 2147483647 h 93"/>
                  <a:gd name="T60" fmla="*/ 1177851706 w 125"/>
                  <a:gd name="T61" fmla="*/ 2147483647 h 93"/>
                  <a:gd name="T62" fmla="*/ 515332176 w 125"/>
                  <a:gd name="T63" fmla="*/ 2147483647 h 93"/>
                  <a:gd name="T64" fmla="*/ 294375126 w 125"/>
                  <a:gd name="T65" fmla="*/ 2147483647 h 93"/>
                  <a:gd name="T66" fmla="*/ 147187353 w 125"/>
                  <a:gd name="T67" fmla="*/ 2147483647 h 93"/>
                  <a:gd name="T68" fmla="*/ 0 w 125"/>
                  <a:gd name="T69" fmla="*/ 2147483647 h 93"/>
                  <a:gd name="T70" fmla="*/ 0 w 125"/>
                  <a:gd name="T71" fmla="*/ 2147483647 h 93"/>
                  <a:gd name="T72" fmla="*/ 515332176 w 125"/>
                  <a:gd name="T73" fmla="*/ 2147483647 h 93"/>
                  <a:gd name="T74" fmla="*/ 1104082009 w 125"/>
                  <a:gd name="T75" fmla="*/ 2147483647 h 93"/>
                  <a:gd name="T76" fmla="*/ 1472226832 w 125"/>
                  <a:gd name="T77" fmla="*/ 2147483647 h 93"/>
                  <a:gd name="T78" fmla="*/ 1693007862 w 125"/>
                  <a:gd name="T79" fmla="*/ 2147483647 h 93"/>
                  <a:gd name="T80" fmla="*/ 2061152685 w 125"/>
                  <a:gd name="T81" fmla="*/ 2147483647 h 93"/>
                  <a:gd name="T82" fmla="*/ 2147483647 w 125"/>
                  <a:gd name="T83" fmla="*/ 2147483647 h 9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49" name="Freeform 484"/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13087618" y="3058685"/>
                <a:ext cx="60325" cy="84137"/>
              </a:xfrm>
              <a:custGeom>
                <a:avLst/>
                <a:gdLst>
                  <a:gd name="T0" fmla="*/ 1866149793 w 133"/>
                  <a:gd name="T1" fmla="*/ 1956912980 h 154"/>
                  <a:gd name="T2" fmla="*/ 2147483647 w 133"/>
                  <a:gd name="T3" fmla="*/ 1630661382 h 154"/>
                  <a:gd name="T4" fmla="*/ 2147483647 w 133"/>
                  <a:gd name="T5" fmla="*/ 978456490 h 154"/>
                  <a:gd name="T6" fmla="*/ 2147483647 w 133"/>
                  <a:gd name="T7" fmla="*/ 652204892 h 154"/>
                  <a:gd name="T8" fmla="*/ 2147483647 w 133"/>
                  <a:gd name="T9" fmla="*/ 326251598 h 154"/>
                  <a:gd name="T10" fmla="*/ 2147483647 w 133"/>
                  <a:gd name="T11" fmla="*/ 162976647 h 154"/>
                  <a:gd name="T12" fmla="*/ 2147483647 w 133"/>
                  <a:gd name="T13" fmla="*/ 0 h 154"/>
                  <a:gd name="T14" fmla="*/ 2147483647 w 133"/>
                  <a:gd name="T15" fmla="*/ 162976647 h 154"/>
                  <a:gd name="T16" fmla="*/ 2147483647 w 133"/>
                  <a:gd name="T17" fmla="*/ 652204892 h 154"/>
                  <a:gd name="T18" fmla="*/ 2147483647 w 133"/>
                  <a:gd name="T19" fmla="*/ 1304708088 h 154"/>
                  <a:gd name="T20" fmla="*/ 2147483647 w 133"/>
                  <a:gd name="T21" fmla="*/ 2147483647 h 154"/>
                  <a:gd name="T22" fmla="*/ 2147483647 w 133"/>
                  <a:gd name="T23" fmla="*/ 2147483647 h 154"/>
                  <a:gd name="T24" fmla="*/ 2147483647 w 133"/>
                  <a:gd name="T25" fmla="*/ 2147483647 h 154"/>
                  <a:gd name="T26" fmla="*/ 2147483647 w 133"/>
                  <a:gd name="T27" fmla="*/ 2147483647 h 154"/>
                  <a:gd name="T28" fmla="*/ 2147483647 w 133"/>
                  <a:gd name="T29" fmla="*/ 2147483647 h 154"/>
                  <a:gd name="T30" fmla="*/ 2147483647 w 133"/>
                  <a:gd name="T31" fmla="*/ 2147483647 h 154"/>
                  <a:gd name="T32" fmla="*/ 2147483647 w 133"/>
                  <a:gd name="T33" fmla="*/ 2147483647 h 154"/>
                  <a:gd name="T34" fmla="*/ 2147483647 w 133"/>
                  <a:gd name="T35" fmla="*/ 2147483647 h 154"/>
                  <a:gd name="T36" fmla="*/ 2147483647 w 133"/>
                  <a:gd name="T37" fmla="*/ 2147483647 h 154"/>
                  <a:gd name="T38" fmla="*/ 2147483647 w 133"/>
                  <a:gd name="T39" fmla="*/ 2147483647 h 154"/>
                  <a:gd name="T40" fmla="*/ 2147483647 w 133"/>
                  <a:gd name="T41" fmla="*/ 2147483647 h 154"/>
                  <a:gd name="T42" fmla="*/ 2147483647 w 133"/>
                  <a:gd name="T43" fmla="*/ 2147483647 h 154"/>
                  <a:gd name="T44" fmla="*/ 2147483647 w 133"/>
                  <a:gd name="T45" fmla="*/ 2147483647 h 154"/>
                  <a:gd name="T46" fmla="*/ 2147483647 w 133"/>
                  <a:gd name="T47" fmla="*/ 2147483647 h 154"/>
                  <a:gd name="T48" fmla="*/ 2147483647 w 133"/>
                  <a:gd name="T49" fmla="*/ 2147483647 h 154"/>
                  <a:gd name="T50" fmla="*/ 2147483647 w 133"/>
                  <a:gd name="T51" fmla="*/ 2147483647 h 154"/>
                  <a:gd name="T52" fmla="*/ 2147483647 w 133"/>
                  <a:gd name="T53" fmla="*/ 2147483647 h 154"/>
                  <a:gd name="T54" fmla="*/ 2147483647 w 133"/>
                  <a:gd name="T55" fmla="*/ 2147483647 h 154"/>
                  <a:gd name="T56" fmla="*/ 2147483647 w 133"/>
                  <a:gd name="T57" fmla="*/ 2147483647 h 154"/>
                  <a:gd name="T58" fmla="*/ 2147483647 w 133"/>
                  <a:gd name="T59" fmla="*/ 2147483647 h 154"/>
                  <a:gd name="T60" fmla="*/ 2147483647 w 133"/>
                  <a:gd name="T61" fmla="*/ 2147483647 h 154"/>
                  <a:gd name="T62" fmla="*/ 2147483647 w 133"/>
                  <a:gd name="T63" fmla="*/ 2147483647 h 154"/>
                  <a:gd name="T64" fmla="*/ 2147483647 w 133"/>
                  <a:gd name="T65" fmla="*/ 2147483647 h 154"/>
                  <a:gd name="T66" fmla="*/ 2147483647 w 133"/>
                  <a:gd name="T67" fmla="*/ 2147483647 h 154"/>
                  <a:gd name="T68" fmla="*/ 2147483647 w 133"/>
                  <a:gd name="T69" fmla="*/ 2147483647 h 154"/>
                  <a:gd name="T70" fmla="*/ 2147483647 w 133"/>
                  <a:gd name="T71" fmla="*/ 2147483647 h 154"/>
                  <a:gd name="T72" fmla="*/ 2147483647 w 133"/>
                  <a:gd name="T73" fmla="*/ 2147483647 h 154"/>
                  <a:gd name="T74" fmla="*/ 2147483647 w 133"/>
                  <a:gd name="T75" fmla="*/ 2147483647 h 154"/>
                  <a:gd name="T76" fmla="*/ 2147483647 w 133"/>
                  <a:gd name="T77" fmla="*/ 2147483647 h 154"/>
                  <a:gd name="T78" fmla="*/ 2147483647 w 133"/>
                  <a:gd name="T79" fmla="*/ 2147483647 h 154"/>
                  <a:gd name="T80" fmla="*/ 2147483647 w 133"/>
                  <a:gd name="T81" fmla="*/ 2147483647 h 154"/>
                  <a:gd name="T82" fmla="*/ 2147483647 w 133"/>
                  <a:gd name="T83" fmla="*/ 2147483647 h 154"/>
                  <a:gd name="T84" fmla="*/ 2147483647 w 133"/>
                  <a:gd name="T85" fmla="*/ 2147483647 h 154"/>
                  <a:gd name="T86" fmla="*/ 2147483647 w 133"/>
                  <a:gd name="T87" fmla="*/ 2147483647 h 154"/>
                  <a:gd name="T88" fmla="*/ 1586361082 w 133"/>
                  <a:gd name="T89" fmla="*/ 2147483647 h 154"/>
                  <a:gd name="T90" fmla="*/ 1212966568 w 133"/>
                  <a:gd name="T91" fmla="*/ 2147483647 h 154"/>
                  <a:gd name="T92" fmla="*/ 933177857 w 133"/>
                  <a:gd name="T93" fmla="*/ 2147483647 h 154"/>
                  <a:gd name="T94" fmla="*/ 653183225 w 133"/>
                  <a:gd name="T95" fmla="*/ 2147483647 h 154"/>
                  <a:gd name="T96" fmla="*/ 373189046 w 133"/>
                  <a:gd name="T97" fmla="*/ 2147483647 h 154"/>
                  <a:gd name="T98" fmla="*/ 186594296 w 133"/>
                  <a:gd name="T99" fmla="*/ 2147483647 h 154"/>
                  <a:gd name="T100" fmla="*/ 93399882 w 133"/>
                  <a:gd name="T101" fmla="*/ 2147483647 h 154"/>
                  <a:gd name="T102" fmla="*/ 0 w 133"/>
                  <a:gd name="T103" fmla="*/ 2147483647 h 154"/>
                  <a:gd name="T104" fmla="*/ 0 w 133"/>
                  <a:gd name="T105" fmla="*/ 2147483647 h 154"/>
                  <a:gd name="T106" fmla="*/ 653183225 w 133"/>
                  <a:gd name="T107" fmla="*/ 2147483647 h 154"/>
                  <a:gd name="T108" fmla="*/ 1866149793 w 133"/>
                  <a:gd name="T109" fmla="*/ 1956912980 h 15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0" name="Freeform 485"/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13103493" y="2820560"/>
                <a:ext cx="209550" cy="244475"/>
              </a:xfrm>
              <a:custGeom>
                <a:avLst/>
                <a:gdLst>
                  <a:gd name="T0" fmla="*/ 2147483647 w 485"/>
                  <a:gd name="T1" fmla="*/ 2147483647 h 468"/>
                  <a:gd name="T2" fmla="*/ 2147483647 w 485"/>
                  <a:gd name="T3" fmla="*/ 2147483647 h 468"/>
                  <a:gd name="T4" fmla="*/ 2147483647 w 485"/>
                  <a:gd name="T5" fmla="*/ 2147483647 h 468"/>
                  <a:gd name="T6" fmla="*/ 2147483647 w 485"/>
                  <a:gd name="T7" fmla="*/ 2147483647 h 468"/>
                  <a:gd name="T8" fmla="*/ 2147483647 w 485"/>
                  <a:gd name="T9" fmla="*/ 2147483647 h 468"/>
                  <a:gd name="T10" fmla="*/ 2147483647 w 485"/>
                  <a:gd name="T11" fmla="*/ 2147483647 h 468"/>
                  <a:gd name="T12" fmla="*/ 2147483647 w 485"/>
                  <a:gd name="T13" fmla="*/ 2147483647 h 468"/>
                  <a:gd name="T14" fmla="*/ 2147483647 w 485"/>
                  <a:gd name="T15" fmla="*/ 2147483647 h 468"/>
                  <a:gd name="T16" fmla="*/ 2147483647 w 485"/>
                  <a:gd name="T17" fmla="*/ 2147483647 h 468"/>
                  <a:gd name="T18" fmla="*/ 2147483647 w 485"/>
                  <a:gd name="T19" fmla="*/ 2147483647 h 468"/>
                  <a:gd name="T20" fmla="*/ 2147483647 w 485"/>
                  <a:gd name="T21" fmla="*/ 2147483647 h 468"/>
                  <a:gd name="T22" fmla="*/ 2147483647 w 485"/>
                  <a:gd name="T23" fmla="*/ 2147483647 h 468"/>
                  <a:gd name="T24" fmla="*/ 2147483647 w 485"/>
                  <a:gd name="T25" fmla="*/ 2147483647 h 468"/>
                  <a:gd name="T26" fmla="*/ 2147483647 w 485"/>
                  <a:gd name="T27" fmla="*/ 2147483647 h 468"/>
                  <a:gd name="T28" fmla="*/ 2147483647 w 485"/>
                  <a:gd name="T29" fmla="*/ 2147483647 h 468"/>
                  <a:gd name="T30" fmla="*/ 2147483647 w 485"/>
                  <a:gd name="T31" fmla="*/ 2147483647 h 468"/>
                  <a:gd name="T32" fmla="*/ 2147483647 w 485"/>
                  <a:gd name="T33" fmla="*/ 2147483647 h 468"/>
                  <a:gd name="T34" fmla="*/ 2147483647 w 485"/>
                  <a:gd name="T35" fmla="*/ 2147483647 h 468"/>
                  <a:gd name="T36" fmla="*/ 2147483647 w 485"/>
                  <a:gd name="T37" fmla="*/ 2147483647 h 468"/>
                  <a:gd name="T38" fmla="*/ 2147483647 w 485"/>
                  <a:gd name="T39" fmla="*/ 142445344 h 468"/>
                  <a:gd name="T40" fmla="*/ 2147483647 w 485"/>
                  <a:gd name="T41" fmla="*/ 2147483647 h 468"/>
                  <a:gd name="T42" fmla="*/ 2147483647 w 485"/>
                  <a:gd name="T43" fmla="*/ 2147483647 h 468"/>
                  <a:gd name="T44" fmla="*/ 2147483647 w 485"/>
                  <a:gd name="T45" fmla="*/ 2147483647 h 468"/>
                  <a:gd name="T46" fmla="*/ 2147483647 w 485"/>
                  <a:gd name="T47" fmla="*/ 2147483647 h 468"/>
                  <a:gd name="T48" fmla="*/ 2147483647 w 485"/>
                  <a:gd name="T49" fmla="*/ 2147483647 h 468"/>
                  <a:gd name="T50" fmla="*/ 2147483647 w 485"/>
                  <a:gd name="T51" fmla="*/ 2147483647 h 468"/>
                  <a:gd name="T52" fmla="*/ 2147483647 w 485"/>
                  <a:gd name="T53" fmla="*/ 2147483647 h 468"/>
                  <a:gd name="T54" fmla="*/ 2147483647 w 485"/>
                  <a:gd name="T55" fmla="*/ 2147483647 h 468"/>
                  <a:gd name="T56" fmla="*/ 2147483647 w 485"/>
                  <a:gd name="T57" fmla="*/ 2147483647 h 468"/>
                  <a:gd name="T58" fmla="*/ 2147483647 w 485"/>
                  <a:gd name="T59" fmla="*/ 2147483647 h 468"/>
                  <a:gd name="T60" fmla="*/ 2147483647 w 485"/>
                  <a:gd name="T61" fmla="*/ 2147483647 h 468"/>
                  <a:gd name="T62" fmla="*/ 2147483647 w 485"/>
                  <a:gd name="T63" fmla="*/ 2147483647 h 468"/>
                  <a:gd name="T64" fmla="*/ 2147483647 w 485"/>
                  <a:gd name="T65" fmla="*/ 2147483647 h 468"/>
                  <a:gd name="T66" fmla="*/ 2147483647 w 485"/>
                  <a:gd name="T67" fmla="*/ 2147483647 h 468"/>
                  <a:gd name="T68" fmla="*/ 2147483647 w 485"/>
                  <a:gd name="T69" fmla="*/ 2147483647 h 468"/>
                  <a:gd name="T70" fmla="*/ 2147483647 w 485"/>
                  <a:gd name="T71" fmla="*/ 2147483647 h 468"/>
                  <a:gd name="T72" fmla="*/ 2147483647 w 485"/>
                  <a:gd name="T73" fmla="*/ 2147483647 h 468"/>
                  <a:gd name="T74" fmla="*/ 2147483647 w 485"/>
                  <a:gd name="T75" fmla="*/ 2147483647 h 468"/>
                  <a:gd name="T76" fmla="*/ 2147483647 w 485"/>
                  <a:gd name="T77" fmla="*/ 2147483647 h 468"/>
                  <a:gd name="T78" fmla="*/ 2147483647 w 485"/>
                  <a:gd name="T79" fmla="*/ 2147483647 h 468"/>
                  <a:gd name="T80" fmla="*/ 2147483647 w 485"/>
                  <a:gd name="T81" fmla="*/ 2147483647 h 468"/>
                  <a:gd name="T82" fmla="*/ 2147483647 w 485"/>
                  <a:gd name="T83" fmla="*/ 2147483647 h 468"/>
                  <a:gd name="T84" fmla="*/ 2147483647 w 485"/>
                  <a:gd name="T85" fmla="*/ 2147483647 h 468"/>
                  <a:gd name="T86" fmla="*/ 2147483647 w 485"/>
                  <a:gd name="T87" fmla="*/ 2147483647 h 468"/>
                  <a:gd name="T88" fmla="*/ 2147483647 w 485"/>
                  <a:gd name="T89" fmla="*/ 2147483647 h 468"/>
                  <a:gd name="T90" fmla="*/ 2147483647 w 485"/>
                  <a:gd name="T91" fmla="*/ 2147483647 h 468"/>
                  <a:gd name="T92" fmla="*/ 2147483647 w 485"/>
                  <a:gd name="T93" fmla="*/ 2147483647 h 468"/>
                  <a:gd name="T94" fmla="*/ 2147483647 w 485"/>
                  <a:gd name="T95" fmla="*/ 2147483647 h 468"/>
                  <a:gd name="T96" fmla="*/ 2147483647 w 485"/>
                  <a:gd name="T97" fmla="*/ 2147483647 h 468"/>
                  <a:gd name="T98" fmla="*/ 2147483647 w 485"/>
                  <a:gd name="T99" fmla="*/ 2147483647 h 468"/>
                  <a:gd name="T100" fmla="*/ 2147483647 w 485"/>
                  <a:gd name="T101" fmla="*/ 2147483647 h 468"/>
                  <a:gd name="T102" fmla="*/ 2147483647 w 485"/>
                  <a:gd name="T103" fmla="*/ 2147483647 h 468"/>
                  <a:gd name="T104" fmla="*/ 2147483647 w 485"/>
                  <a:gd name="T105" fmla="*/ 2147483647 h 468"/>
                  <a:gd name="T106" fmla="*/ 2147483647 w 485"/>
                  <a:gd name="T107" fmla="*/ 2147483647 h 468"/>
                  <a:gd name="T108" fmla="*/ 2147483647 w 485"/>
                  <a:gd name="T109" fmla="*/ 2147483647 h 468"/>
                  <a:gd name="T110" fmla="*/ 2147483647 w 485"/>
                  <a:gd name="T111" fmla="*/ 2147483647 h 468"/>
                  <a:gd name="T112" fmla="*/ 564512578 w 485"/>
                  <a:gd name="T113" fmla="*/ 2147483647 h 468"/>
                  <a:gd name="T114" fmla="*/ 0 w 485"/>
                  <a:gd name="T115" fmla="*/ 2147483647 h 468"/>
                  <a:gd name="T116" fmla="*/ 564512578 w 485"/>
                  <a:gd name="T117" fmla="*/ 2147483647 h 468"/>
                  <a:gd name="T118" fmla="*/ 2147483647 w 485"/>
                  <a:gd name="T119" fmla="*/ 2147483647 h 468"/>
                  <a:gd name="T120" fmla="*/ 2147483647 w 485"/>
                  <a:gd name="T121" fmla="*/ 2147483647 h 468"/>
                  <a:gd name="T122" fmla="*/ 2147483647 w 485"/>
                  <a:gd name="T123" fmla="*/ 2147483647 h 468"/>
                  <a:gd name="T124" fmla="*/ 2147483647 w 485"/>
                  <a:gd name="T125" fmla="*/ 2147483647 h 46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1" name="Freeform 486"/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10687318" y="1710897"/>
                <a:ext cx="107950" cy="60325"/>
              </a:xfrm>
              <a:custGeom>
                <a:avLst/>
                <a:gdLst>
                  <a:gd name="T0" fmla="*/ 2147483647 w 246"/>
                  <a:gd name="T1" fmla="*/ 2147483647 h 42"/>
                  <a:gd name="T2" fmla="*/ 2147483647 w 246"/>
                  <a:gd name="T3" fmla="*/ 2147483647 h 42"/>
                  <a:gd name="T4" fmla="*/ 2147483647 w 246"/>
                  <a:gd name="T5" fmla="*/ 2147483647 h 42"/>
                  <a:gd name="T6" fmla="*/ 2147483647 w 246"/>
                  <a:gd name="T7" fmla="*/ 2147483647 h 42"/>
                  <a:gd name="T8" fmla="*/ 2147483647 w 246"/>
                  <a:gd name="T9" fmla="*/ 2147483647 h 42"/>
                  <a:gd name="T10" fmla="*/ 2147483647 w 246"/>
                  <a:gd name="T11" fmla="*/ 2147483647 h 42"/>
                  <a:gd name="T12" fmla="*/ 2147483647 w 246"/>
                  <a:gd name="T13" fmla="*/ 2147483647 h 42"/>
                  <a:gd name="T14" fmla="*/ 2147483647 w 246"/>
                  <a:gd name="T15" fmla="*/ 2147483647 h 42"/>
                  <a:gd name="T16" fmla="*/ 2147483647 w 246"/>
                  <a:gd name="T17" fmla="*/ 2147483647 h 42"/>
                  <a:gd name="T18" fmla="*/ 2147483647 w 246"/>
                  <a:gd name="T19" fmla="*/ 2147483647 h 42"/>
                  <a:gd name="T20" fmla="*/ 2147483647 w 246"/>
                  <a:gd name="T21" fmla="*/ 2147483647 h 42"/>
                  <a:gd name="T22" fmla="*/ 2147483647 w 246"/>
                  <a:gd name="T23" fmla="*/ 2147483647 h 42"/>
                  <a:gd name="T24" fmla="*/ 2147483647 w 246"/>
                  <a:gd name="T25" fmla="*/ 2147483647 h 42"/>
                  <a:gd name="T26" fmla="*/ 2147483647 w 246"/>
                  <a:gd name="T27" fmla="*/ 2147483647 h 42"/>
                  <a:gd name="T28" fmla="*/ 2147483647 w 246"/>
                  <a:gd name="T29" fmla="*/ 2147483647 h 42"/>
                  <a:gd name="T30" fmla="*/ 2147483647 w 246"/>
                  <a:gd name="T31" fmla="*/ 2147483647 h 42"/>
                  <a:gd name="T32" fmla="*/ 2147483647 w 246"/>
                  <a:gd name="T33" fmla="*/ 2147483647 h 42"/>
                  <a:gd name="T34" fmla="*/ 2147483647 w 246"/>
                  <a:gd name="T35" fmla="*/ 2147483647 h 42"/>
                  <a:gd name="T36" fmla="*/ 2147483647 w 246"/>
                  <a:gd name="T37" fmla="*/ 2147483647 h 42"/>
                  <a:gd name="T38" fmla="*/ 2147483647 w 246"/>
                  <a:gd name="T39" fmla="*/ 2147483647 h 42"/>
                  <a:gd name="T40" fmla="*/ 2147483647 w 246"/>
                  <a:gd name="T41" fmla="*/ 2147483647 h 42"/>
                  <a:gd name="T42" fmla="*/ 2147483647 w 246"/>
                  <a:gd name="T43" fmla="*/ 2147483647 h 42"/>
                  <a:gd name="T44" fmla="*/ 2147483647 w 246"/>
                  <a:gd name="T45" fmla="*/ 2147483647 h 42"/>
                  <a:gd name="T46" fmla="*/ 2147483647 w 246"/>
                  <a:gd name="T47" fmla="*/ 2147483647 h 42"/>
                  <a:gd name="T48" fmla="*/ 2147483647 w 246"/>
                  <a:gd name="T49" fmla="*/ 2147483647 h 42"/>
                  <a:gd name="T50" fmla="*/ 2147483647 w 246"/>
                  <a:gd name="T51" fmla="*/ 2147483647 h 42"/>
                  <a:gd name="T52" fmla="*/ 2147483647 w 246"/>
                  <a:gd name="T53" fmla="*/ 2147483647 h 42"/>
                  <a:gd name="T54" fmla="*/ 2147483647 w 246"/>
                  <a:gd name="T55" fmla="*/ 2147483647 h 42"/>
                  <a:gd name="T56" fmla="*/ 2147483647 w 246"/>
                  <a:gd name="T57" fmla="*/ 2147483647 h 42"/>
                  <a:gd name="T58" fmla="*/ 2147483647 w 246"/>
                  <a:gd name="T59" fmla="*/ 2147483647 h 42"/>
                  <a:gd name="T60" fmla="*/ 2147483647 w 246"/>
                  <a:gd name="T61" fmla="*/ 2147483647 h 42"/>
                  <a:gd name="T62" fmla="*/ 2147483647 w 246"/>
                  <a:gd name="T63" fmla="*/ 2147483647 h 42"/>
                  <a:gd name="T64" fmla="*/ 2147483647 w 246"/>
                  <a:gd name="T65" fmla="*/ 0 h 42"/>
                  <a:gd name="T66" fmla="*/ 2147483647 w 246"/>
                  <a:gd name="T67" fmla="*/ 2147483647 h 42"/>
                  <a:gd name="T68" fmla="*/ 2147483647 w 246"/>
                  <a:gd name="T69" fmla="*/ 2147483647 h 42"/>
                  <a:gd name="T70" fmla="*/ 2147483647 w 246"/>
                  <a:gd name="T71" fmla="*/ 2147483647 h 42"/>
                  <a:gd name="T72" fmla="*/ 2147483647 w 246"/>
                  <a:gd name="T73" fmla="*/ 2147483647 h 42"/>
                  <a:gd name="T74" fmla="*/ 2147483647 w 246"/>
                  <a:gd name="T75" fmla="*/ 2147483647 h 42"/>
                  <a:gd name="T76" fmla="*/ 2147483647 w 246"/>
                  <a:gd name="T77" fmla="*/ 2147483647 h 42"/>
                  <a:gd name="T78" fmla="*/ 2147483647 w 246"/>
                  <a:gd name="T79" fmla="*/ 2147483647 h 42"/>
                  <a:gd name="T80" fmla="*/ 2147483647 w 246"/>
                  <a:gd name="T81" fmla="*/ 2147483647 h 42"/>
                  <a:gd name="T82" fmla="*/ 2147483647 w 246"/>
                  <a:gd name="T83" fmla="*/ 2147483647 h 42"/>
                  <a:gd name="T84" fmla="*/ 2147483647 w 246"/>
                  <a:gd name="T85" fmla="*/ 2147483647 h 42"/>
                  <a:gd name="T86" fmla="*/ 2147483647 w 246"/>
                  <a:gd name="T87" fmla="*/ 2147483647 h 42"/>
                  <a:gd name="T88" fmla="*/ 2147483647 w 246"/>
                  <a:gd name="T89" fmla="*/ 2147483647 h 42"/>
                  <a:gd name="T90" fmla="*/ 1182920488 w 246"/>
                  <a:gd name="T91" fmla="*/ 2147483647 h 42"/>
                  <a:gd name="T92" fmla="*/ 0 w 246"/>
                  <a:gd name="T93" fmla="*/ 2147483647 h 42"/>
                  <a:gd name="T94" fmla="*/ 84535382 w 246"/>
                  <a:gd name="T95" fmla="*/ 2147483647 h 42"/>
                  <a:gd name="T96" fmla="*/ 253414380 w 246"/>
                  <a:gd name="T97" fmla="*/ 2147483647 h 42"/>
                  <a:gd name="T98" fmla="*/ 422485583 w 246"/>
                  <a:gd name="T99" fmla="*/ 2147483647 h 42"/>
                  <a:gd name="T100" fmla="*/ 760435345 w 246"/>
                  <a:gd name="T101" fmla="*/ 2147483647 h 42"/>
                  <a:gd name="T102" fmla="*/ 1436527511 w 246"/>
                  <a:gd name="T103" fmla="*/ 2147483647 h 42"/>
                  <a:gd name="T104" fmla="*/ 2147483647 w 246"/>
                  <a:gd name="T105" fmla="*/ 2147483647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2" name="Freeform 487"/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10830193" y="1693435"/>
                <a:ext cx="63500" cy="57150"/>
              </a:xfrm>
              <a:custGeom>
                <a:avLst/>
                <a:gdLst>
                  <a:gd name="T0" fmla="*/ 2147483647 w 149"/>
                  <a:gd name="T1" fmla="*/ 0 h 61"/>
                  <a:gd name="T2" fmla="*/ 2147483647 w 149"/>
                  <a:gd name="T3" fmla="*/ 822455019 h 61"/>
                  <a:gd name="T4" fmla="*/ 2147483647 w 149"/>
                  <a:gd name="T5" fmla="*/ 2147483647 h 61"/>
                  <a:gd name="T6" fmla="*/ 2147483647 w 149"/>
                  <a:gd name="T7" fmla="*/ 2147483647 h 61"/>
                  <a:gd name="T8" fmla="*/ 2147483647 w 149"/>
                  <a:gd name="T9" fmla="*/ 2147483647 h 61"/>
                  <a:gd name="T10" fmla="*/ 2147483647 w 149"/>
                  <a:gd name="T11" fmla="*/ 2147483647 h 61"/>
                  <a:gd name="T12" fmla="*/ 2147483647 w 149"/>
                  <a:gd name="T13" fmla="*/ 2147483647 h 61"/>
                  <a:gd name="T14" fmla="*/ 2147483647 w 149"/>
                  <a:gd name="T15" fmla="*/ 2147483647 h 61"/>
                  <a:gd name="T16" fmla="*/ 2147483647 w 149"/>
                  <a:gd name="T17" fmla="*/ 2147483647 h 61"/>
                  <a:gd name="T18" fmla="*/ 2147483647 w 149"/>
                  <a:gd name="T19" fmla="*/ 2147483647 h 61"/>
                  <a:gd name="T20" fmla="*/ 2147483647 w 149"/>
                  <a:gd name="T21" fmla="*/ 2147483647 h 61"/>
                  <a:gd name="T22" fmla="*/ 2147483647 w 149"/>
                  <a:gd name="T23" fmla="*/ 2147483647 h 61"/>
                  <a:gd name="T24" fmla="*/ 2147483647 w 149"/>
                  <a:gd name="T25" fmla="*/ 2147483647 h 61"/>
                  <a:gd name="T26" fmla="*/ 2147483647 w 149"/>
                  <a:gd name="T27" fmla="*/ 2147483647 h 61"/>
                  <a:gd name="T28" fmla="*/ 2147483647 w 149"/>
                  <a:gd name="T29" fmla="*/ 2147483647 h 61"/>
                  <a:gd name="T30" fmla="*/ 2147483647 w 149"/>
                  <a:gd name="T31" fmla="*/ 2147483647 h 61"/>
                  <a:gd name="T32" fmla="*/ 2147483647 w 149"/>
                  <a:gd name="T33" fmla="*/ 2147483647 h 61"/>
                  <a:gd name="T34" fmla="*/ 2147483647 w 149"/>
                  <a:gd name="T35" fmla="*/ 2147483647 h 61"/>
                  <a:gd name="T36" fmla="*/ 2147483647 w 149"/>
                  <a:gd name="T37" fmla="*/ 2147483647 h 61"/>
                  <a:gd name="T38" fmla="*/ 2147483647 w 149"/>
                  <a:gd name="T39" fmla="*/ 2147483647 h 61"/>
                  <a:gd name="T40" fmla="*/ 2147483647 w 149"/>
                  <a:gd name="T41" fmla="*/ 2147483647 h 61"/>
                  <a:gd name="T42" fmla="*/ 2147483647 w 149"/>
                  <a:gd name="T43" fmla="*/ 2147483647 h 61"/>
                  <a:gd name="T44" fmla="*/ 2147483647 w 149"/>
                  <a:gd name="T45" fmla="*/ 2147483647 h 61"/>
                  <a:gd name="T46" fmla="*/ 2147483647 w 149"/>
                  <a:gd name="T47" fmla="*/ 2147483647 h 61"/>
                  <a:gd name="T48" fmla="*/ 2147483647 w 149"/>
                  <a:gd name="T49" fmla="*/ 2147483647 h 61"/>
                  <a:gd name="T50" fmla="*/ 2147483647 w 149"/>
                  <a:gd name="T51" fmla="*/ 2147483647 h 61"/>
                  <a:gd name="T52" fmla="*/ 2147483647 w 149"/>
                  <a:gd name="T53" fmla="*/ 2147483647 h 61"/>
                  <a:gd name="T54" fmla="*/ 2147483647 w 149"/>
                  <a:gd name="T55" fmla="*/ 2147483647 h 61"/>
                  <a:gd name="T56" fmla="*/ 1935029534 w 149"/>
                  <a:gd name="T57" fmla="*/ 2147483647 h 61"/>
                  <a:gd name="T58" fmla="*/ 928828564 w 149"/>
                  <a:gd name="T59" fmla="*/ 2147483647 h 61"/>
                  <a:gd name="T60" fmla="*/ 232297916 w 149"/>
                  <a:gd name="T61" fmla="*/ 2147483647 h 61"/>
                  <a:gd name="T62" fmla="*/ 77371980 w 149"/>
                  <a:gd name="T63" fmla="*/ 2147483647 h 61"/>
                  <a:gd name="T64" fmla="*/ 0 w 149"/>
                  <a:gd name="T65" fmla="*/ 2147483647 h 61"/>
                  <a:gd name="T66" fmla="*/ 0 w 149"/>
                  <a:gd name="T67" fmla="*/ 2147483647 h 61"/>
                  <a:gd name="T68" fmla="*/ 232297916 w 149"/>
                  <a:gd name="T69" fmla="*/ 2147483647 h 61"/>
                  <a:gd name="T70" fmla="*/ 1470615252 w 149"/>
                  <a:gd name="T71" fmla="*/ 2147483647 h 61"/>
                  <a:gd name="T72" fmla="*/ 2147483647 w 149"/>
                  <a:gd name="T73" fmla="*/ 2147483647 h 61"/>
                  <a:gd name="T74" fmla="*/ 2147483647 w 149"/>
                  <a:gd name="T75" fmla="*/ 2147483647 h 61"/>
                  <a:gd name="T76" fmla="*/ 2147483647 w 149"/>
                  <a:gd name="T77" fmla="*/ 2147483647 h 61"/>
                  <a:gd name="T78" fmla="*/ 2147483647 w 149"/>
                  <a:gd name="T79" fmla="*/ 2147483647 h 61"/>
                  <a:gd name="T80" fmla="*/ 2147483647 w 149"/>
                  <a:gd name="T81" fmla="*/ 2147483647 h 61"/>
                  <a:gd name="T82" fmla="*/ 2147483647 w 149"/>
                  <a:gd name="T83" fmla="*/ 2147483647 h 61"/>
                  <a:gd name="T84" fmla="*/ 2147483647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3" name="Freeform 488"/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10866705" y="1701372"/>
                <a:ext cx="130175" cy="57150"/>
              </a:xfrm>
              <a:custGeom>
                <a:avLst/>
                <a:gdLst>
                  <a:gd name="T0" fmla="*/ 2147483647 w 299"/>
                  <a:gd name="T1" fmla="*/ 2147483647 h 74"/>
                  <a:gd name="T2" fmla="*/ 2147483647 w 299"/>
                  <a:gd name="T3" fmla="*/ 2147483647 h 74"/>
                  <a:gd name="T4" fmla="*/ 2147483647 w 299"/>
                  <a:gd name="T5" fmla="*/ 2147483647 h 74"/>
                  <a:gd name="T6" fmla="*/ 2147483647 w 299"/>
                  <a:gd name="T7" fmla="*/ 2147483647 h 74"/>
                  <a:gd name="T8" fmla="*/ 2147483647 w 299"/>
                  <a:gd name="T9" fmla="*/ 2147483647 h 74"/>
                  <a:gd name="T10" fmla="*/ 2147483647 w 299"/>
                  <a:gd name="T11" fmla="*/ 2147483647 h 74"/>
                  <a:gd name="T12" fmla="*/ 2147483647 w 299"/>
                  <a:gd name="T13" fmla="*/ 2147483647 h 74"/>
                  <a:gd name="T14" fmla="*/ 2147483647 w 299"/>
                  <a:gd name="T15" fmla="*/ 2147483647 h 74"/>
                  <a:gd name="T16" fmla="*/ 2147483647 w 299"/>
                  <a:gd name="T17" fmla="*/ 2147483647 h 74"/>
                  <a:gd name="T18" fmla="*/ 2147483647 w 299"/>
                  <a:gd name="T19" fmla="*/ 2147483647 h 74"/>
                  <a:gd name="T20" fmla="*/ 2147483647 w 299"/>
                  <a:gd name="T21" fmla="*/ 2147483647 h 74"/>
                  <a:gd name="T22" fmla="*/ 2147483647 w 299"/>
                  <a:gd name="T23" fmla="*/ 2147483647 h 74"/>
                  <a:gd name="T24" fmla="*/ 2147483647 w 299"/>
                  <a:gd name="T25" fmla="*/ 2147483647 h 74"/>
                  <a:gd name="T26" fmla="*/ 2147483647 w 299"/>
                  <a:gd name="T27" fmla="*/ 2147483647 h 74"/>
                  <a:gd name="T28" fmla="*/ 2147483647 w 299"/>
                  <a:gd name="T29" fmla="*/ 2147483647 h 74"/>
                  <a:gd name="T30" fmla="*/ 2147483647 w 299"/>
                  <a:gd name="T31" fmla="*/ 2147483647 h 74"/>
                  <a:gd name="T32" fmla="*/ 2147483647 w 299"/>
                  <a:gd name="T33" fmla="*/ 2147483647 h 74"/>
                  <a:gd name="T34" fmla="*/ 2147483647 w 299"/>
                  <a:gd name="T35" fmla="*/ 2147483647 h 74"/>
                  <a:gd name="T36" fmla="*/ 2147483647 w 299"/>
                  <a:gd name="T37" fmla="*/ 2147483647 h 74"/>
                  <a:gd name="T38" fmla="*/ 2147483647 w 299"/>
                  <a:gd name="T39" fmla="*/ 2147483647 h 74"/>
                  <a:gd name="T40" fmla="*/ 2147483647 w 299"/>
                  <a:gd name="T41" fmla="*/ 2147483647 h 74"/>
                  <a:gd name="T42" fmla="*/ 2147483647 w 299"/>
                  <a:gd name="T43" fmla="*/ 2147483647 h 74"/>
                  <a:gd name="T44" fmla="*/ 2147483647 w 299"/>
                  <a:gd name="T45" fmla="*/ 0 h 74"/>
                  <a:gd name="T46" fmla="*/ 2147483647 w 299"/>
                  <a:gd name="T47" fmla="*/ 1381958824 h 74"/>
                  <a:gd name="T48" fmla="*/ 2147483647 w 299"/>
                  <a:gd name="T49" fmla="*/ 2147483647 h 74"/>
                  <a:gd name="T50" fmla="*/ 2147483647 w 299"/>
                  <a:gd name="T51" fmla="*/ 2147483647 h 74"/>
                  <a:gd name="T52" fmla="*/ 2147483647 w 299"/>
                  <a:gd name="T53" fmla="*/ 2147483647 h 74"/>
                  <a:gd name="T54" fmla="*/ 2147483647 w 299"/>
                  <a:gd name="T55" fmla="*/ 2147483647 h 74"/>
                  <a:gd name="T56" fmla="*/ 2147483647 w 299"/>
                  <a:gd name="T57" fmla="*/ 2147483647 h 74"/>
                  <a:gd name="T58" fmla="*/ 2147483647 w 299"/>
                  <a:gd name="T59" fmla="*/ 2147483647 h 74"/>
                  <a:gd name="T60" fmla="*/ 2147483647 w 299"/>
                  <a:gd name="T61" fmla="*/ 2147483647 h 74"/>
                  <a:gd name="T62" fmla="*/ 990184192 w 299"/>
                  <a:gd name="T63" fmla="*/ 2147483647 h 74"/>
                  <a:gd name="T64" fmla="*/ 165093682 w 299"/>
                  <a:gd name="T65" fmla="*/ 2147483647 h 74"/>
                  <a:gd name="T66" fmla="*/ 2147483647 w 299"/>
                  <a:gd name="T67" fmla="*/ 2147483647 h 74"/>
                  <a:gd name="T68" fmla="*/ 2147483647 w 299"/>
                  <a:gd name="T69" fmla="*/ 2147483647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4" name="Freeform 489"/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11400105" y="1887110"/>
                <a:ext cx="41275" cy="57150"/>
              </a:xfrm>
              <a:custGeom>
                <a:avLst/>
                <a:gdLst>
                  <a:gd name="T0" fmla="*/ 2147483647 w 100"/>
                  <a:gd name="T1" fmla="*/ 0 h 42"/>
                  <a:gd name="T2" fmla="*/ 2147483647 w 100"/>
                  <a:gd name="T3" fmla="*/ 2147483647 h 42"/>
                  <a:gd name="T4" fmla="*/ 2147483647 w 100"/>
                  <a:gd name="T5" fmla="*/ 2147483647 h 42"/>
                  <a:gd name="T6" fmla="*/ 2147483647 w 100"/>
                  <a:gd name="T7" fmla="*/ 2147483647 h 42"/>
                  <a:gd name="T8" fmla="*/ 2147483647 w 100"/>
                  <a:gd name="T9" fmla="*/ 2147483647 h 42"/>
                  <a:gd name="T10" fmla="*/ 2147483647 w 100"/>
                  <a:gd name="T11" fmla="*/ 2147483647 h 42"/>
                  <a:gd name="T12" fmla="*/ 2147483647 w 100"/>
                  <a:gd name="T13" fmla="*/ 2147483647 h 42"/>
                  <a:gd name="T14" fmla="*/ 2147483647 w 100"/>
                  <a:gd name="T15" fmla="*/ 2147483647 h 42"/>
                  <a:gd name="T16" fmla="*/ 2147483647 w 100"/>
                  <a:gd name="T17" fmla="*/ 2147483647 h 42"/>
                  <a:gd name="T18" fmla="*/ 2147483647 w 100"/>
                  <a:gd name="T19" fmla="*/ 2147483647 h 42"/>
                  <a:gd name="T20" fmla="*/ 2147483647 w 100"/>
                  <a:gd name="T21" fmla="*/ 2147483647 h 42"/>
                  <a:gd name="T22" fmla="*/ 1898520397 w 100"/>
                  <a:gd name="T23" fmla="*/ 2147483647 h 42"/>
                  <a:gd name="T24" fmla="*/ 843805875 w 100"/>
                  <a:gd name="T25" fmla="*/ 2147483647 h 42"/>
                  <a:gd name="T26" fmla="*/ 70359842 w 100"/>
                  <a:gd name="T27" fmla="*/ 2147483647 h 42"/>
                  <a:gd name="T28" fmla="*/ 0 w 100"/>
                  <a:gd name="T29" fmla="*/ 2147483647 h 42"/>
                  <a:gd name="T30" fmla="*/ 421988171 w 100"/>
                  <a:gd name="T31" fmla="*/ 2147483647 h 42"/>
                  <a:gd name="T32" fmla="*/ 843805875 w 100"/>
                  <a:gd name="T33" fmla="*/ 2147483647 h 42"/>
                  <a:gd name="T34" fmla="*/ 1265794046 w 100"/>
                  <a:gd name="T35" fmla="*/ 2147483647 h 42"/>
                  <a:gd name="T36" fmla="*/ 1617251909 w 100"/>
                  <a:gd name="T37" fmla="*/ 2147483647 h 42"/>
                  <a:gd name="T38" fmla="*/ 2147483647 w 100"/>
                  <a:gd name="T39" fmla="*/ 2147483647 h 42"/>
                  <a:gd name="T40" fmla="*/ 2147483647 w 100"/>
                  <a:gd name="T41" fmla="*/ 2147483647 h 42"/>
                  <a:gd name="T42" fmla="*/ 2147483647 w 100"/>
                  <a:gd name="T43" fmla="*/ 2147483647 h 42"/>
                  <a:gd name="T44" fmla="*/ 2147483647 w 100"/>
                  <a:gd name="T45" fmla="*/ 2147483647 h 42"/>
                  <a:gd name="T46" fmla="*/ 2147483647 w 100"/>
                  <a:gd name="T47" fmla="*/ 2147483647 h 42"/>
                  <a:gd name="T48" fmla="*/ 2147483647 w 100"/>
                  <a:gd name="T49" fmla="*/ 2147483647 h 42"/>
                  <a:gd name="T50" fmla="*/ 2147483647 w 100"/>
                  <a:gd name="T51" fmla="*/ 0 h 42"/>
                  <a:gd name="T52" fmla="*/ 2147483647 w 100"/>
                  <a:gd name="T53" fmla="*/ 0 h 4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00" h="42">
                    <a:moveTo>
                      <a:pt x="93" y="0"/>
                    </a:moveTo>
                    <a:lnTo>
                      <a:pt x="97" y="7"/>
                    </a:lnTo>
                    <a:lnTo>
                      <a:pt x="100" y="18"/>
                    </a:lnTo>
                    <a:lnTo>
                      <a:pt x="92" y="24"/>
                    </a:lnTo>
                    <a:lnTo>
                      <a:pt x="86" y="29"/>
                    </a:lnTo>
                    <a:lnTo>
                      <a:pt x="79" y="34"/>
                    </a:lnTo>
                    <a:lnTo>
                      <a:pt x="72" y="37"/>
                    </a:lnTo>
                    <a:lnTo>
                      <a:pt x="65" y="39"/>
                    </a:lnTo>
                    <a:lnTo>
                      <a:pt x="57" y="41"/>
                    </a:lnTo>
                    <a:lnTo>
                      <a:pt x="49" y="42"/>
                    </a:lnTo>
                    <a:lnTo>
                      <a:pt x="40" y="42"/>
                    </a:lnTo>
                    <a:lnTo>
                      <a:pt x="27" y="41"/>
                    </a:lnTo>
                    <a:lnTo>
                      <a:pt x="12" y="39"/>
                    </a:lnTo>
                    <a:lnTo>
                      <a:pt x="1" y="37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35"/>
                    </a:lnTo>
                    <a:lnTo>
                      <a:pt x="18" y="33"/>
                    </a:lnTo>
                    <a:lnTo>
                      <a:pt x="23" y="30"/>
                    </a:lnTo>
                    <a:lnTo>
                      <a:pt x="33" y="25"/>
                    </a:lnTo>
                    <a:lnTo>
                      <a:pt x="44" y="18"/>
                    </a:lnTo>
                    <a:lnTo>
                      <a:pt x="55" y="11"/>
                    </a:lnTo>
                    <a:lnTo>
                      <a:pt x="66" y="5"/>
                    </a:lnTo>
                    <a:lnTo>
                      <a:pt x="72" y="3"/>
                    </a:lnTo>
                    <a:lnTo>
                      <a:pt x="79" y="1"/>
                    </a:lnTo>
                    <a:lnTo>
                      <a:pt x="86" y="0"/>
                    </a:lnTo>
                    <a:lnTo>
                      <a:pt x="9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5" name="Freeform 490"/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11309618" y="1745822"/>
                <a:ext cx="15875" cy="58738"/>
              </a:xfrm>
              <a:custGeom>
                <a:avLst/>
                <a:gdLst>
                  <a:gd name="T0" fmla="*/ 2147483647 w 40"/>
                  <a:gd name="T1" fmla="*/ 2147483647 h 5"/>
                  <a:gd name="T2" fmla="*/ 0 w 40"/>
                  <a:gd name="T3" fmla="*/ 2147483647 h 5"/>
                  <a:gd name="T4" fmla="*/ 312499375 w 40"/>
                  <a:gd name="T5" fmla="*/ 2147483647 h 5"/>
                  <a:gd name="T6" fmla="*/ 562625081 w 40"/>
                  <a:gd name="T7" fmla="*/ 2147483647 h 5"/>
                  <a:gd name="T8" fmla="*/ 937655684 w 40"/>
                  <a:gd name="T9" fmla="*/ 0 h 5"/>
                  <a:gd name="T10" fmla="*/ 1250312619 w 40"/>
                  <a:gd name="T11" fmla="*/ 0 h 5"/>
                  <a:gd name="T12" fmla="*/ 1562811994 w 40"/>
                  <a:gd name="T13" fmla="*/ 0 h 5"/>
                  <a:gd name="T14" fmla="*/ 1875311369 w 40"/>
                  <a:gd name="T15" fmla="*/ 2147483647 h 5"/>
                  <a:gd name="T16" fmla="*/ 2147483647 w 40"/>
                  <a:gd name="T17" fmla="*/ 2147483647 h 5"/>
                  <a:gd name="T18" fmla="*/ 2147483647 w 40"/>
                  <a:gd name="T19" fmla="*/ 2147483647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" h="5">
                    <a:moveTo>
                      <a:pt x="4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0" y="1"/>
                    </a:lnTo>
                    <a:lnTo>
                      <a:pt x="35" y="3"/>
                    </a:lnTo>
                    <a:lnTo>
                      <a:pt x="40" y="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6" name="Freeform 491"/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11331843" y="1704547"/>
                <a:ext cx="14287" cy="60325"/>
              </a:xfrm>
              <a:custGeom>
                <a:avLst/>
                <a:gdLst>
                  <a:gd name="T0" fmla="*/ 0 w 33"/>
                  <a:gd name="T1" fmla="*/ 2147483647 h 31"/>
                  <a:gd name="T2" fmla="*/ 1623012725 w 33"/>
                  <a:gd name="T3" fmla="*/ 0 h 31"/>
                  <a:gd name="T4" fmla="*/ 1623012725 w 33"/>
                  <a:gd name="T5" fmla="*/ 2147483647 h 31"/>
                  <a:gd name="T6" fmla="*/ 1785332960 w 33"/>
                  <a:gd name="T7" fmla="*/ 2147483647 h 31"/>
                  <a:gd name="T8" fmla="*/ 2028625417 w 33"/>
                  <a:gd name="T9" fmla="*/ 2147483647 h 31"/>
                  <a:gd name="T10" fmla="*/ 2147483647 w 33"/>
                  <a:gd name="T11" fmla="*/ 2147483647 h 31"/>
                  <a:gd name="T12" fmla="*/ 2147483647 w 33"/>
                  <a:gd name="T13" fmla="*/ 2147483647 h 31"/>
                  <a:gd name="T14" fmla="*/ 2147483647 w 33"/>
                  <a:gd name="T15" fmla="*/ 2147483647 h 31"/>
                  <a:gd name="T16" fmla="*/ 0 w 33"/>
                  <a:gd name="T17" fmla="*/ 2147483647 h 31"/>
                  <a:gd name="T18" fmla="*/ 0 w 33"/>
                  <a:gd name="T19" fmla="*/ 2147483647 h 31"/>
                  <a:gd name="T20" fmla="*/ 0 w 33"/>
                  <a:gd name="T21" fmla="*/ 2147483647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19"/>
                    </a:moveTo>
                    <a:lnTo>
                      <a:pt x="20" y="0"/>
                    </a:lnTo>
                    <a:lnTo>
                      <a:pt x="20" y="4"/>
                    </a:lnTo>
                    <a:lnTo>
                      <a:pt x="22" y="10"/>
                    </a:lnTo>
                    <a:lnTo>
                      <a:pt x="25" y="14"/>
                    </a:lnTo>
                    <a:lnTo>
                      <a:pt x="27" y="18"/>
                    </a:lnTo>
                    <a:lnTo>
                      <a:pt x="31" y="26"/>
                    </a:lnTo>
                    <a:lnTo>
                      <a:pt x="33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7" name="Freeform 492"/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11476305" y="1820435"/>
                <a:ext cx="17463" cy="57150"/>
              </a:xfrm>
              <a:custGeom>
                <a:avLst/>
                <a:gdLst>
                  <a:gd name="T0" fmla="*/ 2147483647 w 41"/>
                  <a:gd name="T1" fmla="*/ 0 h 43"/>
                  <a:gd name="T2" fmla="*/ 2147483647 w 41"/>
                  <a:gd name="T3" fmla="*/ 2147483647 h 43"/>
                  <a:gd name="T4" fmla="*/ 2147483647 w 41"/>
                  <a:gd name="T5" fmla="*/ 2147483647 h 43"/>
                  <a:gd name="T6" fmla="*/ 1854410452 w 41"/>
                  <a:gd name="T7" fmla="*/ 2147483647 h 43"/>
                  <a:gd name="T8" fmla="*/ 1390898561 w 41"/>
                  <a:gd name="T9" fmla="*/ 2147483647 h 43"/>
                  <a:gd name="T10" fmla="*/ 1004487519 w 41"/>
                  <a:gd name="T11" fmla="*/ 2147483647 h 43"/>
                  <a:gd name="T12" fmla="*/ 386411042 w 41"/>
                  <a:gd name="T13" fmla="*/ 2147483647 h 43"/>
                  <a:gd name="T14" fmla="*/ 0 w 41"/>
                  <a:gd name="T15" fmla="*/ 2147483647 h 43"/>
                  <a:gd name="T16" fmla="*/ 927205226 w 41"/>
                  <a:gd name="T17" fmla="*/ 2147483647 h 43"/>
                  <a:gd name="T18" fmla="*/ 1931692745 w 41"/>
                  <a:gd name="T19" fmla="*/ 2147483647 h 43"/>
                  <a:gd name="T20" fmla="*/ 2147483647 w 41"/>
                  <a:gd name="T21" fmla="*/ 2147483647 h 43"/>
                  <a:gd name="T22" fmla="*/ 2147483647 w 41"/>
                  <a:gd name="T23" fmla="*/ 0 h 4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1" h="43">
                    <a:moveTo>
                      <a:pt x="41" y="0"/>
                    </a:moveTo>
                    <a:lnTo>
                      <a:pt x="41" y="43"/>
                    </a:lnTo>
                    <a:lnTo>
                      <a:pt x="31" y="42"/>
                    </a:lnTo>
                    <a:lnTo>
                      <a:pt x="24" y="40"/>
                    </a:lnTo>
                    <a:lnTo>
                      <a:pt x="18" y="37"/>
                    </a:lnTo>
                    <a:lnTo>
                      <a:pt x="13" y="33"/>
                    </a:lnTo>
                    <a:lnTo>
                      <a:pt x="5" y="25"/>
                    </a:lnTo>
                    <a:lnTo>
                      <a:pt x="0" y="19"/>
                    </a:lnTo>
                    <a:lnTo>
                      <a:pt x="12" y="13"/>
                    </a:lnTo>
                    <a:lnTo>
                      <a:pt x="25" y="7"/>
                    </a:lnTo>
                    <a:lnTo>
                      <a:pt x="36" y="2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8" name="Freeform 493"/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11530280" y="1704547"/>
                <a:ext cx="93663" cy="60325"/>
              </a:xfrm>
              <a:custGeom>
                <a:avLst/>
                <a:gdLst>
                  <a:gd name="T0" fmla="*/ 2147483647 w 213"/>
                  <a:gd name="T1" fmla="*/ 0 h 62"/>
                  <a:gd name="T2" fmla="*/ 2147483647 w 213"/>
                  <a:gd name="T3" fmla="*/ 0 h 62"/>
                  <a:gd name="T4" fmla="*/ 2147483647 w 213"/>
                  <a:gd name="T5" fmla="*/ 921136479 h 62"/>
                  <a:gd name="T6" fmla="*/ 2147483647 w 213"/>
                  <a:gd name="T7" fmla="*/ 2147483647 h 62"/>
                  <a:gd name="T8" fmla="*/ 2147483647 w 213"/>
                  <a:gd name="T9" fmla="*/ 2147483647 h 62"/>
                  <a:gd name="T10" fmla="*/ 2147483647 w 213"/>
                  <a:gd name="T11" fmla="*/ 2147483647 h 62"/>
                  <a:gd name="T12" fmla="*/ 2147483647 w 213"/>
                  <a:gd name="T13" fmla="*/ 2147483647 h 62"/>
                  <a:gd name="T14" fmla="*/ 2147483647 w 213"/>
                  <a:gd name="T15" fmla="*/ 2147483647 h 62"/>
                  <a:gd name="T16" fmla="*/ 2147483647 w 213"/>
                  <a:gd name="T17" fmla="*/ 2147483647 h 62"/>
                  <a:gd name="T18" fmla="*/ 2147483647 w 213"/>
                  <a:gd name="T19" fmla="*/ 2147483647 h 62"/>
                  <a:gd name="T20" fmla="*/ 2147483647 w 213"/>
                  <a:gd name="T21" fmla="*/ 2147483647 h 62"/>
                  <a:gd name="T22" fmla="*/ 2147483647 w 213"/>
                  <a:gd name="T23" fmla="*/ 2147483647 h 62"/>
                  <a:gd name="T24" fmla="*/ 2147483647 w 213"/>
                  <a:gd name="T25" fmla="*/ 2147483647 h 62"/>
                  <a:gd name="T26" fmla="*/ 2147483647 w 213"/>
                  <a:gd name="T27" fmla="*/ 2147483647 h 62"/>
                  <a:gd name="T28" fmla="*/ 2147483647 w 213"/>
                  <a:gd name="T29" fmla="*/ 2147483647 h 62"/>
                  <a:gd name="T30" fmla="*/ 2147483647 w 213"/>
                  <a:gd name="T31" fmla="*/ 2147483647 h 62"/>
                  <a:gd name="T32" fmla="*/ 2147483647 w 213"/>
                  <a:gd name="T33" fmla="*/ 2147483647 h 62"/>
                  <a:gd name="T34" fmla="*/ 2147483647 w 213"/>
                  <a:gd name="T35" fmla="*/ 2147483647 h 62"/>
                  <a:gd name="T36" fmla="*/ 2147483647 w 213"/>
                  <a:gd name="T37" fmla="*/ 2147483647 h 62"/>
                  <a:gd name="T38" fmla="*/ 2147483647 w 213"/>
                  <a:gd name="T39" fmla="*/ 2147483647 h 62"/>
                  <a:gd name="T40" fmla="*/ 2147483647 w 213"/>
                  <a:gd name="T41" fmla="*/ 2147483647 h 62"/>
                  <a:gd name="T42" fmla="*/ 2147483647 w 213"/>
                  <a:gd name="T43" fmla="*/ 2147483647 h 62"/>
                  <a:gd name="T44" fmla="*/ 2147483647 w 213"/>
                  <a:gd name="T45" fmla="*/ 2147483647 h 62"/>
                  <a:gd name="T46" fmla="*/ 2147483647 w 213"/>
                  <a:gd name="T47" fmla="*/ 2147483647 h 62"/>
                  <a:gd name="T48" fmla="*/ 1955689157 w 213"/>
                  <a:gd name="T49" fmla="*/ 2147483647 h 62"/>
                  <a:gd name="T50" fmla="*/ 1020384950 w 213"/>
                  <a:gd name="T51" fmla="*/ 2147483647 h 62"/>
                  <a:gd name="T52" fmla="*/ 0 w 213"/>
                  <a:gd name="T53" fmla="*/ 2147483647 h 62"/>
                  <a:gd name="T54" fmla="*/ 510095734 w 213"/>
                  <a:gd name="T55" fmla="*/ 2147483647 h 62"/>
                  <a:gd name="T56" fmla="*/ 935304647 w 213"/>
                  <a:gd name="T57" fmla="*/ 2147483647 h 62"/>
                  <a:gd name="T58" fmla="*/ 1445400380 w 213"/>
                  <a:gd name="T59" fmla="*/ 2147483647 h 62"/>
                  <a:gd name="T60" fmla="*/ 1955689157 w 213"/>
                  <a:gd name="T61" fmla="*/ 2147483647 h 62"/>
                  <a:gd name="T62" fmla="*/ 2147483647 w 213"/>
                  <a:gd name="T63" fmla="*/ 2147483647 h 62"/>
                  <a:gd name="T64" fmla="*/ 2147483647 w 213"/>
                  <a:gd name="T65" fmla="*/ 2147483647 h 62"/>
                  <a:gd name="T66" fmla="*/ 2147483647 w 213"/>
                  <a:gd name="T67" fmla="*/ 2147483647 h 62"/>
                  <a:gd name="T68" fmla="*/ 2147483647 w 213"/>
                  <a:gd name="T69" fmla="*/ 2147483647 h 62"/>
                  <a:gd name="T70" fmla="*/ 2147483647 w 213"/>
                  <a:gd name="T71" fmla="*/ 2147483647 h 62"/>
                  <a:gd name="T72" fmla="*/ 2147483647 w 213"/>
                  <a:gd name="T73" fmla="*/ 921136479 h 62"/>
                  <a:gd name="T74" fmla="*/ 2147483647 w 213"/>
                  <a:gd name="T75" fmla="*/ 0 h 62"/>
                  <a:gd name="T76" fmla="*/ 2147483647 w 213"/>
                  <a:gd name="T77" fmla="*/ 0 h 6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13" h="62">
                    <a:moveTo>
                      <a:pt x="61" y="0"/>
                    </a:moveTo>
                    <a:lnTo>
                      <a:pt x="83" y="0"/>
                    </a:lnTo>
                    <a:lnTo>
                      <a:pt x="105" y="1"/>
                    </a:lnTo>
                    <a:lnTo>
                      <a:pt x="127" y="3"/>
                    </a:lnTo>
                    <a:lnTo>
                      <a:pt x="146" y="7"/>
                    </a:lnTo>
                    <a:lnTo>
                      <a:pt x="166" y="11"/>
                    </a:lnTo>
                    <a:lnTo>
                      <a:pt x="184" y="16"/>
                    </a:lnTo>
                    <a:lnTo>
                      <a:pt x="191" y="19"/>
                    </a:lnTo>
                    <a:lnTo>
                      <a:pt x="199" y="23"/>
                    </a:lnTo>
                    <a:lnTo>
                      <a:pt x="207" y="27"/>
                    </a:lnTo>
                    <a:lnTo>
                      <a:pt x="213" y="31"/>
                    </a:lnTo>
                    <a:lnTo>
                      <a:pt x="211" y="35"/>
                    </a:lnTo>
                    <a:lnTo>
                      <a:pt x="207" y="38"/>
                    </a:lnTo>
                    <a:lnTo>
                      <a:pt x="201" y="41"/>
                    </a:lnTo>
                    <a:lnTo>
                      <a:pt x="195" y="44"/>
                    </a:lnTo>
                    <a:lnTo>
                      <a:pt x="177" y="49"/>
                    </a:lnTo>
                    <a:lnTo>
                      <a:pt x="156" y="53"/>
                    </a:lnTo>
                    <a:lnTo>
                      <a:pt x="135" y="57"/>
                    </a:lnTo>
                    <a:lnTo>
                      <a:pt x="114" y="59"/>
                    </a:lnTo>
                    <a:lnTo>
                      <a:pt x="95" y="62"/>
                    </a:lnTo>
                    <a:lnTo>
                      <a:pt x="80" y="62"/>
                    </a:lnTo>
                    <a:lnTo>
                      <a:pt x="62" y="62"/>
                    </a:lnTo>
                    <a:lnTo>
                      <a:pt x="43" y="59"/>
                    </a:lnTo>
                    <a:lnTo>
                      <a:pt x="33" y="59"/>
                    </a:lnTo>
                    <a:lnTo>
                      <a:pt x="23" y="59"/>
                    </a:lnTo>
                    <a:lnTo>
                      <a:pt x="12" y="60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11" y="39"/>
                    </a:lnTo>
                    <a:lnTo>
                      <a:pt x="17" y="29"/>
                    </a:lnTo>
                    <a:lnTo>
                      <a:pt x="23" y="20"/>
                    </a:lnTo>
                    <a:lnTo>
                      <a:pt x="27" y="16"/>
                    </a:lnTo>
                    <a:lnTo>
                      <a:pt x="30" y="12"/>
                    </a:lnTo>
                    <a:lnTo>
                      <a:pt x="34" y="9"/>
                    </a:lnTo>
                    <a:lnTo>
                      <a:pt x="39" y="6"/>
                    </a:lnTo>
                    <a:lnTo>
                      <a:pt x="43" y="3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6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59" name="Freeform 494"/>
              <p:cNvSpPr>
                <a:spLocks/>
              </p:cNvSpPr>
              <p:nvPr>
                <p:custDataLst>
                  <p:tags r:id="rId255"/>
                </p:custDataLst>
              </p:nvPr>
            </p:nvSpPr>
            <p:spPr bwMode="auto">
              <a:xfrm>
                <a:off x="11590605" y="1729947"/>
                <a:ext cx="103188" cy="60325"/>
              </a:xfrm>
              <a:custGeom>
                <a:avLst/>
                <a:gdLst>
                  <a:gd name="T0" fmla="*/ 2147483647 w 239"/>
                  <a:gd name="T1" fmla="*/ 0 h 56"/>
                  <a:gd name="T2" fmla="*/ 2147483647 w 239"/>
                  <a:gd name="T3" fmla="*/ 2147483647 h 56"/>
                  <a:gd name="T4" fmla="*/ 1851023043 w 239"/>
                  <a:gd name="T5" fmla="*/ 2147483647 h 56"/>
                  <a:gd name="T6" fmla="*/ 1529098070 w 239"/>
                  <a:gd name="T7" fmla="*/ 2147483647 h 56"/>
                  <a:gd name="T8" fmla="*/ 1207172666 w 239"/>
                  <a:gd name="T9" fmla="*/ 2147483647 h 56"/>
                  <a:gd name="T10" fmla="*/ 1046303437 w 239"/>
                  <a:gd name="T11" fmla="*/ 2147483647 h 56"/>
                  <a:gd name="T12" fmla="*/ 804719605 w 239"/>
                  <a:gd name="T13" fmla="*/ 2147483647 h 56"/>
                  <a:gd name="T14" fmla="*/ 563322289 w 239"/>
                  <a:gd name="T15" fmla="*/ 2147483647 h 56"/>
                  <a:gd name="T16" fmla="*/ 0 w 239"/>
                  <a:gd name="T17" fmla="*/ 2147483647 h 56"/>
                  <a:gd name="T18" fmla="*/ 160869229 w 239"/>
                  <a:gd name="T19" fmla="*/ 2147483647 h 56"/>
                  <a:gd name="T20" fmla="*/ 402453060 w 239"/>
                  <a:gd name="T21" fmla="*/ 2147483647 h 56"/>
                  <a:gd name="T22" fmla="*/ 563322289 w 239"/>
                  <a:gd name="T23" fmla="*/ 2147483647 h 56"/>
                  <a:gd name="T24" fmla="*/ 804719605 w 239"/>
                  <a:gd name="T25" fmla="*/ 2147483647 h 56"/>
                  <a:gd name="T26" fmla="*/ 1368228410 w 239"/>
                  <a:gd name="T27" fmla="*/ 2147483647 h 56"/>
                  <a:gd name="T28" fmla="*/ 1931551131 w 239"/>
                  <a:gd name="T29" fmla="*/ 2147483647 h 56"/>
                  <a:gd name="T30" fmla="*/ 2147483647 w 239"/>
                  <a:gd name="T31" fmla="*/ 2147483647 h 56"/>
                  <a:gd name="T32" fmla="*/ 2147483647 w 239"/>
                  <a:gd name="T33" fmla="*/ 2147483647 h 56"/>
                  <a:gd name="T34" fmla="*/ 2147483647 w 239"/>
                  <a:gd name="T35" fmla="*/ 2147483647 h 56"/>
                  <a:gd name="T36" fmla="*/ 2147483647 w 239"/>
                  <a:gd name="T37" fmla="*/ 2147483647 h 56"/>
                  <a:gd name="T38" fmla="*/ 2147483647 w 239"/>
                  <a:gd name="T39" fmla="*/ 2147483647 h 56"/>
                  <a:gd name="T40" fmla="*/ 2147483647 w 239"/>
                  <a:gd name="T41" fmla="*/ 2147483647 h 56"/>
                  <a:gd name="T42" fmla="*/ 2147483647 w 239"/>
                  <a:gd name="T43" fmla="*/ 2147483647 h 56"/>
                  <a:gd name="T44" fmla="*/ 2147483647 w 239"/>
                  <a:gd name="T45" fmla="*/ 2147483647 h 56"/>
                  <a:gd name="T46" fmla="*/ 2147483647 w 239"/>
                  <a:gd name="T47" fmla="*/ 2147483647 h 56"/>
                  <a:gd name="T48" fmla="*/ 2147483647 w 239"/>
                  <a:gd name="T49" fmla="*/ 2147483647 h 56"/>
                  <a:gd name="T50" fmla="*/ 2147483647 w 239"/>
                  <a:gd name="T51" fmla="*/ 2147483647 h 56"/>
                  <a:gd name="T52" fmla="*/ 2147483647 w 239"/>
                  <a:gd name="T53" fmla="*/ 2147483647 h 56"/>
                  <a:gd name="T54" fmla="*/ 2147483647 w 239"/>
                  <a:gd name="T55" fmla="*/ 2147483647 h 56"/>
                  <a:gd name="T56" fmla="*/ 2147483647 w 239"/>
                  <a:gd name="T57" fmla="*/ 2147483647 h 56"/>
                  <a:gd name="T58" fmla="*/ 2147483647 w 239"/>
                  <a:gd name="T59" fmla="*/ 2147483647 h 56"/>
                  <a:gd name="T60" fmla="*/ 2147483647 w 239"/>
                  <a:gd name="T61" fmla="*/ 2147483647 h 56"/>
                  <a:gd name="T62" fmla="*/ 2147483647 w 239"/>
                  <a:gd name="T63" fmla="*/ 2147483647 h 56"/>
                  <a:gd name="T64" fmla="*/ 2147483647 w 239"/>
                  <a:gd name="T65" fmla="*/ 2147483647 h 56"/>
                  <a:gd name="T66" fmla="*/ 2147483647 w 239"/>
                  <a:gd name="T67" fmla="*/ 2147483647 h 56"/>
                  <a:gd name="T68" fmla="*/ 2147483647 w 239"/>
                  <a:gd name="T69" fmla="*/ 2147483647 h 56"/>
                  <a:gd name="T70" fmla="*/ 2147483647 w 239"/>
                  <a:gd name="T71" fmla="*/ 2147483647 h 56"/>
                  <a:gd name="T72" fmla="*/ 2147483647 w 239"/>
                  <a:gd name="T73" fmla="*/ 2147483647 h 56"/>
                  <a:gd name="T74" fmla="*/ 2147483647 w 239"/>
                  <a:gd name="T75" fmla="*/ 2147483647 h 56"/>
                  <a:gd name="T76" fmla="*/ 2147483647 w 239"/>
                  <a:gd name="T77" fmla="*/ 2147483647 h 56"/>
                  <a:gd name="T78" fmla="*/ 2147483647 w 239"/>
                  <a:gd name="T79" fmla="*/ 2147483647 h 56"/>
                  <a:gd name="T80" fmla="*/ 2147483647 w 239"/>
                  <a:gd name="T81" fmla="*/ 2147483647 h 56"/>
                  <a:gd name="T82" fmla="*/ 2147483647 w 239"/>
                  <a:gd name="T83" fmla="*/ 2147483647 h 56"/>
                  <a:gd name="T84" fmla="*/ 2147483647 w 239"/>
                  <a:gd name="T85" fmla="*/ 1249782110 h 56"/>
                  <a:gd name="T86" fmla="*/ 2147483647 w 239"/>
                  <a:gd name="T87" fmla="*/ 0 h 56"/>
                  <a:gd name="T88" fmla="*/ 2147483647 w 239"/>
                  <a:gd name="T89" fmla="*/ 1249782110 h 56"/>
                  <a:gd name="T90" fmla="*/ 2147483647 w 239"/>
                  <a:gd name="T91" fmla="*/ 2147483647 h 56"/>
                  <a:gd name="T92" fmla="*/ 2147483647 w 239"/>
                  <a:gd name="T93" fmla="*/ 2147483647 h 56"/>
                  <a:gd name="T94" fmla="*/ 2147483647 w 239"/>
                  <a:gd name="T95" fmla="*/ 2147483647 h 56"/>
                  <a:gd name="T96" fmla="*/ 2147483647 w 239"/>
                  <a:gd name="T97" fmla="*/ 2147483647 h 56"/>
                  <a:gd name="T98" fmla="*/ 2147483647 w 239"/>
                  <a:gd name="T99" fmla="*/ 2147483647 h 56"/>
                  <a:gd name="T100" fmla="*/ 2147483647 w 239"/>
                  <a:gd name="T101" fmla="*/ 2147483647 h 56"/>
                  <a:gd name="T102" fmla="*/ 2147483647 w 239"/>
                  <a:gd name="T103" fmla="*/ 2147483647 h 56"/>
                  <a:gd name="T104" fmla="*/ 2147483647 w 239"/>
                  <a:gd name="T105" fmla="*/ 1249782110 h 56"/>
                  <a:gd name="T106" fmla="*/ 2147483647 w 239"/>
                  <a:gd name="T107" fmla="*/ 0 h 5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9" h="56">
                    <a:moveTo>
                      <a:pt x="41" y="0"/>
                    </a:moveTo>
                    <a:lnTo>
                      <a:pt x="30" y="3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15" y="9"/>
                    </a:lnTo>
                    <a:lnTo>
                      <a:pt x="13" y="13"/>
                    </a:lnTo>
                    <a:lnTo>
                      <a:pt x="10" y="15"/>
                    </a:lnTo>
                    <a:lnTo>
                      <a:pt x="7" y="17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5" y="27"/>
                    </a:lnTo>
                    <a:lnTo>
                      <a:pt x="7" y="30"/>
                    </a:lnTo>
                    <a:lnTo>
                      <a:pt x="10" y="33"/>
                    </a:lnTo>
                    <a:lnTo>
                      <a:pt x="17" y="36"/>
                    </a:lnTo>
                    <a:lnTo>
                      <a:pt x="24" y="38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153" y="38"/>
                    </a:lnTo>
                    <a:lnTo>
                      <a:pt x="155" y="41"/>
                    </a:lnTo>
                    <a:lnTo>
                      <a:pt x="156" y="44"/>
                    </a:lnTo>
                    <a:lnTo>
                      <a:pt x="159" y="46"/>
                    </a:lnTo>
                    <a:lnTo>
                      <a:pt x="162" y="48"/>
                    </a:lnTo>
                    <a:lnTo>
                      <a:pt x="167" y="51"/>
                    </a:lnTo>
                    <a:lnTo>
                      <a:pt x="174" y="54"/>
                    </a:lnTo>
                    <a:lnTo>
                      <a:pt x="188" y="56"/>
                    </a:lnTo>
                    <a:lnTo>
                      <a:pt x="200" y="56"/>
                    </a:lnTo>
                    <a:lnTo>
                      <a:pt x="204" y="55"/>
                    </a:lnTo>
                    <a:lnTo>
                      <a:pt x="210" y="54"/>
                    </a:lnTo>
                    <a:lnTo>
                      <a:pt x="214" y="52"/>
                    </a:lnTo>
                    <a:lnTo>
                      <a:pt x="220" y="49"/>
                    </a:lnTo>
                    <a:lnTo>
                      <a:pt x="230" y="43"/>
                    </a:lnTo>
                    <a:lnTo>
                      <a:pt x="239" y="38"/>
                    </a:lnTo>
                    <a:lnTo>
                      <a:pt x="232" y="37"/>
                    </a:lnTo>
                    <a:lnTo>
                      <a:pt x="225" y="36"/>
                    </a:lnTo>
                    <a:lnTo>
                      <a:pt x="219" y="34"/>
                    </a:lnTo>
                    <a:lnTo>
                      <a:pt x="213" y="32"/>
                    </a:lnTo>
                    <a:lnTo>
                      <a:pt x="201" y="26"/>
                    </a:lnTo>
                    <a:lnTo>
                      <a:pt x="190" y="19"/>
                    </a:lnTo>
                    <a:lnTo>
                      <a:pt x="178" y="13"/>
                    </a:lnTo>
                    <a:lnTo>
                      <a:pt x="167" y="6"/>
                    </a:lnTo>
                    <a:lnTo>
                      <a:pt x="160" y="4"/>
                    </a:lnTo>
                    <a:lnTo>
                      <a:pt x="154" y="2"/>
                    </a:lnTo>
                    <a:lnTo>
                      <a:pt x="147" y="1"/>
                    </a:lnTo>
                    <a:lnTo>
                      <a:pt x="140" y="0"/>
                    </a:lnTo>
                    <a:lnTo>
                      <a:pt x="134" y="1"/>
                    </a:lnTo>
                    <a:lnTo>
                      <a:pt x="127" y="4"/>
                    </a:lnTo>
                    <a:lnTo>
                      <a:pt x="124" y="6"/>
                    </a:lnTo>
                    <a:lnTo>
                      <a:pt x="122" y="8"/>
                    </a:lnTo>
                    <a:lnTo>
                      <a:pt x="121" y="10"/>
                    </a:lnTo>
                    <a:lnTo>
                      <a:pt x="120" y="13"/>
                    </a:lnTo>
                    <a:lnTo>
                      <a:pt x="100" y="8"/>
                    </a:lnTo>
                    <a:lnTo>
                      <a:pt x="80" y="4"/>
                    </a:lnTo>
                    <a:lnTo>
                      <a:pt x="61" y="1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0" name="Freeform 495"/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11708080" y="1744235"/>
                <a:ext cx="82550" cy="57150"/>
              </a:xfrm>
              <a:custGeom>
                <a:avLst/>
                <a:gdLst>
                  <a:gd name="T0" fmla="*/ 1204313121 w 187"/>
                  <a:gd name="T1" fmla="*/ 2147483647 h 80"/>
                  <a:gd name="T2" fmla="*/ 2147483647 w 187"/>
                  <a:gd name="T3" fmla="*/ 0 h 80"/>
                  <a:gd name="T4" fmla="*/ 2147483647 w 187"/>
                  <a:gd name="T5" fmla="*/ 1093640974 h 80"/>
                  <a:gd name="T6" fmla="*/ 2147483647 w 187"/>
                  <a:gd name="T7" fmla="*/ 2147483647 h 80"/>
                  <a:gd name="T8" fmla="*/ 2147483647 w 187"/>
                  <a:gd name="T9" fmla="*/ 2147483647 h 80"/>
                  <a:gd name="T10" fmla="*/ 2147483647 w 187"/>
                  <a:gd name="T11" fmla="*/ 2147483647 h 80"/>
                  <a:gd name="T12" fmla="*/ 2147483647 w 187"/>
                  <a:gd name="T13" fmla="*/ 2147483647 h 80"/>
                  <a:gd name="T14" fmla="*/ 2147483647 w 187"/>
                  <a:gd name="T15" fmla="*/ 2147483647 h 80"/>
                  <a:gd name="T16" fmla="*/ 2147483647 w 187"/>
                  <a:gd name="T17" fmla="*/ 2147483647 h 80"/>
                  <a:gd name="T18" fmla="*/ 2147483647 w 187"/>
                  <a:gd name="T19" fmla="*/ 2147483647 h 80"/>
                  <a:gd name="T20" fmla="*/ 2147483647 w 187"/>
                  <a:gd name="T21" fmla="*/ 2147483647 h 80"/>
                  <a:gd name="T22" fmla="*/ 2147483647 w 187"/>
                  <a:gd name="T23" fmla="*/ 2147483647 h 80"/>
                  <a:gd name="T24" fmla="*/ 2147483647 w 187"/>
                  <a:gd name="T25" fmla="*/ 2147483647 h 80"/>
                  <a:gd name="T26" fmla="*/ 2147483647 w 187"/>
                  <a:gd name="T27" fmla="*/ 2147483647 h 80"/>
                  <a:gd name="T28" fmla="*/ 2147483647 w 187"/>
                  <a:gd name="T29" fmla="*/ 2147483647 h 80"/>
                  <a:gd name="T30" fmla="*/ 2147483647 w 187"/>
                  <a:gd name="T31" fmla="*/ 2147483647 h 80"/>
                  <a:gd name="T32" fmla="*/ 2147483647 w 187"/>
                  <a:gd name="T33" fmla="*/ 2147483647 h 80"/>
                  <a:gd name="T34" fmla="*/ 2147483647 w 187"/>
                  <a:gd name="T35" fmla="*/ 2147483647 h 80"/>
                  <a:gd name="T36" fmla="*/ 2147483647 w 187"/>
                  <a:gd name="T37" fmla="*/ 2147483647 h 80"/>
                  <a:gd name="T38" fmla="*/ 2147483647 w 187"/>
                  <a:gd name="T39" fmla="*/ 2147483647 h 80"/>
                  <a:gd name="T40" fmla="*/ 2147483647 w 187"/>
                  <a:gd name="T41" fmla="*/ 2147483647 h 80"/>
                  <a:gd name="T42" fmla="*/ 2147483647 w 187"/>
                  <a:gd name="T43" fmla="*/ 2147483647 h 80"/>
                  <a:gd name="T44" fmla="*/ 2147483647 w 187"/>
                  <a:gd name="T45" fmla="*/ 2147483647 h 80"/>
                  <a:gd name="T46" fmla="*/ 2147483647 w 187"/>
                  <a:gd name="T47" fmla="*/ 2147483647 h 80"/>
                  <a:gd name="T48" fmla="*/ 2147483647 w 187"/>
                  <a:gd name="T49" fmla="*/ 2147483647 h 80"/>
                  <a:gd name="T50" fmla="*/ 2147483647 w 187"/>
                  <a:gd name="T51" fmla="*/ 2147483647 h 80"/>
                  <a:gd name="T52" fmla="*/ 1892603544 w 187"/>
                  <a:gd name="T53" fmla="*/ 2147483647 h 80"/>
                  <a:gd name="T54" fmla="*/ 1548458332 w 187"/>
                  <a:gd name="T55" fmla="*/ 2147483647 h 80"/>
                  <a:gd name="T56" fmla="*/ 1204313121 w 187"/>
                  <a:gd name="T57" fmla="*/ 2147483647 h 80"/>
                  <a:gd name="T58" fmla="*/ 774228945 w 187"/>
                  <a:gd name="T59" fmla="*/ 2147483647 h 80"/>
                  <a:gd name="T60" fmla="*/ 516217817 w 187"/>
                  <a:gd name="T61" fmla="*/ 2147483647 h 80"/>
                  <a:gd name="T62" fmla="*/ 258011570 w 187"/>
                  <a:gd name="T63" fmla="*/ 2147483647 h 80"/>
                  <a:gd name="T64" fmla="*/ 172072606 w 187"/>
                  <a:gd name="T65" fmla="*/ 2147483647 h 80"/>
                  <a:gd name="T66" fmla="*/ 0 w 187"/>
                  <a:gd name="T67" fmla="*/ 2147483647 h 80"/>
                  <a:gd name="T68" fmla="*/ 172072606 w 187"/>
                  <a:gd name="T69" fmla="*/ 2147483647 h 80"/>
                  <a:gd name="T70" fmla="*/ 258011570 w 187"/>
                  <a:gd name="T71" fmla="*/ 2147483647 h 80"/>
                  <a:gd name="T72" fmla="*/ 430084176 w 187"/>
                  <a:gd name="T73" fmla="*/ 2147483647 h 80"/>
                  <a:gd name="T74" fmla="*/ 602156340 w 187"/>
                  <a:gd name="T75" fmla="*/ 2147483647 h 80"/>
                  <a:gd name="T76" fmla="*/ 1118374157 w 187"/>
                  <a:gd name="T77" fmla="*/ 2147483647 h 80"/>
                  <a:gd name="T78" fmla="*/ 1204313121 w 187"/>
                  <a:gd name="T79" fmla="*/ 2147483647 h 8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87" h="80">
                    <a:moveTo>
                      <a:pt x="14" y="19"/>
                    </a:moveTo>
                    <a:lnTo>
                      <a:pt x="41" y="0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8" y="9"/>
                    </a:lnTo>
                    <a:lnTo>
                      <a:pt x="67" y="12"/>
                    </a:lnTo>
                    <a:lnTo>
                      <a:pt x="89" y="19"/>
                    </a:lnTo>
                    <a:lnTo>
                      <a:pt x="114" y="26"/>
                    </a:lnTo>
                    <a:lnTo>
                      <a:pt x="139" y="33"/>
                    </a:lnTo>
                    <a:lnTo>
                      <a:pt x="161" y="38"/>
                    </a:lnTo>
                    <a:lnTo>
                      <a:pt x="177" y="42"/>
                    </a:lnTo>
                    <a:lnTo>
                      <a:pt x="187" y="43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70" y="70"/>
                    </a:lnTo>
                    <a:lnTo>
                      <a:pt x="151" y="71"/>
                    </a:lnTo>
                    <a:lnTo>
                      <a:pt x="133" y="71"/>
                    </a:lnTo>
                    <a:lnTo>
                      <a:pt x="116" y="70"/>
                    </a:lnTo>
                    <a:lnTo>
                      <a:pt x="85" y="69"/>
                    </a:lnTo>
                    <a:lnTo>
                      <a:pt x="61" y="68"/>
                    </a:lnTo>
                    <a:lnTo>
                      <a:pt x="55" y="69"/>
                    </a:lnTo>
                    <a:lnTo>
                      <a:pt x="51" y="70"/>
                    </a:lnTo>
                    <a:lnTo>
                      <a:pt x="45" y="72"/>
                    </a:lnTo>
                    <a:lnTo>
                      <a:pt x="41" y="74"/>
                    </a:lnTo>
                    <a:lnTo>
                      <a:pt x="33" y="78"/>
                    </a:lnTo>
                    <a:lnTo>
                      <a:pt x="28" y="80"/>
                    </a:lnTo>
                    <a:lnTo>
                      <a:pt x="22" y="79"/>
                    </a:lnTo>
                    <a:lnTo>
                      <a:pt x="18" y="76"/>
                    </a:lnTo>
                    <a:lnTo>
                      <a:pt x="14" y="72"/>
                    </a:lnTo>
                    <a:lnTo>
                      <a:pt x="9" y="67"/>
                    </a:lnTo>
                    <a:lnTo>
                      <a:pt x="6" y="62"/>
                    </a:lnTo>
                    <a:lnTo>
                      <a:pt x="3" y="57"/>
                    </a:lnTo>
                    <a:lnTo>
                      <a:pt x="2" y="53"/>
                    </a:lnTo>
                    <a:lnTo>
                      <a:pt x="0" y="50"/>
                    </a:lnTo>
                    <a:lnTo>
                      <a:pt x="2" y="44"/>
                    </a:lnTo>
                    <a:lnTo>
                      <a:pt x="3" y="40"/>
                    </a:lnTo>
                    <a:lnTo>
                      <a:pt x="5" y="36"/>
                    </a:lnTo>
                    <a:lnTo>
                      <a:pt x="7" y="31"/>
                    </a:lnTo>
                    <a:lnTo>
                      <a:pt x="13" y="24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1" name="Freeform 496"/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12235130" y="1869647"/>
                <a:ext cx="79375" cy="58738"/>
              </a:xfrm>
              <a:custGeom>
                <a:avLst/>
                <a:gdLst>
                  <a:gd name="T0" fmla="*/ 2147483647 w 183"/>
                  <a:gd name="T1" fmla="*/ 0 h 73"/>
                  <a:gd name="T2" fmla="*/ 2147483647 w 183"/>
                  <a:gd name="T3" fmla="*/ 0 h 73"/>
                  <a:gd name="T4" fmla="*/ 2147483647 w 183"/>
                  <a:gd name="T5" fmla="*/ 521180665 h 73"/>
                  <a:gd name="T6" fmla="*/ 2147483647 w 183"/>
                  <a:gd name="T7" fmla="*/ 2084075736 h 73"/>
                  <a:gd name="T8" fmla="*/ 2147483647 w 183"/>
                  <a:gd name="T9" fmla="*/ 2147483647 h 73"/>
                  <a:gd name="T10" fmla="*/ 2147483647 w 183"/>
                  <a:gd name="T11" fmla="*/ 2147483647 h 73"/>
                  <a:gd name="T12" fmla="*/ 2147483647 w 183"/>
                  <a:gd name="T13" fmla="*/ 2147483647 h 73"/>
                  <a:gd name="T14" fmla="*/ 2147483647 w 183"/>
                  <a:gd name="T15" fmla="*/ 2147483647 h 73"/>
                  <a:gd name="T16" fmla="*/ 2147483647 w 183"/>
                  <a:gd name="T17" fmla="*/ 2147483647 h 73"/>
                  <a:gd name="T18" fmla="*/ 2147483647 w 183"/>
                  <a:gd name="T19" fmla="*/ 2147483647 h 73"/>
                  <a:gd name="T20" fmla="*/ 2147483647 w 183"/>
                  <a:gd name="T21" fmla="*/ 2147483647 h 73"/>
                  <a:gd name="T22" fmla="*/ 2147483647 w 183"/>
                  <a:gd name="T23" fmla="*/ 2147483647 h 73"/>
                  <a:gd name="T24" fmla="*/ 2147483647 w 183"/>
                  <a:gd name="T25" fmla="*/ 2147483647 h 73"/>
                  <a:gd name="T26" fmla="*/ 2147483647 w 183"/>
                  <a:gd name="T27" fmla="*/ 2147483647 h 73"/>
                  <a:gd name="T28" fmla="*/ 2147483647 w 183"/>
                  <a:gd name="T29" fmla="*/ 2147483647 h 73"/>
                  <a:gd name="T30" fmla="*/ 2147483647 w 183"/>
                  <a:gd name="T31" fmla="*/ 2147483647 h 73"/>
                  <a:gd name="T32" fmla="*/ 2147483647 w 183"/>
                  <a:gd name="T33" fmla="*/ 2147483647 h 73"/>
                  <a:gd name="T34" fmla="*/ 2147483647 w 183"/>
                  <a:gd name="T35" fmla="*/ 2147483647 h 73"/>
                  <a:gd name="T36" fmla="*/ 2147483647 w 183"/>
                  <a:gd name="T37" fmla="*/ 2147483647 h 73"/>
                  <a:gd name="T38" fmla="*/ 2147483647 w 183"/>
                  <a:gd name="T39" fmla="*/ 2147483647 h 73"/>
                  <a:gd name="T40" fmla="*/ 1305644146 w 183"/>
                  <a:gd name="T41" fmla="*/ 2147483647 h 73"/>
                  <a:gd name="T42" fmla="*/ 571172090 w 183"/>
                  <a:gd name="T43" fmla="*/ 2147483647 h 73"/>
                  <a:gd name="T44" fmla="*/ 326410820 w 183"/>
                  <a:gd name="T45" fmla="*/ 2147483647 h 73"/>
                  <a:gd name="T46" fmla="*/ 163111288 w 183"/>
                  <a:gd name="T47" fmla="*/ 2147483647 h 73"/>
                  <a:gd name="T48" fmla="*/ 81649983 w 183"/>
                  <a:gd name="T49" fmla="*/ 2147483647 h 73"/>
                  <a:gd name="T50" fmla="*/ 0 w 183"/>
                  <a:gd name="T51" fmla="*/ 2147483647 h 73"/>
                  <a:gd name="T52" fmla="*/ 81649983 w 183"/>
                  <a:gd name="T53" fmla="*/ 2147483647 h 73"/>
                  <a:gd name="T54" fmla="*/ 244761270 w 183"/>
                  <a:gd name="T55" fmla="*/ 2147483647 h 73"/>
                  <a:gd name="T56" fmla="*/ 571172090 w 183"/>
                  <a:gd name="T57" fmla="*/ 2084075736 h 73"/>
                  <a:gd name="T58" fmla="*/ 1060882876 w 183"/>
                  <a:gd name="T59" fmla="*/ 1562895072 h 73"/>
                  <a:gd name="T60" fmla="*/ 1550404983 w 183"/>
                  <a:gd name="T61" fmla="*/ 521180665 h 73"/>
                  <a:gd name="T62" fmla="*/ 2147483647 w 183"/>
                  <a:gd name="T63" fmla="*/ 0 h 73"/>
                  <a:gd name="T64" fmla="*/ 2147483647 w 183"/>
                  <a:gd name="T65" fmla="*/ 0 h 73"/>
                  <a:gd name="T66" fmla="*/ 2147483647 w 183"/>
                  <a:gd name="T67" fmla="*/ 0 h 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83" h="73">
                    <a:moveTo>
                      <a:pt x="50" y="0"/>
                    </a:moveTo>
                    <a:lnTo>
                      <a:pt x="63" y="0"/>
                    </a:lnTo>
                    <a:lnTo>
                      <a:pt x="75" y="1"/>
                    </a:lnTo>
                    <a:lnTo>
                      <a:pt x="86" y="4"/>
                    </a:lnTo>
                    <a:lnTo>
                      <a:pt x="97" y="7"/>
                    </a:lnTo>
                    <a:lnTo>
                      <a:pt x="106" y="10"/>
                    </a:lnTo>
                    <a:lnTo>
                      <a:pt x="116" y="15"/>
                    </a:lnTo>
                    <a:lnTo>
                      <a:pt x="124" y="19"/>
                    </a:lnTo>
                    <a:lnTo>
                      <a:pt x="131" y="25"/>
                    </a:lnTo>
                    <a:lnTo>
                      <a:pt x="159" y="49"/>
                    </a:lnTo>
                    <a:lnTo>
                      <a:pt x="183" y="73"/>
                    </a:lnTo>
                    <a:lnTo>
                      <a:pt x="137" y="73"/>
                    </a:lnTo>
                    <a:lnTo>
                      <a:pt x="128" y="72"/>
                    </a:lnTo>
                    <a:lnTo>
                      <a:pt x="117" y="70"/>
                    </a:lnTo>
                    <a:lnTo>
                      <a:pt x="104" y="66"/>
                    </a:lnTo>
                    <a:lnTo>
                      <a:pt x="90" y="62"/>
                    </a:lnTo>
                    <a:lnTo>
                      <a:pt x="73" y="56"/>
                    </a:lnTo>
                    <a:lnTo>
                      <a:pt x="58" y="50"/>
                    </a:lnTo>
                    <a:lnTo>
                      <a:pt x="42" y="44"/>
                    </a:lnTo>
                    <a:lnTo>
                      <a:pt x="28" y="37"/>
                    </a:lnTo>
                    <a:lnTo>
                      <a:pt x="16" y="30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3" y="3"/>
                    </a:lnTo>
                    <a:lnTo>
                      <a:pt x="19" y="1"/>
                    </a:lnTo>
                    <a:lnTo>
                      <a:pt x="28" y="0"/>
                    </a:lnTo>
                    <a:lnTo>
                      <a:pt x="38" y="0"/>
                    </a:lnTo>
                    <a:lnTo>
                      <a:pt x="5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2" name="Freeform 497"/>
              <p:cNvSpPr>
                <a:spLocks/>
              </p:cNvSpPr>
              <p:nvPr>
                <p:custDataLst>
                  <p:tags r:id="rId258"/>
                </p:custDataLst>
              </p:nvPr>
            </p:nvSpPr>
            <p:spPr bwMode="auto">
              <a:xfrm>
                <a:off x="12301805" y="1887110"/>
                <a:ext cx="33338" cy="57150"/>
              </a:xfrm>
              <a:custGeom>
                <a:avLst/>
                <a:gdLst>
                  <a:gd name="T0" fmla="*/ 0 w 79"/>
                  <a:gd name="T1" fmla="*/ 2147483647 h 42"/>
                  <a:gd name="T2" fmla="*/ 1728483304 w 79"/>
                  <a:gd name="T3" fmla="*/ 2147483647 h 42"/>
                  <a:gd name="T4" fmla="*/ 2147483647 w 79"/>
                  <a:gd name="T5" fmla="*/ 2147483647 h 42"/>
                  <a:gd name="T6" fmla="*/ 2147483647 w 79"/>
                  <a:gd name="T7" fmla="*/ 0 h 42"/>
                  <a:gd name="T8" fmla="*/ 2147483647 w 79"/>
                  <a:gd name="T9" fmla="*/ 0 h 42"/>
                  <a:gd name="T10" fmla="*/ 2147483647 w 79"/>
                  <a:gd name="T11" fmla="*/ 2147483647 h 42"/>
                  <a:gd name="T12" fmla="*/ 2147483647 w 79"/>
                  <a:gd name="T13" fmla="*/ 2147483647 h 42"/>
                  <a:gd name="T14" fmla="*/ 2147483647 w 79"/>
                  <a:gd name="T15" fmla="*/ 2147483647 h 42"/>
                  <a:gd name="T16" fmla="*/ 2147483647 w 79"/>
                  <a:gd name="T17" fmla="*/ 2147483647 h 42"/>
                  <a:gd name="T18" fmla="*/ 2147483647 w 79"/>
                  <a:gd name="T19" fmla="*/ 2147483647 h 42"/>
                  <a:gd name="T20" fmla="*/ 2147483647 w 79"/>
                  <a:gd name="T21" fmla="*/ 2147483647 h 42"/>
                  <a:gd name="T22" fmla="*/ 2147483647 w 79"/>
                  <a:gd name="T23" fmla="*/ 2147483647 h 42"/>
                  <a:gd name="T24" fmla="*/ 2147483647 w 79"/>
                  <a:gd name="T25" fmla="*/ 2147483647 h 42"/>
                  <a:gd name="T26" fmla="*/ 2147483647 w 79"/>
                  <a:gd name="T27" fmla="*/ 2147483647 h 42"/>
                  <a:gd name="T28" fmla="*/ 2147483647 w 79"/>
                  <a:gd name="T29" fmla="*/ 2147483647 h 42"/>
                  <a:gd name="T30" fmla="*/ 2147483647 w 79"/>
                  <a:gd name="T31" fmla="*/ 2147483647 h 42"/>
                  <a:gd name="T32" fmla="*/ 2147483647 w 79"/>
                  <a:gd name="T33" fmla="*/ 2147483647 h 42"/>
                  <a:gd name="T34" fmla="*/ 2147483647 w 79"/>
                  <a:gd name="T35" fmla="*/ 2147483647 h 42"/>
                  <a:gd name="T36" fmla="*/ 1878786200 w 79"/>
                  <a:gd name="T37" fmla="*/ 2147483647 h 42"/>
                  <a:gd name="T38" fmla="*/ 1202423168 w 79"/>
                  <a:gd name="T39" fmla="*/ 2147483647 h 42"/>
                  <a:gd name="T40" fmla="*/ 826665928 w 79"/>
                  <a:gd name="T41" fmla="*/ 2147483647 h 42"/>
                  <a:gd name="T42" fmla="*/ 375757240 w 79"/>
                  <a:gd name="T43" fmla="*/ 2147483647 h 42"/>
                  <a:gd name="T44" fmla="*/ 150302896 w 79"/>
                  <a:gd name="T45" fmla="*/ 2147483647 h 42"/>
                  <a:gd name="T46" fmla="*/ 0 w 79"/>
                  <a:gd name="T47" fmla="*/ 2147483647 h 42"/>
                  <a:gd name="T48" fmla="*/ 0 w 79"/>
                  <a:gd name="T49" fmla="*/ 2147483647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42">
                    <a:moveTo>
                      <a:pt x="0" y="6"/>
                    </a:moveTo>
                    <a:lnTo>
                      <a:pt x="23" y="2"/>
                    </a:lnTo>
                    <a:lnTo>
                      <a:pt x="41" y="1"/>
                    </a:lnTo>
                    <a:lnTo>
                      <a:pt x="60" y="0"/>
                    </a:lnTo>
                    <a:lnTo>
                      <a:pt x="79" y="0"/>
                    </a:lnTo>
                    <a:lnTo>
                      <a:pt x="79" y="9"/>
                    </a:lnTo>
                    <a:lnTo>
                      <a:pt x="79" y="18"/>
                    </a:lnTo>
                    <a:lnTo>
                      <a:pt x="79" y="22"/>
                    </a:lnTo>
                    <a:lnTo>
                      <a:pt x="75" y="27"/>
                    </a:lnTo>
                    <a:lnTo>
                      <a:pt x="72" y="31"/>
                    </a:lnTo>
                    <a:lnTo>
                      <a:pt x="68" y="35"/>
                    </a:lnTo>
                    <a:lnTo>
                      <a:pt x="62" y="38"/>
                    </a:lnTo>
                    <a:lnTo>
                      <a:pt x="57" y="40"/>
                    </a:lnTo>
                    <a:lnTo>
                      <a:pt x="51" y="42"/>
                    </a:lnTo>
                    <a:lnTo>
                      <a:pt x="46" y="42"/>
                    </a:lnTo>
                    <a:lnTo>
                      <a:pt x="40" y="42"/>
                    </a:lnTo>
                    <a:lnTo>
                      <a:pt x="35" y="41"/>
                    </a:lnTo>
                    <a:lnTo>
                      <a:pt x="29" y="39"/>
                    </a:lnTo>
                    <a:lnTo>
                      <a:pt x="25" y="37"/>
                    </a:lnTo>
                    <a:lnTo>
                      <a:pt x="16" y="32"/>
                    </a:lnTo>
                    <a:lnTo>
                      <a:pt x="11" y="26"/>
                    </a:lnTo>
                    <a:lnTo>
                      <a:pt x="5" y="20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3" name="Freeform 498"/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12331968" y="1898222"/>
                <a:ext cx="52387" cy="58738"/>
              </a:xfrm>
              <a:custGeom>
                <a:avLst/>
                <a:gdLst>
                  <a:gd name="T0" fmla="*/ 2147483647 w 113"/>
                  <a:gd name="T1" fmla="*/ 2147483647 h 52"/>
                  <a:gd name="T2" fmla="*/ 2147483647 w 113"/>
                  <a:gd name="T3" fmla="*/ 2147483647 h 52"/>
                  <a:gd name="T4" fmla="*/ 2147483647 w 113"/>
                  <a:gd name="T5" fmla="*/ 2147483647 h 52"/>
                  <a:gd name="T6" fmla="*/ 2147483647 w 113"/>
                  <a:gd name="T7" fmla="*/ 2147483647 h 52"/>
                  <a:gd name="T8" fmla="*/ 2147483647 w 113"/>
                  <a:gd name="T9" fmla="*/ 2147483647 h 52"/>
                  <a:gd name="T10" fmla="*/ 2147483647 w 113"/>
                  <a:gd name="T11" fmla="*/ 2147483647 h 52"/>
                  <a:gd name="T12" fmla="*/ 2147483647 w 113"/>
                  <a:gd name="T13" fmla="*/ 2147483647 h 52"/>
                  <a:gd name="T14" fmla="*/ 2147483647 w 113"/>
                  <a:gd name="T15" fmla="*/ 2147483647 h 52"/>
                  <a:gd name="T16" fmla="*/ 2147483647 w 113"/>
                  <a:gd name="T17" fmla="*/ 2147483647 h 52"/>
                  <a:gd name="T18" fmla="*/ 2147483647 w 113"/>
                  <a:gd name="T19" fmla="*/ 2147483647 h 52"/>
                  <a:gd name="T20" fmla="*/ 2147483647 w 113"/>
                  <a:gd name="T21" fmla="*/ 2147483647 h 52"/>
                  <a:gd name="T22" fmla="*/ 2147483647 w 113"/>
                  <a:gd name="T23" fmla="*/ 2147483647 h 52"/>
                  <a:gd name="T24" fmla="*/ 2092525466 w 113"/>
                  <a:gd name="T25" fmla="*/ 2147483647 h 52"/>
                  <a:gd name="T26" fmla="*/ 1295362686 w 113"/>
                  <a:gd name="T27" fmla="*/ 2147483647 h 52"/>
                  <a:gd name="T28" fmla="*/ 597925747 w 113"/>
                  <a:gd name="T29" fmla="*/ 2147483647 h 52"/>
                  <a:gd name="T30" fmla="*/ 398474066 w 113"/>
                  <a:gd name="T31" fmla="*/ 2147483647 h 52"/>
                  <a:gd name="T32" fmla="*/ 199237033 w 113"/>
                  <a:gd name="T33" fmla="*/ 2147483647 h 52"/>
                  <a:gd name="T34" fmla="*/ 99725840 w 113"/>
                  <a:gd name="T35" fmla="*/ 2147483647 h 52"/>
                  <a:gd name="T36" fmla="*/ 0 w 113"/>
                  <a:gd name="T37" fmla="*/ 2147483647 h 52"/>
                  <a:gd name="T38" fmla="*/ 99725840 w 113"/>
                  <a:gd name="T39" fmla="*/ 2147483647 h 52"/>
                  <a:gd name="T40" fmla="*/ 99725840 w 113"/>
                  <a:gd name="T41" fmla="*/ 2147483647 h 52"/>
                  <a:gd name="T42" fmla="*/ 298962873 w 113"/>
                  <a:gd name="T43" fmla="*/ 2147483647 h 52"/>
                  <a:gd name="T44" fmla="*/ 498199906 w 113"/>
                  <a:gd name="T45" fmla="*/ 2147483647 h 52"/>
                  <a:gd name="T46" fmla="*/ 697436939 w 113"/>
                  <a:gd name="T47" fmla="*/ 2147483647 h 52"/>
                  <a:gd name="T48" fmla="*/ 996399813 w 113"/>
                  <a:gd name="T49" fmla="*/ 2147483647 h 52"/>
                  <a:gd name="T50" fmla="*/ 1394873415 w 113"/>
                  <a:gd name="T51" fmla="*/ 1441816835 h 52"/>
                  <a:gd name="T52" fmla="*/ 1693836752 w 113"/>
                  <a:gd name="T53" fmla="*/ 0 h 52"/>
                  <a:gd name="T54" fmla="*/ 2147483647 w 113"/>
                  <a:gd name="T55" fmla="*/ 0 h 52"/>
                  <a:gd name="T56" fmla="*/ 2147483647 w 113"/>
                  <a:gd name="T57" fmla="*/ 2147483647 h 52"/>
                  <a:gd name="T58" fmla="*/ 2147483647 w 113"/>
                  <a:gd name="T59" fmla="*/ 2147483647 h 52"/>
                  <a:gd name="T60" fmla="*/ 2147483647 w 113"/>
                  <a:gd name="T61" fmla="*/ 2147483647 h 52"/>
                  <a:gd name="T62" fmla="*/ 2147483647 w 113"/>
                  <a:gd name="T63" fmla="*/ 2147483647 h 52"/>
                  <a:gd name="T64" fmla="*/ 2147483647 w 113"/>
                  <a:gd name="T65" fmla="*/ 2147483647 h 52"/>
                  <a:gd name="T66" fmla="*/ 2147483647 w 113"/>
                  <a:gd name="T67" fmla="*/ 2147483647 h 52"/>
                  <a:gd name="T68" fmla="*/ 2147483647 w 113"/>
                  <a:gd name="T69" fmla="*/ 2147483647 h 5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13" h="52">
                    <a:moveTo>
                      <a:pt x="113" y="39"/>
                    </a:moveTo>
                    <a:lnTo>
                      <a:pt x="112" y="42"/>
                    </a:lnTo>
                    <a:lnTo>
                      <a:pt x="109" y="45"/>
                    </a:lnTo>
                    <a:lnTo>
                      <a:pt x="106" y="47"/>
                    </a:lnTo>
                    <a:lnTo>
                      <a:pt x="103" y="49"/>
                    </a:lnTo>
                    <a:lnTo>
                      <a:pt x="94" y="51"/>
                    </a:lnTo>
                    <a:lnTo>
                      <a:pt x="85" y="52"/>
                    </a:lnTo>
                    <a:lnTo>
                      <a:pt x="66" y="52"/>
                    </a:lnTo>
                    <a:lnTo>
                      <a:pt x="53" y="51"/>
                    </a:lnTo>
                    <a:lnTo>
                      <a:pt x="47" y="51"/>
                    </a:lnTo>
                    <a:lnTo>
                      <a:pt x="39" y="48"/>
                    </a:lnTo>
                    <a:lnTo>
                      <a:pt x="30" y="45"/>
                    </a:lnTo>
                    <a:lnTo>
                      <a:pt x="21" y="41"/>
                    </a:lnTo>
                    <a:lnTo>
                      <a:pt x="13" y="36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6" y="5"/>
                    </a:lnTo>
                    <a:lnTo>
                      <a:pt x="57" y="9"/>
                    </a:lnTo>
                    <a:lnTo>
                      <a:pt x="77" y="18"/>
                    </a:lnTo>
                    <a:lnTo>
                      <a:pt x="95" y="29"/>
                    </a:lnTo>
                    <a:lnTo>
                      <a:pt x="108" y="36"/>
                    </a:lnTo>
                    <a:lnTo>
                      <a:pt x="113" y="3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4" name="Freeform 499"/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12103368" y="1871235"/>
                <a:ext cx="61912" cy="58737"/>
              </a:xfrm>
              <a:custGeom>
                <a:avLst/>
                <a:gdLst>
                  <a:gd name="T0" fmla="*/ 0 w 139"/>
                  <a:gd name="T1" fmla="*/ 2147483647 h 40"/>
                  <a:gd name="T2" fmla="*/ 706864003 w 139"/>
                  <a:gd name="T3" fmla="*/ 2147483647 h 40"/>
                  <a:gd name="T4" fmla="*/ 1678975493 w 139"/>
                  <a:gd name="T5" fmla="*/ 2147483647 h 40"/>
                  <a:gd name="T6" fmla="*/ 2147483647 w 139"/>
                  <a:gd name="T7" fmla="*/ 2147483647 h 40"/>
                  <a:gd name="T8" fmla="*/ 2147483647 w 139"/>
                  <a:gd name="T9" fmla="*/ 2147483647 h 40"/>
                  <a:gd name="T10" fmla="*/ 2147483647 w 139"/>
                  <a:gd name="T11" fmla="*/ 2147483647 h 40"/>
                  <a:gd name="T12" fmla="*/ 2147483647 w 139"/>
                  <a:gd name="T13" fmla="*/ 2147483647 h 40"/>
                  <a:gd name="T14" fmla="*/ 2147483647 w 139"/>
                  <a:gd name="T15" fmla="*/ 0 h 40"/>
                  <a:gd name="T16" fmla="*/ 2147483647 w 139"/>
                  <a:gd name="T17" fmla="*/ 2147483647 h 40"/>
                  <a:gd name="T18" fmla="*/ 2147483647 w 139"/>
                  <a:gd name="T19" fmla="*/ 2147483647 h 40"/>
                  <a:gd name="T20" fmla="*/ 2147483647 w 139"/>
                  <a:gd name="T21" fmla="*/ 2147483647 h 40"/>
                  <a:gd name="T22" fmla="*/ 2147483647 w 139"/>
                  <a:gd name="T23" fmla="*/ 2147483647 h 40"/>
                  <a:gd name="T24" fmla="*/ 2147483647 w 139"/>
                  <a:gd name="T25" fmla="*/ 2147483647 h 40"/>
                  <a:gd name="T26" fmla="*/ 2147483647 w 139"/>
                  <a:gd name="T27" fmla="*/ 2147483647 h 40"/>
                  <a:gd name="T28" fmla="*/ 2147483647 w 139"/>
                  <a:gd name="T29" fmla="*/ 2147483647 h 40"/>
                  <a:gd name="T30" fmla="*/ 2147483647 w 139"/>
                  <a:gd name="T31" fmla="*/ 2147483647 h 40"/>
                  <a:gd name="T32" fmla="*/ 2147483647 w 139"/>
                  <a:gd name="T33" fmla="*/ 2147483647 h 40"/>
                  <a:gd name="T34" fmla="*/ 2147483647 w 139"/>
                  <a:gd name="T35" fmla="*/ 2147483647 h 40"/>
                  <a:gd name="T36" fmla="*/ 1502210052 w 139"/>
                  <a:gd name="T37" fmla="*/ 2147483647 h 40"/>
                  <a:gd name="T38" fmla="*/ 972111491 w 139"/>
                  <a:gd name="T39" fmla="*/ 2147483647 h 40"/>
                  <a:gd name="T40" fmla="*/ 353531328 w 139"/>
                  <a:gd name="T41" fmla="*/ 2147483647 h 40"/>
                  <a:gd name="T42" fmla="*/ 0 w 139"/>
                  <a:gd name="T43" fmla="*/ 2147483647 h 4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39" h="40">
                    <a:moveTo>
                      <a:pt x="0" y="8"/>
                    </a:moveTo>
                    <a:lnTo>
                      <a:pt x="8" y="9"/>
                    </a:lnTo>
                    <a:lnTo>
                      <a:pt x="19" y="8"/>
                    </a:lnTo>
                    <a:lnTo>
                      <a:pt x="30" y="7"/>
                    </a:lnTo>
                    <a:lnTo>
                      <a:pt x="42" y="5"/>
                    </a:lnTo>
                    <a:lnTo>
                      <a:pt x="53" y="2"/>
                    </a:lnTo>
                    <a:lnTo>
                      <a:pt x="64" y="1"/>
                    </a:lnTo>
                    <a:lnTo>
                      <a:pt x="73" y="0"/>
                    </a:lnTo>
                    <a:lnTo>
                      <a:pt x="80" y="2"/>
                    </a:lnTo>
                    <a:lnTo>
                      <a:pt x="139" y="39"/>
                    </a:lnTo>
                    <a:lnTo>
                      <a:pt x="133" y="40"/>
                    </a:lnTo>
                    <a:lnTo>
                      <a:pt x="125" y="39"/>
                    </a:lnTo>
                    <a:lnTo>
                      <a:pt x="116" y="38"/>
                    </a:lnTo>
                    <a:lnTo>
                      <a:pt x="106" y="36"/>
                    </a:lnTo>
                    <a:lnTo>
                      <a:pt x="86" y="30"/>
                    </a:lnTo>
                    <a:lnTo>
                      <a:pt x="64" y="24"/>
                    </a:lnTo>
                    <a:lnTo>
                      <a:pt x="44" y="16"/>
                    </a:lnTo>
                    <a:lnTo>
                      <a:pt x="26" y="11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5" name="Freeform 500"/>
              <p:cNvSpPr>
                <a:spLocks/>
              </p:cNvSpPr>
              <p:nvPr>
                <p:custDataLst>
                  <p:tags r:id="rId261"/>
                </p:custDataLst>
              </p:nvPr>
            </p:nvSpPr>
            <p:spPr bwMode="auto">
              <a:xfrm>
                <a:off x="12403405" y="1812497"/>
                <a:ext cx="139700" cy="57150"/>
              </a:xfrm>
              <a:custGeom>
                <a:avLst/>
                <a:gdLst>
                  <a:gd name="T0" fmla="*/ 794131742 w 325"/>
                  <a:gd name="T1" fmla="*/ 2147483647 h 71"/>
                  <a:gd name="T2" fmla="*/ 2147483647 w 325"/>
                  <a:gd name="T3" fmla="*/ 521568608 h 71"/>
                  <a:gd name="T4" fmla="*/ 2147483647 w 325"/>
                  <a:gd name="T5" fmla="*/ 0 h 71"/>
                  <a:gd name="T6" fmla="*/ 2147483647 w 325"/>
                  <a:gd name="T7" fmla="*/ 2086275239 h 71"/>
                  <a:gd name="T8" fmla="*/ 2147483647 w 325"/>
                  <a:gd name="T9" fmla="*/ 2147483647 h 71"/>
                  <a:gd name="T10" fmla="*/ 2147483647 w 325"/>
                  <a:gd name="T11" fmla="*/ 2147483647 h 71"/>
                  <a:gd name="T12" fmla="*/ 2147483647 w 325"/>
                  <a:gd name="T13" fmla="*/ 2147483647 h 71"/>
                  <a:gd name="T14" fmla="*/ 2147483647 w 325"/>
                  <a:gd name="T15" fmla="*/ 2147483647 h 71"/>
                  <a:gd name="T16" fmla="*/ 2147483647 w 325"/>
                  <a:gd name="T17" fmla="*/ 2147483647 h 71"/>
                  <a:gd name="T18" fmla="*/ 2147483647 w 325"/>
                  <a:gd name="T19" fmla="*/ 2147483647 h 71"/>
                  <a:gd name="T20" fmla="*/ 2147483647 w 325"/>
                  <a:gd name="T21" fmla="*/ 2147483647 h 71"/>
                  <a:gd name="T22" fmla="*/ 2147483647 w 325"/>
                  <a:gd name="T23" fmla="*/ 2147483647 h 71"/>
                  <a:gd name="T24" fmla="*/ 2147483647 w 325"/>
                  <a:gd name="T25" fmla="*/ 2147483647 h 71"/>
                  <a:gd name="T26" fmla="*/ 2147483647 w 325"/>
                  <a:gd name="T27" fmla="*/ 2147483647 h 71"/>
                  <a:gd name="T28" fmla="*/ 2147483647 w 325"/>
                  <a:gd name="T29" fmla="*/ 2147483647 h 71"/>
                  <a:gd name="T30" fmla="*/ 2147483647 w 325"/>
                  <a:gd name="T31" fmla="*/ 2147483647 h 71"/>
                  <a:gd name="T32" fmla="*/ 2147483647 w 325"/>
                  <a:gd name="T33" fmla="*/ 2147483647 h 71"/>
                  <a:gd name="T34" fmla="*/ 2147483647 w 325"/>
                  <a:gd name="T35" fmla="*/ 2147483647 h 71"/>
                  <a:gd name="T36" fmla="*/ 2147483647 w 325"/>
                  <a:gd name="T37" fmla="*/ 2147483647 h 71"/>
                  <a:gd name="T38" fmla="*/ 2147483647 w 325"/>
                  <a:gd name="T39" fmla="*/ 2147483647 h 71"/>
                  <a:gd name="T40" fmla="*/ 2147483647 w 325"/>
                  <a:gd name="T41" fmla="*/ 2147483647 h 71"/>
                  <a:gd name="T42" fmla="*/ 2147483647 w 325"/>
                  <a:gd name="T43" fmla="*/ 2147483647 h 71"/>
                  <a:gd name="T44" fmla="*/ 2147483647 w 325"/>
                  <a:gd name="T45" fmla="*/ 2147483647 h 71"/>
                  <a:gd name="T46" fmla="*/ 2147483647 w 325"/>
                  <a:gd name="T47" fmla="*/ 2147483647 h 71"/>
                  <a:gd name="T48" fmla="*/ 2147483647 w 325"/>
                  <a:gd name="T49" fmla="*/ 2147483647 h 71"/>
                  <a:gd name="T50" fmla="*/ 2147483647 w 325"/>
                  <a:gd name="T51" fmla="*/ 2147483647 h 71"/>
                  <a:gd name="T52" fmla="*/ 2147483647 w 325"/>
                  <a:gd name="T53" fmla="*/ 2147483647 h 71"/>
                  <a:gd name="T54" fmla="*/ 2147483647 w 325"/>
                  <a:gd name="T55" fmla="*/ 2147483647 h 71"/>
                  <a:gd name="T56" fmla="*/ 1985513975 w 325"/>
                  <a:gd name="T57" fmla="*/ 2147483647 h 71"/>
                  <a:gd name="T58" fmla="*/ 1270832417 w 325"/>
                  <a:gd name="T59" fmla="*/ 2147483647 h 71"/>
                  <a:gd name="T60" fmla="*/ 476515840 w 325"/>
                  <a:gd name="T61" fmla="*/ 2147483647 h 71"/>
                  <a:gd name="T62" fmla="*/ 0 w 325"/>
                  <a:gd name="T63" fmla="*/ 2147483647 h 7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325" h="71">
                    <a:moveTo>
                      <a:pt x="0" y="12"/>
                    </a:moveTo>
                    <a:lnTo>
                      <a:pt x="10" y="7"/>
                    </a:lnTo>
                    <a:lnTo>
                      <a:pt x="20" y="3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53" y="0"/>
                    </a:lnTo>
                    <a:lnTo>
                      <a:pt x="62" y="2"/>
                    </a:lnTo>
                    <a:lnTo>
                      <a:pt x="73" y="4"/>
                    </a:lnTo>
                    <a:lnTo>
                      <a:pt x="83" y="6"/>
                    </a:lnTo>
                    <a:lnTo>
                      <a:pt x="92" y="10"/>
                    </a:lnTo>
                    <a:lnTo>
                      <a:pt x="101" y="14"/>
                    </a:lnTo>
                    <a:lnTo>
                      <a:pt x="110" y="18"/>
                    </a:lnTo>
                    <a:lnTo>
                      <a:pt x="116" y="23"/>
                    </a:lnTo>
                    <a:lnTo>
                      <a:pt x="122" y="29"/>
                    </a:lnTo>
                    <a:lnTo>
                      <a:pt x="127" y="33"/>
                    </a:lnTo>
                    <a:lnTo>
                      <a:pt x="130" y="38"/>
                    </a:lnTo>
                    <a:lnTo>
                      <a:pt x="133" y="43"/>
                    </a:lnTo>
                    <a:lnTo>
                      <a:pt x="136" y="34"/>
                    </a:lnTo>
                    <a:lnTo>
                      <a:pt x="138" y="25"/>
                    </a:lnTo>
                    <a:lnTo>
                      <a:pt x="139" y="15"/>
                    </a:lnTo>
                    <a:lnTo>
                      <a:pt x="139" y="6"/>
                    </a:lnTo>
                    <a:lnTo>
                      <a:pt x="161" y="7"/>
                    </a:lnTo>
                    <a:lnTo>
                      <a:pt x="188" y="9"/>
                    </a:lnTo>
                    <a:lnTo>
                      <a:pt x="216" y="13"/>
                    </a:lnTo>
                    <a:lnTo>
                      <a:pt x="245" y="19"/>
                    </a:lnTo>
                    <a:lnTo>
                      <a:pt x="258" y="23"/>
                    </a:lnTo>
                    <a:lnTo>
                      <a:pt x="271" y="28"/>
                    </a:lnTo>
                    <a:lnTo>
                      <a:pt x="283" y="32"/>
                    </a:lnTo>
                    <a:lnTo>
                      <a:pt x="295" y="37"/>
                    </a:lnTo>
                    <a:lnTo>
                      <a:pt x="305" y="43"/>
                    </a:lnTo>
                    <a:lnTo>
                      <a:pt x="314" y="48"/>
                    </a:lnTo>
                    <a:lnTo>
                      <a:pt x="320" y="55"/>
                    </a:lnTo>
                    <a:lnTo>
                      <a:pt x="325" y="61"/>
                    </a:lnTo>
                    <a:lnTo>
                      <a:pt x="316" y="64"/>
                    </a:lnTo>
                    <a:lnTo>
                      <a:pt x="305" y="67"/>
                    </a:lnTo>
                    <a:lnTo>
                      <a:pt x="294" y="68"/>
                    </a:lnTo>
                    <a:lnTo>
                      <a:pt x="283" y="70"/>
                    </a:lnTo>
                    <a:lnTo>
                      <a:pt x="259" y="71"/>
                    </a:lnTo>
                    <a:lnTo>
                      <a:pt x="234" y="71"/>
                    </a:lnTo>
                    <a:lnTo>
                      <a:pt x="210" y="70"/>
                    </a:lnTo>
                    <a:lnTo>
                      <a:pt x="186" y="69"/>
                    </a:lnTo>
                    <a:lnTo>
                      <a:pt x="167" y="68"/>
                    </a:lnTo>
                    <a:lnTo>
                      <a:pt x="152" y="67"/>
                    </a:lnTo>
                    <a:lnTo>
                      <a:pt x="133" y="69"/>
                    </a:lnTo>
                    <a:lnTo>
                      <a:pt x="104" y="71"/>
                    </a:lnTo>
                    <a:lnTo>
                      <a:pt x="90" y="71"/>
                    </a:lnTo>
                    <a:lnTo>
                      <a:pt x="78" y="70"/>
                    </a:lnTo>
                    <a:lnTo>
                      <a:pt x="72" y="68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1"/>
                    </a:lnTo>
                    <a:lnTo>
                      <a:pt x="58" y="61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2" y="57"/>
                    </a:lnTo>
                    <a:lnTo>
                      <a:pt x="35" y="53"/>
                    </a:lnTo>
                    <a:lnTo>
                      <a:pt x="31" y="49"/>
                    </a:lnTo>
                    <a:lnTo>
                      <a:pt x="25" y="45"/>
                    </a:lnTo>
                    <a:lnTo>
                      <a:pt x="20" y="41"/>
                    </a:lnTo>
                    <a:lnTo>
                      <a:pt x="16" y="39"/>
                    </a:lnTo>
                    <a:lnTo>
                      <a:pt x="12" y="38"/>
                    </a:lnTo>
                    <a:lnTo>
                      <a:pt x="6" y="37"/>
                    </a:lnTo>
                    <a:lnTo>
                      <a:pt x="0" y="37"/>
                    </a:lnTo>
                    <a:lnTo>
                      <a:pt x="0" y="22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6" name="Freeform 501"/>
              <p:cNvSpPr>
                <a:spLocks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12563743" y="1820435"/>
                <a:ext cx="95250" cy="57150"/>
              </a:xfrm>
              <a:custGeom>
                <a:avLst/>
                <a:gdLst>
                  <a:gd name="T0" fmla="*/ 2147483647 w 220"/>
                  <a:gd name="T1" fmla="*/ 2147483647 h 72"/>
                  <a:gd name="T2" fmla="*/ 2147483647 w 220"/>
                  <a:gd name="T3" fmla="*/ 2147483647 h 72"/>
                  <a:gd name="T4" fmla="*/ 2147483647 w 220"/>
                  <a:gd name="T5" fmla="*/ 2147483647 h 72"/>
                  <a:gd name="T6" fmla="*/ 2147483647 w 220"/>
                  <a:gd name="T7" fmla="*/ 2147483647 h 72"/>
                  <a:gd name="T8" fmla="*/ 2147483647 w 220"/>
                  <a:gd name="T9" fmla="*/ 2147483647 h 72"/>
                  <a:gd name="T10" fmla="*/ 2147483647 w 220"/>
                  <a:gd name="T11" fmla="*/ 2147483647 h 72"/>
                  <a:gd name="T12" fmla="*/ 2147483647 w 220"/>
                  <a:gd name="T13" fmla="*/ 2147483647 h 72"/>
                  <a:gd name="T14" fmla="*/ 2147483647 w 220"/>
                  <a:gd name="T15" fmla="*/ 2147483647 h 72"/>
                  <a:gd name="T16" fmla="*/ 2147483647 w 220"/>
                  <a:gd name="T17" fmla="*/ 2147483647 h 72"/>
                  <a:gd name="T18" fmla="*/ 2147483647 w 220"/>
                  <a:gd name="T19" fmla="*/ 2147483647 h 72"/>
                  <a:gd name="T20" fmla="*/ 2147483647 w 220"/>
                  <a:gd name="T21" fmla="*/ 2147483647 h 72"/>
                  <a:gd name="T22" fmla="*/ 2147483647 w 220"/>
                  <a:gd name="T23" fmla="*/ 2147483647 h 72"/>
                  <a:gd name="T24" fmla="*/ 2147483647 w 220"/>
                  <a:gd name="T25" fmla="*/ 2147483647 h 72"/>
                  <a:gd name="T26" fmla="*/ 2147483647 w 220"/>
                  <a:gd name="T27" fmla="*/ 2147483647 h 72"/>
                  <a:gd name="T28" fmla="*/ 2147483647 w 220"/>
                  <a:gd name="T29" fmla="*/ 0 h 72"/>
                  <a:gd name="T30" fmla="*/ 2147483647 w 220"/>
                  <a:gd name="T31" fmla="*/ 2147483647 h 72"/>
                  <a:gd name="T32" fmla="*/ 2147483647 w 220"/>
                  <a:gd name="T33" fmla="*/ 2147483647 h 72"/>
                  <a:gd name="T34" fmla="*/ 2147483647 w 220"/>
                  <a:gd name="T35" fmla="*/ 2147483647 h 72"/>
                  <a:gd name="T36" fmla="*/ 2147483647 w 220"/>
                  <a:gd name="T37" fmla="*/ 2147483647 h 72"/>
                  <a:gd name="T38" fmla="*/ 2147483647 w 220"/>
                  <a:gd name="T39" fmla="*/ 2147483647 h 72"/>
                  <a:gd name="T40" fmla="*/ 2147483647 w 220"/>
                  <a:gd name="T41" fmla="*/ 2147483647 h 72"/>
                  <a:gd name="T42" fmla="*/ 2147483647 w 220"/>
                  <a:gd name="T43" fmla="*/ 2147483647 h 72"/>
                  <a:gd name="T44" fmla="*/ 2147483647 w 220"/>
                  <a:gd name="T45" fmla="*/ 2147483647 h 72"/>
                  <a:gd name="T46" fmla="*/ 2147483647 w 220"/>
                  <a:gd name="T47" fmla="*/ 2147483647 h 72"/>
                  <a:gd name="T48" fmla="*/ 2147483647 w 220"/>
                  <a:gd name="T49" fmla="*/ 2147483647 h 72"/>
                  <a:gd name="T50" fmla="*/ 2147483647 w 220"/>
                  <a:gd name="T51" fmla="*/ 2147483647 h 72"/>
                  <a:gd name="T52" fmla="*/ 2147483647 w 220"/>
                  <a:gd name="T53" fmla="*/ 2147483647 h 72"/>
                  <a:gd name="T54" fmla="*/ 2147483647 w 220"/>
                  <a:gd name="T55" fmla="*/ 2147483647 h 72"/>
                  <a:gd name="T56" fmla="*/ 2147483647 w 220"/>
                  <a:gd name="T57" fmla="*/ 2147483647 h 72"/>
                  <a:gd name="T58" fmla="*/ 2147483647 w 220"/>
                  <a:gd name="T59" fmla="*/ 2147483647 h 72"/>
                  <a:gd name="T60" fmla="*/ 2147483647 w 220"/>
                  <a:gd name="T61" fmla="*/ 2147483647 h 72"/>
                  <a:gd name="T62" fmla="*/ 2147483647 w 220"/>
                  <a:gd name="T63" fmla="*/ 2147483647 h 72"/>
                  <a:gd name="T64" fmla="*/ 2147483647 w 220"/>
                  <a:gd name="T65" fmla="*/ 2147483647 h 72"/>
                  <a:gd name="T66" fmla="*/ 2147483647 w 220"/>
                  <a:gd name="T67" fmla="*/ 2147483647 h 72"/>
                  <a:gd name="T68" fmla="*/ 2147483647 w 220"/>
                  <a:gd name="T69" fmla="*/ 2147483647 h 72"/>
                  <a:gd name="T70" fmla="*/ 2147483647 w 220"/>
                  <a:gd name="T71" fmla="*/ 2147483647 h 72"/>
                  <a:gd name="T72" fmla="*/ 2147483647 w 220"/>
                  <a:gd name="T73" fmla="*/ 2147483647 h 72"/>
                  <a:gd name="T74" fmla="*/ 2147483647 w 220"/>
                  <a:gd name="T75" fmla="*/ 2147483647 h 72"/>
                  <a:gd name="T76" fmla="*/ 2147483647 w 220"/>
                  <a:gd name="T77" fmla="*/ 2147483647 h 72"/>
                  <a:gd name="T78" fmla="*/ 2147483647 w 220"/>
                  <a:gd name="T79" fmla="*/ 2147483647 h 72"/>
                  <a:gd name="T80" fmla="*/ 2147483647 w 220"/>
                  <a:gd name="T81" fmla="*/ 2147483647 h 72"/>
                  <a:gd name="T82" fmla="*/ 2147483647 w 220"/>
                  <a:gd name="T83" fmla="*/ 2147483647 h 72"/>
                  <a:gd name="T84" fmla="*/ 2147483647 w 220"/>
                  <a:gd name="T85" fmla="*/ 2147483647 h 72"/>
                  <a:gd name="T86" fmla="*/ 2147483647 w 220"/>
                  <a:gd name="T87" fmla="*/ 2147483647 h 72"/>
                  <a:gd name="T88" fmla="*/ 1785457786 w 220"/>
                  <a:gd name="T89" fmla="*/ 2147483647 h 72"/>
                  <a:gd name="T90" fmla="*/ 1460795131 w 220"/>
                  <a:gd name="T91" fmla="*/ 2147483647 h 72"/>
                  <a:gd name="T92" fmla="*/ 1054966486 w 220"/>
                  <a:gd name="T93" fmla="*/ 2147483647 h 72"/>
                  <a:gd name="T94" fmla="*/ 730491300 w 220"/>
                  <a:gd name="T95" fmla="*/ 2147483647 h 72"/>
                  <a:gd name="T96" fmla="*/ 568159756 w 220"/>
                  <a:gd name="T97" fmla="*/ 2147483647 h 72"/>
                  <a:gd name="T98" fmla="*/ 243497100 w 220"/>
                  <a:gd name="T99" fmla="*/ 2147483647 h 72"/>
                  <a:gd name="T100" fmla="*/ 162331544 w 220"/>
                  <a:gd name="T101" fmla="*/ 2147483647 h 72"/>
                  <a:gd name="T102" fmla="*/ 81165556 w 220"/>
                  <a:gd name="T103" fmla="*/ 2147483647 h 72"/>
                  <a:gd name="T104" fmla="*/ 0 w 220"/>
                  <a:gd name="T105" fmla="*/ 2147483647 h 72"/>
                  <a:gd name="T106" fmla="*/ 1866623342 w 220"/>
                  <a:gd name="T107" fmla="*/ 2147483647 h 72"/>
                  <a:gd name="T108" fmla="*/ 2147483647 w 220"/>
                  <a:gd name="T109" fmla="*/ 2147483647 h 72"/>
                  <a:gd name="T110" fmla="*/ 2147483647 w 220"/>
                  <a:gd name="T111" fmla="*/ 2147483647 h 72"/>
                  <a:gd name="T112" fmla="*/ 2147483647 w 220"/>
                  <a:gd name="T113" fmla="*/ 2147483647 h 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20" h="72">
                    <a:moveTo>
                      <a:pt x="87" y="25"/>
                    </a:moveTo>
                    <a:lnTo>
                      <a:pt x="92" y="26"/>
                    </a:lnTo>
                    <a:lnTo>
                      <a:pt x="98" y="27"/>
                    </a:lnTo>
                    <a:lnTo>
                      <a:pt x="101" y="28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13" y="25"/>
                    </a:lnTo>
                    <a:lnTo>
                      <a:pt x="114" y="26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2"/>
                    </a:lnTo>
                    <a:lnTo>
                      <a:pt x="120" y="17"/>
                    </a:lnTo>
                    <a:lnTo>
                      <a:pt x="120" y="7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31" y="10"/>
                    </a:lnTo>
                    <a:lnTo>
                      <a:pt x="137" y="15"/>
                    </a:lnTo>
                    <a:lnTo>
                      <a:pt x="143" y="19"/>
                    </a:lnTo>
                    <a:lnTo>
                      <a:pt x="156" y="25"/>
                    </a:lnTo>
                    <a:lnTo>
                      <a:pt x="170" y="30"/>
                    </a:lnTo>
                    <a:lnTo>
                      <a:pt x="183" y="35"/>
                    </a:lnTo>
                    <a:lnTo>
                      <a:pt x="196" y="41"/>
                    </a:lnTo>
                    <a:lnTo>
                      <a:pt x="203" y="44"/>
                    </a:lnTo>
                    <a:lnTo>
                      <a:pt x="209" y="47"/>
                    </a:lnTo>
                    <a:lnTo>
                      <a:pt x="214" y="51"/>
                    </a:lnTo>
                    <a:lnTo>
                      <a:pt x="220" y="55"/>
                    </a:lnTo>
                    <a:lnTo>
                      <a:pt x="206" y="56"/>
                    </a:lnTo>
                    <a:lnTo>
                      <a:pt x="194" y="57"/>
                    </a:lnTo>
                    <a:lnTo>
                      <a:pt x="182" y="58"/>
                    </a:lnTo>
                    <a:lnTo>
                      <a:pt x="171" y="60"/>
                    </a:lnTo>
                    <a:lnTo>
                      <a:pt x="151" y="65"/>
                    </a:lnTo>
                    <a:lnTo>
                      <a:pt x="134" y="70"/>
                    </a:lnTo>
                    <a:lnTo>
                      <a:pt x="126" y="71"/>
                    </a:lnTo>
                    <a:lnTo>
                      <a:pt x="117" y="72"/>
                    </a:lnTo>
                    <a:lnTo>
                      <a:pt x="110" y="72"/>
                    </a:lnTo>
                    <a:lnTo>
                      <a:pt x="103" y="72"/>
                    </a:lnTo>
                    <a:lnTo>
                      <a:pt x="95" y="70"/>
                    </a:lnTo>
                    <a:lnTo>
                      <a:pt x="88" y="66"/>
                    </a:lnTo>
                    <a:lnTo>
                      <a:pt x="81" y="61"/>
                    </a:lnTo>
                    <a:lnTo>
                      <a:pt x="74" y="55"/>
                    </a:lnTo>
                    <a:lnTo>
                      <a:pt x="59" y="53"/>
                    </a:lnTo>
                    <a:lnTo>
                      <a:pt x="45" y="50"/>
                    </a:lnTo>
                    <a:lnTo>
                      <a:pt x="33" y="47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3" y="38"/>
                    </a:lnTo>
                    <a:lnTo>
                      <a:pt x="9" y="35"/>
                    </a:lnTo>
                    <a:lnTo>
                      <a:pt x="7" y="31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23" y="17"/>
                    </a:lnTo>
                    <a:lnTo>
                      <a:pt x="44" y="21"/>
                    </a:lnTo>
                    <a:lnTo>
                      <a:pt x="64" y="24"/>
                    </a:lnTo>
                    <a:lnTo>
                      <a:pt x="87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7" name="Freeform 502"/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12524055" y="1868060"/>
                <a:ext cx="63500" cy="58737"/>
              </a:xfrm>
              <a:custGeom>
                <a:avLst/>
                <a:gdLst>
                  <a:gd name="T0" fmla="*/ 2147483647 w 146"/>
                  <a:gd name="T1" fmla="*/ 2147483647 h 30"/>
                  <a:gd name="T2" fmla="*/ 2147483647 w 146"/>
                  <a:gd name="T3" fmla="*/ 2147483647 h 30"/>
                  <a:gd name="T4" fmla="*/ 2147483647 w 146"/>
                  <a:gd name="T5" fmla="*/ 2147483647 h 30"/>
                  <a:gd name="T6" fmla="*/ 2147483647 w 146"/>
                  <a:gd name="T7" fmla="*/ 2147483647 h 30"/>
                  <a:gd name="T8" fmla="*/ 2147483647 w 146"/>
                  <a:gd name="T9" fmla="*/ 2147483647 h 30"/>
                  <a:gd name="T10" fmla="*/ 2147483647 w 146"/>
                  <a:gd name="T11" fmla="*/ 2147483647 h 30"/>
                  <a:gd name="T12" fmla="*/ 2147483647 w 146"/>
                  <a:gd name="T13" fmla="*/ 2147483647 h 30"/>
                  <a:gd name="T14" fmla="*/ 2147483647 w 146"/>
                  <a:gd name="T15" fmla="*/ 2147483647 h 30"/>
                  <a:gd name="T16" fmla="*/ 2147483647 w 146"/>
                  <a:gd name="T17" fmla="*/ 2147483647 h 30"/>
                  <a:gd name="T18" fmla="*/ 2147483647 w 146"/>
                  <a:gd name="T19" fmla="*/ 2147483647 h 30"/>
                  <a:gd name="T20" fmla="*/ 2147483647 w 146"/>
                  <a:gd name="T21" fmla="*/ 2147483647 h 30"/>
                  <a:gd name="T22" fmla="*/ 2147483647 w 146"/>
                  <a:gd name="T23" fmla="*/ 2147483647 h 30"/>
                  <a:gd name="T24" fmla="*/ 2147483647 w 146"/>
                  <a:gd name="T25" fmla="*/ 2147483647 h 30"/>
                  <a:gd name="T26" fmla="*/ 2147483647 w 146"/>
                  <a:gd name="T27" fmla="*/ 2147483647 h 30"/>
                  <a:gd name="T28" fmla="*/ 2147483647 w 146"/>
                  <a:gd name="T29" fmla="*/ 2147483647 h 30"/>
                  <a:gd name="T30" fmla="*/ 2147483647 w 146"/>
                  <a:gd name="T31" fmla="*/ 2147483647 h 30"/>
                  <a:gd name="T32" fmla="*/ 2147483647 w 146"/>
                  <a:gd name="T33" fmla="*/ 2147483647 h 30"/>
                  <a:gd name="T34" fmla="*/ 1563263007 w 146"/>
                  <a:gd name="T35" fmla="*/ 0 h 30"/>
                  <a:gd name="T36" fmla="*/ 1151828240 w 146"/>
                  <a:gd name="T37" fmla="*/ 2147483647 h 30"/>
                  <a:gd name="T38" fmla="*/ 822680339 w 146"/>
                  <a:gd name="T39" fmla="*/ 2147483647 h 30"/>
                  <a:gd name="T40" fmla="*/ 329147901 w 146"/>
                  <a:gd name="T41" fmla="*/ 2147483647 h 30"/>
                  <a:gd name="T42" fmla="*/ 0 w 146"/>
                  <a:gd name="T43" fmla="*/ 2147483647 h 30"/>
                  <a:gd name="T44" fmla="*/ 2147483647 w 146"/>
                  <a:gd name="T45" fmla="*/ 2147483647 h 30"/>
                  <a:gd name="T46" fmla="*/ 2147483647 w 146"/>
                  <a:gd name="T47" fmla="*/ 2147483647 h 30"/>
                  <a:gd name="T48" fmla="*/ 2147483647 w 146"/>
                  <a:gd name="T49" fmla="*/ 2147483647 h 30"/>
                  <a:gd name="T50" fmla="*/ 2147483647 w 146"/>
                  <a:gd name="T51" fmla="*/ 2147483647 h 30"/>
                  <a:gd name="T52" fmla="*/ 2147483647 w 146"/>
                  <a:gd name="T53" fmla="*/ 2147483647 h 30"/>
                  <a:gd name="T54" fmla="*/ 2147483647 w 146"/>
                  <a:gd name="T55" fmla="*/ 2147483647 h 30"/>
                  <a:gd name="T56" fmla="*/ 2147483647 w 146"/>
                  <a:gd name="T57" fmla="*/ 2147483647 h 30"/>
                  <a:gd name="T58" fmla="*/ 2147483647 w 146"/>
                  <a:gd name="T59" fmla="*/ 2147483647 h 30"/>
                  <a:gd name="T60" fmla="*/ 2147483647 w 146"/>
                  <a:gd name="T61" fmla="*/ 2147483647 h 30"/>
                  <a:gd name="T62" fmla="*/ 2147483647 w 146"/>
                  <a:gd name="T63" fmla="*/ 2147483647 h 3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46" h="30">
                    <a:moveTo>
                      <a:pt x="146" y="25"/>
                    </a:moveTo>
                    <a:lnTo>
                      <a:pt x="140" y="16"/>
                    </a:lnTo>
                    <a:lnTo>
                      <a:pt x="137" y="9"/>
                    </a:lnTo>
                    <a:lnTo>
                      <a:pt x="133" y="4"/>
                    </a:lnTo>
                    <a:lnTo>
                      <a:pt x="128" y="1"/>
                    </a:lnTo>
                    <a:lnTo>
                      <a:pt x="126" y="1"/>
                    </a:lnTo>
                    <a:lnTo>
                      <a:pt x="124" y="1"/>
                    </a:lnTo>
                    <a:lnTo>
                      <a:pt x="120" y="2"/>
                    </a:lnTo>
                    <a:lnTo>
                      <a:pt x="118" y="3"/>
                    </a:lnTo>
                    <a:lnTo>
                      <a:pt x="113" y="9"/>
                    </a:lnTo>
                    <a:lnTo>
                      <a:pt x="105" y="19"/>
                    </a:lnTo>
                    <a:lnTo>
                      <a:pt x="72" y="19"/>
                    </a:lnTo>
                    <a:lnTo>
                      <a:pt x="63" y="18"/>
                    </a:lnTo>
                    <a:lnTo>
                      <a:pt x="55" y="17"/>
                    </a:lnTo>
                    <a:lnTo>
                      <a:pt x="47" y="14"/>
                    </a:lnTo>
                    <a:lnTo>
                      <a:pt x="40" y="12"/>
                    </a:lnTo>
                    <a:lnTo>
                      <a:pt x="29" y="6"/>
                    </a:lnTo>
                    <a:lnTo>
                      <a:pt x="19" y="0"/>
                    </a:lnTo>
                    <a:lnTo>
                      <a:pt x="14" y="9"/>
                    </a:lnTo>
                    <a:lnTo>
                      <a:pt x="10" y="15"/>
                    </a:lnTo>
                    <a:lnTo>
                      <a:pt x="4" y="20"/>
                    </a:lnTo>
                    <a:lnTo>
                      <a:pt x="0" y="25"/>
                    </a:lnTo>
                    <a:lnTo>
                      <a:pt x="33" y="25"/>
                    </a:lnTo>
                    <a:lnTo>
                      <a:pt x="57" y="25"/>
                    </a:lnTo>
                    <a:lnTo>
                      <a:pt x="77" y="25"/>
                    </a:lnTo>
                    <a:lnTo>
                      <a:pt x="99" y="25"/>
                    </a:lnTo>
                    <a:lnTo>
                      <a:pt x="110" y="26"/>
                    </a:lnTo>
                    <a:lnTo>
                      <a:pt x="123" y="29"/>
                    </a:lnTo>
                    <a:lnTo>
                      <a:pt x="128" y="30"/>
                    </a:lnTo>
                    <a:lnTo>
                      <a:pt x="135" y="30"/>
                    </a:lnTo>
                    <a:lnTo>
                      <a:pt x="140" y="28"/>
                    </a:lnTo>
                    <a:lnTo>
                      <a:pt x="146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8" name="Freeform 503"/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12503418" y="1864885"/>
                <a:ext cx="20637" cy="58737"/>
              </a:xfrm>
              <a:custGeom>
                <a:avLst/>
                <a:gdLst>
                  <a:gd name="T0" fmla="*/ 0 w 53"/>
                  <a:gd name="T1" fmla="*/ 2147483647 h 9"/>
                  <a:gd name="T2" fmla="*/ 1003537983 w 53"/>
                  <a:gd name="T3" fmla="*/ 2147483647 h 9"/>
                  <a:gd name="T4" fmla="*/ 1712033449 w 53"/>
                  <a:gd name="T5" fmla="*/ 2147483647 h 9"/>
                  <a:gd name="T6" fmla="*/ 2147483647 w 53"/>
                  <a:gd name="T7" fmla="*/ 2147483647 h 9"/>
                  <a:gd name="T8" fmla="*/ 2147483647 w 53"/>
                  <a:gd name="T9" fmla="*/ 2147483647 h 9"/>
                  <a:gd name="T10" fmla="*/ 2147483647 w 53"/>
                  <a:gd name="T11" fmla="*/ 2147483647 h 9"/>
                  <a:gd name="T12" fmla="*/ 2147483647 w 53"/>
                  <a:gd name="T13" fmla="*/ 2147483647 h 9"/>
                  <a:gd name="T14" fmla="*/ 1830141337 w 53"/>
                  <a:gd name="T15" fmla="*/ 2147483647 h 9"/>
                  <a:gd name="T16" fmla="*/ 1475817675 w 53"/>
                  <a:gd name="T17" fmla="*/ 0 h 9"/>
                  <a:gd name="T18" fmla="*/ 1121645870 w 53"/>
                  <a:gd name="T19" fmla="*/ 0 h 9"/>
                  <a:gd name="T20" fmla="*/ 826451886 w 53"/>
                  <a:gd name="T21" fmla="*/ 0 h 9"/>
                  <a:gd name="T22" fmla="*/ 531257902 w 53"/>
                  <a:gd name="T23" fmla="*/ 2147483647 h 9"/>
                  <a:gd name="T24" fmla="*/ 354172194 w 53"/>
                  <a:gd name="T25" fmla="*/ 2147483647 h 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9">
                    <a:moveTo>
                      <a:pt x="0" y="9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40" y="9"/>
                    </a:lnTo>
                    <a:lnTo>
                      <a:pt x="53" y="9"/>
                    </a:lnTo>
                    <a:lnTo>
                      <a:pt x="46" y="6"/>
                    </a:lnTo>
                    <a:lnTo>
                      <a:pt x="38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69" name="Line 504"/>
              <p:cNvSpPr>
                <a:spLocks noChangeShapeType="1"/>
              </p:cNvSpPr>
              <p:nvPr>
                <p:custDataLst>
                  <p:tags r:id="rId265"/>
                </p:custDataLst>
              </p:nvPr>
            </p:nvSpPr>
            <p:spPr bwMode="auto">
              <a:xfrm flipV="1">
                <a:off x="12505005" y="1863297"/>
                <a:ext cx="0" cy="1588"/>
              </a:xfrm>
              <a:prstGeom prst="line">
                <a:avLst/>
              </a:prstGeom>
              <a:noFill/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0" name="Freeform 505"/>
              <p:cNvSpPr>
                <a:spLocks/>
              </p:cNvSpPr>
              <p:nvPr>
                <p:custDataLst>
                  <p:tags r:id="rId266"/>
                </p:custDataLst>
              </p:nvPr>
            </p:nvSpPr>
            <p:spPr bwMode="auto">
              <a:xfrm>
                <a:off x="11674743" y="1791860"/>
                <a:ext cx="11112" cy="55562"/>
              </a:xfrm>
              <a:custGeom>
                <a:avLst/>
                <a:gdLst>
                  <a:gd name="T0" fmla="*/ 0 w 26"/>
                  <a:gd name="T1" fmla="*/ 2147483647 h 25"/>
                  <a:gd name="T2" fmla="*/ 390339344 w 26"/>
                  <a:gd name="T3" fmla="*/ 2147483647 h 25"/>
                  <a:gd name="T4" fmla="*/ 1014845711 w 26"/>
                  <a:gd name="T5" fmla="*/ 2147483647 h 25"/>
                  <a:gd name="T6" fmla="*/ 1249012734 w 26"/>
                  <a:gd name="T7" fmla="*/ 2147483647 h 25"/>
                  <a:gd name="T8" fmla="*/ 1561357377 w 26"/>
                  <a:gd name="T9" fmla="*/ 2147483647 h 25"/>
                  <a:gd name="T10" fmla="*/ 1795524400 w 26"/>
                  <a:gd name="T11" fmla="*/ 2147483647 h 25"/>
                  <a:gd name="T12" fmla="*/ 2029691422 w 26"/>
                  <a:gd name="T13" fmla="*/ 0 h 25"/>
                  <a:gd name="T14" fmla="*/ 2029691422 w 26"/>
                  <a:gd name="T15" fmla="*/ 2147483647 h 25"/>
                  <a:gd name="T16" fmla="*/ 1561357377 w 26"/>
                  <a:gd name="T17" fmla="*/ 2147483647 h 25"/>
                  <a:gd name="T18" fmla="*/ 1014845711 w 26"/>
                  <a:gd name="T19" fmla="*/ 2147483647 h 25"/>
                  <a:gd name="T20" fmla="*/ 0 w 26"/>
                  <a:gd name="T21" fmla="*/ 2147483647 h 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25">
                    <a:moveTo>
                      <a:pt x="0" y="25"/>
                    </a:moveTo>
                    <a:lnTo>
                      <a:pt x="5" y="17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6" y="25"/>
                    </a:lnTo>
                    <a:lnTo>
                      <a:pt x="20" y="25"/>
                    </a:lnTo>
                    <a:lnTo>
                      <a:pt x="13" y="25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1" name="Freeform 506"/>
              <p:cNvSpPr>
                <a:spLocks/>
              </p:cNvSpPr>
              <p:nvPr>
                <p:custDataLst>
                  <p:tags r:id="rId267"/>
                </p:custDataLst>
              </p:nvPr>
            </p:nvSpPr>
            <p:spPr bwMode="auto">
              <a:xfrm>
                <a:off x="12424043" y="1863297"/>
                <a:ext cx="9525" cy="57150"/>
              </a:xfrm>
              <a:custGeom>
                <a:avLst/>
                <a:gdLst>
                  <a:gd name="T0" fmla="*/ 793536698 w 33"/>
                  <a:gd name="T1" fmla="*/ 2147483647 h 25"/>
                  <a:gd name="T2" fmla="*/ 793536698 w 33"/>
                  <a:gd name="T3" fmla="*/ 2147483647 h 25"/>
                  <a:gd name="T4" fmla="*/ 793536698 w 33"/>
                  <a:gd name="T5" fmla="*/ 0 h 25"/>
                  <a:gd name="T6" fmla="*/ 0 w 33"/>
                  <a:gd name="T7" fmla="*/ 0 h 25"/>
                  <a:gd name="T8" fmla="*/ 216441770 w 33"/>
                  <a:gd name="T9" fmla="*/ 2147483647 h 25"/>
                  <a:gd name="T10" fmla="*/ 384730048 w 33"/>
                  <a:gd name="T11" fmla="*/ 2147483647 h 25"/>
                  <a:gd name="T12" fmla="*/ 480954195 w 33"/>
                  <a:gd name="T13" fmla="*/ 2147483647 h 25"/>
                  <a:gd name="T14" fmla="*/ 577094927 w 33"/>
                  <a:gd name="T15" fmla="*/ 2147483647 h 25"/>
                  <a:gd name="T16" fmla="*/ 673319075 w 33"/>
                  <a:gd name="T17" fmla="*/ 2147483647 h 25"/>
                  <a:gd name="T18" fmla="*/ 793536698 w 33"/>
                  <a:gd name="T19" fmla="*/ 2147483647 h 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3" h="25">
                    <a:moveTo>
                      <a:pt x="33" y="25"/>
                    </a:moveTo>
                    <a:lnTo>
                      <a:pt x="33" y="12"/>
                    </a:lnTo>
                    <a:lnTo>
                      <a:pt x="33" y="0"/>
                    </a:lnTo>
                    <a:lnTo>
                      <a:pt x="0" y="0"/>
                    </a:lnTo>
                    <a:lnTo>
                      <a:pt x="9" y="9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4" y="23"/>
                    </a:lnTo>
                    <a:lnTo>
                      <a:pt x="28" y="24"/>
                    </a:lnTo>
                    <a:lnTo>
                      <a:pt x="33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2" name="Freeform 507"/>
              <p:cNvSpPr>
                <a:spLocks/>
              </p:cNvSpPr>
              <p:nvPr>
                <p:custDataLst>
                  <p:tags r:id="rId268"/>
                </p:custDataLst>
              </p:nvPr>
            </p:nvSpPr>
            <p:spPr bwMode="auto">
              <a:xfrm>
                <a:off x="12378005" y="1826785"/>
                <a:ext cx="9525" cy="57150"/>
              </a:xfrm>
              <a:custGeom>
                <a:avLst/>
                <a:gdLst>
                  <a:gd name="T0" fmla="*/ 0 w 20"/>
                  <a:gd name="T1" fmla="*/ 0 h 18"/>
                  <a:gd name="T2" fmla="*/ 1404205980 w 20"/>
                  <a:gd name="T3" fmla="*/ 2147483647 h 18"/>
                  <a:gd name="T4" fmla="*/ 1728323156 w 20"/>
                  <a:gd name="T5" fmla="*/ 2147483647 h 18"/>
                  <a:gd name="T6" fmla="*/ 2147483647 w 20"/>
                  <a:gd name="T7" fmla="*/ 0 h 18"/>
                  <a:gd name="T8" fmla="*/ 0 w 20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13" y="18"/>
                    </a:lnTo>
                    <a:lnTo>
                      <a:pt x="16" y="11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3" name="Freeform 508"/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12878068" y="2396697"/>
                <a:ext cx="12700" cy="58738"/>
              </a:xfrm>
              <a:custGeom>
                <a:avLst/>
                <a:gdLst>
                  <a:gd name="T0" fmla="*/ 0 w 33"/>
                  <a:gd name="T1" fmla="*/ 2147483647 h 31"/>
                  <a:gd name="T2" fmla="*/ 0 w 33"/>
                  <a:gd name="T3" fmla="*/ 0 h 31"/>
                  <a:gd name="T4" fmla="*/ 513047288 w 33"/>
                  <a:gd name="T5" fmla="*/ 0 h 31"/>
                  <a:gd name="T6" fmla="*/ 912051270 w 33"/>
                  <a:gd name="T7" fmla="*/ 0 h 31"/>
                  <a:gd name="T8" fmla="*/ 1367928930 w 33"/>
                  <a:gd name="T9" fmla="*/ 0 h 31"/>
                  <a:gd name="T10" fmla="*/ 1880976218 w 33"/>
                  <a:gd name="T11" fmla="*/ 0 h 31"/>
                  <a:gd name="T12" fmla="*/ 1709911067 w 33"/>
                  <a:gd name="T13" fmla="*/ 2147483647 h 31"/>
                  <a:gd name="T14" fmla="*/ 1653037388 w 33"/>
                  <a:gd name="T15" fmla="*/ 2147483647 h 31"/>
                  <a:gd name="T16" fmla="*/ 1596015542 w 33"/>
                  <a:gd name="T17" fmla="*/ 2147483647 h 31"/>
                  <a:gd name="T18" fmla="*/ 1596015542 w 33"/>
                  <a:gd name="T19" fmla="*/ 2147483647 h 31"/>
                  <a:gd name="T20" fmla="*/ 1596015542 w 33"/>
                  <a:gd name="T21" fmla="*/ 2147483647 h 31"/>
                  <a:gd name="T22" fmla="*/ 1653037388 w 33"/>
                  <a:gd name="T23" fmla="*/ 2147483647 h 31"/>
                  <a:gd name="T24" fmla="*/ 1709911067 w 33"/>
                  <a:gd name="T25" fmla="*/ 2147483647 h 31"/>
                  <a:gd name="T26" fmla="*/ 1880976218 w 33"/>
                  <a:gd name="T27" fmla="*/ 2147483647 h 31"/>
                  <a:gd name="T28" fmla="*/ 0 w 33"/>
                  <a:gd name="T29" fmla="*/ 2147483647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3" h="31">
                    <a:moveTo>
                      <a:pt x="0" y="31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9" y="21"/>
                    </a:lnTo>
                    <a:lnTo>
                      <a:pt x="30" y="26"/>
                    </a:lnTo>
                    <a:lnTo>
                      <a:pt x="33" y="31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4" name="Freeform 509"/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13171755" y="1918860"/>
                <a:ext cx="55563" cy="58737"/>
              </a:xfrm>
              <a:custGeom>
                <a:avLst/>
                <a:gdLst>
                  <a:gd name="T0" fmla="*/ 239692321 w 129"/>
                  <a:gd name="T1" fmla="*/ 2147483647 h 56"/>
                  <a:gd name="T2" fmla="*/ 79959464 w 129"/>
                  <a:gd name="T3" fmla="*/ 2147483647 h 56"/>
                  <a:gd name="T4" fmla="*/ 79959464 w 129"/>
                  <a:gd name="T5" fmla="*/ 2147483647 h 56"/>
                  <a:gd name="T6" fmla="*/ 0 w 129"/>
                  <a:gd name="T7" fmla="*/ 2147483647 h 56"/>
                  <a:gd name="T8" fmla="*/ 79959464 w 129"/>
                  <a:gd name="T9" fmla="*/ 2147483647 h 56"/>
                  <a:gd name="T10" fmla="*/ 159733288 w 129"/>
                  <a:gd name="T11" fmla="*/ 2147483647 h 56"/>
                  <a:gd name="T12" fmla="*/ 239692321 w 129"/>
                  <a:gd name="T13" fmla="*/ 2147483647 h 56"/>
                  <a:gd name="T14" fmla="*/ 719077394 w 129"/>
                  <a:gd name="T15" fmla="*/ 2147483647 h 56"/>
                  <a:gd name="T16" fmla="*/ 1278607572 w 129"/>
                  <a:gd name="T17" fmla="*/ 2147483647 h 56"/>
                  <a:gd name="T18" fmla="*/ 1678033181 w 129"/>
                  <a:gd name="T19" fmla="*/ 2147483647 h 56"/>
                  <a:gd name="T20" fmla="*/ 2147483647 w 129"/>
                  <a:gd name="T21" fmla="*/ 2147483647 h 56"/>
                  <a:gd name="T22" fmla="*/ 2147483647 w 129"/>
                  <a:gd name="T23" fmla="*/ 2147483647 h 56"/>
                  <a:gd name="T24" fmla="*/ 2147483647 w 129"/>
                  <a:gd name="T25" fmla="*/ 0 h 56"/>
                  <a:gd name="T26" fmla="*/ 2147483647 w 129"/>
                  <a:gd name="T27" fmla="*/ 2147483647 h 56"/>
                  <a:gd name="T28" fmla="*/ 2147483647 w 129"/>
                  <a:gd name="T29" fmla="*/ 2147483647 h 56"/>
                  <a:gd name="T30" fmla="*/ 2147483647 w 129"/>
                  <a:gd name="T31" fmla="*/ 2147483647 h 56"/>
                  <a:gd name="T32" fmla="*/ 2147483647 w 129"/>
                  <a:gd name="T33" fmla="*/ 2147483647 h 56"/>
                  <a:gd name="T34" fmla="*/ 2147483647 w 129"/>
                  <a:gd name="T35" fmla="*/ 2147483647 h 56"/>
                  <a:gd name="T36" fmla="*/ 2147483647 w 129"/>
                  <a:gd name="T37" fmla="*/ 2147483647 h 56"/>
                  <a:gd name="T38" fmla="*/ 2147483647 w 129"/>
                  <a:gd name="T39" fmla="*/ 2147483647 h 56"/>
                  <a:gd name="T40" fmla="*/ 2147483647 w 129"/>
                  <a:gd name="T41" fmla="*/ 2147483647 h 56"/>
                  <a:gd name="T42" fmla="*/ 2147483647 w 129"/>
                  <a:gd name="T43" fmla="*/ 2147483647 h 56"/>
                  <a:gd name="T44" fmla="*/ 2147483647 w 129"/>
                  <a:gd name="T45" fmla="*/ 2147483647 h 56"/>
                  <a:gd name="T46" fmla="*/ 2147483647 w 129"/>
                  <a:gd name="T47" fmla="*/ 2147483647 h 56"/>
                  <a:gd name="T48" fmla="*/ 2147483647 w 129"/>
                  <a:gd name="T49" fmla="*/ 2147483647 h 56"/>
                  <a:gd name="T50" fmla="*/ 2147483647 w 129"/>
                  <a:gd name="T51" fmla="*/ 2147483647 h 56"/>
                  <a:gd name="T52" fmla="*/ 2147483647 w 129"/>
                  <a:gd name="T53" fmla="*/ 2147483647 h 56"/>
                  <a:gd name="T54" fmla="*/ 2147483647 w 129"/>
                  <a:gd name="T55" fmla="*/ 2147483647 h 56"/>
                  <a:gd name="T56" fmla="*/ 2147483647 w 129"/>
                  <a:gd name="T57" fmla="*/ 2147483647 h 56"/>
                  <a:gd name="T58" fmla="*/ 2147483647 w 129"/>
                  <a:gd name="T59" fmla="*/ 2147483647 h 56"/>
                  <a:gd name="T60" fmla="*/ 2147483647 w 129"/>
                  <a:gd name="T61" fmla="*/ 2147483647 h 56"/>
                  <a:gd name="T62" fmla="*/ 2147483647 w 129"/>
                  <a:gd name="T63" fmla="*/ 2147483647 h 56"/>
                  <a:gd name="T64" fmla="*/ 2147483647 w 129"/>
                  <a:gd name="T65" fmla="*/ 2147483647 h 56"/>
                  <a:gd name="T66" fmla="*/ 1837951679 w 129"/>
                  <a:gd name="T67" fmla="*/ 2147483647 h 56"/>
                  <a:gd name="T68" fmla="*/ 1278607572 w 129"/>
                  <a:gd name="T69" fmla="*/ 2147483647 h 56"/>
                  <a:gd name="T70" fmla="*/ 479385073 w 129"/>
                  <a:gd name="T71" fmla="*/ 2147483647 h 56"/>
                  <a:gd name="T72" fmla="*/ 239692321 w 129"/>
                  <a:gd name="T73" fmla="*/ 2147483647 h 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29" h="56">
                    <a:moveTo>
                      <a:pt x="3" y="44"/>
                    </a:moveTo>
                    <a:lnTo>
                      <a:pt x="1" y="42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25"/>
                    </a:lnTo>
                    <a:lnTo>
                      <a:pt x="3" y="18"/>
                    </a:lnTo>
                    <a:lnTo>
                      <a:pt x="9" y="13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7" y="5"/>
                    </a:lnTo>
                    <a:lnTo>
                      <a:pt x="39" y="3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64" y="8"/>
                    </a:lnTo>
                    <a:lnTo>
                      <a:pt x="69" y="11"/>
                    </a:lnTo>
                    <a:lnTo>
                      <a:pt x="73" y="14"/>
                    </a:lnTo>
                    <a:lnTo>
                      <a:pt x="83" y="18"/>
                    </a:lnTo>
                    <a:lnTo>
                      <a:pt x="93" y="21"/>
                    </a:lnTo>
                    <a:lnTo>
                      <a:pt x="103" y="25"/>
                    </a:lnTo>
                    <a:lnTo>
                      <a:pt x="113" y="29"/>
                    </a:lnTo>
                    <a:lnTo>
                      <a:pt x="117" y="32"/>
                    </a:lnTo>
                    <a:lnTo>
                      <a:pt x="121" y="35"/>
                    </a:lnTo>
                    <a:lnTo>
                      <a:pt x="126" y="38"/>
                    </a:lnTo>
                    <a:lnTo>
                      <a:pt x="129" y="44"/>
                    </a:lnTo>
                    <a:lnTo>
                      <a:pt x="119" y="48"/>
                    </a:lnTo>
                    <a:lnTo>
                      <a:pt x="109" y="51"/>
                    </a:lnTo>
                    <a:lnTo>
                      <a:pt x="99" y="53"/>
                    </a:lnTo>
                    <a:lnTo>
                      <a:pt x="90" y="54"/>
                    </a:lnTo>
                    <a:lnTo>
                      <a:pt x="70" y="56"/>
                    </a:lnTo>
                    <a:lnTo>
                      <a:pt x="49" y="56"/>
                    </a:lnTo>
                    <a:lnTo>
                      <a:pt x="40" y="55"/>
                    </a:lnTo>
                    <a:lnTo>
                      <a:pt x="31" y="54"/>
                    </a:lnTo>
                    <a:lnTo>
                      <a:pt x="23" y="52"/>
                    </a:lnTo>
                    <a:lnTo>
                      <a:pt x="16" y="50"/>
                    </a:lnTo>
                    <a:lnTo>
                      <a:pt x="6" y="46"/>
                    </a:lnTo>
                    <a:lnTo>
                      <a:pt x="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5" name="Freeform 510"/>
              <p:cNvSpPr>
                <a:spLocks/>
              </p:cNvSpPr>
              <p:nvPr>
                <p:custDataLst>
                  <p:tags r:id="rId271"/>
                </p:custDataLst>
              </p:nvPr>
            </p:nvSpPr>
            <p:spPr bwMode="auto">
              <a:xfrm>
                <a:off x="13308280" y="2271285"/>
                <a:ext cx="14288" cy="57150"/>
              </a:xfrm>
              <a:custGeom>
                <a:avLst/>
                <a:gdLst>
                  <a:gd name="T0" fmla="*/ 888725449 w 41"/>
                  <a:gd name="T1" fmla="*/ 2147483647 h 42"/>
                  <a:gd name="T2" fmla="*/ 0 w 41"/>
                  <a:gd name="T3" fmla="*/ 2147483647 h 42"/>
                  <a:gd name="T4" fmla="*/ 0 w 41"/>
                  <a:gd name="T5" fmla="*/ 2147483647 h 42"/>
                  <a:gd name="T6" fmla="*/ 296201392 w 41"/>
                  <a:gd name="T7" fmla="*/ 2147483647 h 42"/>
                  <a:gd name="T8" fmla="*/ 592524057 w 41"/>
                  <a:gd name="T9" fmla="*/ 2147483647 h 42"/>
                  <a:gd name="T10" fmla="*/ 1015755526 w 41"/>
                  <a:gd name="T11" fmla="*/ 2147483647 h 42"/>
                  <a:gd name="T12" fmla="*/ 1438986996 w 41"/>
                  <a:gd name="T13" fmla="*/ 0 h 42"/>
                  <a:gd name="T14" fmla="*/ 1438986996 w 41"/>
                  <a:gd name="T15" fmla="*/ 2147483647 h 42"/>
                  <a:gd name="T16" fmla="*/ 1735188387 w 41"/>
                  <a:gd name="T17" fmla="*/ 2147483647 h 42"/>
                  <a:gd name="T18" fmla="*/ 888725449 w 41"/>
                  <a:gd name="T19" fmla="*/ 2147483647 h 4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1" y="42"/>
                    </a:moveTo>
                    <a:lnTo>
                      <a:pt x="0" y="30"/>
                    </a:lnTo>
                    <a:lnTo>
                      <a:pt x="0" y="6"/>
                    </a:lnTo>
                    <a:lnTo>
                      <a:pt x="7" y="5"/>
                    </a:lnTo>
                    <a:lnTo>
                      <a:pt x="14" y="3"/>
                    </a:lnTo>
                    <a:lnTo>
                      <a:pt x="24" y="1"/>
                    </a:lnTo>
                    <a:lnTo>
                      <a:pt x="34" y="0"/>
                    </a:lnTo>
                    <a:lnTo>
                      <a:pt x="34" y="18"/>
                    </a:lnTo>
                    <a:lnTo>
                      <a:pt x="41" y="18"/>
                    </a:lnTo>
                    <a:lnTo>
                      <a:pt x="21" y="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6" name="Freeform 511"/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13457505" y="2383997"/>
                <a:ext cx="42863" cy="60325"/>
              </a:xfrm>
              <a:custGeom>
                <a:avLst/>
                <a:gdLst>
                  <a:gd name="T0" fmla="*/ 2147483647 w 93"/>
                  <a:gd name="T1" fmla="*/ 2147483647 h 39"/>
                  <a:gd name="T2" fmla="*/ 2147483647 w 93"/>
                  <a:gd name="T3" fmla="*/ 2147483647 h 39"/>
                  <a:gd name="T4" fmla="*/ 2147483647 w 93"/>
                  <a:gd name="T5" fmla="*/ 2147483647 h 39"/>
                  <a:gd name="T6" fmla="*/ 2147483647 w 93"/>
                  <a:gd name="T7" fmla="*/ 2147483647 h 39"/>
                  <a:gd name="T8" fmla="*/ 2147483647 w 93"/>
                  <a:gd name="T9" fmla="*/ 2147483647 h 39"/>
                  <a:gd name="T10" fmla="*/ 2147483647 w 93"/>
                  <a:gd name="T11" fmla="*/ 2147483647 h 39"/>
                  <a:gd name="T12" fmla="*/ 2147483647 w 93"/>
                  <a:gd name="T13" fmla="*/ 2147483647 h 39"/>
                  <a:gd name="T14" fmla="*/ 2147483647 w 93"/>
                  <a:gd name="T15" fmla="*/ 2147483647 h 39"/>
                  <a:gd name="T16" fmla="*/ 2147483647 w 93"/>
                  <a:gd name="T17" fmla="*/ 2147483647 h 39"/>
                  <a:gd name="T18" fmla="*/ 2147483647 w 93"/>
                  <a:gd name="T19" fmla="*/ 2147483647 h 39"/>
                  <a:gd name="T20" fmla="*/ 2147483647 w 93"/>
                  <a:gd name="T21" fmla="*/ 2147483647 h 39"/>
                  <a:gd name="T22" fmla="*/ 2147483647 w 93"/>
                  <a:gd name="T23" fmla="*/ 2147483647 h 39"/>
                  <a:gd name="T24" fmla="*/ 2147483647 w 93"/>
                  <a:gd name="T25" fmla="*/ 2147483647 h 39"/>
                  <a:gd name="T26" fmla="*/ 1566398838 w 93"/>
                  <a:gd name="T27" fmla="*/ 2147483647 h 39"/>
                  <a:gd name="T28" fmla="*/ 881125934 w 93"/>
                  <a:gd name="T29" fmla="*/ 2147483647 h 39"/>
                  <a:gd name="T30" fmla="*/ 0 w 93"/>
                  <a:gd name="T31" fmla="*/ 2147483647 h 39"/>
                  <a:gd name="T32" fmla="*/ 1076978964 w 93"/>
                  <a:gd name="T33" fmla="*/ 2147483647 h 39"/>
                  <a:gd name="T34" fmla="*/ 1958104898 w 93"/>
                  <a:gd name="T35" fmla="*/ 0 h 39"/>
                  <a:gd name="T36" fmla="*/ 2147483647 w 93"/>
                  <a:gd name="T37" fmla="*/ 0 h 39"/>
                  <a:gd name="T38" fmla="*/ 2147483647 w 93"/>
                  <a:gd name="T39" fmla="*/ 2147483647 h 39"/>
                  <a:gd name="T40" fmla="*/ 2147483647 w 93"/>
                  <a:gd name="T41" fmla="*/ 2147483647 h 39"/>
                  <a:gd name="T42" fmla="*/ 2147483647 w 93"/>
                  <a:gd name="T43" fmla="*/ 2147483647 h 3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93" h="39">
                    <a:moveTo>
                      <a:pt x="60" y="9"/>
                    </a:moveTo>
                    <a:lnTo>
                      <a:pt x="67" y="18"/>
                    </a:lnTo>
                    <a:lnTo>
                      <a:pt x="77" y="28"/>
                    </a:lnTo>
                    <a:lnTo>
                      <a:pt x="81" y="33"/>
                    </a:lnTo>
                    <a:lnTo>
                      <a:pt x="86" y="36"/>
                    </a:lnTo>
                    <a:lnTo>
                      <a:pt x="90" y="38"/>
                    </a:lnTo>
                    <a:lnTo>
                      <a:pt x="93" y="39"/>
                    </a:lnTo>
                    <a:lnTo>
                      <a:pt x="60" y="39"/>
                    </a:lnTo>
                    <a:lnTo>
                      <a:pt x="50" y="36"/>
                    </a:lnTo>
                    <a:lnTo>
                      <a:pt x="43" y="32"/>
                    </a:lnTo>
                    <a:lnTo>
                      <a:pt x="36" y="28"/>
                    </a:lnTo>
                    <a:lnTo>
                      <a:pt x="30" y="23"/>
                    </a:lnTo>
                    <a:lnTo>
                      <a:pt x="24" y="18"/>
                    </a:lnTo>
                    <a:lnTo>
                      <a:pt x="16" y="13"/>
                    </a:lnTo>
                    <a:lnTo>
                      <a:pt x="9" y="7"/>
                    </a:lnTo>
                    <a:lnTo>
                      <a:pt x="0" y="3"/>
                    </a:lnTo>
                    <a:lnTo>
                      <a:pt x="11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1"/>
                    </a:lnTo>
                    <a:lnTo>
                      <a:pt x="44" y="4"/>
                    </a:lnTo>
                    <a:lnTo>
                      <a:pt x="60" y="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7" name="Freeform 512"/>
              <p:cNvSpPr>
                <a:spLocks/>
              </p:cNvSpPr>
              <p:nvPr>
                <p:custDataLst>
                  <p:tags r:id="rId273"/>
                </p:custDataLst>
              </p:nvPr>
            </p:nvSpPr>
            <p:spPr bwMode="auto">
              <a:xfrm>
                <a:off x="13508305" y="2399872"/>
                <a:ext cx="19050" cy="58738"/>
              </a:xfrm>
              <a:custGeom>
                <a:avLst/>
                <a:gdLst>
                  <a:gd name="T0" fmla="*/ 2147483647 w 39"/>
                  <a:gd name="T1" fmla="*/ 2147483647 h 19"/>
                  <a:gd name="T2" fmla="*/ 1515076296 w 39"/>
                  <a:gd name="T3" fmla="*/ 2147483647 h 19"/>
                  <a:gd name="T4" fmla="*/ 932428138 w 39"/>
                  <a:gd name="T5" fmla="*/ 2147483647 h 19"/>
                  <a:gd name="T6" fmla="*/ 582648158 w 39"/>
                  <a:gd name="T7" fmla="*/ 2147483647 h 19"/>
                  <a:gd name="T8" fmla="*/ 349541123 w 39"/>
                  <a:gd name="T9" fmla="*/ 2147483647 h 19"/>
                  <a:gd name="T10" fmla="*/ 233107035 w 39"/>
                  <a:gd name="T11" fmla="*/ 2147483647 h 19"/>
                  <a:gd name="T12" fmla="*/ 0 w 39"/>
                  <a:gd name="T13" fmla="*/ 2147483647 h 19"/>
                  <a:gd name="T14" fmla="*/ 0 w 39"/>
                  <a:gd name="T15" fmla="*/ 0 h 19"/>
                  <a:gd name="T16" fmla="*/ 1515076296 w 39"/>
                  <a:gd name="T17" fmla="*/ 2147483647 h 19"/>
                  <a:gd name="T18" fmla="*/ 2147483647 w 39"/>
                  <a:gd name="T19" fmla="*/ 2147483647 h 19"/>
                  <a:gd name="T20" fmla="*/ 2147483647 w 39"/>
                  <a:gd name="T21" fmla="*/ 2147483647 h 19"/>
                  <a:gd name="T22" fmla="*/ 2147483647 w 39"/>
                  <a:gd name="T23" fmla="*/ 2147483647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9" h="19">
                    <a:moveTo>
                      <a:pt x="39" y="19"/>
                    </a:moveTo>
                    <a:lnTo>
                      <a:pt x="13" y="19"/>
                    </a:lnTo>
                    <a:lnTo>
                      <a:pt x="8" y="19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22" y="9"/>
                    </a:lnTo>
                    <a:lnTo>
                      <a:pt x="30" y="14"/>
                    </a:lnTo>
                    <a:lnTo>
                      <a:pt x="39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8" name="Freeform 513"/>
              <p:cNvSpPr>
                <a:spLocks/>
              </p:cNvSpPr>
              <p:nvPr>
                <p:custDataLst>
                  <p:tags r:id="rId274"/>
                </p:custDataLst>
              </p:nvPr>
            </p:nvSpPr>
            <p:spPr bwMode="auto">
              <a:xfrm>
                <a:off x="13373368" y="2526872"/>
                <a:ext cx="14287" cy="57150"/>
              </a:xfrm>
              <a:custGeom>
                <a:avLst/>
                <a:gdLst>
                  <a:gd name="T0" fmla="*/ 0 w 26"/>
                  <a:gd name="T1" fmla="*/ 2147483647 h 36"/>
                  <a:gd name="T2" fmla="*/ 497916237 w 26"/>
                  <a:gd name="T3" fmla="*/ 2147483647 h 36"/>
                  <a:gd name="T4" fmla="*/ 1659216899 w 26"/>
                  <a:gd name="T5" fmla="*/ 2147483647 h 36"/>
                  <a:gd name="T6" fmla="*/ 2147483647 w 26"/>
                  <a:gd name="T7" fmla="*/ 2147483647 h 36"/>
                  <a:gd name="T8" fmla="*/ 2147483647 w 26"/>
                  <a:gd name="T9" fmla="*/ 0 h 36"/>
                  <a:gd name="T10" fmla="*/ 2147483647 w 26"/>
                  <a:gd name="T11" fmla="*/ 2147483647 h 36"/>
                  <a:gd name="T12" fmla="*/ 2147483647 w 26"/>
                  <a:gd name="T13" fmla="*/ 2147483647 h 36"/>
                  <a:gd name="T14" fmla="*/ 2147483647 w 26"/>
                  <a:gd name="T15" fmla="*/ 2147483647 h 36"/>
                  <a:gd name="T16" fmla="*/ 2147483647 w 26"/>
                  <a:gd name="T17" fmla="*/ 2147483647 h 36"/>
                  <a:gd name="T18" fmla="*/ 2147483647 w 26"/>
                  <a:gd name="T19" fmla="*/ 2147483647 h 36"/>
                  <a:gd name="T20" fmla="*/ 2147483647 w 26"/>
                  <a:gd name="T21" fmla="*/ 2147483647 h 36"/>
                  <a:gd name="T22" fmla="*/ 2147483647 w 26"/>
                  <a:gd name="T23" fmla="*/ 2147483647 h 36"/>
                  <a:gd name="T24" fmla="*/ 1659216899 w 26"/>
                  <a:gd name="T25" fmla="*/ 2147483647 h 36"/>
                  <a:gd name="T26" fmla="*/ 663686650 w 26"/>
                  <a:gd name="T27" fmla="*/ 2147483647 h 36"/>
                  <a:gd name="T28" fmla="*/ 0 w 26"/>
                  <a:gd name="T29" fmla="*/ 2147483647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6" h="36">
                    <a:moveTo>
                      <a:pt x="0" y="36"/>
                    </a:moveTo>
                    <a:lnTo>
                      <a:pt x="3" y="31"/>
                    </a:lnTo>
                    <a:lnTo>
                      <a:pt x="10" y="20"/>
                    </a:lnTo>
                    <a:lnTo>
                      <a:pt x="18" y="8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26" y="18"/>
                    </a:lnTo>
                    <a:lnTo>
                      <a:pt x="25" y="22"/>
                    </a:lnTo>
                    <a:lnTo>
                      <a:pt x="24" y="26"/>
                    </a:lnTo>
                    <a:lnTo>
                      <a:pt x="21" y="29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10" y="35"/>
                    </a:lnTo>
                    <a:lnTo>
                      <a:pt x="4" y="36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79" name="Freeform 514"/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13384480" y="2555447"/>
                <a:ext cx="3175" cy="60325"/>
              </a:xfrm>
              <a:custGeom>
                <a:avLst/>
                <a:gdLst>
                  <a:gd name="T0" fmla="*/ 0 w 6"/>
                  <a:gd name="T1" fmla="*/ 2147483647 h 37"/>
                  <a:gd name="T2" fmla="*/ 0 w 6"/>
                  <a:gd name="T3" fmla="*/ 0 h 37"/>
                  <a:gd name="T4" fmla="*/ 889055033 w 6"/>
                  <a:gd name="T5" fmla="*/ 0 h 37"/>
                  <a:gd name="T6" fmla="*/ 889055033 w 6"/>
                  <a:gd name="T7" fmla="*/ 2147483647 h 37"/>
                  <a:gd name="T8" fmla="*/ 0 w 6"/>
                  <a:gd name="T9" fmla="*/ 2147483647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37">
                    <a:moveTo>
                      <a:pt x="0" y="37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31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0" name="Freeform 515"/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13371780" y="2637997"/>
                <a:ext cx="9525" cy="55563"/>
              </a:xfrm>
              <a:custGeom>
                <a:avLst/>
                <a:gdLst>
                  <a:gd name="T0" fmla="*/ 0 w 20"/>
                  <a:gd name="T1" fmla="*/ 2147483647 h 43"/>
                  <a:gd name="T2" fmla="*/ 0 w 20"/>
                  <a:gd name="T3" fmla="*/ 2147483647 h 43"/>
                  <a:gd name="T4" fmla="*/ 0 w 20"/>
                  <a:gd name="T5" fmla="*/ 2147483647 h 43"/>
                  <a:gd name="T6" fmla="*/ 216153683 w 20"/>
                  <a:gd name="T7" fmla="*/ 2147483647 h 43"/>
                  <a:gd name="T8" fmla="*/ 756198323 w 20"/>
                  <a:gd name="T9" fmla="*/ 0 h 43"/>
                  <a:gd name="T10" fmla="*/ 1188278993 w 20"/>
                  <a:gd name="T11" fmla="*/ 2147483647 h 43"/>
                  <a:gd name="T12" fmla="*/ 1728323156 w 20"/>
                  <a:gd name="T13" fmla="*/ 2147483647 h 43"/>
                  <a:gd name="T14" fmla="*/ 1836286650 w 20"/>
                  <a:gd name="T15" fmla="*/ 2147483647 h 43"/>
                  <a:gd name="T16" fmla="*/ 2052440333 w 20"/>
                  <a:gd name="T17" fmla="*/ 2147483647 h 43"/>
                  <a:gd name="T18" fmla="*/ 2052440333 w 20"/>
                  <a:gd name="T19" fmla="*/ 2147483647 h 43"/>
                  <a:gd name="T20" fmla="*/ 2147483647 w 20"/>
                  <a:gd name="T21" fmla="*/ 2147483647 h 43"/>
                  <a:gd name="T22" fmla="*/ 2052440333 w 20"/>
                  <a:gd name="T23" fmla="*/ 2147483647 h 43"/>
                  <a:gd name="T24" fmla="*/ 1944476839 w 20"/>
                  <a:gd name="T25" fmla="*/ 2147483647 h 43"/>
                  <a:gd name="T26" fmla="*/ 1728323156 w 20"/>
                  <a:gd name="T27" fmla="*/ 2147483647 h 43"/>
                  <a:gd name="T28" fmla="*/ 1296242486 w 20"/>
                  <a:gd name="T29" fmla="*/ 2147483647 h 43"/>
                  <a:gd name="T30" fmla="*/ 972125310 w 20"/>
                  <a:gd name="T31" fmla="*/ 2147483647 h 43"/>
                  <a:gd name="T32" fmla="*/ 648234829 w 20"/>
                  <a:gd name="T33" fmla="*/ 2147483647 h 43"/>
                  <a:gd name="T34" fmla="*/ 216153683 w 20"/>
                  <a:gd name="T35" fmla="*/ 2147483647 h 43"/>
                  <a:gd name="T36" fmla="*/ 0 w 20"/>
                  <a:gd name="T37" fmla="*/ 2147483647 h 43"/>
                  <a:gd name="T38" fmla="*/ 0 w 20"/>
                  <a:gd name="T39" fmla="*/ 2147483647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0" h="43">
                    <a:moveTo>
                      <a:pt x="0" y="31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2" y="9"/>
                    </a:lnTo>
                    <a:lnTo>
                      <a:pt x="7" y="0"/>
                    </a:lnTo>
                    <a:lnTo>
                      <a:pt x="11" y="7"/>
                    </a:lnTo>
                    <a:lnTo>
                      <a:pt x="16" y="12"/>
                    </a:lnTo>
                    <a:lnTo>
                      <a:pt x="17" y="14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20" y="25"/>
                    </a:lnTo>
                    <a:lnTo>
                      <a:pt x="19" y="27"/>
                    </a:lnTo>
                    <a:lnTo>
                      <a:pt x="18" y="30"/>
                    </a:lnTo>
                    <a:lnTo>
                      <a:pt x="16" y="33"/>
                    </a:lnTo>
                    <a:lnTo>
                      <a:pt x="12" y="36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2" y="42"/>
                    </a:lnTo>
                    <a:lnTo>
                      <a:pt x="0" y="4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1" name="Freeform 516"/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13349555" y="2672922"/>
                <a:ext cx="0" cy="58738"/>
              </a:xfrm>
              <a:custGeom>
                <a:avLst/>
                <a:gdLst>
                  <a:gd name="T0" fmla="*/ 2147483647 h 30"/>
                  <a:gd name="T1" fmla="*/ 2147483647 h 30"/>
                  <a:gd name="T2" fmla="*/ 2147483647 h 30"/>
                  <a:gd name="T3" fmla="*/ 2147483647 h 30"/>
                  <a:gd name="T4" fmla="*/ 0 h 30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</a:gdLst>
                <a:ahLst/>
                <a:cxnLst>
                  <a:cxn ang="T5">
                    <a:pos x="0" y="T0"/>
                  </a:cxn>
                  <a:cxn ang="T6">
                    <a:pos x="0" y="T1"/>
                  </a:cxn>
                  <a:cxn ang="T7">
                    <a:pos x="0" y="T2"/>
                  </a:cxn>
                  <a:cxn ang="T8">
                    <a:pos x="0" y="T3"/>
                  </a:cxn>
                  <a:cxn ang="T9">
                    <a:pos x="0" y="T4"/>
                  </a:cxn>
                </a:cxnLst>
                <a:rect l="0" t="0" r="r" b="b"/>
                <a:pathLst>
                  <a:path h="30">
                    <a:moveTo>
                      <a:pt x="0" y="30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2" name="Freeform 517"/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13349555" y="2672922"/>
                <a:ext cx="7938" cy="58738"/>
              </a:xfrm>
              <a:custGeom>
                <a:avLst/>
                <a:gdLst>
                  <a:gd name="T0" fmla="*/ 0 w 20"/>
                  <a:gd name="T1" fmla="*/ 0 h 24"/>
                  <a:gd name="T2" fmla="*/ 1250469965 w 20"/>
                  <a:gd name="T3" fmla="*/ 0 h 24"/>
                  <a:gd name="T4" fmla="*/ 0 w 20"/>
                  <a:gd name="T5" fmla="*/ 2147483647 h 2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24">
                    <a:moveTo>
                      <a:pt x="0" y="0"/>
                    </a:moveTo>
                    <a:lnTo>
                      <a:pt x="20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3" name="Freeform 518"/>
              <p:cNvSpPr>
                <a:spLocks/>
              </p:cNvSpPr>
              <p:nvPr>
                <p:custDataLst>
                  <p:tags r:id="rId279"/>
                </p:custDataLst>
              </p:nvPr>
            </p:nvSpPr>
            <p:spPr bwMode="auto">
              <a:xfrm>
                <a:off x="13103493" y="2260172"/>
                <a:ext cx="17462" cy="60325"/>
              </a:xfrm>
              <a:custGeom>
                <a:avLst/>
                <a:gdLst>
                  <a:gd name="T0" fmla="*/ 0 w 46"/>
                  <a:gd name="T1" fmla="*/ 0 h 19"/>
                  <a:gd name="T2" fmla="*/ 492254919 w 46"/>
                  <a:gd name="T3" fmla="*/ 2147483647 h 19"/>
                  <a:gd name="T4" fmla="*/ 765906097 w 46"/>
                  <a:gd name="T5" fmla="*/ 2147483647 h 19"/>
                  <a:gd name="T6" fmla="*/ 1039413403 w 46"/>
                  <a:gd name="T7" fmla="*/ 2147483647 h 19"/>
                  <a:gd name="T8" fmla="*/ 1258161395 w 46"/>
                  <a:gd name="T9" fmla="*/ 2147483647 h 19"/>
                  <a:gd name="T10" fmla="*/ 1422294325 w 46"/>
                  <a:gd name="T11" fmla="*/ 2147483647 h 19"/>
                  <a:gd name="T12" fmla="*/ 1750416314 w 46"/>
                  <a:gd name="T13" fmla="*/ 2147483647 h 19"/>
                  <a:gd name="T14" fmla="*/ 2024067491 w 46"/>
                  <a:gd name="T15" fmla="*/ 2147483647 h 19"/>
                  <a:gd name="T16" fmla="*/ 2147483647 w 46"/>
                  <a:gd name="T17" fmla="*/ 2147483647 h 19"/>
                  <a:gd name="T18" fmla="*/ 1805175248 w 46"/>
                  <a:gd name="T19" fmla="*/ 2147483647 h 19"/>
                  <a:gd name="T20" fmla="*/ 1312920329 w 46"/>
                  <a:gd name="T21" fmla="*/ 2147483647 h 19"/>
                  <a:gd name="T22" fmla="*/ 984654089 w 46"/>
                  <a:gd name="T23" fmla="*/ 2147483647 h 19"/>
                  <a:gd name="T24" fmla="*/ 711147163 w 46"/>
                  <a:gd name="T25" fmla="*/ 2147483647 h 19"/>
                  <a:gd name="T26" fmla="*/ 547014232 w 46"/>
                  <a:gd name="T27" fmla="*/ 2147483647 h 19"/>
                  <a:gd name="T28" fmla="*/ 382880923 w 46"/>
                  <a:gd name="T29" fmla="*/ 2147483647 h 19"/>
                  <a:gd name="T30" fmla="*/ 218747992 w 46"/>
                  <a:gd name="T31" fmla="*/ 2147483647 h 19"/>
                  <a:gd name="T32" fmla="*/ 0 w 46"/>
                  <a:gd name="T33" fmla="*/ 0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6" h="19">
                    <a:moveTo>
                      <a:pt x="0" y="0"/>
                    </a:moveTo>
                    <a:lnTo>
                      <a:pt x="9" y="3"/>
                    </a:lnTo>
                    <a:lnTo>
                      <a:pt x="14" y="5"/>
                    </a:lnTo>
                    <a:lnTo>
                      <a:pt x="19" y="8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32" y="14"/>
                    </a:lnTo>
                    <a:lnTo>
                      <a:pt x="37" y="17"/>
                    </a:lnTo>
                    <a:lnTo>
                      <a:pt x="46" y="19"/>
                    </a:lnTo>
                    <a:lnTo>
                      <a:pt x="33" y="19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4" name="Freeform 519"/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10419030" y="2399872"/>
                <a:ext cx="47625" cy="58738"/>
              </a:xfrm>
              <a:custGeom>
                <a:avLst/>
                <a:gdLst>
                  <a:gd name="T0" fmla="*/ 2147483647 w 100"/>
                  <a:gd name="T1" fmla="*/ 0 h 55"/>
                  <a:gd name="T2" fmla="*/ 2147483647 w 100"/>
                  <a:gd name="T3" fmla="*/ 2147483647 h 55"/>
                  <a:gd name="T4" fmla="*/ 2147483647 w 100"/>
                  <a:gd name="T5" fmla="*/ 2147483647 h 55"/>
                  <a:gd name="T6" fmla="*/ 1404205980 w 100"/>
                  <a:gd name="T7" fmla="*/ 2147483647 h 55"/>
                  <a:gd name="T8" fmla="*/ 0 w 100"/>
                  <a:gd name="T9" fmla="*/ 2147483647 h 55"/>
                  <a:gd name="T10" fmla="*/ 107963494 w 100"/>
                  <a:gd name="T11" fmla="*/ 2147483647 h 55"/>
                  <a:gd name="T12" fmla="*/ 432080670 w 100"/>
                  <a:gd name="T13" fmla="*/ 2147483647 h 55"/>
                  <a:gd name="T14" fmla="*/ 1080315499 w 100"/>
                  <a:gd name="T15" fmla="*/ 2147483647 h 55"/>
                  <a:gd name="T16" fmla="*/ 1728323156 w 100"/>
                  <a:gd name="T17" fmla="*/ 2147483647 h 55"/>
                  <a:gd name="T18" fmla="*/ 2147483647 w 100"/>
                  <a:gd name="T19" fmla="*/ 2147483647 h 55"/>
                  <a:gd name="T20" fmla="*/ 2147483647 w 100"/>
                  <a:gd name="T21" fmla="*/ 0 h 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5" name="Freeform 520"/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10868293" y="1991885"/>
                <a:ext cx="42862" cy="58737"/>
              </a:xfrm>
              <a:custGeom>
                <a:avLst/>
                <a:gdLst>
                  <a:gd name="T0" fmla="*/ 2147483647 w 99"/>
                  <a:gd name="T1" fmla="*/ 2147483647 h 51"/>
                  <a:gd name="T2" fmla="*/ 2147483647 w 99"/>
                  <a:gd name="T3" fmla="*/ 1528043055 h 51"/>
                  <a:gd name="T4" fmla="*/ 2147483647 w 99"/>
                  <a:gd name="T5" fmla="*/ 0 h 51"/>
                  <a:gd name="T6" fmla="*/ 2147483647 w 99"/>
                  <a:gd name="T7" fmla="*/ 0 h 51"/>
                  <a:gd name="T8" fmla="*/ 2147483647 w 99"/>
                  <a:gd name="T9" fmla="*/ 1528043055 h 51"/>
                  <a:gd name="T10" fmla="*/ 2147483647 w 99"/>
                  <a:gd name="T11" fmla="*/ 2147483647 h 51"/>
                  <a:gd name="T12" fmla="*/ 2147483647 w 99"/>
                  <a:gd name="T13" fmla="*/ 2147483647 h 51"/>
                  <a:gd name="T14" fmla="*/ 2147483647 w 99"/>
                  <a:gd name="T15" fmla="*/ 2147483647 h 51"/>
                  <a:gd name="T16" fmla="*/ 2147483647 w 99"/>
                  <a:gd name="T17" fmla="*/ 2147483647 h 51"/>
                  <a:gd name="T18" fmla="*/ 2147483647 w 99"/>
                  <a:gd name="T19" fmla="*/ 2147483647 h 51"/>
                  <a:gd name="T20" fmla="*/ 2147483647 w 99"/>
                  <a:gd name="T21" fmla="*/ 2147483647 h 51"/>
                  <a:gd name="T22" fmla="*/ 2147483647 w 99"/>
                  <a:gd name="T23" fmla="*/ 2147483647 h 51"/>
                  <a:gd name="T24" fmla="*/ 2147483647 w 99"/>
                  <a:gd name="T25" fmla="*/ 2147483647 h 51"/>
                  <a:gd name="T26" fmla="*/ 2147483647 w 99"/>
                  <a:gd name="T27" fmla="*/ 2147483647 h 51"/>
                  <a:gd name="T28" fmla="*/ 2147483647 w 99"/>
                  <a:gd name="T29" fmla="*/ 2147483647 h 51"/>
                  <a:gd name="T30" fmla="*/ 2147483647 w 99"/>
                  <a:gd name="T31" fmla="*/ 2147483647 h 51"/>
                  <a:gd name="T32" fmla="*/ 2147483647 w 99"/>
                  <a:gd name="T33" fmla="*/ 2147483647 h 51"/>
                  <a:gd name="T34" fmla="*/ 2147483647 w 99"/>
                  <a:gd name="T35" fmla="*/ 2147483647 h 51"/>
                  <a:gd name="T36" fmla="*/ 2147483647 w 99"/>
                  <a:gd name="T37" fmla="*/ 2147483647 h 51"/>
                  <a:gd name="T38" fmla="*/ 2147483647 w 99"/>
                  <a:gd name="T39" fmla="*/ 2147483647 h 51"/>
                  <a:gd name="T40" fmla="*/ 2147483647 w 99"/>
                  <a:gd name="T41" fmla="*/ 2147483647 h 51"/>
                  <a:gd name="T42" fmla="*/ 2147483647 w 99"/>
                  <a:gd name="T43" fmla="*/ 2147483647 h 51"/>
                  <a:gd name="T44" fmla="*/ 2147483647 w 99"/>
                  <a:gd name="T45" fmla="*/ 2147483647 h 51"/>
                  <a:gd name="T46" fmla="*/ 2147483647 w 99"/>
                  <a:gd name="T47" fmla="*/ 2147483647 h 51"/>
                  <a:gd name="T48" fmla="*/ 1460760772 w 99"/>
                  <a:gd name="T49" fmla="*/ 2147483647 h 51"/>
                  <a:gd name="T50" fmla="*/ 730474120 w 99"/>
                  <a:gd name="T51" fmla="*/ 2147483647 h 51"/>
                  <a:gd name="T52" fmla="*/ 81163743 w 99"/>
                  <a:gd name="T53" fmla="*/ 2147483647 h 51"/>
                  <a:gd name="T54" fmla="*/ 0 w 99"/>
                  <a:gd name="T55" fmla="*/ 2147483647 h 51"/>
                  <a:gd name="T56" fmla="*/ 81163743 w 99"/>
                  <a:gd name="T57" fmla="*/ 2147483647 h 51"/>
                  <a:gd name="T58" fmla="*/ 243491229 w 99"/>
                  <a:gd name="T59" fmla="*/ 2147483647 h 51"/>
                  <a:gd name="T60" fmla="*/ 486982891 w 99"/>
                  <a:gd name="T61" fmla="*/ 2147483647 h 51"/>
                  <a:gd name="T62" fmla="*/ 1136105800 w 99"/>
                  <a:gd name="T63" fmla="*/ 2147483647 h 51"/>
                  <a:gd name="T64" fmla="*/ 2028907406 w 99"/>
                  <a:gd name="T65" fmla="*/ 2147483647 h 51"/>
                  <a:gd name="T66" fmla="*/ 2147483647 w 99"/>
                  <a:gd name="T67" fmla="*/ 2147483647 h 51"/>
                  <a:gd name="T68" fmla="*/ 2147483647 w 99"/>
                  <a:gd name="T69" fmla="*/ 2147483647 h 51"/>
                  <a:gd name="T70" fmla="*/ 2147483647 w 99"/>
                  <a:gd name="T71" fmla="*/ 2147483647 h 51"/>
                  <a:gd name="T72" fmla="*/ 2147483647 w 99"/>
                  <a:gd name="T73" fmla="*/ 2147483647 h 51"/>
                  <a:gd name="T74" fmla="*/ 2147483647 w 99"/>
                  <a:gd name="T75" fmla="*/ 2147483647 h 51"/>
                  <a:gd name="T76" fmla="*/ 2147483647 w 99"/>
                  <a:gd name="T77" fmla="*/ 2147483647 h 5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9" h="51">
                    <a:moveTo>
                      <a:pt x="53" y="2"/>
                    </a:moveTo>
                    <a:lnTo>
                      <a:pt x="58" y="1"/>
                    </a:lnTo>
                    <a:lnTo>
                      <a:pt x="62" y="0"/>
                    </a:lnTo>
                    <a:lnTo>
                      <a:pt x="65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79" y="11"/>
                    </a:lnTo>
                    <a:lnTo>
                      <a:pt x="83" y="18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3" y="30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99" y="37"/>
                    </a:lnTo>
                    <a:lnTo>
                      <a:pt x="97" y="40"/>
                    </a:lnTo>
                    <a:lnTo>
                      <a:pt x="95" y="43"/>
                    </a:lnTo>
                    <a:lnTo>
                      <a:pt x="91" y="45"/>
                    </a:lnTo>
                    <a:lnTo>
                      <a:pt x="86" y="47"/>
                    </a:lnTo>
                    <a:lnTo>
                      <a:pt x="81" y="48"/>
                    </a:lnTo>
                    <a:lnTo>
                      <a:pt x="74" y="50"/>
                    </a:lnTo>
                    <a:lnTo>
                      <a:pt x="68" y="50"/>
                    </a:lnTo>
                    <a:lnTo>
                      <a:pt x="52" y="51"/>
                    </a:lnTo>
                    <a:lnTo>
                      <a:pt x="36" y="49"/>
                    </a:lnTo>
                    <a:lnTo>
                      <a:pt x="27" y="48"/>
                    </a:lnTo>
                    <a:lnTo>
                      <a:pt x="18" y="45"/>
                    </a:lnTo>
                    <a:lnTo>
                      <a:pt x="9" y="43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14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5" y="12"/>
                    </a:lnTo>
                    <a:lnTo>
                      <a:pt x="48" y="10"/>
                    </a:lnTo>
                    <a:lnTo>
                      <a:pt x="51" y="7"/>
                    </a:lnTo>
                    <a:lnTo>
                      <a:pt x="52" y="5"/>
                    </a:lnTo>
                    <a:lnTo>
                      <a:pt x="53" y="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6" name="Freeform 521"/>
              <p:cNvSpPr>
                <a:spLocks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10903218" y="1804560"/>
                <a:ext cx="228600" cy="163512"/>
              </a:xfrm>
              <a:custGeom>
                <a:avLst/>
                <a:gdLst>
                  <a:gd name="T0" fmla="*/ 2147483647 w 525"/>
                  <a:gd name="T1" fmla="*/ 2147483647 h 311"/>
                  <a:gd name="T2" fmla="*/ 2147483647 w 525"/>
                  <a:gd name="T3" fmla="*/ 2147483647 h 311"/>
                  <a:gd name="T4" fmla="*/ 2147483647 w 525"/>
                  <a:gd name="T5" fmla="*/ 2147483647 h 311"/>
                  <a:gd name="T6" fmla="*/ 2147483647 w 525"/>
                  <a:gd name="T7" fmla="*/ 2147483647 h 311"/>
                  <a:gd name="T8" fmla="*/ 2147483647 w 525"/>
                  <a:gd name="T9" fmla="*/ 1017246533 h 311"/>
                  <a:gd name="T10" fmla="*/ 2147483647 w 525"/>
                  <a:gd name="T11" fmla="*/ 872123061 h 311"/>
                  <a:gd name="T12" fmla="*/ 2147483647 w 525"/>
                  <a:gd name="T13" fmla="*/ 2147483647 h 311"/>
                  <a:gd name="T14" fmla="*/ 2147483647 w 525"/>
                  <a:gd name="T15" fmla="*/ 2147483647 h 311"/>
                  <a:gd name="T16" fmla="*/ 2147483647 w 525"/>
                  <a:gd name="T17" fmla="*/ 2147483647 h 311"/>
                  <a:gd name="T18" fmla="*/ 2147483647 w 525"/>
                  <a:gd name="T19" fmla="*/ 2147483647 h 311"/>
                  <a:gd name="T20" fmla="*/ 2147483647 w 525"/>
                  <a:gd name="T21" fmla="*/ 2147483647 h 311"/>
                  <a:gd name="T22" fmla="*/ 2147483647 w 525"/>
                  <a:gd name="T23" fmla="*/ 2147483647 h 311"/>
                  <a:gd name="T24" fmla="*/ 2147483647 w 525"/>
                  <a:gd name="T25" fmla="*/ 2147483647 h 311"/>
                  <a:gd name="T26" fmla="*/ 2147483647 w 525"/>
                  <a:gd name="T27" fmla="*/ 2147483647 h 311"/>
                  <a:gd name="T28" fmla="*/ 2147483647 w 525"/>
                  <a:gd name="T29" fmla="*/ 2147483647 h 311"/>
                  <a:gd name="T30" fmla="*/ 2147483647 w 525"/>
                  <a:gd name="T31" fmla="*/ 2147483647 h 311"/>
                  <a:gd name="T32" fmla="*/ 2147483647 w 525"/>
                  <a:gd name="T33" fmla="*/ 2147483647 h 311"/>
                  <a:gd name="T34" fmla="*/ 2147483647 w 525"/>
                  <a:gd name="T35" fmla="*/ 2147483647 h 311"/>
                  <a:gd name="T36" fmla="*/ 2147483647 w 525"/>
                  <a:gd name="T37" fmla="*/ 2147483647 h 311"/>
                  <a:gd name="T38" fmla="*/ 2147483647 w 525"/>
                  <a:gd name="T39" fmla="*/ 2147483647 h 311"/>
                  <a:gd name="T40" fmla="*/ 2147483647 w 525"/>
                  <a:gd name="T41" fmla="*/ 2147483647 h 311"/>
                  <a:gd name="T42" fmla="*/ 2147483647 w 525"/>
                  <a:gd name="T43" fmla="*/ 2147483647 h 311"/>
                  <a:gd name="T44" fmla="*/ 2147483647 w 525"/>
                  <a:gd name="T45" fmla="*/ 2147483647 h 311"/>
                  <a:gd name="T46" fmla="*/ 2147483647 w 525"/>
                  <a:gd name="T47" fmla="*/ 2147483647 h 311"/>
                  <a:gd name="T48" fmla="*/ 2147483647 w 525"/>
                  <a:gd name="T49" fmla="*/ 2147483647 h 311"/>
                  <a:gd name="T50" fmla="*/ 2147483647 w 525"/>
                  <a:gd name="T51" fmla="*/ 2147483647 h 311"/>
                  <a:gd name="T52" fmla="*/ 2147483647 w 525"/>
                  <a:gd name="T53" fmla="*/ 2147483647 h 311"/>
                  <a:gd name="T54" fmla="*/ 2147483647 w 525"/>
                  <a:gd name="T55" fmla="*/ 2147483647 h 311"/>
                  <a:gd name="T56" fmla="*/ 2147483647 w 525"/>
                  <a:gd name="T57" fmla="*/ 2147483647 h 311"/>
                  <a:gd name="T58" fmla="*/ 2147483647 w 525"/>
                  <a:gd name="T59" fmla="*/ 2147483647 h 311"/>
                  <a:gd name="T60" fmla="*/ 2147483647 w 525"/>
                  <a:gd name="T61" fmla="*/ 2147483647 h 311"/>
                  <a:gd name="T62" fmla="*/ 2147483647 w 525"/>
                  <a:gd name="T63" fmla="*/ 2147483647 h 311"/>
                  <a:gd name="T64" fmla="*/ 2147483647 w 525"/>
                  <a:gd name="T65" fmla="*/ 2147483647 h 311"/>
                  <a:gd name="T66" fmla="*/ 2147483647 w 525"/>
                  <a:gd name="T67" fmla="*/ 2147483647 h 311"/>
                  <a:gd name="T68" fmla="*/ 2147483647 w 525"/>
                  <a:gd name="T69" fmla="*/ 2147483647 h 311"/>
                  <a:gd name="T70" fmla="*/ 2147483647 w 525"/>
                  <a:gd name="T71" fmla="*/ 2147483647 h 311"/>
                  <a:gd name="T72" fmla="*/ 2147483647 w 525"/>
                  <a:gd name="T73" fmla="*/ 2147483647 h 311"/>
                  <a:gd name="T74" fmla="*/ 2147483647 w 525"/>
                  <a:gd name="T75" fmla="*/ 2147483647 h 311"/>
                  <a:gd name="T76" fmla="*/ 0 w 525"/>
                  <a:gd name="T77" fmla="*/ 2147483647 h 311"/>
                  <a:gd name="T78" fmla="*/ 1486069382 w 525"/>
                  <a:gd name="T79" fmla="*/ 2147483647 h 311"/>
                  <a:gd name="T80" fmla="*/ 2147483647 w 525"/>
                  <a:gd name="T81" fmla="*/ 2147483647 h 311"/>
                  <a:gd name="T82" fmla="*/ 2147483647 w 525"/>
                  <a:gd name="T83" fmla="*/ 2147483647 h 311"/>
                  <a:gd name="T84" fmla="*/ 2147483647 w 525"/>
                  <a:gd name="T85" fmla="*/ 2147483647 h 311"/>
                  <a:gd name="T86" fmla="*/ 2147483647 w 525"/>
                  <a:gd name="T87" fmla="*/ 2147483647 h 311"/>
                  <a:gd name="T88" fmla="*/ 2147483647 w 525"/>
                  <a:gd name="T89" fmla="*/ 2147483647 h 311"/>
                  <a:gd name="T90" fmla="*/ 2147483647 w 525"/>
                  <a:gd name="T91" fmla="*/ 2147483647 h 311"/>
                  <a:gd name="T92" fmla="*/ 2147483647 w 525"/>
                  <a:gd name="T93" fmla="*/ 2147483647 h 311"/>
                  <a:gd name="T94" fmla="*/ 2147483647 w 525"/>
                  <a:gd name="T95" fmla="*/ 2147483647 h 311"/>
                  <a:gd name="T96" fmla="*/ 2147483647 w 525"/>
                  <a:gd name="T97" fmla="*/ 2147483647 h 311"/>
                  <a:gd name="T98" fmla="*/ 2147483647 w 525"/>
                  <a:gd name="T99" fmla="*/ 2147483647 h 311"/>
                  <a:gd name="T100" fmla="*/ 2147483647 w 525"/>
                  <a:gd name="T101" fmla="*/ 2147483647 h 311"/>
                  <a:gd name="T102" fmla="*/ 2147483647 w 525"/>
                  <a:gd name="T103" fmla="*/ 2147483647 h 311"/>
                  <a:gd name="T104" fmla="*/ 2147483647 w 525"/>
                  <a:gd name="T105" fmla="*/ 2147483647 h 311"/>
                  <a:gd name="T106" fmla="*/ 2147483647 w 525"/>
                  <a:gd name="T107" fmla="*/ 2147483647 h 311"/>
                  <a:gd name="T108" fmla="*/ 2147483647 w 525"/>
                  <a:gd name="T109" fmla="*/ 2147483647 h 311"/>
                  <a:gd name="T110" fmla="*/ 2147483647 w 525"/>
                  <a:gd name="T111" fmla="*/ 2147483647 h 31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25" h="311">
                    <a:moveTo>
                      <a:pt x="273" y="31"/>
                    </a:moveTo>
                    <a:lnTo>
                      <a:pt x="307" y="31"/>
                    </a:lnTo>
                    <a:lnTo>
                      <a:pt x="315" y="27"/>
                    </a:lnTo>
                    <a:lnTo>
                      <a:pt x="324" y="24"/>
                    </a:lnTo>
                    <a:lnTo>
                      <a:pt x="333" y="22"/>
                    </a:lnTo>
                    <a:lnTo>
                      <a:pt x="342" y="21"/>
                    </a:lnTo>
                    <a:lnTo>
                      <a:pt x="359" y="20"/>
                    </a:lnTo>
                    <a:lnTo>
                      <a:pt x="377" y="20"/>
                    </a:lnTo>
                    <a:lnTo>
                      <a:pt x="385" y="20"/>
                    </a:lnTo>
                    <a:lnTo>
                      <a:pt x="393" y="20"/>
                    </a:lnTo>
                    <a:lnTo>
                      <a:pt x="401" y="19"/>
                    </a:lnTo>
                    <a:lnTo>
                      <a:pt x="408" y="17"/>
                    </a:lnTo>
                    <a:lnTo>
                      <a:pt x="415" y="15"/>
                    </a:lnTo>
                    <a:lnTo>
                      <a:pt x="421" y="11"/>
                    </a:lnTo>
                    <a:lnTo>
                      <a:pt x="427" y="7"/>
                    </a:lnTo>
                    <a:lnTo>
                      <a:pt x="433" y="0"/>
                    </a:lnTo>
                    <a:lnTo>
                      <a:pt x="512" y="0"/>
                    </a:lnTo>
                    <a:lnTo>
                      <a:pt x="514" y="6"/>
                    </a:lnTo>
                    <a:lnTo>
                      <a:pt x="519" y="12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11" y="26"/>
                    </a:lnTo>
                    <a:lnTo>
                      <a:pt x="491" y="36"/>
                    </a:lnTo>
                    <a:lnTo>
                      <a:pt x="468" y="47"/>
                    </a:lnTo>
                    <a:lnTo>
                      <a:pt x="443" y="57"/>
                    </a:lnTo>
                    <a:lnTo>
                      <a:pt x="418" y="66"/>
                    </a:lnTo>
                    <a:lnTo>
                      <a:pt x="392" y="73"/>
                    </a:lnTo>
                    <a:lnTo>
                      <a:pt x="379" y="76"/>
                    </a:lnTo>
                    <a:lnTo>
                      <a:pt x="368" y="78"/>
                    </a:lnTo>
                    <a:lnTo>
                      <a:pt x="356" y="80"/>
                    </a:lnTo>
                    <a:lnTo>
                      <a:pt x="346" y="80"/>
                    </a:lnTo>
                    <a:lnTo>
                      <a:pt x="333" y="81"/>
                    </a:lnTo>
                    <a:lnTo>
                      <a:pt x="321" y="83"/>
                    </a:lnTo>
                    <a:lnTo>
                      <a:pt x="309" y="86"/>
                    </a:lnTo>
                    <a:lnTo>
                      <a:pt x="299" y="90"/>
                    </a:lnTo>
                    <a:lnTo>
                      <a:pt x="279" y="101"/>
                    </a:lnTo>
                    <a:lnTo>
                      <a:pt x="262" y="111"/>
                    </a:lnTo>
                    <a:lnTo>
                      <a:pt x="253" y="116"/>
                    </a:lnTo>
                    <a:lnTo>
                      <a:pt x="244" y="121"/>
                    </a:lnTo>
                    <a:lnTo>
                      <a:pt x="235" y="124"/>
                    </a:lnTo>
                    <a:lnTo>
                      <a:pt x="226" y="127"/>
                    </a:lnTo>
                    <a:lnTo>
                      <a:pt x="218" y="129"/>
                    </a:lnTo>
                    <a:lnTo>
                      <a:pt x="208" y="129"/>
                    </a:lnTo>
                    <a:lnTo>
                      <a:pt x="198" y="127"/>
                    </a:lnTo>
                    <a:lnTo>
                      <a:pt x="187" y="123"/>
                    </a:lnTo>
                    <a:lnTo>
                      <a:pt x="186" y="128"/>
                    </a:lnTo>
                    <a:lnTo>
                      <a:pt x="183" y="133"/>
                    </a:lnTo>
                    <a:lnTo>
                      <a:pt x="178" y="137"/>
                    </a:lnTo>
                    <a:lnTo>
                      <a:pt x="174" y="142"/>
                    </a:lnTo>
                    <a:lnTo>
                      <a:pt x="174" y="144"/>
                    </a:lnTo>
                    <a:lnTo>
                      <a:pt x="175" y="145"/>
                    </a:lnTo>
                    <a:lnTo>
                      <a:pt x="177" y="146"/>
                    </a:lnTo>
                    <a:lnTo>
                      <a:pt x="180" y="147"/>
                    </a:lnTo>
                    <a:lnTo>
                      <a:pt x="185" y="148"/>
                    </a:lnTo>
                    <a:lnTo>
                      <a:pt x="187" y="148"/>
                    </a:lnTo>
                    <a:lnTo>
                      <a:pt x="186" y="152"/>
                    </a:lnTo>
                    <a:lnTo>
                      <a:pt x="184" y="157"/>
                    </a:lnTo>
                    <a:lnTo>
                      <a:pt x="181" y="160"/>
                    </a:lnTo>
                    <a:lnTo>
                      <a:pt x="178" y="164"/>
                    </a:lnTo>
                    <a:lnTo>
                      <a:pt x="176" y="167"/>
                    </a:lnTo>
                    <a:lnTo>
                      <a:pt x="175" y="171"/>
                    </a:lnTo>
                    <a:lnTo>
                      <a:pt x="176" y="175"/>
                    </a:lnTo>
                    <a:lnTo>
                      <a:pt x="180" y="179"/>
                    </a:lnTo>
                    <a:lnTo>
                      <a:pt x="175" y="185"/>
                    </a:lnTo>
                    <a:lnTo>
                      <a:pt x="168" y="190"/>
                    </a:lnTo>
                    <a:lnTo>
                      <a:pt x="162" y="194"/>
                    </a:lnTo>
                    <a:lnTo>
                      <a:pt x="155" y="197"/>
                    </a:lnTo>
                    <a:lnTo>
                      <a:pt x="150" y="201"/>
                    </a:lnTo>
                    <a:lnTo>
                      <a:pt x="144" y="204"/>
                    </a:lnTo>
                    <a:lnTo>
                      <a:pt x="143" y="207"/>
                    </a:lnTo>
                    <a:lnTo>
                      <a:pt x="141" y="209"/>
                    </a:lnTo>
                    <a:lnTo>
                      <a:pt x="141" y="213"/>
                    </a:lnTo>
                    <a:lnTo>
                      <a:pt x="140" y="216"/>
                    </a:lnTo>
                    <a:lnTo>
                      <a:pt x="141" y="222"/>
                    </a:lnTo>
                    <a:lnTo>
                      <a:pt x="144" y="228"/>
                    </a:lnTo>
                    <a:lnTo>
                      <a:pt x="149" y="234"/>
                    </a:lnTo>
                    <a:lnTo>
                      <a:pt x="155" y="241"/>
                    </a:lnTo>
                    <a:lnTo>
                      <a:pt x="163" y="247"/>
                    </a:lnTo>
                    <a:lnTo>
                      <a:pt x="172" y="254"/>
                    </a:lnTo>
                    <a:lnTo>
                      <a:pt x="181" y="260"/>
                    </a:lnTo>
                    <a:lnTo>
                      <a:pt x="191" y="267"/>
                    </a:lnTo>
                    <a:lnTo>
                      <a:pt x="213" y="279"/>
                    </a:lnTo>
                    <a:lnTo>
                      <a:pt x="235" y="290"/>
                    </a:lnTo>
                    <a:lnTo>
                      <a:pt x="256" y="300"/>
                    </a:lnTo>
                    <a:lnTo>
                      <a:pt x="273" y="308"/>
                    </a:lnTo>
                    <a:lnTo>
                      <a:pt x="258" y="310"/>
                    </a:lnTo>
                    <a:lnTo>
                      <a:pt x="243" y="311"/>
                    </a:lnTo>
                    <a:lnTo>
                      <a:pt x="229" y="311"/>
                    </a:lnTo>
                    <a:lnTo>
                      <a:pt x="214" y="310"/>
                    </a:lnTo>
                    <a:lnTo>
                      <a:pt x="189" y="309"/>
                    </a:lnTo>
                    <a:lnTo>
                      <a:pt x="167" y="308"/>
                    </a:lnTo>
                    <a:lnTo>
                      <a:pt x="155" y="308"/>
                    </a:lnTo>
                    <a:lnTo>
                      <a:pt x="145" y="308"/>
                    </a:lnTo>
                    <a:lnTo>
                      <a:pt x="138" y="307"/>
                    </a:lnTo>
                    <a:lnTo>
                      <a:pt x="131" y="305"/>
                    </a:lnTo>
                    <a:lnTo>
                      <a:pt x="129" y="304"/>
                    </a:lnTo>
                    <a:lnTo>
                      <a:pt x="127" y="302"/>
                    </a:lnTo>
                    <a:lnTo>
                      <a:pt x="124" y="300"/>
                    </a:lnTo>
                    <a:lnTo>
                      <a:pt x="123" y="298"/>
                    </a:lnTo>
                    <a:lnTo>
                      <a:pt x="121" y="292"/>
                    </a:lnTo>
                    <a:lnTo>
                      <a:pt x="120" y="284"/>
                    </a:lnTo>
                    <a:lnTo>
                      <a:pt x="120" y="282"/>
                    </a:lnTo>
                    <a:lnTo>
                      <a:pt x="119" y="280"/>
                    </a:lnTo>
                    <a:lnTo>
                      <a:pt x="118" y="279"/>
                    </a:lnTo>
                    <a:lnTo>
                      <a:pt x="116" y="278"/>
                    </a:lnTo>
                    <a:lnTo>
                      <a:pt x="111" y="277"/>
                    </a:lnTo>
                    <a:lnTo>
                      <a:pt x="106" y="276"/>
                    </a:lnTo>
                    <a:lnTo>
                      <a:pt x="95" y="277"/>
                    </a:lnTo>
                    <a:lnTo>
                      <a:pt x="87" y="278"/>
                    </a:lnTo>
                    <a:lnTo>
                      <a:pt x="84" y="287"/>
                    </a:lnTo>
                    <a:lnTo>
                      <a:pt x="80" y="296"/>
                    </a:lnTo>
                    <a:lnTo>
                      <a:pt x="66" y="291"/>
                    </a:lnTo>
                    <a:lnTo>
                      <a:pt x="55" y="287"/>
                    </a:lnTo>
                    <a:lnTo>
                      <a:pt x="44" y="282"/>
                    </a:lnTo>
                    <a:lnTo>
                      <a:pt x="35" y="276"/>
                    </a:lnTo>
                    <a:lnTo>
                      <a:pt x="19" y="263"/>
                    </a:lnTo>
                    <a:lnTo>
                      <a:pt x="0" y="246"/>
                    </a:lnTo>
                    <a:lnTo>
                      <a:pt x="8" y="244"/>
                    </a:lnTo>
                    <a:lnTo>
                      <a:pt x="13" y="242"/>
                    </a:lnTo>
                    <a:lnTo>
                      <a:pt x="18" y="239"/>
                    </a:lnTo>
                    <a:lnTo>
                      <a:pt x="22" y="237"/>
                    </a:lnTo>
                    <a:lnTo>
                      <a:pt x="29" y="230"/>
                    </a:lnTo>
                    <a:lnTo>
                      <a:pt x="34" y="222"/>
                    </a:lnTo>
                    <a:lnTo>
                      <a:pt x="31" y="219"/>
                    </a:lnTo>
                    <a:lnTo>
                      <a:pt x="29" y="216"/>
                    </a:lnTo>
                    <a:lnTo>
                      <a:pt x="28" y="213"/>
                    </a:lnTo>
                    <a:lnTo>
                      <a:pt x="28" y="211"/>
                    </a:lnTo>
                    <a:lnTo>
                      <a:pt x="30" y="205"/>
                    </a:lnTo>
                    <a:lnTo>
                      <a:pt x="34" y="200"/>
                    </a:lnTo>
                    <a:lnTo>
                      <a:pt x="38" y="196"/>
                    </a:lnTo>
                    <a:lnTo>
                      <a:pt x="40" y="191"/>
                    </a:lnTo>
                    <a:lnTo>
                      <a:pt x="40" y="188"/>
                    </a:lnTo>
                    <a:lnTo>
                      <a:pt x="39" y="185"/>
                    </a:lnTo>
                    <a:lnTo>
                      <a:pt x="37" y="182"/>
                    </a:lnTo>
                    <a:lnTo>
                      <a:pt x="34" y="179"/>
                    </a:lnTo>
                    <a:lnTo>
                      <a:pt x="73" y="179"/>
                    </a:lnTo>
                    <a:lnTo>
                      <a:pt x="106" y="179"/>
                    </a:lnTo>
                    <a:lnTo>
                      <a:pt x="134" y="179"/>
                    </a:lnTo>
                    <a:lnTo>
                      <a:pt x="167" y="179"/>
                    </a:lnTo>
                    <a:lnTo>
                      <a:pt x="147" y="178"/>
                    </a:lnTo>
                    <a:lnTo>
                      <a:pt x="131" y="177"/>
                    </a:lnTo>
                    <a:lnTo>
                      <a:pt x="117" y="174"/>
                    </a:lnTo>
                    <a:lnTo>
                      <a:pt x="102" y="171"/>
                    </a:lnTo>
                    <a:lnTo>
                      <a:pt x="90" y="166"/>
                    </a:lnTo>
                    <a:lnTo>
                      <a:pt x="78" y="161"/>
                    </a:lnTo>
                    <a:lnTo>
                      <a:pt x="66" y="155"/>
                    </a:lnTo>
                    <a:lnTo>
                      <a:pt x="54" y="148"/>
                    </a:lnTo>
                    <a:lnTo>
                      <a:pt x="65" y="143"/>
                    </a:lnTo>
                    <a:lnTo>
                      <a:pt x="75" y="139"/>
                    </a:lnTo>
                    <a:lnTo>
                      <a:pt x="84" y="134"/>
                    </a:lnTo>
                    <a:lnTo>
                      <a:pt x="91" y="130"/>
                    </a:lnTo>
                    <a:lnTo>
                      <a:pt x="106" y="120"/>
                    </a:lnTo>
                    <a:lnTo>
                      <a:pt x="120" y="111"/>
                    </a:lnTo>
                    <a:lnTo>
                      <a:pt x="118" y="110"/>
                    </a:lnTo>
                    <a:lnTo>
                      <a:pt x="115" y="108"/>
                    </a:lnTo>
                    <a:lnTo>
                      <a:pt x="111" y="103"/>
                    </a:lnTo>
                    <a:lnTo>
                      <a:pt x="108" y="99"/>
                    </a:lnTo>
                    <a:lnTo>
                      <a:pt x="102" y="87"/>
                    </a:lnTo>
                    <a:lnTo>
                      <a:pt x="100" y="80"/>
                    </a:lnTo>
                    <a:lnTo>
                      <a:pt x="108" y="80"/>
                    </a:lnTo>
                    <a:lnTo>
                      <a:pt x="117" y="78"/>
                    </a:lnTo>
                    <a:lnTo>
                      <a:pt x="127" y="76"/>
                    </a:lnTo>
                    <a:lnTo>
                      <a:pt x="138" y="73"/>
                    </a:lnTo>
                    <a:lnTo>
                      <a:pt x="161" y="66"/>
                    </a:lnTo>
                    <a:lnTo>
                      <a:pt x="184" y="58"/>
                    </a:lnTo>
                    <a:lnTo>
                      <a:pt x="209" y="50"/>
                    </a:lnTo>
                    <a:lnTo>
                      <a:pt x="232" y="41"/>
                    </a:lnTo>
                    <a:lnTo>
                      <a:pt x="254" y="35"/>
                    </a:lnTo>
                    <a:lnTo>
                      <a:pt x="273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7" name="Freeform 522"/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10695255" y="2115710"/>
                <a:ext cx="31750" cy="55562"/>
              </a:xfrm>
              <a:custGeom>
                <a:avLst/>
                <a:gdLst>
                  <a:gd name="T0" fmla="*/ 2147483647 w 79"/>
                  <a:gd name="T1" fmla="*/ 0 h 38"/>
                  <a:gd name="T2" fmla="*/ 2147483647 w 79"/>
                  <a:gd name="T3" fmla="*/ 2147483647 h 38"/>
                  <a:gd name="T4" fmla="*/ 2147483647 w 79"/>
                  <a:gd name="T5" fmla="*/ 2147483647 h 38"/>
                  <a:gd name="T6" fmla="*/ 2147483647 w 79"/>
                  <a:gd name="T7" fmla="*/ 2147483647 h 38"/>
                  <a:gd name="T8" fmla="*/ 2147483647 w 79"/>
                  <a:gd name="T9" fmla="*/ 2147483647 h 38"/>
                  <a:gd name="T10" fmla="*/ 2147483647 w 79"/>
                  <a:gd name="T11" fmla="*/ 2147483647 h 38"/>
                  <a:gd name="T12" fmla="*/ 2147483647 w 79"/>
                  <a:gd name="T13" fmla="*/ 2147483647 h 38"/>
                  <a:gd name="T14" fmla="*/ 2147483647 w 79"/>
                  <a:gd name="T15" fmla="*/ 2147483647 h 38"/>
                  <a:gd name="T16" fmla="*/ 2147483647 w 79"/>
                  <a:gd name="T17" fmla="*/ 2147483647 h 38"/>
                  <a:gd name="T18" fmla="*/ 2147483647 w 79"/>
                  <a:gd name="T19" fmla="*/ 2147483647 h 38"/>
                  <a:gd name="T20" fmla="*/ 2147483647 w 79"/>
                  <a:gd name="T21" fmla="*/ 2147483647 h 38"/>
                  <a:gd name="T22" fmla="*/ 2147483647 w 79"/>
                  <a:gd name="T23" fmla="*/ 2147483647 h 38"/>
                  <a:gd name="T24" fmla="*/ 2147483647 w 79"/>
                  <a:gd name="T25" fmla="*/ 2147483647 h 38"/>
                  <a:gd name="T26" fmla="*/ 2147483647 w 79"/>
                  <a:gd name="T27" fmla="*/ 2147483647 h 38"/>
                  <a:gd name="T28" fmla="*/ 2147483647 w 79"/>
                  <a:gd name="T29" fmla="*/ 2147483647 h 38"/>
                  <a:gd name="T30" fmla="*/ 2147483647 w 79"/>
                  <a:gd name="T31" fmla="*/ 2147483647 h 38"/>
                  <a:gd name="T32" fmla="*/ 1947477883 w 79"/>
                  <a:gd name="T33" fmla="*/ 2147483647 h 38"/>
                  <a:gd name="T34" fmla="*/ 1363250554 w 79"/>
                  <a:gd name="T35" fmla="*/ 2147483647 h 38"/>
                  <a:gd name="T36" fmla="*/ 973658361 w 79"/>
                  <a:gd name="T37" fmla="*/ 2147483647 h 38"/>
                  <a:gd name="T38" fmla="*/ 519294962 w 79"/>
                  <a:gd name="T39" fmla="*/ 2147483647 h 38"/>
                  <a:gd name="T40" fmla="*/ 259728263 w 79"/>
                  <a:gd name="T41" fmla="*/ 2147483647 h 38"/>
                  <a:gd name="T42" fmla="*/ 129864332 w 79"/>
                  <a:gd name="T43" fmla="*/ 2147483647 h 38"/>
                  <a:gd name="T44" fmla="*/ 64931965 w 79"/>
                  <a:gd name="T45" fmla="*/ 2147483647 h 38"/>
                  <a:gd name="T46" fmla="*/ 0 w 79"/>
                  <a:gd name="T47" fmla="*/ 2147483647 h 38"/>
                  <a:gd name="T48" fmla="*/ 0 w 79"/>
                  <a:gd name="T49" fmla="*/ 2147483647 h 38"/>
                  <a:gd name="T50" fmla="*/ 64931965 w 79"/>
                  <a:gd name="T51" fmla="*/ 2147483647 h 38"/>
                  <a:gd name="T52" fmla="*/ 259728263 w 79"/>
                  <a:gd name="T53" fmla="*/ 2147483647 h 38"/>
                  <a:gd name="T54" fmla="*/ 649159294 w 79"/>
                  <a:gd name="T55" fmla="*/ 2147483647 h 38"/>
                  <a:gd name="T56" fmla="*/ 1103522291 w 79"/>
                  <a:gd name="T57" fmla="*/ 2147483647 h 38"/>
                  <a:gd name="T58" fmla="*/ 2077342215 w 79"/>
                  <a:gd name="T59" fmla="*/ 2147483647 h 38"/>
                  <a:gd name="T60" fmla="*/ 2147483647 w 79"/>
                  <a:gd name="T61" fmla="*/ 0 h 3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9" h="38">
                    <a:moveTo>
                      <a:pt x="46" y="0"/>
                    </a:moveTo>
                    <a:lnTo>
                      <a:pt x="54" y="1"/>
                    </a:lnTo>
                    <a:lnTo>
                      <a:pt x="62" y="3"/>
                    </a:lnTo>
                    <a:lnTo>
                      <a:pt x="68" y="7"/>
                    </a:lnTo>
                    <a:lnTo>
                      <a:pt x="72" y="12"/>
                    </a:lnTo>
                    <a:lnTo>
                      <a:pt x="75" y="17"/>
                    </a:lnTo>
                    <a:lnTo>
                      <a:pt x="77" y="22"/>
                    </a:lnTo>
                    <a:lnTo>
                      <a:pt x="79" y="27"/>
                    </a:lnTo>
                    <a:lnTo>
                      <a:pt x="79" y="32"/>
                    </a:lnTo>
                    <a:lnTo>
                      <a:pt x="77" y="34"/>
                    </a:lnTo>
                    <a:lnTo>
                      <a:pt x="75" y="35"/>
                    </a:lnTo>
                    <a:lnTo>
                      <a:pt x="72" y="36"/>
                    </a:lnTo>
                    <a:lnTo>
                      <a:pt x="68" y="37"/>
                    </a:lnTo>
                    <a:lnTo>
                      <a:pt x="57" y="38"/>
                    </a:lnTo>
                    <a:lnTo>
                      <a:pt x="46" y="38"/>
                    </a:lnTo>
                    <a:lnTo>
                      <a:pt x="38" y="37"/>
                    </a:lnTo>
                    <a:lnTo>
                      <a:pt x="30" y="36"/>
                    </a:lnTo>
                    <a:lnTo>
                      <a:pt x="21" y="35"/>
                    </a:lnTo>
                    <a:lnTo>
                      <a:pt x="15" y="32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7" y="4"/>
                    </a:lnTo>
                    <a:lnTo>
                      <a:pt x="32" y="1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88" name="Freeform 523"/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13000305" y="2412572"/>
                <a:ext cx="196850" cy="268288"/>
              </a:xfrm>
              <a:custGeom>
                <a:avLst/>
                <a:gdLst>
                  <a:gd name="T0" fmla="*/ 2050969857 w 459"/>
                  <a:gd name="T1" fmla="*/ 2147483647 h 511"/>
                  <a:gd name="T2" fmla="*/ 946488252 w 459"/>
                  <a:gd name="T3" fmla="*/ 2147483647 h 511"/>
                  <a:gd name="T4" fmla="*/ 0 w 459"/>
                  <a:gd name="T5" fmla="*/ 0 h 511"/>
                  <a:gd name="T6" fmla="*/ 1735351117 w 459"/>
                  <a:gd name="T7" fmla="*/ 1013019786 h 511"/>
                  <a:gd name="T8" fmla="*/ 2147483647 w 459"/>
                  <a:gd name="T9" fmla="*/ 868302824 h 511"/>
                  <a:gd name="T10" fmla="*/ 2147483647 w 459"/>
                  <a:gd name="T11" fmla="*/ 2147483647 h 511"/>
                  <a:gd name="T12" fmla="*/ 2147483647 w 459"/>
                  <a:gd name="T13" fmla="*/ 2147483647 h 511"/>
                  <a:gd name="T14" fmla="*/ 2147483647 w 459"/>
                  <a:gd name="T15" fmla="*/ 2147483647 h 511"/>
                  <a:gd name="T16" fmla="*/ 2147483647 w 459"/>
                  <a:gd name="T17" fmla="*/ 2147483647 h 511"/>
                  <a:gd name="T18" fmla="*/ 2147483647 w 459"/>
                  <a:gd name="T19" fmla="*/ 2147483647 h 511"/>
                  <a:gd name="T20" fmla="*/ 2147483647 w 459"/>
                  <a:gd name="T21" fmla="*/ 2147483647 h 511"/>
                  <a:gd name="T22" fmla="*/ 2147483647 w 459"/>
                  <a:gd name="T23" fmla="*/ 2147483647 h 511"/>
                  <a:gd name="T24" fmla="*/ 2147483647 w 459"/>
                  <a:gd name="T25" fmla="*/ 2147483647 h 511"/>
                  <a:gd name="T26" fmla="*/ 2147483647 w 459"/>
                  <a:gd name="T27" fmla="*/ 2147483647 h 511"/>
                  <a:gd name="T28" fmla="*/ 2147483647 w 459"/>
                  <a:gd name="T29" fmla="*/ 2147483647 h 511"/>
                  <a:gd name="T30" fmla="*/ 2147483647 w 459"/>
                  <a:gd name="T31" fmla="*/ 2147483647 h 511"/>
                  <a:gd name="T32" fmla="*/ 2147483647 w 459"/>
                  <a:gd name="T33" fmla="*/ 2147483647 h 511"/>
                  <a:gd name="T34" fmla="*/ 2147483647 w 459"/>
                  <a:gd name="T35" fmla="*/ 2147483647 h 511"/>
                  <a:gd name="T36" fmla="*/ 2147483647 w 459"/>
                  <a:gd name="T37" fmla="*/ 2147483647 h 511"/>
                  <a:gd name="T38" fmla="*/ 2147483647 w 459"/>
                  <a:gd name="T39" fmla="*/ 2147483647 h 511"/>
                  <a:gd name="T40" fmla="*/ 2147483647 w 459"/>
                  <a:gd name="T41" fmla="*/ 2147483647 h 511"/>
                  <a:gd name="T42" fmla="*/ 2147483647 w 459"/>
                  <a:gd name="T43" fmla="*/ 2147483647 h 511"/>
                  <a:gd name="T44" fmla="*/ 2147483647 w 459"/>
                  <a:gd name="T45" fmla="*/ 2147483647 h 511"/>
                  <a:gd name="T46" fmla="*/ 2147483647 w 459"/>
                  <a:gd name="T47" fmla="*/ 2147483647 h 511"/>
                  <a:gd name="T48" fmla="*/ 2147483647 w 459"/>
                  <a:gd name="T49" fmla="*/ 2147483647 h 511"/>
                  <a:gd name="T50" fmla="*/ 2147483647 w 459"/>
                  <a:gd name="T51" fmla="*/ 2147483647 h 511"/>
                  <a:gd name="T52" fmla="*/ 2147483647 w 459"/>
                  <a:gd name="T53" fmla="*/ 2147483647 h 511"/>
                  <a:gd name="T54" fmla="*/ 2147483647 w 459"/>
                  <a:gd name="T55" fmla="*/ 2147483647 h 511"/>
                  <a:gd name="T56" fmla="*/ 2147483647 w 459"/>
                  <a:gd name="T57" fmla="*/ 2147483647 h 511"/>
                  <a:gd name="T58" fmla="*/ 2147483647 w 459"/>
                  <a:gd name="T59" fmla="*/ 2147483647 h 511"/>
                  <a:gd name="T60" fmla="*/ 2147483647 w 459"/>
                  <a:gd name="T61" fmla="*/ 2147483647 h 511"/>
                  <a:gd name="T62" fmla="*/ 2147483647 w 459"/>
                  <a:gd name="T63" fmla="*/ 2147483647 h 511"/>
                  <a:gd name="T64" fmla="*/ 2147483647 w 459"/>
                  <a:gd name="T65" fmla="*/ 2147483647 h 511"/>
                  <a:gd name="T66" fmla="*/ 2147483647 w 459"/>
                  <a:gd name="T67" fmla="*/ 2147483647 h 511"/>
                  <a:gd name="T68" fmla="*/ 2147483647 w 459"/>
                  <a:gd name="T69" fmla="*/ 2147483647 h 511"/>
                  <a:gd name="T70" fmla="*/ 2147483647 w 459"/>
                  <a:gd name="T71" fmla="*/ 2147483647 h 511"/>
                  <a:gd name="T72" fmla="*/ 2147483647 w 459"/>
                  <a:gd name="T73" fmla="*/ 2147483647 h 511"/>
                  <a:gd name="T74" fmla="*/ 2147483647 w 459"/>
                  <a:gd name="T75" fmla="*/ 2147483647 h 511"/>
                  <a:gd name="T76" fmla="*/ 2147483647 w 459"/>
                  <a:gd name="T77" fmla="*/ 2147483647 h 511"/>
                  <a:gd name="T78" fmla="*/ 2147483647 w 459"/>
                  <a:gd name="T79" fmla="*/ 2147483647 h 511"/>
                  <a:gd name="T80" fmla="*/ 2147483647 w 459"/>
                  <a:gd name="T81" fmla="*/ 2147483647 h 511"/>
                  <a:gd name="T82" fmla="*/ 2147483647 w 459"/>
                  <a:gd name="T83" fmla="*/ 2147483647 h 511"/>
                  <a:gd name="T84" fmla="*/ 2147483647 w 459"/>
                  <a:gd name="T85" fmla="*/ 2147483647 h 511"/>
                  <a:gd name="T86" fmla="*/ 2147483647 w 459"/>
                  <a:gd name="T87" fmla="*/ 2147483647 h 511"/>
                  <a:gd name="T88" fmla="*/ 2147483647 w 459"/>
                  <a:gd name="T89" fmla="*/ 2147483647 h 511"/>
                  <a:gd name="T90" fmla="*/ 2147483647 w 459"/>
                  <a:gd name="T91" fmla="*/ 2147483647 h 511"/>
                  <a:gd name="T92" fmla="*/ 2147483647 w 459"/>
                  <a:gd name="T93" fmla="*/ 2147483647 h 51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59" h="511">
                    <a:moveTo>
                      <a:pt x="33" y="68"/>
                    </a:moveTo>
                    <a:lnTo>
                      <a:pt x="29" y="56"/>
                    </a:lnTo>
                    <a:lnTo>
                      <a:pt x="26" y="45"/>
                    </a:lnTo>
                    <a:lnTo>
                      <a:pt x="22" y="38"/>
                    </a:lnTo>
                    <a:lnTo>
                      <a:pt x="16" y="31"/>
                    </a:lnTo>
                    <a:lnTo>
                      <a:pt x="12" y="25"/>
                    </a:lnTo>
                    <a:lnTo>
                      <a:pt x="6" y="18"/>
                    </a:lnTo>
                    <a:lnTo>
                      <a:pt x="3" y="1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6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3" y="6"/>
                    </a:lnTo>
                    <a:lnTo>
                      <a:pt x="59" y="31"/>
                    </a:lnTo>
                    <a:lnTo>
                      <a:pt x="80" y="50"/>
                    </a:lnTo>
                    <a:lnTo>
                      <a:pt x="95" y="67"/>
                    </a:lnTo>
                    <a:lnTo>
                      <a:pt x="107" y="80"/>
                    </a:lnTo>
                    <a:lnTo>
                      <a:pt x="125" y="102"/>
                    </a:lnTo>
                    <a:lnTo>
                      <a:pt x="146" y="123"/>
                    </a:lnTo>
                    <a:lnTo>
                      <a:pt x="172" y="149"/>
                    </a:lnTo>
                    <a:lnTo>
                      <a:pt x="195" y="175"/>
                    </a:lnTo>
                    <a:lnTo>
                      <a:pt x="216" y="198"/>
                    </a:lnTo>
                    <a:lnTo>
                      <a:pt x="239" y="222"/>
                    </a:lnTo>
                    <a:lnTo>
                      <a:pt x="248" y="230"/>
                    </a:lnTo>
                    <a:lnTo>
                      <a:pt x="258" y="237"/>
                    </a:lnTo>
                    <a:lnTo>
                      <a:pt x="269" y="245"/>
                    </a:lnTo>
                    <a:lnTo>
                      <a:pt x="280" y="252"/>
                    </a:lnTo>
                    <a:lnTo>
                      <a:pt x="303" y="266"/>
                    </a:lnTo>
                    <a:lnTo>
                      <a:pt x="327" y="281"/>
                    </a:lnTo>
                    <a:lnTo>
                      <a:pt x="350" y="295"/>
                    </a:lnTo>
                    <a:lnTo>
                      <a:pt x="372" y="311"/>
                    </a:lnTo>
                    <a:lnTo>
                      <a:pt x="382" y="318"/>
                    </a:lnTo>
                    <a:lnTo>
                      <a:pt x="391" y="327"/>
                    </a:lnTo>
                    <a:lnTo>
                      <a:pt x="398" y="336"/>
                    </a:lnTo>
                    <a:lnTo>
                      <a:pt x="405" y="345"/>
                    </a:lnTo>
                    <a:lnTo>
                      <a:pt x="387" y="334"/>
                    </a:lnTo>
                    <a:lnTo>
                      <a:pt x="365" y="320"/>
                    </a:lnTo>
                    <a:lnTo>
                      <a:pt x="343" y="306"/>
                    </a:lnTo>
                    <a:lnTo>
                      <a:pt x="326" y="295"/>
                    </a:lnTo>
                    <a:lnTo>
                      <a:pt x="324" y="296"/>
                    </a:lnTo>
                    <a:lnTo>
                      <a:pt x="318" y="296"/>
                    </a:lnTo>
                    <a:lnTo>
                      <a:pt x="316" y="297"/>
                    </a:lnTo>
                    <a:lnTo>
                      <a:pt x="314" y="298"/>
                    </a:lnTo>
                    <a:lnTo>
                      <a:pt x="313" y="300"/>
                    </a:lnTo>
                    <a:lnTo>
                      <a:pt x="311" y="301"/>
                    </a:lnTo>
                    <a:lnTo>
                      <a:pt x="313" y="311"/>
                    </a:lnTo>
                    <a:lnTo>
                      <a:pt x="313" y="320"/>
                    </a:lnTo>
                    <a:lnTo>
                      <a:pt x="315" y="328"/>
                    </a:lnTo>
                    <a:lnTo>
                      <a:pt x="317" y="337"/>
                    </a:lnTo>
                    <a:lnTo>
                      <a:pt x="319" y="344"/>
                    </a:lnTo>
                    <a:lnTo>
                      <a:pt x="322" y="351"/>
                    </a:lnTo>
                    <a:lnTo>
                      <a:pt x="326" y="358"/>
                    </a:lnTo>
                    <a:lnTo>
                      <a:pt x="329" y="364"/>
                    </a:lnTo>
                    <a:lnTo>
                      <a:pt x="338" y="375"/>
                    </a:lnTo>
                    <a:lnTo>
                      <a:pt x="348" y="387"/>
                    </a:lnTo>
                    <a:lnTo>
                      <a:pt x="359" y="396"/>
                    </a:lnTo>
                    <a:lnTo>
                      <a:pt x="370" y="405"/>
                    </a:lnTo>
                    <a:lnTo>
                      <a:pt x="394" y="421"/>
                    </a:lnTo>
                    <a:lnTo>
                      <a:pt x="418" y="438"/>
                    </a:lnTo>
                    <a:lnTo>
                      <a:pt x="430" y="448"/>
                    </a:lnTo>
                    <a:lnTo>
                      <a:pt x="440" y="458"/>
                    </a:lnTo>
                    <a:lnTo>
                      <a:pt x="450" y="468"/>
                    </a:lnTo>
                    <a:lnTo>
                      <a:pt x="459" y="480"/>
                    </a:lnTo>
                    <a:lnTo>
                      <a:pt x="448" y="476"/>
                    </a:lnTo>
                    <a:lnTo>
                      <a:pt x="437" y="473"/>
                    </a:lnTo>
                    <a:lnTo>
                      <a:pt x="432" y="471"/>
                    </a:lnTo>
                    <a:lnTo>
                      <a:pt x="428" y="469"/>
                    </a:lnTo>
                    <a:lnTo>
                      <a:pt x="426" y="466"/>
                    </a:lnTo>
                    <a:lnTo>
                      <a:pt x="425" y="462"/>
                    </a:lnTo>
                    <a:lnTo>
                      <a:pt x="392" y="462"/>
                    </a:lnTo>
                    <a:lnTo>
                      <a:pt x="392" y="475"/>
                    </a:lnTo>
                    <a:lnTo>
                      <a:pt x="393" y="488"/>
                    </a:lnTo>
                    <a:lnTo>
                      <a:pt x="393" y="494"/>
                    </a:lnTo>
                    <a:lnTo>
                      <a:pt x="395" y="501"/>
                    </a:lnTo>
                    <a:lnTo>
                      <a:pt x="396" y="506"/>
                    </a:lnTo>
                    <a:lnTo>
                      <a:pt x="398" y="511"/>
                    </a:lnTo>
                    <a:lnTo>
                      <a:pt x="395" y="505"/>
                    </a:lnTo>
                    <a:lnTo>
                      <a:pt x="392" y="498"/>
                    </a:lnTo>
                    <a:lnTo>
                      <a:pt x="388" y="492"/>
                    </a:lnTo>
                    <a:lnTo>
                      <a:pt x="383" y="486"/>
                    </a:lnTo>
                    <a:lnTo>
                      <a:pt x="374" y="476"/>
                    </a:lnTo>
                    <a:lnTo>
                      <a:pt x="363" y="466"/>
                    </a:lnTo>
                    <a:lnTo>
                      <a:pt x="354" y="458"/>
                    </a:lnTo>
                    <a:lnTo>
                      <a:pt x="346" y="449"/>
                    </a:lnTo>
                    <a:lnTo>
                      <a:pt x="343" y="445"/>
                    </a:lnTo>
                    <a:lnTo>
                      <a:pt x="340" y="439"/>
                    </a:lnTo>
                    <a:lnTo>
                      <a:pt x="339" y="435"/>
                    </a:lnTo>
                    <a:lnTo>
                      <a:pt x="339" y="431"/>
                    </a:lnTo>
                    <a:lnTo>
                      <a:pt x="337" y="425"/>
                    </a:lnTo>
                    <a:lnTo>
                      <a:pt x="333" y="419"/>
                    </a:lnTo>
                    <a:lnTo>
                      <a:pt x="328" y="411"/>
                    </a:lnTo>
                    <a:lnTo>
                      <a:pt x="321" y="403"/>
                    </a:lnTo>
                    <a:lnTo>
                      <a:pt x="316" y="394"/>
                    </a:lnTo>
                    <a:lnTo>
                      <a:pt x="310" y="384"/>
                    </a:lnTo>
                    <a:lnTo>
                      <a:pt x="307" y="376"/>
                    </a:lnTo>
                    <a:lnTo>
                      <a:pt x="305" y="369"/>
                    </a:lnTo>
                    <a:lnTo>
                      <a:pt x="298" y="367"/>
                    </a:lnTo>
                    <a:lnTo>
                      <a:pt x="292" y="365"/>
                    </a:lnTo>
                    <a:lnTo>
                      <a:pt x="285" y="362"/>
                    </a:lnTo>
                    <a:lnTo>
                      <a:pt x="280" y="358"/>
                    </a:lnTo>
                    <a:lnTo>
                      <a:pt x="274" y="353"/>
                    </a:lnTo>
                    <a:lnTo>
                      <a:pt x="269" y="348"/>
                    </a:lnTo>
                    <a:lnTo>
                      <a:pt x="264" y="343"/>
                    </a:lnTo>
                    <a:lnTo>
                      <a:pt x="261" y="337"/>
                    </a:lnTo>
                    <a:lnTo>
                      <a:pt x="254" y="325"/>
                    </a:lnTo>
                    <a:lnTo>
                      <a:pt x="249" y="314"/>
                    </a:lnTo>
                    <a:lnTo>
                      <a:pt x="247" y="304"/>
                    </a:lnTo>
                    <a:lnTo>
                      <a:pt x="246" y="295"/>
                    </a:lnTo>
                    <a:lnTo>
                      <a:pt x="245" y="293"/>
                    </a:lnTo>
                    <a:lnTo>
                      <a:pt x="242" y="289"/>
                    </a:lnTo>
                    <a:lnTo>
                      <a:pt x="239" y="285"/>
                    </a:lnTo>
                    <a:lnTo>
                      <a:pt x="234" y="281"/>
                    </a:lnTo>
                    <a:lnTo>
                      <a:pt x="221" y="269"/>
                    </a:lnTo>
                    <a:lnTo>
                      <a:pt x="208" y="257"/>
                    </a:lnTo>
                    <a:lnTo>
                      <a:pt x="194" y="244"/>
                    </a:lnTo>
                    <a:lnTo>
                      <a:pt x="181" y="232"/>
                    </a:lnTo>
                    <a:lnTo>
                      <a:pt x="175" y="226"/>
                    </a:lnTo>
                    <a:lnTo>
                      <a:pt x="171" y="220"/>
                    </a:lnTo>
                    <a:lnTo>
                      <a:pt x="168" y="214"/>
                    </a:lnTo>
                    <a:lnTo>
                      <a:pt x="165" y="209"/>
                    </a:lnTo>
                    <a:lnTo>
                      <a:pt x="163" y="203"/>
                    </a:lnTo>
                    <a:lnTo>
                      <a:pt x="161" y="197"/>
                    </a:lnTo>
                    <a:lnTo>
                      <a:pt x="158" y="192"/>
                    </a:lnTo>
                    <a:lnTo>
                      <a:pt x="154" y="187"/>
                    </a:lnTo>
                    <a:lnTo>
                      <a:pt x="146" y="178"/>
                    </a:lnTo>
                    <a:lnTo>
                      <a:pt x="137" y="170"/>
                    </a:lnTo>
                    <a:lnTo>
                      <a:pt x="115" y="155"/>
                    </a:lnTo>
                    <a:lnTo>
                      <a:pt x="92" y="143"/>
                    </a:lnTo>
                    <a:lnTo>
                      <a:pt x="81" y="136"/>
                    </a:lnTo>
                    <a:lnTo>
                      <a:pt x="70" y="130"/>
                    </a:lnTo>
                    <a:lnTo>
                      <a:pt x="60" y="122"/>
                    </a:lnTo>
                    <a:lnTo>
                      <a:pt x="51" y="114"/>
                    </a:lnTo>
                    <a:lnTo>
                      <a:pt x="47" y="110"/>
                    </a:lnTo>
                    <a:lnTo>
                      <a:pt x="44" y="104"/>
                    </a:lnTo>
                    <a:lnTo>
                      <a:pt x="40" y="99"/>
                    </a:lnTo>
                    <a:lnTo>
                      <a:pt x="38" y="93"/>
                    </a:lnTo>
                    <a:lnTo>
                      <a:pt x="36" y="88"/>
                    </a:lnTo>
                    <a:lnTo>
                      <a:pt x="34" y="81"/>
                    </a:lnTo>
                    <a:lnTo>
                      <a:pt x="34" y="75"/>
                    </a:lnTo>
                    <a:lnTo>
                      <a:pt x="33" y="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289" name="Group 524"/>
              <p:cNvGrpSpPr>
                <a:grpSpLocks/>
              </p:cNvGrpSpPr>
              <p:nvPr>
                <p:custDataLst>
                  <p:tags r:id="rId285"/>
                </p:custDataLst>
              </p:nvPr>
            </p:nvGrpSpPr>
            <p:grpSpPr bwMode="auto">
              <a:xfrm>
                <a:off x="11790630" y="2368122"/>
                <a:ext cx="671513" cy="384175"/>
                <a:chOff x="4115" y="1551"/>
                <a:chExt cx="504" cy="244"/>
              </a:xfrm>
            </p:grpSpPr>
            <p:sp>
              <p:nvSpPr>
                <p:cNvPr id="313" name="Freeform 525"/>
                <p:cNvSpPr>
                  <a:spLocks/>
                </p:cNvSpPr>
                <p:nvPr/>
              </p:nvSpPr>
              <p:spPr bwMode="auto">
                <a:xfrm>
                  <a:off x="4540" y="1551"/>
                  <a:ext cx="79" cy="86"/>
                </a:xfrm>
                <a:custGeom>
                  <a:avLst/>
                  <a:gdLst>
                    <a:gd name="T0" fmla="*/ 0 w 240"/>
                    <a:gd name="T1" fmla="*/ 9 h 259"/>
                    <a:gd name="T2" fmla="*/ 3 w 240"/>
                    <a:gd name="T3" fmla="*/ 10 h 259"/>
                    <a:gd name="T4" fmla="*/ 4 w 240"/>
                    <a:gd name="T5" fmla="*/ 9 h 259"/>
                    <a:gd name="T6" fmla="*/ 5 w 240"/>
                    <a:gd name="T7" fmla="*/ 8 h 259"/>
                    <a:gd name="T8" fmla="*/ 7 w 240"/>
                    <a:gd name="T9" fmla="*/ 6 h 259"/>
                    <a:gd name="T10" fmla="*/ 8 w 240"/>
                    <a:gd name="T11" fmla="*/ 4 h 259"/>
                    <a:gd name="T12" fmla="*/ 9 w 240"/>
                    <a:gd name="T13" fmla="*/ 1 h 259"/>
                    <a:gd name="T14" fmla="*/ 8 w 240"/>
                    <a:gd name="T15" fmla="*/ 0 h 259"/>
                    <a:gd name="T16" fmla="*/ 7 w 240"/>
                    <a:gd name="T17" fmla="*/ 1 h 259"/>
                    <a:gd name="T18" fmla="*/ 7 w 240"/>
                    <a:gd name="T19" fmla="*/ 3 h 259"/>
                    <a:gd name="T20" fmla="*/ 6 w 240"/>
                    <a:gd name="T21" fmla="*/ 4 h 259"/>
                    <a:gd name="T22" fmla="*/ 5 w 240"/>
                    <a:gd name="T23" fmla="*/ 5 h 259"/>
                    <a:gd name="T24" fmla="*/ 4 w 240"/>
                    <a:gd name="T25" fmla="*/ 7 h 259"/>
                    <a:gd name="T26" fmla="*/ 3 w 240"/>
                    <a:gd name="T27" fmla="*/ 8 h 259"/>
                    <a:gd name="T28" fmla="*/ 1 w 240"/>
                    <a:gd name="T29" fmla="*/ 8 h 259"/>
                    <a:gd name="T30" fmla="*/ 0 w 240"/>
                    <a:gd name="T31" fmla="*/ 8 h 259"/>
                    <a:gd name="T32" fmla="*/ 0 w 240"/>
                    <a:gd name="T33" fmla="*/ 9 h 25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40" h="259">
                      <a:moveTo>
                        <a:pt x="13" y="247"/>
                      </a:moveTo>
                      <a:lnTo>
                        <a:pt x="79" y="259"/>
                      </a:lnTo>
                      <a:lnTo>
                        <a:pt x="120" y="240"/>
                      </a:lnTo>
                      <a:lnTo>
                        <a:pt x="133" y="210"/>
                      </a:lnTo>
                      <a:lnTo>
                        <a:pt x="192" y="161"/>
                      </a:lnTo>
                      <a:lnTo>
                        <a:pt x="212" y="111"/>
                      </a:lnTo>
                      <a:lnTo>
                        <a:pt x="240" y="26"/>
                      </a:lnTo>
                      <a:lnTo>
                        <a:pt x="212" y="0"/>
                      </a:lnTo>
                      <a:lnTo>
                        <a:pt x="206" y="32"/>
                      </a:lnTo>
                      <a:lnTo>
                        <a:pt x="199" y="74"/>
                      </a:lnTo>
                      <a:lnTo>
                        <a:pt x="166" y="105"/>
                      </a:lnTo>
                      <a:lnTo>
                        <a:pt x="133" y="149"/>
                      </a:lnTo>
                      <a:lnTo>
                        <a:pt x="113" y="179"/>
                      </a:lnTo>
                      <a:lnTo>
                        <a:pt x="93" y="216"/>
                      </a:lnTo>
                      <a:lnTo>
                        <a:pt x="20" y="222"/>
                      </a:lnTo>
                      <a:lnTo>
                        <a:pt x="0" y="222"/>
                      </a:lnTo>
                      <a:lnTo>
                        <a:pt x="13" y="247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4" name="Freeform 526"/>
                <p:cNvSpPr>
                  <a:spLocks/>
                </p:cNvSpPr>
                <p:nvPr/>
              </p:nvSpPr>
              <p:spPr bwMode="auto">
                <a:xfrm>
                  <a:off x="4115" y="1761"/>
                  <a:ext cx="84" cy="34"/>
                </a:xfrm>
                <a:custGeom>
                  <a:avLst/>
                  <a:gdLst>
                    <a:gd name="T0" fmla="*/ 1 w 259"/>
                    <a:gd name="T1" fmla="*/ 4 h 104"/>
                    <a:gd name="T2" fmla="*/ 1 w 259"/>
                    <a:gd name="T3" fmla="*/ 3 h 104"/>
                    <a:gd name="T4" fmla="*/ 2 w 259"/>
                    <a:gd name="T5" fmla="*/ 2 h 104"/>
                    <a:gd name="T6" fmla="*/ 2 w 259"/>
                    <a:gd name="T7" fmla="*/ 2 h 104"/>
                    <a:gd name="T8" fmla="*/ 4 w 259"/>
                    <a:gd name="T9" fmla="*/ 2 h 104"/>
                    <a:gd name="T10" fmla="*/ 6 w 259"/>
                    <a:gd name="T11" fmla="*/ 2 h 104"/>
                    <a:gd name="T12" fmla="*/ 8 w 259"/>
                    <a:gd name="T13" fmla="*/ 1 h 104"/>
                    <a:gd name="T14" fmla="*/ 9 w 259"/>
                    <a:gd name="T15" fmla="*/ 0 h 104"/>
                    <a:gd name="T16" fmla="*/ 8 w 259"/>
                    <a:gd name="T17" fmla="*/ 0 h 104"/>
                    <a:gd name="T18" fmla="*/ 7 w 259"/>
                    <a:gd name="T19" fmla="*/ 0 h 104"/>
                    <a:gd name="T20" fmla="*/ 5 w 259"/>
                    <a:gd name="T21" fmla="*/ 0 h 104"/>
                    <a:gd name="T22" fmla="*/ 4 w 259"/>
                    <a:gd name="T23" fmla="*/ 0 h 104"/>
                    <a:gd name="T24" fmla="*/ 2 w 259"/>
                    <a:gd name="T25" fmla="*/ 1 h 104"/>
                    <a:gd name="T26" fmla="*/ 1 w 259"/>
                    <a:gd name="T27" fmla="*/ 2 h 104"/>
                    <a:gd name="T28" fmla="*/ 0 w 259"/>
                    <a:gd name="T29" fmla="*/ 2 h 104"/>
                    <a:gd name="T30" fmla="*/ 0 w 259"/>
                    <a:gd name="T31" fmla="*/ 4 h 104"/>
                    <a:gd name="T32" fmla="*/ 1 w 259"/>
                    <a:gd name="T33" fmla="*/ 4 h 10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59" h="104">
                      <a:moveTo>
                        <a:pt x="33" y="104"/>
                      </a:moveTo>
                      <a:lnTo>
                        <a:pt x="26" y="86"/>
                      </a:lnTo>
                      <a:lnTo>
                        <a:pt x="52" y="62"/>
                      </a:lnTo>
                      <a:lnTo>
                        <a:pt x="72" y="49"/>
                      </a:lnTo>
                      <a:lnTo>
                        <a:pt x="126" y="43"/>
                      </a:lnTo>
                      <a:lnTo>
                        <a:pt x="172" y="43"/>
                      </a:lnTo>
                      <a:lnTo>
                        <a:pt x="246" y="31"/>
                      </a:lnTo>
                      <a:lnTo>
                        <a:pt x="259" y="7"/>
                      </a:lnTo>
                      <a:lnTo>
                        <a:pt x="246" y="0"/>
                      </a:lnTo>
                      <a:lnTo>
                        <a:pt x="205" y="13"/>
                      </a:lnTo>
                      <a:lnTo>
                        <a:pt x="152" y="7"/>
                      </a:lnTo>
                      <a:lnTo>
                        <a:pt x="106" y="13"/>
                      </a:lnTo>
                      <a:lnTo>
                        <a:pt x="52" y="19"/>
                      </a:lnTo>
                      <a:lnTo>
                        <a:pt x="26" y="43"/>
                      </a:lnTo>
                      <a:lnTo>
                        <a:pt x="0" y="68"/>
                      </a:lnTo>
                      <a:lnTo>
                        <a:pt x="0" y="104"/>
                      </a:lnTo>
                      <a:lnTo>
                        <a:pt x="33" y="10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290" name="Freeform 527"/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10847655" y="3117422"/>
                <a:ext cx="530225" cy="511175"/>
              </a:xfrm>
              <a:custGeom>
                <a:avLst/>
                <a:gdLst>
                  <a:gd name="T0" fmla="*/ 2147483647 w 1227"/>
                  <a:gd name="T1" fmla="*/ 2147483647 h 979"/>
                  <a:gd name="T2" fmla="*/ 2147483647 w 1227"/>
                  <a:gd name="T3" fmla="*/ 2147483647 h 979"/>
                  <a:gd name="T4" fmla="*/ 2147483647 w 1227"/>
                  <a:gd name="T5" fmla="*/ 2147483647 h 979"/>
                  <a:gd name="T6" fmla="*/ 2147483647 w 1227"/>
                  <a:gd name="T7" fmla="*/ 2147483647 h 979"/>
                  <a:gd name="T8" fmla="*/ 2147483647 w 1227"/>
                  <a:gd name="T9" fmla="*/ 2147483647 h 979"/>
                  <a:gd name="T10" fmla="*/ 2147483647 w 1227"/>
                  <a:gd name="T11" fmla="*/ 2147483647 h 979"/>
                  <a:gd name="T12" fmla="*/ 2147483647 w 1227"/>
                  <a:gd name="T13" fmla="*/ 2147483647 h 979"/>
                  <a:gd name="T14" fmla="*/ 2147483647 w 1227"/>
                  <a:gd name="T15" fmla="*/ 2147483647 h 979"/>
                  <a:gd name="T16" fmla="*/ 2147483647 w 1227"/>
                  <a:gd name="T17" fmla="*/ 2147483647 h 979"/>
                  <a:gd name="T18" fmla="*/ 2147483647 w 1227"/>
                  <a:gd name="T19" fmla="*/ 2147483647 h 979"/>
                  <a:gd name="T20" fmla="*/ 2147483647 w 1227"/>
                  <a:gd name="T21" fmla="*/ 2147483647 h 979"/>
                  <a:gd name="T22" fmla="*/ 2147483647 w 1227"/>
                  <a:gd name="T23" fmla="*/ 2147483647 h 979"/>
                  <a:gd name="T24" fmla="*/ 2147483647 w 1227"/>
                  <a:gd name="T25" fmla="*/ 2147483647 h 979"/>
                  <a:gd name="T26" fmla="*/ 2147483647 w 1227"/>
                  <a:gd name="T27" fmla="*/ 2147483647 h 979"/>
                  <a:gd name="T28" fmla="*/ 2147483647 w 1227"/>
                  <a:gd name="T29" fmla="*/ 2147483647 h 979"/>
                  <a:gd name="T30" fmla="*/ 2147483647 w 1227"/>
                  <a:gd name="T31" fmla="*/ 2147483647 h 979"/>
                  <a:gd name="T32" fmla="*/ 2147483647 w 1227"/>
                  <a:gd name="T33" fmla="*/ 2147483647 h 979"/>
                  <a:gd name="T34" fmla="*/ 2147483647 w 1227"/>
                  <a:gd name="T35" fmla="*/ 2147483647 h 979"/>
                  <a:gd name="T36" fmla="*/ 2147483647 w 1227"/>
                  <a:gd name="T37" fmla="*/ 2147483647 h 979"/>
                  <a:gd name="T38" fmla="*/ 2147483647 w 1227"/>
                  <a:gd name="T39" fmla="*/ 2147483647 h 979"/>
                  <a:gd name="T40" fmla="*/ 2147483647 w 1227"/>
                  <a:gd name="T41" fmla="*/ 1423402032 h 979"/>
                  <a:gd name="T42" fmla="*/ 2147483647 w 1227"/>
                  <a:gd name="T43" fmla="*/ 2147483647 h 979"/>
                  <a:gd name="T44" fmla="*/ 2147483647 w 1227"/>
                  <a:gd name="T45" fmla="*/ 2147483647 h 979"/>
                  <a:gd name="T46" fmla="*/ 2147483647 w 1227"/>
                  <a:gd name="T47" fmla="*/ 2147483647 h 979"/>
                  <a:gd name="T48" fmla="*/ 2147483647 w 1227"/>
                  <a:gd name="T49" fmla="*/ 2147483647 h 979"/>
                  <a:gd name="T50" fmla="*/ 2147483647 w 1227"/>
                  <a:gd name="T51" fmla="*/ 2147483647 h 979"/>
                  <a:gd name="T52" fmla="*/ 2147483647 w 1227"/>
                  <a:gd name="T53" fmla="*/ 2147483647 h 979"/>
                  <a:gd name="T54" fmla="*/ 2147483647 w 1227"/>
                  <a:gd name="T55" fmla="*/ 2147483647 h 979"/>
                  <a:gd name="T56" fmla="*/ 726221569 w 1227"/>
                  <a:gd name="T57" fmla="*/ 2147483647 h 979"/>
                  <a:gd name="T58" fmla="*/ 0 w 1227"/>
                  <a:gd name="T59" fmla="*/ 2147483647 h 979"/>
                  <a:gd name="T60" fmla="*/ 726221569 w 1227"/>
                  <a:gd name="T61" fmla="*/ 2147483647 h 979"/>
                  <a:gd name="T62" fmla="*/ 2017324198 w 1227"/>
                  <a:gd name="T63" fmla="*/ 2147483647 h 979"/>
                  <a:gd name="T64" fmla="*/ 2147483647 w 1227"/>
                  <a:gd name="T65" fmla="*/ 2147483647 h 979"/>
                  <a:gd name="T66" fmla="*/ 2147483647 w 1227"/>
                  <a:gd name="T67" fmla="*/ 2147483647 h 979"/>
                  <a:gd name="T68" fmla="*/ 2147483647 w 1227"/>
                  <a:gd name="T69" fmla="*/ 2147483647 h 979"/>
                  <a:gd name="T70" fmla="*/ 2147483647 w 1227"/>
                  <a:gd name="T71" fmla="*/ 2147483647 h 979"/>
                  <a:gd name="T72" fmla="*/ 2147483647 w 1227"/>
                  <a:gd name="T73" fmla="*/ 2147483647 h 979"/>
                  <a:gd name="T74" fmla="*/ 2147483647 w 1227"/>
                  <a:gd name="T75" fmla="*/ 2147483647 h 979"/>
                  <a:gd name="T76" fmla="*/ 2147483647 w 1227"/>
                  <a:gd name="T77" fmla="*/ 2147483647 h 979"/>
                  <a:gd name="T78" fmla="*/ 2147483647 w 1227"/>
                  <a:gd name="T79" fmla="*/ 2147483647 h 979"/>
                  <a:gd name="T80" fmla="*/ 2147483647 w 1227"/>
                  <a:gd name="T81" fmla="*/ 2147483647 h 979"/>
                  <a:gd name="T82" fmla="*/ 2147483647 w 1227"/>
                  <a:gd name="T83" fmla="*/ 2147483647 h 979"/>
                  <a:gd name="T84" fmla="*/ 2147483647 w 1227"/>
                  <a:gd name="T85" fmla="*/ 2147483647 h 979"/>
                  <a:gd name="T86" fmla="*/ 2147483647 w 1227"/>
                  <a:gd name="T87" fmla="*/ 2147483647 h 979"/>
                  <a:gd name="T88" fmla="*/ 2147483647 w 1227"/>
                  <a:gd name="T89" fmla="*/ 2147483647 h 979"/>
                  <a:gd name="T90" fmla="*/ 2147483647 w 1227"/>
                  <a:gd name="T91" fmla="*/ 2147483647 h 979"/>
                  <a:gd name="T92" fmla="*/ 2147483647 w 1227"/>
                  <a:gd name="T93" fmla="*/ 2147483647 h 979"/>
                  <a:gd name="T94" fmla="*/ 2147483647 w 1227"/>
                  <a:gd name="T95" fmla="*/ 2147483647 h 979"/>
                  <a:gd name="T96" fmla="*/ 2147483647 w 1227"/>
                  <a:gd name="T97" fmla="*/ 2147483647 h 979"/>
                  <a:gd name="T98" fmla="*/ 2147483647 w 1227"/>
                  <a:gd name="T99" fmla="*/ 2147483647 h 979"/>
                  <a:gd name="T100" fmla="*/ 2147483647 w 1227"/>
                  <a:gd name="T101" fmla="*/ 2147483647 h 979"/>
                  <a:gd name="T102" fmla="*/ 2147483647 w 1227"/>
                  <a:gd name="T103" fmla="*/ 2147483647 h 979"/>
                  <a:gd name="T104" fmla="*/ 2147483647 w 1227"/>
                  <a:gd name="T105" fmla="*/ 2147483647 h 979"/>
                  <a:gd name="T106" fmla="*/ 2147483647 w 1227"/>
                  <a:gd name="T107" fmla="*/ 2147483647 h 979"/>
                  <a:gd name="T108" fmla="*/ 2147483647 w 1227"/>
                  <a:gd name="T109" fmla="*/ 2147483647 h 979"/>
                  <a:gd name="T110" fmla="*/ 2147483647 w 1227"/>
                  <a:gd name="T111" fmla="*/ 2147483647 h 979"/>
                  <a:gd name="T112" fmla="*/ 2147483647 w 1227"/>
                  <a:gd name="T113" fmla="*/ 2147483647 h 97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227" h="979">
                    <a:moveTo>
                      <a:pt x="940" y="468"/>
                    </a:moveTo>
                    <a:lnTo>
                      <a:pt x="937" y="468"/>
                    </a:lnTo>
                    <a:lnTo>
                      <a:pt x="935" y="467"/>
                    </a:lnTo>
                    <a:lnTo>
                      <a:pt x="932" y="466"/>
                    </a:lnTo>
                    <a:lnTo>
                      <a:pt x="931" y="465"/>
                    </a:lnTo>
                    <a:lnTo>
                      <a:pt x="930" y="461"/>
                    </a:lnTo>
                    <a:lnTo>
                      <a:pt x="930" y="456"/>
                    </a:lnTo>
                    <a:lnTo>
                      <a:pt x="932" y="442"/>
                    </a:lnTo>
                    <a:lnTo>
                      <a:pt x="933" y="425"/>
                    </a:lnTo>
                    <a:lnTo>
                      <a:pt x="933" y="420"/>
                    </a:lnTo>
                    <a:lnTo>
                      <a:pt x="932" y="416"/>
                    </a:lnTo>
                    <a:lnTo>
                      <a:pt x="930" y="412"/>
                    </a:lnTo>
                    <a:lnTo>
                      <a:pt x="928" y="407"/>
                    </a:lnTo>
                    <a:lnTo>
                      <a:pt x="921" y="400"/>
                    </a:lnTo>
                    <a:lnTo>
                      <a:pt x="915" y="392"/>
                    </a:lnTo>
                    <a:lnTo>
                      <a:pt x="908" y="385"/>
                    </a:lnTo>
                    <a:lnTo>
                      <a:pt x="903" y="378"/>
                    </a:lnTo>
                    <a:lnTo>
                      <a:pt x="902" y="373"/>
                    </a:lnTo>
                    <a:lnTo>
                      <a:pt x="901" y="370"/>
                    </a:lnTo>
                    <a:lnTo>
                      <a:pt x="899" y="367"/>
                    </a:lnTo>
                    <a:lnTo>
                      <a:pt x="901" y="363"/>
                    </a:lnTo>
                    <a:lnTo>
                      <a:pt x="865" y="344"/>
                    </a:lnTo>
                    <a:lnTo>
                      <a:pt x="838" y="328"/>
                    </a:lnTo>
                    <a:lnTo>
                      <a:pt x="817" y="312"/>
                    </a:lnTo>
                    <a:lnTo>
                      <a:pt x="801" y="300"/>
                    </a:lnTo>
                    <a:lnTo>
                      <a:pt x="779" y="280"/>
                    </a:lnTo>
                    <a:lnTo>
                      <a:pt x="761" y="264"/>
                    </a:lnTo>
                    <a:lnTo>
                      <a:pt x="759" y="263"/>
                    </a:lnTo>
                    <a:lnTo>
                      <a:pt x="757" y="258"/>
                    </a:lnTo>
                    <a:lnTo>
                      <a:pt x="756" y="252"/>
                    </a:lnTo>
                    <a:lnTo>
                      <a:pt x="754" y="245"/>
                    </a:lnTo>
                    <a:lnTo>
                      <a:pt x="752" y="229"/>
                    </a:lnTo>
                    <a:lnTo>
                      <a:pt x="748" y="216"/>
                    </a:lnTo>
                    <a:lnTo>
                      <a:pt x="740" y="218"/>
                    </a:lnTo>
                    <a:lnTo>
                      <a:pt x="733" y="218"/>
                    </a:lnTo>
                    <a:lnTo>
                      <a:pt x="726" y="218"/>
                    </a:lnTo>
                    <a:lnTo>
                      <a:pt x="718" y="217"/>
                    </a:lnTo>
                    <a:lnTo>
                      <a:pt x="711" y="215"/>
                    </a:lnTo>
                    <a:lnTo>
                      <a:pt x="703" y="212"/>
                    </a:lnTo>
                    <a:lnTo>
                      <a:pt x="695" y="207"/>
                    </a:lnTo>
                    <a:lnTo>
                      <a:pt x="688" y="203"/>
                    </a:lnTo>
                    <a:lnTo>
                      <a:pt x="667" y="199"/>
                    </a:lnTo>
                    <a:lnTo>
                      <a:pt x="650" y="197"/>
                    </a:lnTo>
                    <a:lnTo>
                      <a:pt x="638" y="196"/>
                    </a:lnTo>
                    <a:lnTo>
                      <a:pt x="630" y="196"/>
                    </a:lnTo>
                    <a:lnTo>
                      <a:pt x="617" y="199"/>
                    </a:lnTo>
                    <a:lnTo>
                      <a:pt x="602" y="203"/>
                    </a:lnTo>
                    <a:lnTo>
                      <a:pt x="596" y="201"/>
                    </a:lnTo>
                    <a:lnTo>
                      <a:pt x="591" y="201"/>
                    </a:lnTo>
                    <a:lnTo>
                      <a:pt x="584" y="202"/>
                    </a:lnTo>
                    <a:lnTo>
                      <a:pt x="578" y="203"/>
                    </a:lnTo>
                    <a:lnTo>
                      <a:pt x="570" y="204"/>
                    </a:lnTo>
                    <a:lnTo>
                      <a:pt x="563" y="205"/>
                    </a:lnTo>
                    <a:lnTo>
                      <a:pt x="556" y="204"/>
                    </a:lnTo>
                    <a:lnTo>
                      <a:pt x="548" y="203"/>
                    </a:lnTo>
                    <a:lnTo>
                      <a:pt x="530" y="195"/>
                    </a:lnTo>
                    <a:lnTo>
                      <a:pt x="517" y="190"/>
                    </a:lnTo>
                    <a:lnTo>
                      <a:pt x="513" y="187"/>
                    </a:lnTo>
                    <a:lnTo>
                      <a:pt x="509" y="183"/>
                    </a:lnTo>
                    <a:lnTo>
                      <a:pt x="505" y="179"/>
                    </a:lnTo>
                    <a:lnTo>
                      <a:pt x="502" y="173"/>
                    </a:lnTo>
                    <a:lnTo>
                      <a:pt x="493" y="152"/>
                    </a:lnTo>
                    <a:lnTo>
                      <a:pt x="487" y="136"/>
                    </a:lnTo>
                    <a:lnTo>
                      <a:pt x="483" y="128"/>
                    </a:lnTo>
                    <a:lnTo>
                      <a:pt x="479" y="121"/>
                    </a:lnTo>
                    <a:lnTo>
                      <a:pt x="476" y="115"/>
                    </a:lnTo>
                    <a:lnTo>
                      <a:pt x="470" y="109"/>
                    </a:lnTo>
                    <a:lnTo>
                      <a:pt x="465" y="103"/>
                    </a:lnTo>
                    <a:lnTo>
                      <a:pt x="459" y="96"/>
                    </a:lnTo>
                    <a:lnTo>
                      <a:pt x="451" y="91"/>
                    </a:lnTo>
                    <a:lnTo>
                      <a:pt x="443" y="86"/>
                    </a:lnTo>
                    <a:lnTo>
                      <a:pt x="432" y="81"/>
                    </a:lnTo>
                    <a:lnTo>
                      <a:pt x="420" y="77"/>
                    </a:lnTo>
                    <a:lnTo>
                      <a:pt x="405" y="72"/>
                    </a:lnTo>
                    <a:lnTo>
                      <a:pt x="389" y="68"/>
                    </a:lnTo>
                    <a:lnTo>
                      <a:pt x="365" y="61"/>
                    </a:lnTo>
                    <a:lnTo>
                      <a:pt x="346" y="55"/>
                    </a:lnTo>
                    <a:lnTo>
                      <a:pt x="332" y="48"/>
                    </a:lnTo>
                    <a:lnTo>
                      <a:pt x="317" y="40"/>
                    </a:lnTo>
                    <a:lnTo>
                      <a:pt x="303" y="32"/>
                    </a:lnTo>
                    <a:lnTo>
                      <a:pt x="287" y="23"/>
                    </a:lnTo>
                    <a:lnTo>
                      <a:pt x="265" y="13"/>
                    </a:lnTo>
                    <a:lnTo>
                      <a:pt x="236" y="0"/>
                    </a:lnTo>
                    <a:lnTo>
                      <a:pt x="214" y="10"/>
                    </a:lnTo>
                    <a:lnTo>
                      <a:pt x="186" y="24"/>
                    </a:lnTo>
                    <a:lnTo>
                      <a:pt x="178" y="28"/>
                    </a:lnTo>
                    <a:lnTo>
                      <a:pt x="171" y="33"/>
                    </a:lnTo>
                    <a:lnTo>
                      <a:pt x="166" y="38"/>
                    </a:lnTo>
                    <a:lnTo>
                      <a:pt x="160" y="44"/>
                    </a:lnTo>
                    <a:lnTo>
                      <a:pt x="156" y="49"/>
                    </a:lnTo>
                    <a:lnTo>
                      <a:pt x="153" y="55"/>
                    </a:lnTo>
                    <a:lnTo>
                      <a:pt x="151" y="61"/>
                    </a:lnTo>
                    <a:lnTo>
                      <a:pt x="149" y="68"/>
                    </a:lnTo>
                    <a:lnTo>
                      <a:pt x="151" y="75"/>
                    </a:lnTo>
                    <a:lnTo>
                      <a:pt x="152" y="82"/>
                    </a:lnTo>
                    <a:lnTo>
                      <a:pt x="153" y="90"/>
                    </a:lnTo>
                    <a:lnTo>
                      <a:pt x="156" y="97"/>
                    </a:lnTo>
                    <a:lnTo>
                      <a:pt x="159" y="105"/>
                    </a:lnTo>
                    <a:lnTo>
                      <a:pt x="164" y="112"/>
                    </a:lnTo>
                    <a:lnTo>
                      <a:pt x="169" y="118"/>
                    </a:lnTo>
                    <a:lnTo>
                      <a:pt x="177" y="123"/>
                    </a:lnTo>
                    <a:lnTo>
                      <a:pt x="171" y="129"/>
                    </a:lnTo>
                    <a:lnTo>
                      <a:pt x="163" y="139"/>
                    </a:lnTo>
                    <a:lnTo>
                      <a:pt x="151" y="150"/>
                    </a:lnTo>
                    <a:lnTo>
                      <a:pt x="136" y="162"/>
                    </a:lnTo>
                    <a:lnTo>
                      <a:pt x="120" y="173"/>
                    </a:lnTo>
                    <a:lnTo>
                      <a:pt x="102" y="182"/>
                    </a:lnTo>
                    <a:lnTo>
                      <a:pt x="95" y="186"/>
                    </a:lnTo>
                    <a:lnTo>
                      <a:pt x="86" y="188"/>
                    </a:lnTo>
                    <a:lnTo>
                      <a:pt x="78" y="190"/>
                    </a:lnTo>
                    <a:lnTo>
                      <a:pt x="70" y="191"/>
                    </a:lnTo>
                    <a:lnTo>
                      <a:pt x="54" y="190"/>
                    </a:lnTo>
                    <a:lnTo>
                      <a:pt x="37" y="187"/>
                    </a:lnTo>
                    <a:lnTo>
                      <a:pt x="22" y="183"/>
                    </a:lnTo>
                    <a:lnTo>
                      <a:pt x="10" y="179"/>
                    </a:lnTo>
                    <a:lnTo>
                      <a:pt x="9" y="183"/>
                    </a:lnTo>
                    <a:lnTo>
                      <a:pt x="6" y="193"/>
                    </a:lnTo>
                    <a:lnTo>
                      <a:pt x="2" y="208"/>
                    </a:lnTo>
                    <a:lnTo>
                      <a:pt x="0" y="226"/>
                    </a:lnTo>
                    <a:lnTo>
                      <a:pt x="0" y="236"/>
                    </a:lnTo>
                    <a:lnTo>
                      <a:pt x="0" y="245"/>
                    </a:lnTo>
                    <a:lnTo>
                      <a:pt x="2" y="253"/>
                    </a:lnTo>
                    <a:lnTo>
                      <a:pt x="5" y="261"/>
                    </a:lnTo>
                    <a:lnTo>
                      <a:pt x="9" y="269"/>
                    </a:lnTo>
                    <a:lnTo>
                      <a:pt x="14" y="276"/>
                    </a:lnTo>
                    <a:lnTo>
                      <a:pt x="18" y="278"/>
                    </a:lnTo>
                    <a:lnTo>
                      <a:pt x="21" y="280"/>
                    </a:lnTo>
                    <a:lnTo>
                      <a:pt x="25" y="282"/>
                    </a:lnTo>
                    <a:lnTo>
                      <a:pt x="30" y="283"/>
                    </a:lnTo>
                    <a:lnTo>
                      <a:pt x="32" y="291"/>
                    </a:lnTo>
                    <a:lnTo>
                      <a:pt x="35" y="299"/>
                    </a:lnTo>
                    <a:lnTo>
                      <a:pt x="40" y="307"/>
                    </a:lnTo>
                    <a:lnTo>
                      <a:pt x="44" y="315"/>
                    </a:lnTo>
                    <a:lnTo>
                      <a:pt x="56" y="331"/>
                    </a:lnTo>
                    <a:lnTo>
                      <a:pt x="69" y="347"/>
                    </a:lnTo>
                    <a:lnTo>
                      <a:pt x="83" y="364"/>
                    </a:lnTo>
                    <a:lnTo>
                      <a:pt x="92" y="383"/>
                    </a:lnTo>
                    <a:lnTo>
                      <a:pt x="97" y="393"/>
                    </a:lnTo>
                    <a:lnTo>
                      <a:pt x="100" y="403"/>
                    </a:lnTo>
                    <a:lnTo>
                      <a:pt x="102" y="414"/>
                    </a:lnTo>
                    <a:lnTo>
                      <a:pt x="103" y="425"/>
                    </a:lnTo>
                    <a:lnTo>
                      <a:pt x="110" y="425"/>
                    </a:lnTo>
                    <a:lnTo>
                      <a:pt x="117" y="426"/>
                    </a:lnTo>
                    <a:lnTo>
                      <a:pt x="121" y="427"/>
                    </a:lnTo>
                    <a:lnTo>
                      <a:pt x="124" y="429"/>
                    </a:lnTo>
                    <a:lnTo>
                      <a:pt x="128" y="431"/>
                    </a:lnTo>
                    <a:lnTo>
                      <a:pt x="131" y="435"/>
                    </a:lnTo>
                    <a:lnTo>
                      <a:pt x="133" y="438"/>
                    </a:lnTo>
                    <a:lnTo>
                      <a:pt x="135" y="441"/>
                    </a:lnTo>
                    <a:lnTo>
                      <a:pt x="139" y="450"/>
                    </a:lnTo>
                    <a:lnTo>
                      <a:pt x="143" y="459"/>
                    </a:lnTo>
                    <a:lnTo>
                      <a:pt x="148" y="469"/>
                    </a:lnTo>
                    <a:lnTo>
                      <a:pt x="156" y="480"/>
                    </a:lnTo>
                    <a:lnTo>
                      <a:pt x="184" y="504"/>
                    </a:lnTo>
                    <a:lnTo>
                      <a:pt x="216" y="536"/>
                    </a:lnTo>
                    <a:lnTo>
                      <a:pt x="224" y="546"/>
                    </a:lnTo>
                    <a:lnTo>
                      <a:pt x="232" y="556"/>
                    </a:lnTo>
                    <a:lnTo>
                      <a:pt x="238" y="565"/>
                    </a:lnTo>
                    <a:lnTo>
                      <a:pt x="244" y="575"/>
                    </a:lnTo>
                    <a:lnTo>
                      <a:pt x="249" y="585"/>
                    </a:lnTo>
                    <a:lnTo>
                      <a:pt x="253" y="595"/>
                    </a:lnTo>
                    <a:lnTo>
                      <a:pt x="255" y="606"/>
                    </a:lnTo>
                    <a:lnTo>
                      <a:pt x="256" y="616"/>
                    </a:lnTo>
                    <a:lnTo>
                      <a:pt x="256" y="624"/>
                    </a:lnTo>
                    <a:lnTo>
                      <a:pt x="257" y="631"/>
                    </a:lnTo>
                    <a:lnTo>
                      <a:pt x="258" y="638"/>
                    </a:lnTo>
                    <a:lnTo>
                      <a:pt x="260" y="645"/>
                    </a:lnTo>
                    <a:lnTo>
                      <a:pt x="266" y="659"/>
                    </a:lnTo>
                    <a:lnTo>
                      <a:pt x="272" y="670"/>
                    </a:lnTo>
                    <a:lnTo>
                      <a:pt x="280" y="681"/>
                    </a:lnTo>
                    <a:lnTo>
                      <a:pt x="289" y="691"/>
                    </a:lnTo>
                    <a:lnTo>
                      <a:pt x="299" y="701"/>
                    </a:lnTo>
                    <a:lnTo>
                      <a:pt x="310" y="710"/>
                    </a:lnTo>
                    <a:lnTo>
                      <a:pt x="331" y="730"/>
                    </a:lnTo>
                    <a:lnTo>
                      <a:pt x="352" y="750"/>
                    </a:lnTo>
                    <a:lnTo>
                      <a:pt x="361" y="761"/>
                    </a:lnTo>
                    <a:lnTo>
                      <a:pt x="369" y="774"/>
                    </a:lnTo>
                    <a:lnTo>
                      <a:pt x="377" y="787"/>
                    </a:lnTo>
                    <a:lnTo>
                      <a:pt x="382" y="801"/>
                    </a:lnTo>
                    <a:lnTo>
                      <a:pt x="388" y="814"/>
                    </a:lnTo>
                    <a:lnTo>
                      <a:pt x="394" y="827"/>
                    </a:lnTo>
                    <a:lnTo>
                      <a:pt x="401" y="838"/>
                    </a:lnTo>
                    <a:lnTo>
                      <a:pt x="409" y="848"/>
                    </a:lnTo>
                    <a:lnTo>
                      <a:pt x="425" y="867"/>
                    </a:lnTo>
                    <a:lnTo>
                      <a:pt x="443" y="886"/>
                    </a:lnTo>
                    <a:lnTo>
                      <a:pt x="459" y="905"/>
                    </a:lnTo>
                    <a:lnTo>
                      <a:pt x="476" y="925"/>
                    </a:lnTo>
                    <a:lnTo>
                      <a:pt x="483" y="938"/>
                    </a:lnTo>
                    <a:lnTo>
                      <a:pt x="490" y="950"/>
                    </a:lnTo>
                    <a:lnTo>
                      <a:pt x="496" y="964"/>
                    </a:lnTo>
                    <a:lnTo>
                      <a:pt x="502" y="979"/>
                    </a:lnTo>
                    <a:lnTo>
                      <a:pt x="528" y="979"/>
                    </a:lnTo>
                    <a:lnTo>
                      <a:pt x="535" y="973"/>
                    </a:lnTo>
                    <a:lnTo>
                      <a:pt x="539" y="966"/>
                    </a:lnTo>
                    <a:lnTo>
                      <a:pt x="541" y="960"/>
                    </a:lnTo>
                    <a:lnTo>
                      <a:pt x="543" y="953"/>
                    </a:lnTo>
                    <a:lnTo>
                      <a:pt x="543" y="938"/>
                    </a:lnTo>
                    <a:lnTo>
                      <a:pt x="541" y="918"/>
                    </a:lnTo>
                    <a:lnTo>
                      <a:pt x="543" y="913"/>
                    </a:lnTo>
                    <a:lnTo>
                      <a:pt x="546" y="909"/>
                    </a:lnTo>
                    <a:lnTo>
                      <a:pt x="551" y="905"/>
                    </a:lnTo>
                    <a:lnTo>
                      <a:pt x="557" y="901"/>
                    </a:lnTo>
                    <a:lnTo>
                      <a:pt x="563" y="898"/>
                    </a:lnTo>
                    <a:lnTo>
                      <a:pt x="570" y="896"/>
                    </a:lnTo>
                    <a:lnTo>
                      <a:pt x="577" y="894"/>
                    </a:lnTo>
                    <a:lnTo>
                      <a:pt x="582" y="893"/>
                    </a:lnTo>
                    <a:lnTo>
                      <a:pt x="594" y="894"/>
                    </a:lnTo>
                    <a:lnTo>
                      <a:pt x="605" y="895"/>
                    </a:lnTo>
                    <a:lnTo>
                      <a:pt x="616" y="896"/>
                    </a:lnTo>
                    <a:lnTo>
                      <a:pt x="626" y="898"/>
                    </a:lnTo>
                    <a:lnTo>
                      <a:pt x="644" y="902"/>
                    </a:lnTo>
                    <a:lnTo>
                      <a:pt x="660" y="909"/>
                    </a:lnTo>
                    <a:lnTo>
                      <a:pt x="674" y="916"/>
                    </a:lnTo>
                    <a:lnTo>
                      <a:pt x="686" y="924"/>
                    </a:lnTo>
                    <a:lnTo>
                      <a:pt x="697" y="934"/>
                    </a:lnTo>
                    <a:lnTo>
                      <a:pt x="708" y="943"/>
                    </a:lnTo>
                    <a:lnTo>
                      <a:pt x="729" y="916"/>
                    </a:lnTo>
                    <a:lnTo>
                      <a:pt x="756" y="881"/>
                    </a:lnTo>
                    <a:lnTo>
                      <a:pt x="778" y="851"/>
                    </a:lnTo>
                    <a:lnTo>
                      <a:pt x="787" y="838"/>
                    </a:lnTo>
                    <a:lnTo>
                      <a:pt x="1033" y="789"/>
                    </a:lnTo>
                    <a:lnTo>
                      <a:pt x="1146" y="763"/>
                    </a:lnTo>
                    <a:lnTo>
                      <a:pt x="1227" y="616"/>
                    </a:lnTo>
                    <a:lnTo>
                      <a:pt x="1199" y="567"/>
                    </a:lnTo>
                    <a:lnTo>
                      <a:pt x="1173" y="591"/>
                    </a:lnTo>
                    <a:lnTo>
                      <a:pt x="1000" y="573"/>
                    </a:lnTo>
                    <a:lnTo>
                      <a:pt x="940" y="480"/>
                    </a:lnTo>
                    <a:lnTo>
                      <a:pt x="940" y="4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1" name="Freeform 528"/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10322193" y="2661810"/>
                <a:ext cx="57150" cy="57150"/>
              </a:xfrm>
              <a:custGeom>
                <a:avLst/>
                <a:gdLst>
                  <a:gd name="T0" fmla="*/ 2147483647 w 146"/>
                  <a:gd name="T1" fmla="*/ 2147483647 h 81"/>
                  <a:gd name="T2" fmla="*/ 2147483647 w 146"/>
                  <a:gd name="T3" fmla="*/ 2147483647 h 81"/>
                  <a:gd name="T4" fmla="*/ 2147483647 w 146"/>
                  <a:gd name="T5" fmla="*/ 2147483647 h 81"/>
                  <a:gd name="T6" fmla="*/ 2147483647 w 146"/>
                  <a:gd name="T7" fmla="*/ 2147483647 h 81"/>
                  <a:gd name="T8" fmla="*/ 2147483647 w 146"/>
                  <a:gd name="T9" fmla="*/ 2147483647 h 81"/>
                  <a:gd name="T10" fmla="*/ 2147483647 w 146"/>
                  <a:gd name="T11" fmla="*/ 2147483647 h 81"/>
                  <a:gd name="T12" fmla="*/ 2147483647 w 146"/>
                  <a:gd name="T13" fmla="*/ 2147483647 h 81"/>
                  <a:gd name="T14" fmla="*/ 2147483647 w 146"/>
                  <a:gd name="T15" fmla="*/ 2147483647 h 81"/>
                  <a:gd name="T16" fmla="*/ 2147483647 w 146"/>
                  <a:gd name="T17" fmla="*/ 2147483647 h 81"/>
                  <a:gd name="T18" fmla="*/ 2147483647 w 146"/>
                  <a:gd name="T19" fmla="*/ 2147483647 h 81"/>
                  <a:gd name="T20" fmla="*/ 2147483647 w 146"/>
                  <a:gd name="T21" fmla="*/ 2147483647 h 81"/>
                  <a:gd name="T22" fmla="*/ 2147483647 w 146"/>
                  <a:gd name="T23" fmla="*/ 2147483647 h 81"/>
                  <a:gd name="T24" fmla="*/ 2147483647 w 146"/>
                  <a:gd name="T25" fmla="*/ 2147483647 h 81"/>
                  <a:gd name="T26" fmla="*/ 1259501058 w 146"/>
                  <a:gd name="T27" fmla="*/ 2147483647 h 81"/>
                  <a:gd name="T28" fmla="*/ 0 w 146"/>
                  <a:gd name="T29" fmla="*/ 2147483647 h 81"/>
                  <a:gd name="T30" fmla="*/ 0 w 146"/>
                  <a:gd name="T31" fmla="*/ 2147483647 h 81"/>
                  <a:gd name="T32" fmla="*/ 0 w 146"/>
                  <a:gd name="T33" fmla="*/ 2147483647 h 81"/>
                  <a:gd name="T34" fmla="*/ 0 w 146"/>
                  <a:gd name="T35" fmla="*/ 2147483647 h 81"/>
                  <a:gd name="T36" fmla="*/ 0 w 146"/>
                  <a:gd name="T37" fmla="*/ 2147483647 h 81"/>
                  <a:gd name="T38" fmla="*/ 839667372 w 146"/>
                  <a:gd name="T39" fmla="*/ 2147483647 h 81"/>
                  <a:gd name="T40" fmla="*/ 1319564925 w 146"/>
                  <a:gd name="T41" fmla="*/ 2147483647 h 81"/>
                  <a:gd name="T42" fmla="*/ 1859372901 w 146"/>
                  <a:gd name="T43" fmla="*/ 2147483647 h 81"/>
                  <a:gd name="T44" fmla="*/ 2147483647 w 146"/>
                  <a:gd name="T45" fmla="*/ 2147483647 h 81"/>
                  <a:gd name="T46" fmla="*/ 2147483647 w 146"/>
                  <a:gd name="T47" fmla="*/ 2147483647 h 81"/>
                  <a:gd name="T48" fmla="*/ 2147483647 w 146"/>
                  <a:gd name="T49" fmla="*/ 2147483647 h 81"/>
                  <a:gd name="T50" fmla="*/ 2147483647 w 146"/>
                  <a:gd name="T51" fmla="*/ 2147483647 h 81"/>
                  <a:gd name="T52" fmla="*/ 2147483647 w 146"/>
                  <a:gd name="T53" fmla="*/ 2147483647 h 81"/>
                  <a:gd name="T54" fmla="*/ 2147483647 w 146"/>
                  <a:gd name="T55" fmla="*/ 1756268889 h 81"/>
                  <a:gd name="T56" fmla="*/ 2147483647 w 146"/>
                  <a:gd name="T57" fmla="*/ 0 h 81"/>
                  <a:gd name="T58" fmla="*/ 2147483647 w 146"/>
                  <a:gd name="T59" fmla="*/ 1404816144 h 81"/>
                  <a:gd name="T60" fmla="*/ 2147483647 w 146"/>
                  <a:gd name="T61" fmla="*/ 2147483647 h 81"/>
                  <a:gd name="T62" fmla="*/ 2147483647 w 146"/>
                  <a:gd name="T63" fmla="*/ 2147483647 h 81"/>
                  <a:gd name="T64" fmla="*/ 2147483647 w 146"/>
                  <a:gd name="T65" fmla="*/ 2147483647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2" name="Freeform 529"/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10061843" y="2874535"/>
                <a:ext cx="15875" cy="57150"/>
              </a:xfrm>
              <a:custGeom>
                <a:avLst/>
                <a:gdLst>
                  <a:gd name="T0" fmla="*/ 2147483647 w 34"/>
                  <a:gd name="T1" fmla="*/ 2147483647 h 49"/>
                  <a:gd name="T2" fmla="*/ 2147483647 w 34"/>
                  <a:gd name="T3" fmla="*/ 2147483647 h 49"/>
                  <a:gd name="T4" fmla="*/ 2147483647 w 34"/>
                  <a:gd name="T5" fmla="*/ 2147483647 h 49"/>
                  <a:gd name="T6" fmla="*/ 2147483647 w 34"/>
                  <a:gd name="T7" fmla="*/ 2147483647 h 49"/>
                  <a:gd name="T8" fmla="*/ 2147483647 w 34"/>
                  <a:gd name="T9" fmla="*/ 2147483647 h 49"/>
                  <a:gd name="T10" fmla="*/ 2147483647 w 34"/>
                  <a:gd name="T11" fmla="*/ 2147483647 h 49"/>
                  <a:gd name="T12" fmla="*/ 2147483647 w 34"/>
                  <a:gd name="T13" fmla="*/ 2147483647 h 49"/>
                  <a:gd name="T14" fmla="*/ 2147483647 w 34"/>
                  <a:gd name="T15" fmla="*/ 2147483647 h 49"/>
                  <a:gd name="T16" fmla="*/ 2137554743 w 34"/>
                  <a:gd name="T17" fmla="*/ 0 h 49"/>
                  <a:gd name="T18" fmla="*/ 814254430 w 34"/>
                  <a:gd name="T19" fmla="*/ 0 h 49"/>
                  <a:gd name="T20" fmla="*/ 0 w 34"/>
                  <a:gd name="T21" fmla="*/ 0 h 49"/>
                  <a:gd name="T22" fmla="*/ 305427063 w 34"/>
                  <a:gd name="T23" fmla="*/ 2147483647 h 49"/>
                  <a:gd name="T24" fmla="*/ 712445721 w 34"/>
                  <a:gd name="T25" fmla="*/ 2147483647 h 49"/>
                  <a:gd name="T26" fmla="*/ 1017872783 w 34"/>
                  <a:gd name="T27" fmla="*/ 2147483647 h 49"/>
                  <a:gd name="T28" fmla="*/ 1425109022 w 34"/>
                  <a:gd name="T29" fmla="*/ 2147483647 h 49"/>
                  <a:gd name="T30" fmla="*/ 1933936390 w 34"/>
                  <a:gd name="T31" fmla="*/ 2147483647 h 49"/>
                  <a:gd name="T32" fmla="*/ 2147483647 w 34"/>
                  <a:gd name="T33" fmla="*/ 2147483647 h 49"/>
                  <a:gd name="T34" fmla="*/ 2147483647 w 34"/>
                  <a:gd name="T35" fmla="*/ 2147483647 h 49"/>
                  <a:gd name="T36" fmla="*/ 2147483647 w 34"/>
                  <a:gd name="T37" fmla="*/ 2147483647 h 4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3" name="Freeform 530"/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9653855" y="3220610"/>
                <a:ext cx="28575" cy="57150"/>
              </a:xfrm>
              <a:custGeom>
                <a:avLst/>
                <a:gdLst>
                  <a:gd name="T0" fmla="*/ 2147483647 w 60"/>
                  <a:gd name="T1" fmla="*/ 0 h 74"/>
                  <a:gd name="T2" fmla="*/ 2147483647 w 60"/>
                  <a:gd name="T3" fmla="*/ 1842412512 h 74"/>
                  <a:gd name="T4" fmla="*/ 2147483647 w 60"/>
                  <a:gd name="T5" fmla="*/ 2147483647 h 74"/>
                  <a:gd name="T6" fmla="*/ 2147483647 w 60"/>
                  <a:gd name="T7" fmla="*/ 2147483647 h 74"/>
                  <a:gd name="T8" fmla="*/ 2147483647 w 60"/>
                  <a:gd name="T9" fmla="*/ 2147483647 h 74"/>
                  <a:gd name="T10" fmla="*/ 2147483647 w 60"/>
                  <a:gd name="T11" fmla="*/ 2147483647 h 74"/>
                  <a:gd name="T12" fmla="*/ 2147483647 w 60"/>
                  <a:gd name="T13" fmla="*/ 2147483647 h 74"/>
                  <a:gd name="T14" fmla="*/ 2147483647 w 60"/>
                  <a:gd name="T15" fmla="*/ 2147483647 h 74"/>
                  <a:gd name="T16" fmla="*/ 2147483647 w 60"/>
                  <a:gd name="T17" fmla="*/ 2147483647 h 74"/>
                  <a:gd name="T18" fmla="*/ 2147483647 w 60"/>
                  <a:gd name="T19" fmla="*/ 2147483647 h 74"/>
                  <a:gd name="T20" fmla="*/ 2147483647 w 60"/>
                  <a:gd name="T21" fmla="*/ 2147483647 h 74"/>
                  <a:gd name="T22" fmla="*/ 2147483647 w 60"/>
                  <a:gd name="T23" fmla="*/ 2147483647 h 74"/>
                  <a:gd name="T24" fmla="*/ 1620359663 w 60"/>
                  <a:gd name="T25" fmla="*/ 2147483647 h 74"/>
                  <a:gd name="T26" fmla="*/ 864161816 w 60"/>
                  <a:gd name="T27" fmla="*/ 2147483647 h 74"/>
                  <a:gd name="T28" fmla="*/ 0 w 60"/>
                  <a:gd name="T29" fmla="*/ 2147483647 h 74"/>
                  <a:gd name="T30" fmla="*/ 540044164 w 60"/>
                  <a:gd name="T31" fmla="*/ 2147483647 h 74"/>
                  <a:gd name="T32" fmla="*/ 1296242486 w 60"/>
                  <a:gd name="T33" fmla="*/ 2147483647 h 74"/>
                  <a:gd name="T34" fmla="*/ 2052440333 w 60"/>
                  <a:gd name="T35" fmla="*/ 2147483647 h 74"/>
                  <a:gd name="T36" fmla="*/ 2147483647 w 60"/>
                  <a:gd name="T37" fmla="*/ 2147483647 h 74"/>
                  <a:gd name="T38" fmla="*/ 2147483647 w 60"/>
                  <a:gd name="T39" fmla="*/ 2147483647 h 74"/>
                  <a:gd name="T40" fmla="*/ 2147483647 w 60"/>
                  <a:gd name="T41" fmla="*/ 2147483647 h 74"/>
                  <a:gd name="T42" fmla="*/ 2147483647 w 60"/>
                  <a:gd name="T43" fmla="*/ 1381958824 h 74"/>
                  <a:gd name="T44" fmla="*/ 2147483647 w 60"/>
                  <a:gd name="T45" fmla="*/ 460454461 h 74"/>
                  <a:gd name="T46" fmla="*/ 2147483647 w 60"/>
                  <a:gd name="T47" fmla="*/ 0 h 74"/>
                  <a:gd name="T48" fmla="*/ 2147483647 w 60"/>
                  <a:gd name="T49" fmla="*/ 0 h 7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0" h="74">
                    <a:moveTo>
                      <a:pt x="60" y="0"/>
                    </a:moveTo>
                    <a:lnTo>
                      <a:pt x="56" y="4"/>
                    </a:lnTo>
                    <a:lnTo>
                      <a:pt x="51" y="10"/>
                    </a:lnTo>
                    <a:lnTo>
                      <a:pt x="48" y="15"/>
                    </a:lnTo>
                    <a:lnTo>
                      <a:pt x="46" y="21"/>
                    </a:lnTo>
                    <a:lnTo>
                      <a:pt x="41" y="31"/>
                    </a:lnTo>
                    <a:lnTo>
                      <a:pt x="37" y="42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29" y="56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9"/>
                    </a:lnTo>
                    <a:lnTo>
                      <a:pt x="8" y="72"/>
                    </a:lnTo>
                    <a:lnTo>
                      <a:pt x="0" y="74"/>
                    </a:lnTo>
                    <a:lnTo>
                      <a:pt x="5" y="60"/>
                    </a:lnTo>
                    <a:lnTo>
                      <a:pt x="12" y="47"/>
                    </a:lnTo>
                    <a:lnTo>
                      <a:pt x="19" y="34"/>
                    </a:lnTo>
                    <a:lnTo>
                      <a:pt x="27" y="23"/>
                    </a:lnTo>
                    <a:lnTo>
                      <a:pt x="36" y="14"/>
                    </a:lnTo>
                    <a:lnTo>
                      <a:pt x="43" y="6"/>
                    </a:lnTo>
                    <a:lnTo>
                      <a:pt x="48" y="3"/>
                    </a:lnTo>
                    <a:lnTo>
                      <a:pt x="52" y="1"/>
                    </a:lnTo>
                    <a:lnTo>
                      <a:pt x="56" y="0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4" name="Freeform 531"/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9595118" y="3236485"/>
                <a:ext cx="23812" cy="60325"/>
              </a:xfrm>
              <a:custGeom>
                <a:avLst/>
                <a:gdLst>
                  <a:gd name="T0" fmla="*/ 1690510141 w 47"/>
                  <a:gd name="T1" fmla="*/ 2147483647 h 45"/>
                  <a:gd name="T2" fmla="*/ 2147483647 w 47"/>
                  <a:gd name="T3" fmla="*/ 2147483647 h 45"/>
                  <a:gd name="T4" fmla="*/ 2147483647 w 47"/>
                  <a:gd name="T5" fmla="*/ 2147483647 h 45"/>
                  <a:gd name="T6" fmla="*/ 2147483647 w 47"/>
                  <a:gd name="T7" fmla="*/ 2147483647 h 45"/>
                  <a:gd name="T8" fmla="*/ 2147483647 w 47"/>
                  <a:gd name="T9" fmla="*/ 2147483647 h 45"/>
                  <a:gd name="T10" fmla="*/ 2147483647 w 47"/>
                  <a:gd name="T11" fmla="*/ 2147483647 h 45"/>
                  <a:gd name="T12" fmla="*/ 2147483647 w 47"/>
                  <a:gd name="T13" fmla="*/ 0 h 45"/>
                  <a:gd name="T14" fmla="*/ 2147483647 w 47"/>
                  <a:gd name="T15" fmla="*/ 2147483647 h 45"/>
                  <a:gd name="T16" fmla="*/ 2147483647 w 47"/>
                  <a:gd name="T17" fmla="*/ 2147483647 h 45"/>
                  <a:gd name="T18" fmla="*/ 2147483647 w 47"/>
                  <a:gd name="T19" fmla="*/ 2147483647 h 45"/>
                  <a:gd name="T20" fmla="*/ 2147483647 w 47"/>
                  <a:gd name="T21" fmla="*/ 2147483647 h 45"/>
                  <a:gd name="T22" fmla="*/ 2147483647 w 47"/>
                  <a:gd name="T23" fmla="*/ 2147483647 h 45"/>
                  <a:gd name="T24" fmla="*/ 2147483647 w 47"/>
                  <a:gd name="T25" fmla="*/ 2147483647 h 45"/>
                  <a:gd name="T26" fmla="*/ 2147483647 w 47"/>
                  <a:gd name="T27" fmla="*/ 2147483647 h 45"/>
                  <a:gd name="T28" fmla="*/ 2147483647 w 47"/>
                  <a:gd name="T29" fmla="*/ 2147483647 h 45"/>
                  <a:gd name="T30" fmla="*/ 2147483647 w 47"/>
                  <a:gd name="T31" fmla="*/ 2147483647 h 45"/>
                  <a:gd name="T32" fmla="*/ 2080667228 w 47"/>
                  <a:gd name="T33" fmla="*/ 2147483647 h 45"/>
                  <a:gd name="T34" fmla="*/ 910195461 w 47"/>
                  <a:gd name="T35" fmla="*/ 2147483647 h 45"/>
                  <a:gd name="T36" fmla="*/ 0 w 47"/>
                  <a:gd name="T37" fmla="*/ 2147483647 h 45"/>
                  <a:gd name="T38" fmla="*/ 260019440 w 47"/>
                  <a:gd name="T39" fmla="*/ 2147483647 h 45"/>
                  <a:gd name="T40" fmla="*/ 780314174 w 47"/>
                  <a:gd name="T41" fmla="*/ 2147483647 h 45"/>
                  <a:gd name="T42" fmla="*/ 1430490701 w 47"/>
                  <a:gd name="T43" fmla="*/ 2147483647 h 45"/>
                  <a:gd name="T44" fmla="*/ 1690510141 w 47"/>
                  <a:gd name="T45" fmla="*/ 2147483647 h 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7" h="45">
                    <a:moveTo>
                      <a:pt x="13" y="8"/>
                    </a:moveTo>
                    <a:lnTo>
                      <a:pt x="22" y="8"/>
                    </a:lnTo>
                    <a:lnTo>
                      <a:pt x="28" y="6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7" y="1"/>
                    </a:lnTo>
                    <a:lnTo>
                      <a:pt x="39" y="0"/>
                    </a:lnTo>
                    <a:lnTo>
                      <a:pt x="43" y="1"/>
                    </a:lnTo>
                    <a:lnTo>
                      <a:pt x="47" y="2"/>
                    </a:lnTo>
                    <a:lnTo>
                      <a:pt x="46" y="7"/>
                    </a:lnTo>
                    <a:lnTo>
                      <a:pt x="46" y="11"/>
                    </a:lnTo>
                    <a:lnTo>
                      <a:pt x="44" y="15"/>
                    </a:lnTo>
                    <a:lnTo>
                      <a:pt x="43" y="19"/>
                    </a:lnTo>
                    <a:lnTo>
                      <a:pt x="37" y="26"/>
                    </a:lnTo>
                    <a:lnTo>
                      <a:pt x="30" y="32"/>
                    </a:lnTo>
                    <a:lnTo>
                      <a:pt x="24" y="38"/>
                    </a:lnTo>
                    <a:lnTo>
                      <a:pt x="16" y="42"/>
                    </a:lnTo>
                    <a:lnTo>
                      <a:pt x="7" y="45"/>
                    </a:lnTo>
                    <a:lnTo>
                      <a:pt x="0" y="45"/>
                    </a:lnTo>
                    <a:lnTo>
                      <a:pt x="2" y="38"/>
                    </a:lnTo>
                    <a:lnTo>
                      <a:pt x="6" y="26"/>
                    </a:lnTo>
                    <a:lnTo>
                      <a:pt x="11" y="15"/>
                    </a:lnTo>
                    <a:lnTo>
                      <a:pt x="13" y="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5" name="Freeform 532"/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9569718" y="3230135"/>
                <a:ext cx="6350" cy="57150"/>
              </a:xfrm>
              <a:custGeom>
                <a:avLst/>
                <a:gdLst>
                  <a:gd name="T0" fmla="*/ 87385281 w 26"/>
                  <a:gd name="T1" fmla="*/ 2147483647 h 36"/>
                  <a:gd name="T2" fmla="*/ 72831081 w 26"/>
                  <a:gd name="T3" fmla="*/ 2147483647 h 36"/>
                  <a:gd name="T4" fmla="*/ 43722437 w 26"/>
                  <a:gd name="T5" fmla="*/ 2147483647 h 36"/>
                  <a:gd name="T6" fmla="*/ 14554200 w 26"/>
                  <a:gd name="T7" fmla="*/ 2147483647 h 36"/>
                  <a:gd name="T8" fmla="*/ 0 w 26"/>
                  <a:gd name="T9" fmla="*/ 0 h 36"/>
                  <a:gd name="T10" fmla="*/ 378768952 w 26"/>
                  <a:gd name="T11" fmla="*/ 0 h 36"/>
                  <a:gd name="T12" fmla="*/ 364214752 w 26"/>
                  <a:gd name="T13" fmla="*/ 2147483647 h 36"/>
                  <a:gd name="T14" fmla="*/ 349660552 w 26"/>
                  <a:gd name="T15" fmla="*/ 2147483647 h 36"/>
                  <a:gd name="T16" fmla="*/ 335046515 w 26"/>
                  <a:gd name="T17" fmla="*/ 2147483647 h 36"/>
                  <a:gd name="T18" fmla="*/ 335046515 w 26"/>
                  <a:gd name="T19" fmla="*/ 2147483647 h 36"/>
                  <a:gd name="T20" fmla="*/ 349660552 w 26"/>
                  <a:gd name="T21" fmla="*/ 2147483647 h 36"/>
                  <a:gd name="T22" fmla="*/ 378768952 w 26"/>
                  <a:gd name="T23" fmla="*/ 2147483647 h 36"/>
                  <a:gd name="T24" fmla="*/ 87385281 w 26"/>
                  <a:gd name="T25" fmla="*/ 2147483647 h 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6" name="Freeform 533"/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10841305" y="2958672"/>
                <a:ext cx="174625" cy="158750"/>
              </a:xfrm>
              <a:custGeom>
                <a:avLst/>
                <a:gdLst>
                  <a:gd name="T0" fmla="*/ 2084051499 w 405"/>
                  <a:gd name="T1" fmla="*/ 2147483647 h 302"/>
                  <a:gd name="T2" fmla="*/ 2147483647 w 405"/>
                  <a:gd name="T3" fmla="*/ 2147483647 h 302"/>
                  <a:gd name="T4" fmla="*/ 2147483647 w 405"/>
                  <a:gd name="T5" fmla="*/ 2147483647 h 302"/>
                  <a:gd name="T6" fmla="*/ 2147483647 w 405"/>
                  <a:gd name="T7" fmla="*/ 2147483647 h 302"/>
                  <a:gd name="T8" fmla="*/ 1442847470 w 405"/>
                  <a:gd name="T9" fmla="*/ 2147483647 h 302"/>
                  <a:gd name="T10" fmla="*/ 480949157 w 405"/>
                  <a:gd name="T11" fmla="*/ 2147483647 h 302"/>
                  <a:gd name="T12" fmla="*/ 160254440 w 405"/>
                  <a:gd name="T13" fmla="*/ 2147483647 h 302"/>
                  <a:gd name="T14" fmla="*/ 400822152 w 405"/>
                  <a:gd name="T15" fmla="*/ 2147483647 h 302"/>
                  <a:gd name="T16" fmla="*/ 480949157 w 405"/>
                  <a:gd name="T17" fmla="*/ 2147483647 h 302"/>
                  <a:gd name="T18" fmla="*/ 1362720466 w 405"/>
                  <a:gd name="T19" fmla="*/ 2147483647 h 302"/>
                  <a:gd name="T20" fmla="*/ 2147483647 w 405"/>
                  <a:gd name="T21" fmla="*/ 2147483647 h 302"/>
                  <a:gd name="T22" fmla="*/ 2147483647 w 405"/>
                  <a:gd name="T23" fmla="*/ 2147483647 h 302"/>
                  <a:gd name="T24" fmla="*/ 2147483647 w 405"/>
                  <a:gd name="T25" fmla="*/ 2147483647 h 302"/>
                  <a:gd name="T26" fmla="*/ 2147483647 w 405"/>
                  <a:gd name="T27" fmla="*/ 2147483647 h 302"/>
                  <a:gd name="T28" fmla="*/ 2147483647 w 405"/>
                  <a:gd name="T29" fmla="*/ 2147483647 h 302"/>
                  <a:gd name="T30" fmla="*/ 2147483647 w 405"/>
                  <a:gd name="T31" fmla="*/ 2147483647 h 302"/>
                  <a:gd name="T32" fmla="*/ 2147483647 w 405"/>
                  <a:gd name="T33" fmla="*/ 2147483647 h 302"/>
                  <a:gd name="T34" fmla="*/ 2147483647 w 405"/>
                  <a:gd name="T35" fmla="*/ 2147483647 h 302"/>
                  <a:gd name="T36" fmla="*/ 2147483647 w 405"/>
                  <a:gd name="T37" fmla="*/ 2147483647 h 302"/>
                  <a:gd name="T38" fmla="*/ 2147483647 w 405"/>
                  <a:gd name="T39" fmla="*/ 2147483647 h 302"/>
                  <a:gd name="T40" fmla="*/ 2147483647 w 405"/>
                  <a:gd name="T41" fmla="*/ 2147483647 h 302"/>
                  <a:gd name="T42" fmla="*/ 2147483647 w 405"/>
                  <a:gd name="T43" fmla="*/ 2147483647 h 302"/>
                  <a:gd name="T44" fmla="*/ 2147483647 w 405"/>
                  <a:gd name="T45" fmla="*/ 2147483647 h 302"/>
                  <a:gd name="T46" fmla="*/ 2147483647 w 405"/>
                  <a:gd name="T47" fmla="*/ 581102798 h 302"/>
                  <a:gd name="T48" fmla="*/ 2147483647 w 405"/>
                  <a:gd name="T49" fmla="*/ 435757711 h 302"/>
                  <a:gd name="T50" fmla="*/ 2147483647 w 405"/>
                  <a:gd name="T51" fmla="*/ 435757711 h 302"/>
                  <a:gd name="T52" fmla="*/ 2147483647 w 405"/>
                  <a:gd name="T53" fmla="*/ 145344561 h 302"/>
                  <a:gd name="T54" fmla="*/ 2147483647 w 405"/>
                  <a:gd name="T55" fmla="*/ 1161929098 h 302"/>
                  <a:gd name="T56" fmla="*/ 2147483647 w 405"/>
                  <a:gd name="T57" fmla="*/ 2147483647 h 302"/>
                  <a:gd name="T58" fmla="*/ 2147483647 w 405"/>
                  <a:gd name="T59" fmla="*/ 2147483647 h 302"/>
                  <a:gd name="T60" fmla="*/ 2147483647 w 405"/>
                  <a:gd name="T61" fmla="*/ 2147483647 h 302"/>
                  <a:gd name="T62" fmla="*/ 2147483647 w 405"/>
                  <a:gd name="T63" fmla="*/ 2147483647 h 302"/>
                  <a:gd name="T64" fmla="*/ 2147483647 w 405"/>
                  <a:gd name="T65" fmla="*/ 2147483647 h 302"/>
                  <a:gd name="T66" fmla="*/ 2147483647 w 405"/>
                  <a:gd name="T67" fmla="*/ 2147483647 h 302"/>
                  <a:gd name="T68" fmla="*/ 2147483647 w 405"/>
                  <a:gd name="T69" fmla="*/ 2147483647 h 302"/>
                  <a:gd name="T70" fmla="*/ 2147483647 w 405"/>
                  <a:gd name="T71" fmla="*/ 2147483647 h 302"/>
                  <a:gd name="T72" fmla="*/ 2147483647 w 405"/>
                  <a:gd name="T73" fmla="*/ 2147483647 h 302"/>
                  <a:gd name="T74" fmla="*/ 2147483647 w 405"/>
                  <a:gd name="T75" fmla="*/ 2147483647 h 302"/>
                  <a:gd name="T76" fmla="*/ 2147483647 w 405"/>
                  <a:gd name="T77" fmla="*/ 2147483647 h 302"/>
                  <a:gd name="T78" fmla="*/ 2147483647 w 405"/>
                  <a:gd name="T79" fmla="*/ 2147483647 h 302"/>
                  <a:gd name="T80" fmla="*/ 2147483647 w 405"/>
                  <a:gd name="T81" fmla="*/ 2147483647 h 302"/>
                  <a:gd name="T82" fmla="*/ 2147483647 w 405"/>
                  <a:gd name="T83" fmla="*/ 2147483647 h 302"/>
                  <a:gd name="T84" fmla="*/ 2147483647 w 405"/>
                  <a:gd name="T85" fmla="*/ 2147483647 h 302"/>
                  <a:gd name="T86" fmla="*/ 2147483647 w 405"/>
                  <a:gd name="T87" fmla="*/ 2147483647 h 302"/>
                  <a:gd name="T88" fmla="*/ 2147483647 w 405"/>
                  <a:gd name="T89" fmla="*/ 2147483647 h 302"/>
                  <a:gd name="T90" fmla="*/ 2084051499 w 405"/>
                  <a:gd name="T91" fmla="*/ 2147483647 h 30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05" h="302">
                    <a:moveTo>
                      <a:pt x="26" y="166"/>
                    </a:moveTo>
                    <a:lnTo>
                      <a:pt x="26" y="162"/>
                    </a:lnTo>
                    <a:lnTo>
                      <a:pt x="27" y="158"/>
                    </a:lnTo>
                    <a:lnTo>
                      <a:pt x="28" y="156"/>
                    </a:lnTo>
                    <a:lnTo>
                      <a:pt x="29" y="155"/>
                    </a:lnTo>
                    <a:lnTo>
                      <a:pt x="30" y="154"/>
                    </a:lnTo>
                    <a:lnTo>
                      <a:pt x="33" y="154"/>
                    </a:lnTo>
                    <a:lnTo>
                      <a:pt x="28" y="151"/>
                    </a:lnTo>
                    <a:lnTo>
                      <a:pt x="23" y="147"/>
                    </a:lnTo>
                    <a:lnTo>
                      <a:pt x="18" y="143"/>
                    </a:lnTo>
                    <a:lnTo>
                      <a:pt x="14" y="138"/>
                    </a:lnTo>
                    <a:lnTo>
                      <a:pt x="6" y="127"/>
                    </a:lnTo>
                    <a:lnTo>
                      <a:pt x="0" y="117"/>
                    </a:lnTo>
                    <a:lnTo>
                      <a:pt x="2" y="116"/>
                    </a:lnTo>
                    <a:lnTo>
                      <a:pt x="4" y="115"/>
                    </a:lnTo>
                    <a:lnTo>
                      <a:pt x="5" y="112"/>
                    </a:lnTo>
                    <a:lnTo>
                      <a:pt x="5" y="110"/>
                    </a:lnTo>
                    <a:lnTo>
                      <a:pt x="6" y="104"/>
                    </a:lnTo>
                    <a:lnTo>
                      <a:pt x="6" y="98"/>
                    </a:lnTo>
                    <a:lnTo>
                      <a:pt x="17" y="97"/>
                    </a:lnTo>
                    <a:lnTo>
                      <a:pt x="26" y="95"/>
                    </a:lnTo>
                    <a:lnTo>
                      <a:pt x="34" y="93"/>
                    </a:lnTo>
                    <a:lnTo>
                      <a:pt x="41" y="91"/>
                    </a:lnTo>
                    <a:lnTo>
                      <a:pt x="47" y="88"/>
                    </a:lnTo>
                    <a:lnTo>
                      <a:pt x="52" y="85"/>
                    </a:lnTo>
                    <a:lnTo>
                      <a:pt x="57" y="82"/>
                    </a:lnTo>
                    <a:lnTo>
                      <a:pt x="60" y="78"/>
                    </a:lnTo>
                    <a:lnTo>
                      <a:pt x="67" y="70"/>
                    </a:lnTo>
                    <a:lnTo>
                      <a:pt x="71" y="61"/>
                    </a:lnTo>
                    <a:lnTo>
                      <a:pt x="75" y="52"/>
                    </a:lnTo>
                    <a:lnTo>
                      <a:pt x="80" y="43"/>
                    </a:lnTo>
                    <a:lnTo>
                      <a:pt x="84" y="47"/>
                    </a:lnTo>
                    <a:lnTo>
                      <a:pt x="89" y="50"/>
                    </a:lnTo>
                    <a:lnTo>
                      <a:pt x="95" y="52"/>
                    </a:lnTo>
                    <a:lnTo>
                      <a:pt x="102" y="53"/>
                    </a:lnTo>
                    <a:lnTo>
                      <a:pt x="117" y="54"/>
                    </a:lnTo>
                    <a:lnTo>
                      <a:pt x="135" y="52"/>
                    </a:lnTo>
                    <a:lnTo>
                      <a:pt x="169" y="46"/>
                    </a:lnTo>
                    <a:lnTo>
                      <a:pt x="200" y="43"/>
                    </a:lnTo>
                    <a:lnTo>
                      <a:pt x="212" y="43"/>
                    </a:lnTo>
                    <a:lnTo>
                      <a:pt x="223" y="42"/>
                    </a:lnTo>
                    <a:lnTo>
                      <a:pt x="234" y="41"/>
                    </a:lnTo>
                    <a:lnTo>
                      <a:pt x="245" y="39"/>
                    </a:lnTo>
                    <a:lnTo>
                      <a:pt x="264" y="35"/>
                    </a:lnTo>
                    <a:lnTo>
                      <a:pt x="283" y="29"/>
                    </a:lnTo>
                    <a:lnTo>
                      <a:pt x="318" y="17"/>
                    </a:lnTo>
                    <a:lnTo>
                      <a:pt x="352" y="6"/>
                    </a:lnTo>
                    <a:lnTo>
                      <a:pt x="359" y="4"/>
                    </a:lnTo>
                    <a:lnTo>
                      <a:pt x="365" y="3"/>
                    </a:lnTo>
                    <a:lnTo>
                      <a:pt x="372" y="3"/>
                    </a:lnTo>
                    <a:lnTo>
                      <a:pt x="378" y="3"/>
                    </a:lnTo>
                    <a:lnTo>
                      <a:pt x="385" y="3"/>
                    </a:lnTo>
                    <a:lnTo>
                      <a:pt x="392" y="2"/>
                    </a:lnTo>
                    <a:lnTo>
                      <a:pt x="398" y="1"/>
                    </a:lnTo>
                    <a:lnTo>
                      <a:pt x="405" y="0"/>
                    </a:lnTo>
                    <a:lnTo>
                      <a:pt x="395" y="8"/>
                    </a:lnTo>
                    <a:lnTo>
                      <a:pt x="372" y="29"/>
                    </a:lnTo>
                    <a:lnTo>
                      <a:pt x="360" y="41"/>
                    </a:lnTo>
                    <a:lnTo>
                      <a:pt x="349" y="52"/>
                    </a:lnTo>
                    <a:lnTo>
                      <a:pt x="344" y="57"/>
                    </a:lnTo>
                    <a:lnTo>
                      <a:pt x="341" y="61"/>
                    </a:lnTo>
                    <a:lnTo>
                      <a:pt x="339" y="64"/>
                    </a:lnTo>
                    <a:lnTo>
                      <a:pt x="339" y="68"/>
                    </a:lnTo>
                    <a:lnTo>
                      <a:pt x="339" y="96"/>
                    </a:lnTo>
                    <a:lnTo>
                      <a:pt x="338" y="132"/>
                    </a:lnTo>
                    <a:lnTo>
                      <a:pt x="337" y="149"/>
                    </a:lnTo>
                    <a:lnTo>
                      <a:pt x="336" y="165"/>
                    </a:lnTo>
                    <a:lnTo>
                      <a:pt x="335" y="180"/>
                    </a:lnTo>
                    <a:lnTo>
                      <a:pt x="332" y="191"/>
                    </a:lnTo>
                    <a:lnTo>
                      <a:pt x="326" y="198"/>
                    </a:lnTo>
                    <a:lnTo>
                      <a:pt x="317" y="204"/>
                    </a:lnTo>
                    <a:lnTo>
                      <a:pt x="305" y="210"/>
                    </a:lnTo>
                    <a:lnTo>
                      <a:pt x="293" y="215"/>
                    </a:lnTo>
                    <a:lnTo>
                      <a:pt x="265" y="227"/>
                    </a:lnTo>
                    <a:lnTo>
                      <a:pt x="239" y="241"/>
                    </a:lnTo>
                    <a:lnTo>
                      <a:pt x="106" y="302"/>
                    </a:lnTo>
                    <a:lnTo>
                      <a:pt x="53" y="271"/>
                    </a:lnTo>
                    <a:lnTo>
                      <a:pt x="57" y="260"/>
                    </a:lnTo>
                    <a:lnTo>
                      <a:pt x="64" y="240"/>
                    </a:lnTo>
                    <a:lnTo>
                      <a:pt x="70" y="228"/>
                    </a:lnTo>
                    <a:lnTo>
                      <a:pt x="75" y="218"/>
                    </a:lnTo>
                    <a:lnTo>
                      <a:pt x="81" y="209"/>
                    </a:lnTo>
                    <a:lnTo>
                      <a:pt x="86" y="203"/>
                    </a:lnTo>
                    <a:lnTo>
                      <a:pt x="86" y="172"/>
                    </a:lnTo>
                    <a:lnTo>
                      <a:pt x="79" y="173"/>
                    </a:lnTo>
                    <a:lnTo>
                      <a:pt x="71" y="173"/>
                    </a:lnTo>
                    <a:lnTo>
                      <a:pt x="63" y="171"/>
                    </a:lnTo>
                    <a:lnTo>
                      <a:pt x="57" y="169"/>
                    </a:lnTo>
                    <a:lnTo>
                      <a:pt x="49" y="167"/>
                    </a:lnTo>
                    <a:lnTo>
                      <a:pt x="41" y="165"/>
                    </a:lnTo>
                    <a:lnTo>
                      <a:pt x="34" y="165"/>
                    </a:lnTo>
                    <a:lnTo>
                      <a:pt x="26" y="16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297" name="Freeform 534"/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12935218" y="3339672"/>
                <a:ext cx="42862" cy="79375"/>
              </a:xfrm>
              <a:custGeom>
                <a:avLst/>
                <a:gdLst>
                  <a:gd name="T0" fmla="*/ 2147483647 w 100"/>
                  <a:gd name="T1" fmla="*/ 134268702 h 155"/>
                  <a:gd name="T2" fmla="*/ 2147483647 w 100"/>
                  <a:gd name="T3" fmla="*/ 2147483647 h 155"/>
                  <a:gd name="T4" fmla="*/ 2147483647 w 100"/>
                  <a:gd name="T5" fmla="*/ 2147483647 h 155"/>
                  <a:gd name="T6" fmla="*/ 2147483647 w 100"/>
                  <a:gd name="T7" fmla="*/ 2147483647 h 155"/>
                  <a:gd name="T8" fmla="*/ 2147483647 w 100"/>
                  <a:gd name="T9" fmla="*/ 2147483647 h 155"/>
                  <a:gd name="T10" fmla="*/ 2147483647 w 100"/>
                  <a:gd name="T11" fmla="*/ 2147483647 h 155"/>
                  <a:gd name="T12" fmla="*/ 2147483647 w 100"/>
                  <a:gd name="T13" fmla="*/ 2147483647 h 155"/>
                  <a:gd name="T14" fmla="*/ 2147483647 w 100"/>
                  <a:gd name="T15" fmla="*/ 2147483647 h 155"/>
                  <a:gd name="T16" fmla="*/ 2147483647 w 100"/>
                  <a:gd name="T17" fmla="*/ 2147483647 h 155"/>
                  <a:gd name="T18" fmla="*/ 2147483647 w 100"/>
                  <a:gd name="T19" fmla="*/ 2147483647 h 155"/>
                  <a:gd name="T20" fmla="*/ 2147483647 w 100"/>
                  <a:gd name="T21" fmla="*/ 2147483647 h 155"/>
                  <a:gd name="T22" fmla="*/ 2147483647 w 100"/>
                  <a:gd name="T23" fmla="*/ 2147483647 h 155"/>
                  <a:gd name="T24" fmla="*/ 2147483647 w 100"/>
                  <a:gd name="T25" fmla="*/ 2147483647 h 155"/>
                  <a:gd name="T26" fmla="*/ 2147483647 w 100"/>
                  <a:gd name="T27" fmla="*/ 2147483647 h 155"/>
                  <a:gd name="T28" fmla="*/ 2147483647 w 100"/>
                  <a:gd name="T29" fmla="*/ 2147483647 h 155"/>
                  <a:gd name="T30" fmla="*/ 2147483647 w 100"/>
                  <a:gd name="T31" fmla="*/ 2147483647 h 155"/>
                  <a:gd name="T32" fmla="*/ 2147483647 w 100"/>
                  <a:gd name="T33" fmla="*/ 2147483647 h 155"/>
                  <a:gd name="T34" fmla="*/ 2047321003 w 100"/>
                  <a:gd name="T35" fmla="*/ 2147483647 h 155"/>
                  <a:gd name="T36" fmla="*/ 1732433606 w 100"/>
                  <a:gd name="T37" fmla="*/ 2147483647 h 155"/>
                  <a:gd name="T38" fmla="*/ 1181104415 w 100"/>
                  <a:gd name="T39" fmla="*/ 2147483647 h 155"/>
                  <a:gd name="T40" fmla="*/ 708772890 w 100"/>
                  <a:gd name="T41" fmla="*/ 2147483647 h 155"/>
                  <a:gd name="T42" fmla="*/ 393701614 w 100"/>
                  <a:gd name="T43" fmla="*/ 2147483647 h 155"/>
                  <a:gd name="T44" fmla="*/ 157443699 w 100"/>
                  <a:gd name="T45" fmla="*/ 2147483647 h 155"/>
                  <a:gd name="T46" fmla="*/ 0 w 100"/>
                  <a:gd name="T47" fmla="*/ 2147483647 h 155"/>
                  <a:gd name="T48" fmla="*/ 0 w 100"/>
                  <a:gd name="T49" fmla="*/ 2147483647 h 155"/>
                  <a:gd name="T50" fmla="*/ 0 w 100"/>
                  <a:gd name="T51" fmla="*/ 2147483647 h 155"/>
                  <a:gd name="T52" fmla="*/ 0 w 100"/>
                  <a:gd name="T53" fmla="*/ 2147483647 h 155"/>
                  <a:gd name="T54" fmla="*/ 0 w 100"/>
                  <a:gd name="T55" fmla="*/ 2147483647 h 155"/>
                  <a:gd name="T56" fmla="*/ 0 w 100"/>
                  <a:gd name="T57" fmla="*/ 2147483647 h 155"/>
                  <a:gd name="T58" fmla="*/ 1181104415 w 100"/>
                  <a:gd name="T59" fmla="*/ 2147483647 h 155"/>
                  <a:gd name="T60" fmla="*/ 2047321003 w 100"/>
                  <a:gd name="T61" fmla="*/ 2147483647 h 155"/>
                  <a:gd name="T62" fmla="*/ 2047321003 w 100"/>
                  <a:gd name="T63" fmla="*/ 2147483647 h 155"/>
                  <a:gd name="T64" fmla="*/ 2126134792 w 100"/>
                  <a:gd name="T65" fmla="*/ 2147483647 h 155"/>
                  <a:gd name="T66" fmla="*/ 2147483647 w 100"/>
                  <a:gd name="T67" fmla="*/ 2147483647 h 155"/>
                  <a:gd name="T68" fmla="*/ 2147483647 w 100"/>
                  <a:gd name="T69" fmla="*/ 2147483647 h 155"/>
                  <a:gd name="T70" fmla="*/ 2147483647 w 100"/>
                  <a:gd name="T71" fmla="*/ 1611484052 h 155"/>
                  <a:gd name="T72" fmla="*/ 2147483647 w 100"/>
                  <a:gd name="T73" fmla="*/ 940141569 h 155"/>
                  <a:gd name="T74" fmla="*/ 2147483647 w 100"/>
                  <a:gd name="T75" fmla="*/ 537073782 h 155"/>
                  <a:gd name="T76" fmla="*/ 2147483647 w 100"/>
                  <a:gd name="T77" fmla="*/ 268536891 h 155"/>
                  <a:gd name="T78" fmla="*/ 2147483647 w 100"/>
                  <a:gd name="T79" fmla="*/ 0 h 155"/>
                  <a:gd name="T80" fmla="*/ 2147483647 w 100"/>
                  <a:gd name="T81" fmla="*/ 0 h 155"/>
                  <a:gd name="T82" fmla="*/ 2147483647 w 100"/>
                  <a:gd name="T83" fmla="*/ 0 h 155"/>
                  <a:gd name="T84" fmla="*/ 2147483647 w 100"/>
                  <a:gd name="T85" fmla="*/ 134268702 h 15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00" h="155">
                    <a:moveTo>
                      <a:pt x="100" y="1"/>
                    </a:moveTo>
                    <a:lnTo>
                      <a:pt x="100" y="30"/>
                    </a:lnTo>
                    <a:lnTo>
                      <a:pt x="100" y="55"/>
                    </a:lnTo>
                    <a:lnTo>
                      <a:pt x="100" y="78"/>
                    </a:lnTo>
                    <a:lnTo>
                      <a:pt x="100" y="99"/>
                    </a:lnTo>
                    <a:lnTo>
                      <a:pt x="98" y="109"/>
                    </a:lnTo>
                    <a:lnTo>
                      <a:pt x="94" y="118"/>
                    </a:lnTo>
                    <a:lnTo>
                      <a:pt x="89" y="128"/>
                    </a:lnTo>
                    <a:lnTo>
                      <a:pt x="82" y="137"/>
                    </a:lnTo>
                    <a:lnTo>
                      <a:pt x="73" y="144"/>
                    </a:lnTo>
                    <a:lnTo>
                      <a:pt x="62" y="150"/>
                    </a:lnTo>
                    <a:lnTo>
                      <a:pt x="57" y="152"/>
                    </a:lnTo>
                    <a:lnTo>
                      <a:pt x="51" y="154"/>
                    </a:lnTo>
                    <a:lnTo>
                      <a:pt x="46" y="155"/>
                    </a:lnTo>
                    <a:lnTo>
                      <a:pt x="39" y="155"/>
                    </a:lnTo>
                    <a:lnTo>
                      <a:pt x="35" y="154"/>
                    </a:lnTo>
                    <a:lnTo>
                      <a:pt x="30" y="153"/>
                    </a:lnTo>
                    <a:lnTo>
                      <a:pt x="26" y="151"/>
                    </a:lnTo>
                    <a:lnTo>
                      <a:pt x="22" y="149"/>
                    </a:lnTo>
                    <a:lnTo>
                      <a:pt x="15" y="142"/>
                    </a:lnTo>
                    <a:lnTo>
                      <a:pt x="9" y="134"/>
                    </a:lnTo>
                    <a:lnTo>
                      <a:pt x="5" y="124"/>
                    </a:lnTo>
                    <a:lnTo>
                      <a:pt x="2" y="11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7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15" y="50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27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5" y="12"/>
                    </a:lnTo>
                    <a:lnTo>
                      <a:pt x="39" y="7"/>
                    </a:lnTo>
                    <a:lnTo>
                      <a:pt x="42" y="4"/>
                    </a:lnTo>
                    <a:lnTo>
                      <a:pt x="48" y="2"/>
                    </a:lnTo>
                    <a:lnTo>
                      <a:pt x="59" y="0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10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grpSp>
            <p:nvGrpSpPr>
              <p:cNvPr id="298" name="Group 535"/>
              <p:cNvGrpSpPr>
                <a:grpSpLocks/>
              </p:cNvGrpSpPr>
              <p:nvPr>
                <p:custDataLst>
                  <p:tags r:id="rId294"/>
                </p:custDataLst>
              </p:nvPr>
            </p:nvGrpSpPr>
            <p:grpSpPr bwMode="auto">
              <a:xfrm>
                <a:off x="10582543" y="2807860"/>
                <a:ext cx="482600" cy="201612"/>
                <a:chOff x="3289" y="1830"/>
                <a:chExt cx="363" cy="128"/>
              </a:xfrm>
            </p:grpSpPr>
            <p:sp>
              <p:nvSpPr>
                <p:cNvPr id="308" name="Freeform 536"/>
                <p:cNvSpPr>
                  <a:spLocks/>
                </p:cNvSpPr>
                <p:nvPr/>
              </p:nvSpPr>
              <p:spPr bwMode="auto">
                <a:xfrm>
                  <a:off x="3289" y="1871"/>
                  <a:ext cx="4" cy="3"/>
                </a:xfrm>
                <a:custGeom>
                  <a:avLst/>
                  <a:gdLst>
                    <a:gd name="T0" fmla="*/ 0 w 13"/>
                    <a:gd name="T1" fmla="*/ 0 h 7"/>
                    <a:gd name="T2" fmla="*/ 0 w 13"/>
                    <a:gd name="T3" fmla="*/ 0 h 7"/>
                    <a:gd name="T4" fmla="*/ 0 w 13"/>
                    <a:gd name="T5" fmla="*/ 0 h 7"/>
                    <a:gd name="T6" fmla="*/ 0 w 13"/>
                    <a:gd name="T7" fmla="*/ 0 h 7"/>
                    <a:gd name="T8" fmla="*/ 0 w 13"/>
                    <a:gd name="T9" fmla="*/ 0 h 7"/>
                    <a:gd name="T10" fmla="*/ 0 w 13"/>
                    <a:gd name="T11" fmla="*/ 0 h 7"/>
                    <a:gd name="T12" fmla="*/ 0 w 13"/>
                    <a:gd name="T13" fmla="*/ 0 h 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2" y="1"/>
                      </a:lnTo>
                      <a:lnTo>
                        <a:pt x="9" y="3"/>
                      </a:lnTo>
                      <a:lnTo>
                        <a:pt x="4" y="5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09" name="Freeform 537"/>
                <p:cNvSpPr>
                  <a:spLocks/>
                </p:cNvSpPr>
                <p:nvPr/>
              </p:nvSpPr>
              <p:spPr bwMode="auto">
                <a:xfrm>
                  <a:off x="3324" y="1937"/>
                  <a:ext cx="10" cy="3"/>
                </a:xfrm>
                <a:custGeom>
                  <a:avLst/>
                  <a:gdLst>
                    <a:gd name="T0" fmla="*/ 0 w 34"/>
                    <a:gd name="T1" fmla="*/ 0 h 8"/>
                    <a:gd name="T2" fmla="*/ 0 w 34"/>
                    <a:gd name="T3" fmla="*/ 0 h 8"/>
                    <a:gd name="T4" fmla="*/ 0 w 34"/>
                    <a:gd name="T5" fmla="*/ 0 h 8"/>
                    <a:gd name="T6" fmla="*/ 1 w 34"/>
                    <a:gd name="T7" fmla="*/ 0 h 8"/>
                    <a:gd name="T8" fmla="*/ 1 w 34"/>
                    <a:gd name="T9" fmla="*/ 0 h 8"/>
                    <a:gd name="T10" fmla="*/ 1 w 34"/>
                    <a:gd name="T11" fmla="*/ 0 h 8"/>
                    <a:gd name="T12" fmla="*/ 1 w 34"/>
                    <a:gd name="T13" fmla="*/ 0 h 8"/>
                    <a:gd name="T14" fmla="*/ 1 w 34"/>
                    <a:gd name="T15" fmla="*/ 0 h 8"/>
                    <a:gd name="T16" fmla="*/ 0 w 34"/>
                    <a:gd name="T17" fmla="*/ 0 h 8"/>
                    <a:gd name="T18" fmla="*/ 0 w 34"/>
                    <a:gd name="T19" fmla="*/ 0 h 8"/>
                    <a:gd name="T20" fmla="*/ 0 w 34"/>
                    <a:gd name="T21" fmla="*/ 0 h 8"/>
                    <a:gd name="T22" fmla="*/ 0 w 34"/>
                    <a:gd name="T23" fmla="*/ 0 h 8"/>
                    <a:gd name="T24" fmla="*/ 0 w 34"/>
                    <a:gd name="T25" fmla="*/ 0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4" h="8">
                      <a:moveTo>
                        <a:pt x="0" y="6"/>
                      </a:moveTo>
                      <a:lnTo>
                        <a:pt x="7" y="5"/>
                      </a:lnTo>
                      <a:lnTo>
                        <a:pt x="15" y="3"/>
                      </a:lnTo>
                      <a:lnTo>
                        <a:pt x="25" y="1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7" y="4"/>
                      </a:lnTo>
                      <a:lnTo>
                        <a:pt x="22" y="6"/>
                      </a:lnTo>
                      <a:lnTo>
                        <a:pt x="18" y="7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0" name="Freeform 538"/>
                <p:cNvSpPr>
                  <a:spLocks/>
                </p:cNvSpPr>
                <p:nvPr/>
              </p:nvSpPr>
              <p:spPr bwMode="auto">
                <a:xfrm>
                  <a:off x="3343" y="1948"/>
                  <a:ext cx="4" cy="8"/>
                </a:xfrm>
                <a:custGeom>
                  <a:avLst/>
                  <a:gdLst>
                    <a:gd name="T0" fmla="*/ 0 w 13"/>
                    <a:gd name="T1" fmla="*/ 1 h 24"/>
                    <a:gd name="T2" fmla="*/ 0 w 13"/>
                    <a:gd name="T3" fmla="*/ 0 h 24"/>
                    <a:gd name="T4" fmla="*/ 0 w 13"/>
                    <a:gd name="T5" fmla="*/ 0 h 24"/>
                    <a:gd name="T6" fmla="*/ 0 w 13"/>
                    <a:gd name="T7" fmla="*/ 1 h 2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3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13" y="12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1" name="Freeform 539"/>
                <p:cNvSpPr>
                  <a:spLocks/>
                </p:cNvSpPr>
                <p:nvPr/>
              </p:nvSpPr>
              <p:spPr bwMode="auto">
                <a:xfrm>
                  <a:off x="3313" y="1834"/>
                  <a:ext cx="34" cy="23"/>
                </a:xfrm>
                <a:custGeom>
                  <a:avLst/>
                  <a:gdLst>
                    <a:gd name="T0" fmla="*/ 0 w 107"/>
                    <a:gd name="T1" fmla="*/ 0 h 69"/>
                    <a:gd name="T2" fmla="*/ 0 w 107"/>
                    <a:gd name="T3" fmla="*/ 1 h 69"/>
                    <a:gd name="T4" fmla="*/ 0 w 107"/>
                    <a:gd name="T5" fmla="*/ 2 h 69"/>
                    <a:gd name="T6" fmla="*/ 0 w 107"/>
                    <a:gd name="T7" fmla="*/ 2 h 69"/>
                    <a:gd name="T8" fmla="*/ 0 w 107"/>
                    <a:gd name="T9" fmla="*/ 3 h 69"/>
                    <a:gd name="T10" fmla="*/ 1 w 107"/>
                    <a:gd name="T11" fmla="*/ 2 h 69"/>
                    <a:gd name="T12" fmla="*/ 2 w 107"/>
                    <a:gd name="T13" fmla="*/ 2 h 69"/>
                    <a:gd name="T14" fmla="*/ 3 w 107"/>
                    <a:gd name="T15" fmla="*/ 2 h 69"/>
                    <a:gd name="T16" fmla="*/ 3 w 107"/>
                    <a:gd name="T17" fmla="*/ 2 h 69"/>
                    <a:gd name="T18" fmla="*/ 3 w 107"/>
                    <a:gd name="T19" fmla="*/ 1 h 69"/>
                    <a:gd name="T20" fmla="*/ 3 w 107"/>
                    <a:gd name="T21" fmla="*/ 1 h 69"/>
                    <a:gd name="T22" fmla="*/ 3 w 107"/>
                    <a:gd name="T23" fmla="*/ 1 h 69"/>
                    <a:gd name="T24" fmla="*/ 3 w 107"/>
                    <a:gd name="T25" fmla="*/ 1 h 69"/>
                    <a:gd name="T26" fmla="*/ 2 w 107"/>
                    <a:gd name="T27" fmla="*/ 1 h 69"/>
                    <a:gd name="T28" fmla="*/ 2 w 107"/>
                    <a:gd name="T29" fmla="*/ 1 h 69"/>
                    <a:gd name="T30" fmla="*/ 2 w 107"/>
                    <a:gd name="T31" fmla="*/ 1 h 69"/>
                    <a:gd name="T32" fmla="*/ 2 w 107"/>
                    <a:gd name="T33" fmla="*/ 0 h 69"/>
                    <a:gd name="T34" fmla="*/ 2 w 107"/>
                    <a:gd name="T35" fmla="*/ 0 h 69"/>
                    <a:gd name="T36" fmla="*/ 2 w 107"/>
                    <a:gd name="T37" fmla="*/ 0 h 69"/>
                    <a:gd name="T38" fmla="*/ 2 w 107"/>
                    <a:gd name="T39" fmla="*/ 0 h 69"/>
                    <a:gd name="T40" fmla="*/ 1 w 107"/>
                    <a:gd name="T41" fmla="*/ 0 h 69"/>
                    <a:gd name="T42" fmla="*/ 1 w 107"/>
                    <a:gd name="T43" fmla="*/ 0 h 69"/>
                    <a:gd name="T44" fmla="*/ 0 w 107"/>
                    <a:gd name="T45" fmla="*/ 0 h 6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107" h="69">
                      <a:moveTo>
                        <a:pt x="0" y="13"/>
                      </a:moveTo>
                      <a:lnTo>
                        <a:pt x="0" y="27"/>
                      </a:lnTo>
                      <a:lnTo>
                        <a:pt x="0" y="45"/>
                      </a:lnTo>
                      <a:lnTo>
                        <a:pt x="0" y="62"/>
                      </a:lnTo>
                      <a:lnTo>
                        <a:pt x="0" y="69"/>
                      </a:lnTo>
                      <a:lnTo>
                        <a:pt x="16" y="66"/>
                      </a:lnTo>
                      <a:lnTo>
                        <a:pt x="49" y="58"/>
                      </a:lnTo>
                      <a:lnTo>
                        <a:pt x="85" y="50"/>
                      </a:lnTo>
                      <a:lnTo>
                        <a:pt x="107" y="44"/>
                      </a:lnTo>
                      <a:lnTo>
                        <a:pt x="101" y="38"/>
                      </a:lnTo>
                      <a:lnTo>
                        <a:pt x="94" y="34"/>
                      </a:lnTo>
                      <a:lnTo>
                        <a:pt x="86" y="30"/>
                      </a:lnTo>
                      <a:lnTo>
                        <a:pt x="78" y="27"/>
                      </a:lnTo>
                      <a:lnTo>
                        <a:pt x="72" y="23"/>
                      </a:lnTo>
                      <a:lnTo>
                        <a:pt x="65" y="18"/>
                      </a:lnTo>
                      <a:lnTo>
                        <a:pt x="63" y="15"/>
                      </a:lnTo>
                      <a:lnTo>
                        <a:pt x="62" y="11"/>
                      </a:lnTo>
                      <a:lnTo>
                        <a:pt x="61" y="7"/>
                      </a:lnTo>
                      <a:lnTo>
                        <a:pt x="61" y="0"/>
                      </a:lnTo>
                      <a:lnTo>
                        <a:pt x="54" y="1"/>
                      </a:lnTo>
                      <a:lnTo>
                        <a:pt x="38" y="4"/>
                      </a:lnTo>
                      <a:lnTo>
                        <a:pt x="18" y="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  <p:sp>
              <p:nvSpPr>
                <p:cNvPr id="312" name="Freeform 540"/>
                <p:cNvSpPr>
                  <a:spLocks/>
                </p:cNvSpPr>
                <p:nvPr/>
              </p:nvSpPr>
              <p:spPr bwMode="auto">
                <a:xfrm>
                  <a:off x="3302" y="1830"/>
                  <a:ext cx="350" cy="128"/>
                </a:xfrm>
                <a:custGeom>
                  <a:avLst/>
                  <a:gdLst>
                    <a:gd name="T0" fmla="*/ 35 w 1070"/>
                    <a:gd name="T1" fmla="*/ 5 h 382"/>
                    <a:gd name="T2" fmla="*/ 34 w 1070"/>
                    <a:gd name="T3" fmla="*/ 4 h 382"/>
                    <a:gd name="T4" fmla="*/ 34 w 1070"/>
                    <a:gd name="T5" fmla="*/ 2 h 382"/>
                    <a:gd name="T6" fmla="*/ 33 w 1070"/>
                    <a:gd name="T7" fmla="*/ 1 h 382"/>
                    <a:gd name="T8" fmla="*/ 28 w 1070"/>
                    <a:gd name="T9" fmla="*/ 1 h 382"/>
                    <a:gd name="T10" fmla="*/ 26 w 1070"/>
                    <a:gd name="T11" fmla="*/ 2 h 382"/>
                    <a:gd name="T12" fmla="*/ 24 w 1070"/>
                    <a:gd name="T13" fmla="*/ 2 h 382"/>
                    <a:gd name="T14" fmla="*/ 22 w 1070"/>
                    <a:gd name="T15" fmla="*/ 2 h 382"/>
                    <a:gd name="T16" fmla="*/ 21 w 1070"/>
                    <a:gd name="T17" fmla="*/ 2 h 382"/>
                    <a:gd name="T18" fmla="*/ 20 w 1070"/>
                    <a:gd name="T19" fmla="*/ 1 h 382"/>
                    <a:gd name="T20" fmla="*/ 18 w 1070"/>
                    <a:gd name="T21" fmla="*/ 1 h 382"/>
                    <a:gd name="T22" fmla="*/ 17 w 1070"/>
                    <a:gd name="T23" fmla="*/ 1 h 382"/>
                    <a:gd name="T24" fmla="*/ 16 w 1070"/>
                    <a:gd name="T25" fmla="*/ 0 h 382"/>
                    <a:gd name="T26" fmla="*/ 14 w 1070"/>
                    <a:gd name="T27" fmla="*/ 1 h 382"/>
                    <a:gd name="T28" fmla="*/ 10 w 1070"/>
                    <a:gd name="T29" fmla="*/ 1 h 382"/>
                    <a:gd name="T30" fmla="*/ 9 w 1070"/>
                    <a:gd name="T31" fmla="*/ 2 h 382"/>
                    <a:gd name="T32" fmla="*/ 5 w 1070"/>
                    <a:gd name="T33" fmla="*/ 2 h 382"/>
                    <a:gd name="T34" fmla="*/ 6 w 1070"/>
                    <a:gd name="T35" fmla="*/ 3 h 382"/>
                    <a:gd name="T36" fmla="*/ 6 w 1070"/>
                    <a:gd name="T37" fmla="*/ 3 h 382"/>
                    <a:gd name="T38" fmla="*/ 4 w 1070"/>
                    <a:gd name="T39" fmla="*/ 3 h 382"/>
                    <a:gd name="T40" fmla="*/ 2 w 1070"/>
                    <a:gd name="T41" fmla="*/ 3 h 382"/>
                    <a:gd name="T42" fmla="*/ 0 w 1070"/>
                    <a:gd name="T43" fmla="*/ 4 h 382"/>
                    <a:gd name="T44" fmla="*/ 0 w 1070"/>
                    <a:gd name="T45" fmla="*/ 5 h 382"/>
                    <a:gd name="T46" fmla="*/ 1 w 1070"/>
                    <a:gd name="T47" fmla="*/ 6 h 382"/>
                    <a:gd name="T48" fmla="*/ 1 w 1070"/>
                    <a:gd name="T49" fmla="*/ 7 h 382"/>
                    <a:gd name="T50" fmla="*/ 1 w 1070"/>
                    <a:gd name="T51" fmla="*/ 8 h 382"/>
                    <a:gd name="T52" fmla="*/ 2 w 1070"/>
                    <a:gd name="T53" fmla="*/ 9 h 382"/>
                    <a:gd name="T54" fmla="*/ 2 w 1070"/>
                    <a:gd name="T55" fmla="*/ 10 h 382"/>
                    <a:gd name="T56" fmla="*/ 3 w 1070"/>
                    <a:gd name="T57" fmla="*/ 10 h 382"/>
                    <a:gd name="T58" fmla="*/ 3 w 1070"/>
                    <a:gd name="T59" fmla="*/ 11 h 382"/>
                    <a:gd name="T60" fmla="*/ 7 w 1070"/>
                    <a:gd name="T61" fmla="*/ 13 h 382"/>
                    <a:gd name="T62" fmla="*/ 9 w 1070"/>
                    <a:gd name="T63" fmla="*/ 14 h 382"/>
                    <a:gd name="T64" fmla="*/ 9 w 1070"/>
                    <a:gd name="T65" fmla="*/ 13 h 382"/>
                    <a:gd name="T66" fmla="*/ 10 w 1070"/>
                    <a:gd name="T67" fmla="*/ 13 h 382"/>
                    <a:gd name="T68" fmla="*/ 10 w 1070"/>
                    <a:gd name="T69" fmla="*/ 12 h 382"/>
                    <a:gd name="T70" fmla="*/ 12 w 1070"/>
                    <a:gd name="T71" fmla="*/ 12 h 382"/>
                    <a:gd name="T72" fmla="*/ 13 w 1070"/>
                    <a:gd name="T73" fmla="*/ 13 h 382"/>
                    <a:gd name="T74" fmla="*/ 14 w 1070"/>
                    <a:gd name="T75" fmla="*/ 14 h 382"/>
                    <a:gd name="T76" fmla="*/ 16 w 1070"/>
                    <a:gd name="T77" fmla="*/ 13 h 382"/>
                    <a:gd name="T78" fmla="*/ 17 w 1070"/>
                    <a:gd name="T79" fmla="*/ 13 h 382"/>
                    <a:gd name="T80" fmla="*/ 18 w 1070"/>
                    <a:gd name="T81" fmla="*/ 12 h 382"/>
                    <a:gd name="T82" fmla="*/ 20 w 1070"/>
                    <a:gd name="T83" fmla="*/ 12 h 382"/>
                    <a:gd name="T84" fmla="*/ 20 w 1070"/>
                    <a:gd name="T85" fmla="*/ 14 h 382"/>
                    <a:gd name="T86" fmla="*/ 21 w 1070"/>
                    <a:gd name="T87" fmla="*/ 14 h 382"/>
                    <a:gd name="T88" fmla="*/ 22 w 1070"/>
                    <a:gd name="T89" fmla="*/ 14 h 382"/>
                    <a:gd name="T90" fmla="*/ 23 w 1070"/>
                    <a:gd name="T91" fmla="*/ 13 h 382"/>
                    <a:gd name="T92" fmla="*/ 26 w 1070"/>
                    <a:gd name="T93" fmla="*/ 12 h 382"/>
                    <a:gd name="T94" fmla="*/ 29 w 1070"/>
                    <a:gd name="T95" fmla="*/ 12 h 382"/>
                    <a:gd name="T96" fmla="*/ 32 w 1070"/>
                    <a:gd name="T97" fmla="*/ 11 h 382"/>
                    <a:gd name="T98" fmla="*/ 34 w 1070"/>
                    <a:gd name="T99" fmla="*/ 11 h 382"/>
                    <a:gd name="T100" fmla="*/ 35 w 1070"/>
                    <a:gd name="T101" fmla="*/ 11 h 382"/>
                    <a:gd name="T102" fmla="*/ 37 w 1070"/>
                    <a:gd name="T103" fmla="*/ 12 h 382"/>
                    <a:gd name="T104" fmla="*/ 37 w 1070"/>
                    <a:gd name="T105" fmla="*/ 10 h 382"/>
                    <a:gd name="T106" fmla="*/ 36 w 1070"/>
                    <a:gd name="T107" fmla="*/ 8 h 382"/>
                    <a:gd name="T108" fmla="*/ 36 w 1070"/>
                    <a:gd name="T109" fmla="*/ 6 h 38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0" t="0" r="r" b="b"/>
                  <a:pathLst>
                    <a:path w="1070" h="382">
                      <a:moveTo>
                        <a:pt x="1011" y="142"/>
                      </a:moveTo>
                      <a:lnTo>
                        <a:pt x="1011" y="136"/>
                      </a:lnTo>
                      <a:lnTo>
                        <a:pt x="1011" y="123"/>
                      </a:lnTo>
                      <a:lnTo>
                        <a:pt x="1000" y="125"/>
                      </a:lnTo>
                      <a:lnTo>
                        <a:pt x="992" y="124"/>
                      </a:lnTo>
                      <a:lnTo>
                        <a:pt x="984" y="122"/>
                      </a:lnTo>
                      <a:lnTo>
                        <a:pt x="980" y="119"/>
                      </a:lnTo>
                      <a:lnTo>
                        <a:pt x="976" y="114"/>
                      </a:lnTo>
                      <a:lnTo>
                        <a:pt x="972" y="109"/>
                      </a:lnTo>
                      <a:lnTo>
                        <a:pt x="970" y="103"/>
                      </a:lnTo>
                      <a:lnTo>
                        <a:pt x="969" y="96"/>
                      </a:lnTo>
                      <a:lnTo>
                        <a:pt x="967" y="82"/>
                      </a:lnTo>
                      <a:lnTo>
                        <a:pt x="966" y="68"/>
                      </a:lnTo>
                      <a:lnTo>
                        <a:pt x="965" y="62"/>
                      </a:lnTo>
                      <a:lnTo>
                        <a:pt x="962" y="57"/>
                      </a:lnTo>
                      <a:lnTo>
                        <a:pt x="960" y="53"/>
                      </a:lnTo>
                      <a:lnTo>
                        <a:pt x="957" y="50"/>
                      </a:lnTo>
                      <a:lnTo>
                        <a:pt x="950" y="44"/>
                      </a:lnTo>
                      <a:lnTo>
                        <a:pt x="944" y="40"/>
                      </a:lnTo>
                      <a:lnTo>
                        <a:pt x="936" y="36"/>
                      </a:lnTo>
                      <a:lnTo>
                        <a:pt x="928" y="33"/>
                      </a:lnTo>
                      <a:lnTo>
                        <a:pt x="912" y="28"/>
                      </a:lnTo>
                      <a:lnTo>
                        <a:pt x="894" y="25"/>
                      </a:lnTo>
                      <a:lnTo>
                        <a:pt x="857" y="22"/>
                      </a:lnTo>
                      <a:lnTo>
                        <a:pt x="817" y="19"/>
                      </a:lnTo>
                      <a:lnTo>
                        <a:pt x="799" y="29"/>
                      </a:lnTo>
                      <a:lnTo>
                        <a:pt x="769" y="43"/>
                      </a:lnTo>
                      <a:lnTo>
                        <a:pt x="752" y="50"/>
                      </a:lnTo>
                      <a:lnTo>
                        <a:pt x="734" y="56"/>
                      </a:lnTo>
                      <a:lnTo>
                        <a:pt x="726" y="58"/>
                      </a:lnTo>
                      <a:lnTo>
                        <a:pt x="719" y="60"/>
                      </a:lnTo>
                      <a:lnTo>
                        <a:pt x="711" y="61"/>
                      </a:lnTo>
                      <a:lnTo>
                        <a:pt x="704" y="62"/>
                      </a:lnTo>
                      <a:lnTo>
                        <a:pt x="692" y="63"/>
                      </a:lnTo>
                      <a:lnTo>
                        <a:pt x="678" y="65"/>
                      </a:lnTo>
                      <a:lnTo>
                        <a:pt x="664" y="67"/>
                      </a:lnTo>
                      <a:lnTo>
                        <a:pt x="652" y="68"/>
                      </a:lnTo>
                      <a:lnTo>
                        <a:pt x="644" y="68"/>
                      </a:lnTo>
                      <a:lnTo>
                        <a:pt x="637" y="67"/>
                      </a:lnTo>
                      <a:lnTo>
                        <a:pt x="632" y="65"/>
                      </a:lnTo>
                      <a:lnTo>
                        <a:pt x="626" y="63"/>
                      </a:lnTo>
                      <a:lnTo>
                        <a:pt x="622" y="59"/>
                      </a:lnTo>
                      <a:lnTo>
                        <a:pt x="618" y="55"/>
                      </a:lnTo>
                      <a:lnTo>
                        <a:pt x="614" y="50"/>
                      </a:lnTo>
                      <a:lnTo>
                        <a:pt x="612" y="44"/>
                      </a:lnTo>
                      <a:lnTo>
                        <a:pt x="601" y="45"/>
                      </a:lnTo>
                      <a:lnTo>
                        <a:pt x="591" y="44"/>
                      </a:lnTo>
                      <a:lnTo>
                        <a:pt x="581" y="42"/>
                      </a:lnTo>
                      <a:lnTo>
                        <a:pt x="571" y="40"/>
                      </a:lnTo>
                      <a:lnTo>
                        <a:pt x="560" y="37"/>
                      </a:lnTo>
                      <a:lnTo>
                        <a:pt x="549" y="34"/>
                      </a:lnTo>
                      <a:lnTo>
                        <a:pt x="537" y="32"/>
                      </a:lnTo>
                      <a:lnTo>
                        <a:pt x="525" y="32"/>
                      </a:lnTo>
                      <a:lnTo>
                        <a:pt x="525" y="25"/>
                      </a:lnTo>
                      <a:lnTo>
                        <a:pt x="525" y="19"/>
                      </a:lnTo>
                      <a:lnTo>
                        <a:pt x="512" y="22"/>
                      </a:lnTo>
                      <a:lnTo>
                        <a:pt x="499" y="25"/>
                      </a:lnTo>
                      <a:lnTo>
                        <a:pt x="493" y="25"/>
                      </a:lnTo>
                      <a:lnTo>
                        <a:pt x="488" y="23"/>
                      </a:lnTo>
                      <a:lnTo>
                        <a:pt x="483" y="21"/>
                      </a:lnTo>
                      <a:lnTo>
                        <a:pt x="477" y="17"/>
                      </a:lnTo>
                      <a:lnTo>
                        <a:pt x="473" y="13"/>
                      </a:lnTo>
                      <a:lnTo>
                        <a:pt x="468" y="9"/>
                      </a:lnTo>
                      <a:lnTo>
                        <a:pt x="466" y="5"/>
                      </a:lnTo>
                      <a:lnTo>
                        <a:pt x="465" y="0"/>
                      </a:lnTo>
                      <a:lnTo>
                        <a:pt x="456" y="5"/>
                      </a:lnTo>
                      <a:lnTo>
                        <a:pt x="445" y="9"/>
                      </a:lnTo>
                      <a:lnTo>
                        <a:pt x="432" y="12"/>
                      </a:lnTo>
                      <a:lnTo>
                        <a:pt x="419" y="14"/>
                      </a:lnTo>
                      <a:lnTo>
                        <a:pt x="390" y="16"/>
                      </a:lnTo>
                      <a:lnTo>
                        <a:pt x="360" y="19"/>
                      </a:lnTo>
                      <a:lnTo>
                        <a:pt x="343" y="20"/>
                      </a:lnTo>
                      <a:lnTo>
                        <a:pt x="329" y="21"/>
                      </a:lnTo>
                      <a:lnTo>
                        <a:pt x="313" y="23"/>
                      </a:lnTo>
                      <a:lnTo>
                        <a:pt x="299" y="26"/>
                      </a:lnTo>
                      <a:lnTo>
                        <a:pt x="286" y="30"/>
                      </a:lnTo>
                      <a:lnTo>
                        <a:pt x="274" y="35"/>
                      </a:lnTo>
                      <a:lnTo>
                        <a:pt x="267" y="38"/>
                      </a:lnTo>
                      <a:lnTo>
                        <a:pt x="262" y="41"/>
                      </a:lnTo>
                      <a:lnTo>
                        <a:pt x="257" y="45"/>
                      </a:lnTo>
                      <a:lnTo>
                        <a:pt x="253" y="50"/>
                      </a:lnTo>
                      <a:lnTo>
                        <a:pt x="147" y="50"/>
                      </a:lnTo>
                      <a:lnTo>
                        <a:pt x="145" y="54"/>
                      </a:lnTo>
                      <a:lnTo>
                        <a:pt x="142" y="58"/>
                      </a:lnTo>
                      <a:lnTo>
                        <a:pt x="138" y="61"/>
                      </a:lnTo>
                      <a:lnTo>
                        <a:pt x="133" y="62"/>
                      </a:lnTo>
                      <a:lnTo>
                        <a:pt x="143" y="65"/>
                      </a:lnTo>
                      <a:lnTo>
                        <a:pt x="153" y="68"/>
                      </a:lnTo>
                      <a:lnTo>
                        <a:pt x="163" y="70"/>
                      </a:lnTo>
                      <a:lnTo>
                        <a:pt x="173" y="75"/>
                      </a:lnTo>
                      <a:lnTo>
                        <a:pt x="173" y="79"/>
                      </a:lnTo>
                      <a:lnTo>
                        <a:pt x="172" y="83"/>
                      </a:lnTo>
                      <a:lnTo>
                        <a:pt x="170" y="86"/>
                      </a:lnTo>
                      <a:lnTo>
                        <a:pt x="167" y="88"/>
                      </a:lnTo>
                      <a:lnTo>
                        <a:pt x="164" y="90"/>
                      </a:lnTo>
                      <a:lnTo>
                        <a:pt x="161" y="91"/>
                      </a:lnTo>
                      <a:lnTo>
                        <a:pt x="158" y="92"/>
                      </a:lnTo>
                      <a:lnTo>
                        <a:pt x="153" y="93"/>
                      </a:lnTo>
                      <a:lnTo>
                        <a:pt x="133" y="94"/>
                      </a:lnTo>
                      <a:lnTo>
                        <a:pt x="114" y="93"/>
                      </a:lnTo>
                      <a:lnTo>
                        <a:pt x="108" y="93"/>
                      </a:lnTo>
                      <a:lnTo>
                        <a:pt x="94" y="93"/>
                      </a:lnTo>
                      <a:lnTo>
                        <a:pt x="74" y="93"/>
                      </a:lnTo>
                      <a:lnTo>
                        <a:pt x="53" y="93"/>
                      </a:lnTo>
                      <a:lnTo>
                        <a:pt x="42" y="94"/>
                      </a:lnTo>
                      <a:lnTo>
                        <a:pt x="31" y="95"/>
                      </a:lnTo>
                      <a:lnTo>
                        <a:pt x="22" y="99"/>
                      </a:lnTo>
                      <a:lnTo>
                        <a:pt x="15" y="104"/>
                      </a:lnTo>
                      <a:lnTo>
                        <a:pt x="11" y="107"/>
                      </a:lnTo>
                      <a:lnTo>
                        <a:pt x="8" y="110"/>
                      </a:lnTo>
                      <a:lnTo>
                        <a:pt x="6" y="114"/>
                      </a:lnTo>
                      <a:lnTo>
                        <a:pt x="4" y="119"/>
                      </a:lnTo>
                      <a:lnTo>
                        <a:pt x="2" y="130"/>
                      </a:lnTo>
                      <a:lnTo>
                        <a:pt x="0" y="142"/>
                      </a:lnTo>
                      <a:lnTo>
                        <a:pt x="0" y="147"/>
                      </a:lnTo>
                      <a:lnTo>
                        <a:pt x="2" y="151"/>
                      </a:lnTo>
                      <a:lnTo>
                        <a:pt x="4" y="154"/>
                      </a:lnTo>
                      <a:lnTo>
                        <a:pt x="5" y="157"/>
                      </a:lnTo>
                      <a:lnTo>
                        <a:pt x="10" y="162"/>
                      </a:lnTo>
                      <a:lnTo>
                        <a:pt x="16" y="167"/>
                      </a:lnTo>
                      <a:lnTo>
                        <a:pt x="20" y="173"/>
                      </a:lnTo>
                      <a:lnTo>
                        <a:pt x="22" y="179"/>
                      </a:lnTo>
                      <a:lnTo>
                        <a:pt x="24" y="183"/>
                      </a:lnTo>
                      <a:lnTo>
                        <a:pt x="24" y="188"/>
                      </a:lnTo>
                      <a:lnTo>
                        <a:pt x="22" y="193"/>
                      </a:lnTo>
                      <a:lnTo>
                        <a:pt x="20" y="198"/>
                      </a:lnTo>
                      <a:lnTo>
                        <a:pt x="19" y="200"/>
                      </a:lnTo>
                      <a:lnTo>
                        <a:pt x="19" y="203"/>
                      </a:lnTo>
                      <a:lnTo>
                        <a:pt x="20" y="206"/>
                      </a:lnTo>
                      <a:lnTo>
                        <a:pt x="21" y="210"/>
                      </a:lnTo>
                      <a:lnTo>
                        <a:pt x="25" y="217"/>
                      </a:lnTo>
                      <a:lnTo>
                        <a:pt x="30" y="224"/>
                      </a:lnTo>
                      <a:lnTo>
                        <a:pt x="37" y="230"/>
                      </a:lnTo>
                      <a:lnTo>
                        <a:pt x="44" y="235"/>
                      </a:lnTo>
                      <a:lnTo>
                        <a:pt x="49" y="237"/>
                      </a:lnTo>
                      <a:lnTo>
                        <a:pt x="52" y="239"/>
                      </a:lnTo>
                      <a:lnTo>
                        <a:pt x="56" y="241"/>
                      </a:lnTo>
                      <a:lnTo>
                        <a:pt x="60" y="241"/>
                      </a:lnTo>
                      <a:lnTo>
                        <a:pt x="59" y="250"/>
                      </a:lnTo>
                      <a:lnTo>
                        <a:pt x="56" y="259"/>
                      </a:lnTo>
                      <a:lnTo>
                        <a:pt x="52" y="266"/>
                      </a:lnTo>
                      <a:lnTo>
                        <a:pt x="47" y="271"/>
                      </a:lnTo>
                      <a:lnTo>
                        <a:pt x="56" y="271"/>
                      </a:lnTo>
                      <a:lnTo>
                        <a:pt x="66" y="271"/>
                      </a:lnTo>
                      <a:lnTo>
                        <a:pt x="74" y="271"/>
                      </a:lnTo>
                      <a:lnTo>
                        <a:pt x="81" y="271"/>
                      </a:lnTo>
                      <a:lnTo>
                        <a:pt x="82" y="275"/>
                      </a:lnTo>
                      <a:lnTo>
                        <a:pt x="84" y="280"/>
                      </a:lnTo>
                      <a:lnTo>
                        <a:pt x="89" y="284"/>
                      </a:lnTo>
                      <a:lnTo>
                        <a:pt x="96" y="290"/>
                      </a:lnTo>
                      <a:lnTo>
                        <a:pt x="112" y="302"/>
                      </a:lnTo>
                      <a:lnTo>
                        <a:pt x="131" y="313"/>
                      </a:lnTo>
                      <a:lnTo>
                        <a:pt x="170" y="334"/>
                      </a:lnTo>
                      <a:lnTo>
                        <a:pt x="193" y="345"/>
                      </a:lnTo>
                      <a:lnTo>
                        <a:pt x="205" y="352"/>
                      </a:lnTo>
                      <a:lnTo>
                        <a:pt x="218" y="360"/>
                      </a:lnTo>
                      <a:lnTo>
                        <a:pt x="226" y="364"/>
                      </a:lnTo>
                      <a:lnTo>
                        <a:pt x="234" y="367"/>
                      </a:lnTo>
                      <a:lnTo>
                        <a:pt x="243" y="370"/>
                      </a:lnTo>
                      <a:lnTo>
                        <a:pt x="253" y="370"/>
                      </a:lnTo>
                      <a:lnTo>
                        <a:pt x="255" y="370"/>
                      </a:lnTo>
                      <a:lnTo>
                        <a:pt x="257" y="367"/>
                      </a:lnTo>
                      <a:lnTo>
                        <a:pt x="261" y="365"/>
                      </a:lnTo>
                      <a:lnTo>
                        <a:pt x="264" y="361"/>
                      </a:lnTo>
                      <a:lnTo>
                        <a:pt x="267" y="358"/>
                      </a:lnTo>
                      <a:lnTo>
                        <a:pt x="271" y="355"/>
                      </a:lnTo>
                      <a:lnTo>
                        <a:pt x="275" y="353"/>
                      </a:lnTo>
                      <a:lnTo>
                        <a:pt x="279" y="352"/>
                      </a:lnTo>
                      <a:lnTo>
                        <a:pt x="277" y="344"/>
                      </a:lnTo>
                      <a:lnTo>
                        <a:pt x="277" y="338"/>
                      </a:lnTo>
                      <a:lnTo>
                        <a:pt x="278" y="332"/>
                      </a:lnTo>
                      <a:lnTo>
                        <a:pt x="280" y="326"/>
                      </a:lnTo>
                      <a:lnTo>
                        <a:pt x="284" y="322"/>
                      </a:lnTo>
                      <a:lnTo>
                        <a:pt x="289" y="318"/>
                      </a:lnTo>
                      <a:lnTo>
                        <a:pt x="297" y="316"/>
                      </a:lnTo>
                      <a:lnTo>
                        <a:pt x="306" y="315"/>
                      </a:lnTo>
                      <a:lnTo>
                        <a:pt x="316" y="315"/>
                      </a:lnTo>
                      <a:lnTo>
                        <a:pt x="323" y="317"/>
                      </a:lnTo>
                      <a:lnTo>
                        <a:pt x="329" y="320"/>
                      </a:lnTo>
                      <a:lnTo>
                        <a:pt x="334" y="323"/>
                      </a:lnTo>
                      <a:lnTo>
                        <a:pt x="343" y="332"/>
                      </a:lnTo>
                      <a:lnTo>
                        <a:pt x="350" y="342"/>
                      </a:lnTo>
                      <a:lnTo>
                        <a:pt x="353" y="347"/>
                      </a:lnTo>
                      <a:lnTo>
                        <a:pt x="357" y="353"/>
                      </a:lnTo>
                      <a:lnTo>
                        <a:pt x="362" y="358"/>
                      </a:lnTo>
                      <a:lnTo>
                        <a:pt x="367" y="362"/>
                      </a:lnTo>
                      <a:lnTo>
                        <a:pt x="373" y="365"/>
                      </a:lnTo>
                      <a:lnTo>
                        <a:pt x="380" y="368"/>
                      </a:lnTo>
                      <a:lnTo>
                        <a:pt x="389" y="370"/>
                      </a:lnTo>
                      <a:lnTo>
                        <a:pt x="399" y="370"/>
                      </a:lnTo>
                      <a:lnTo>
                        <a:pt x="409" y="370"/>
                      </a:lnTo>
                      <a:lnTo>
                        <a:pt x="418" y="369"/>
                      </a:lnTo>
                      <a:lnTo>
                        <a:pt x="425" y="367"/>
                      </a:lnTo>
                      <a:lnTo>
                        <a:pt x="433" y="365"/>
                      </a:lnTo>
                      <a:lnTo>
                        <a:pt x="447" y="359"/>
                      </a:lnTo>
                      <a:lnTo>
                        <a:pt x="459" y="352"/>
                      </a:lnTo>
                      <a:lnTo>
                        <a:pt x="472" y="345"/>
                      </a:lnTo>
                      <a:lnTo>
                        <a:pt x="483" y="339"/>
                      </a:lnTo>
                      <a:lnTo>
                        <a:pt x="488" y="336"/>
                      </a:lnTo>
                      <a:lnTo>
                        <a:pt x="493" y="335"/>
                      </a:lnTo>
                      <a:lnTo>
                        <a:pt x="499" y="333"/>
                      </a:lnTo>
                      <a:lnTo>
                        <a:pt x="506" y="333"/>
                      </a:lnTo>
                      <a:lnTo>
                        <a:pt x="512" y="332"/>
                      </a:lnTo>
                      <a:lnTo>
                        <a:pt x="521" y="329"/>
                      </a:lnTo>
                      <a:lnTo>
                        <a:pt x="525" y="327"/>
                      </a:lnTo>
                      <a:lnTo>
                        <a:pt x="529" y="325"/>
                      </a:lnTo>
                      <a:lnTo>
                        <a:pt x="531" y="323"/>
                      </a:lnTo>
                      <a:lnTo>
                        <a:pt x="532" y="321"/>
                      </a:lnTo>
                      <a:lnTo>
                        <a:pt x="565" y="321"/>
                      </a:lnTo>
                      <a:lnTo>
                        <a:pt x="564" y="326"/>
                      </a:lnTo>
                      <a:lnTo>
                        <a:pt x="563" y="333"/>
                      </a:lnTo>
                      <a:lnTo>
                        <a:pt x="564" y="341"/>
                      </a:lnTo>
                      <a:lnTo>
                        <a:pt x="565" y="349"/>
                      </a:lnTo>
                      <a:lnTo>
                        <a:pt x="566" y="358"/>
                      </a:lnTo>
                      <a:lnTo>
                        <a:pt x="567" y="367"/>
                      </a:lnTo>
                      <a:lnTo>
                        <a:pt x="567" y="375"/>
                      </a:lnTo>
                      <a:lnTo>
                        <a:pt x="565" y="382"/>
                      </a:lnTo>
                      <a:lnTo>
                        <a:pt x="575" y="381"/>
                      </a:lnTo>
                      <a:lnTo>
                        <a:pt x="582" y="379"/>
                      </a:lnTo>
                      <a:lnTo>
                        <a:pt x="590" y="377"/>
                      </a:lnTo>
                      <a:lnTo>
                        <a:pt x="596" y="375"/>
                      </a:lnTo>
                      <a:lnTo>
                        <a:pt x="601" y="372"/>
                      </a:lnTo>
                      <a:lnTo>
                        <a:pt x="605" y="369"/>
                      </a:lnTo>
                      <a:lnTo>
                        <a:pt x="610" y="366"/>
                      </a:lnTo>
                      <a:lnTo>
                        <a:pt x="613" y="362"/>
                      </a:lnTo>
                      <a:lnTo>
                        <a:pt x="623" y="345"/>
                      </a:lnTo>
                      <a:lnTo>
                        <a:pt x="632" y="327"/>
                      </a:lnTo>
                      <a:lnTo>
                        <a:pt x="636" y="331"/>
                      </a:lnTo>
                      <a:lnTo>
                        <a:pt x="641" y="334"/>
                      </a:lnTo>
                      <a:lnTo>
                        <a:pt x="647" y="336"/>
                      </a:lnTo>
                      <a:lnTo>
                        <a:pt x="654" y="337"/>
                      </a:lnTo>
                      <a:lnTo>
                        <a:pt x="669" y="338"/>
                      </a:lnTo>
                      <a:lnTo>
                        <a:pt x="687" y="336"/>
                      </a:lnTo>
                      <a:lnTo>
                        <a:pt x="721" y="330"/>
                      </a:lnTo>
                      <a:lnTo>
                        <a:pt x="752" y="327"/>
                      </a:lnTo>
                      <a:lnTo>
                        <a:pt x="767" y="327"/>
                      </a:lnTo>
                      <a:lnTo>
                        <a:pt x="781" y="325"/>
                      </a:lnTo>
                      <a:lnTo>
                        <a:pt x="794" y="324"/>
                      </a:lnTo>
                      <a:lnTo>
                        <a:pt x="808" y="321"/>
                      </a:lnTo>
                      <a:lnTo>
                        <a:pt x="831" y="315"/>
                      </a:lnTo>
                      <a:lnTo>
                        <a:pt x="853" y="307"/>
                      </a:lnTo>
                      <a:lnTo>
                        <a:pt x="873" y="299"/>
                      </a:lnTo>
                      <a:lnTo>
                        <a:pt x="895" y="290"/>
                      </a:lnTo>
                      <a:lnTo>
                        <a:pt x="906" y="287"/>
                      </a:lnTo>
                      <a:lnTo>
                        <a:pt x="918" y="283"/>
                      </a:lnTo>
                      <a:lnTo>
                        <a:pt x="930" y="280"/>
                      </a:lnTo>
                      <a:lnTo>
                        <a:pt x="944" y="278"/>
                      </a:lnTo>
                      <a:lnTo>
                        <a:pt x="951" y="279"/>
                      </a:lnTo>
                      <a:lnTo>
                        <a:pt x="961" y="284"/>
                      </a:lnTo>
                      <a:lnTo>
                        <a:pt x="967" y="286"/>
                      </a:lnTo>
                      <a:lnTo>
                        <a:pt x="972" y="288"/>
                      </a:lnTo>
                      <a:lnTo>
                        <a:pt x="979" y="289"/>
                      </a:lnTo>
                      <a:lnTo>
                        <a:pt x="983" y="290"/>
                      </a:lnTo>
                      <a:lnTo>
                        <a:pt x="995" y="290"/>
                      </a:lnTo>
                      <a:lnTo>
                        <a:pt x="1005" y="293"/>
                      </a:lnTo>
                      <a:lnTo>
                        <a:pt x="1015" y="295"/>
                      </a:lnTo>
                      <a:lnTo>
                        <a:pt x="1024" y="300"/>
                      </a:lnTo>
                      <a:lnTo>
                        <a:pt x="1034" y="303"/>
                      </a:lnTo>
                      <a:lnTo>
                        <a:pt x="1045" y="306"/>
                      </a:lnTo>
                      <a:lnTo>
                        <a:pt x="1056" y="308"/>
                      </a:lnTo>
                      <a:lnTo>
                        <a:pt x="1070" y="309"/>
                      </a:lnTo>
                      <a:lnTo>
                        <a:pt x="1068" y="297"/>
                      </a:lnTo>
                      <a:lnTo>
                        <a:pt x="1063" y="286"/>
                      </a:lnTo>
                      <a:lnTo>
                        <a:pt x="1060" y="276"/>
                      </a:lnTo>
                      <a:lnTo>
                        <a:pt x="1056" y="268"/>
                      </a:lnTo>
                      <a:lnTo>
                        <a:pt x="1047" y="254"/>
                      </a:lnTo>
                      <a:lnTo>
                        <a:pt x="1038" y="241"/>
                      </a:lnTo>
                      <a:lnTo>
                        <a:pt x="1034" y="233"/>
                      </a:lnTo>
                      <a:lnTo>
                        <a:pt x="1030" y="226"/>
                      </a:lnTo>
                      <a:lnTo>
                        <a:pt x="1026" y="219"/>
                      </a:lnTo>
                      <a:lnTo>
                        <a:pt x="1024" y="211"/>
                      </a:lnTo>
                      <a:lnTo>
                        <a:pt x="1021" y="202"/>
                      </a:lnTo>
                      <a:lnTo>
                        <a:pt x="1018" y="192"/>
                      </a:lnTo>
                      <a:lnTo>
                        <a:pt x="1017" y="179"/>
                      </a:lnTo>
                      <a:lnTo>
                        <a:pt x="1017" y="167"/>
                      </a:lnTo>
                      <a:lnTo>
                        <a:pt x="1014" y="152"/>
                      </a:lnTo>
                      <a:lnTo>
                        <a:pt x="1011" y="142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accent6">
                      <a:lumMod val="40000"/>
                      <a:lumOff val="6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s-MX" dirty="0"/>
                </a:p>
              </p:txBody>
            </p:sp>
          </p:grpSp>
          <p:sp>
            <p:nvSpPr>
              <p:cNvPr id="299" name="Freeform 542"/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12516118" y="3396822"/>
                <a:ext cx="207962" cy="458788"/>
              </a:xfrm>
              <a:custGeom>
                <a:avLst/>
                <a:gdLst>
                  <a:gd name="T0" fmla="*/ 2147483647 w 478"/>
                  <a:gd name="T1" fmla="*/ 2147483647 h 875"/>
                  <a:gd name="T2" fmla="*/ 2147483647 w 478"/>
                  <a:gd name="T3" fmla="*/ 2147483647 h 875"/>
                  <a:gd name="T4" fmla="*/ 2147483647 w 478"/>
                  <a:gd name="T5" fmla="*/ 2147483647 h 875"/>
                  <a:gd name="T6" fmla="*/ 2147483647 w 478"/>
                  <a:gd name="T7" fmla="*/ 2147483647 h 875"/>
                  <a:gd name="T8" fmla="*/ 2147483647 w 478"/>
                  <a:gd name="T9" fmla="*/ 2147483647 h 875"/>
                  <a:gd name="T10" fmla="*/ 2147483647 w 478"/>
                  <a:gd name="T11" fmla="*/ 2147483647 h 875"/>
                  <a:gd name="T12" fmla="*/ 2147483647 w 478"/>
                  <a:gd name="T13" fmla="*/ 2147483647 h 875"/>
                  <a:gd name="T14" fmla="*/ 2147483647 w 478"/>
                  <a:gd name="T15" fmla="*/ 2147483647 h 875"/>
                  <a:gd name="T16" fmla="*/ 2147483647 w 478"/>
                  <a:gd name="T17" fmla="*/ 2147483647 h 875"/>
                  <a:gd name="T18" fmla="*/ 2147483647 w 478"/>
                  <a:gd name="T19" fmla="*/ 2147483647 h 875"/>
                  <a:gd name="T20" fmla="*/ 2147483647 w 478"/>
                  <a:gd name="T21" fmla="*/ 2147483647 h 875"/>
                  <a:gd name="T22" fmla="*/ 2147483647 w 478"/>
                  <a:gd name="T23" fmla="*/ 2147483647 h 875"/>
                  <a:gd name="T24" fmla="*/ 2147483647 w 478"/>
                  <a:gd name="T25" fmla="*/ 2147483647 h 875"/>
                  <a:gd name="T26" fmla="*/ 2147483647 w 478"/>
                  <a:gd name="T27" fmla="*/ 2147483647 h 875"/>
                  <a:gd name="T28" fmla="*/ 2147483647 w 478"/>
                  <a:gd name="T29" fmla="*/ 2147483647 h 875"/>
                  <a:gd name="T30" fmla="*/ 2147483647 w 478"/>
                  <a:gd name="T31" fmla="*/ 2147483647 h 875"/>
                  <a:gd name="T32" fmla="*/ 2147483647 w 478"/>
                  <a:gd name="T33" fmla="*/ 2147483647 h 875"/>
                  <a:gd name="T34" fmla="*/ 2147483647 w 478"/>
                  <a:gd name="T35" fmla="*/ 2147483647 h 875"/>
                  <a:gd name="T36" fmla="*/ 2147483647 w 478"/>
                  <a:gd name="T37" fmla="*/ 2147483647 h 875"/>
                  <a:gd name="T38" fmla="*/ 2147483647 w 478"/>
                  <a:gd name="T39" fmla="*/ 2147483647 h 875"/>
                  <a:gd name="T40" fmla="*/ 2147483647 w 478"/>
                  <a:gd name="T41" fmla="*/ 2147483647 h 875"/>
                  <a:gd name="T42" fmla="*/ 2147483647 w 478"/>
                  <a:gd name="T43" fmla="*/ 2147483647 h 875"/>
                  <a:gd name="T44" fmla="*/ 2147483647 w 478"/>
                  <a:gd name="T45" fmla="*/ 2147483647 h 875"/>
                  <a:gd name="T46" fmla="*/ 2147483647 w 478"/>
                  <a:gd name="T47" fmla="*/ 2147483647 h 875"/>
                  <a:gd name="T48" fmla="*/ 2147483647 w 478"/>
                  <a:gd name="T49" fmla="*/ 2147483647 h 875"/>
                  <a:gd name="T50" fmla="*/ 2147483647 w 478"/>
                  <a:gd name="T51" fmla="*/ 2147483647 h 875"/>
                  <a:gd name="T52" fmla="*/ 2147483647 w 478"/>
                  <a:gd name="T53" fmla="*/ 2147483647 h 875"/>
                  <a:gd name="T54" fmla="*/ 2147483647 w 478"/>
                  <a:gd name="T55" fmla="*/ 2147483647 h 875"/>
                  <a:gd name="T56" fmla="*/ 2147483647 w 478"/>
                  <a:gd name="T57" fmla="*/ 2147483647 h 875"/>
                  <a:gd name="T58" fmla="*/ 2147483647 w 478"/>
                  <a:gd name="T59" fmla="*/ 2147483647 h 875"/>
                  <a:gd name="T60" fmla="*/ 2147483647 w 478"/>
                  <a:gd name="T61" fmla="*/ 2147483647 h 875"/>
                  <a:gd name="T62" fmla="*/ 2147483647 w 478"/>
                  <a:gd name="T63" fmla="*/ 2147483647 h 875"/>
                  <a:gd name="T64" fmla="*/ 2147483647 w 478"/>
                  <a:gd name="T65" fmla="*/ 2147483647 h 875"/>
                  <a:gd name="T66" fmla="*/ 2147483647 w 478"/>
                  <a:gd name="T67" fmla="*/ 2147483647 h 875"/>
                  <a:gd name="T68" fmla="*/ 2147483647 w 478"/>
                  <a:gd name="T69" fmla="*/ 2147483647 h 875"/>
                  <a:gd name="T70" fmla="*/ 2147483647 w 478"/>
                  <a:gd name="T71" fmla="*/ 2147483647 h 875"/>
                  <a:gd name="T72" fmla="*/ 2147483647 w 478"/>
                  <a:gd name="T73" fmla="*/ 2147483647 h 875"/>
                  <a:gd name="T74" fmla="*/ 2147483647 w 478"/>
                  <a:gd name="T75" fmla="*/ 2147483647 h 875"/>
                  <a:gd name="T76" fmla="*/ 2147483647 w 478"/>
                  <a:gd name="T77" fmla="*/ 2147483647 h 875"/>
                  <a:gd name="T78" fmla="*/ 2147483647 w 478"/>
                  <a:gd name="T79" fmla="*/ 2147483647 h 875"/>
                  <a:gd name="T80" fmla="*/ 2147483647 w 478"/>
                  <a:gd name="T81" fmla="*/ 2147483647 h 875"/>
                  <a:gd name="T82" fmla="*/ 2147483647 w 478"/>
                  <a:gd name="T83" fmla="*/ 2147483647 h 875"/>
                  <a:gd name="T84" fmla="*/ 2147483647 w 478"/>
                  <a:gd name="T85" fmla="*/ 2147483647 h 875"/>
                  <a:gd name="T86" fmla="*/ 2147483647 w 478"/>
                  <a:gd name="T87" fmla="*/ 2147483647 h 875"/>
                  <a:gd name="T88" fmla="*/ 2147483647 w 478"/>
                  <a:gd name="T89" fmla="*/ 2147483647 h 875"/>
                  <a:gd name="T90" fmla="*/ 2147483647 w 478"/>
                  <a:gd name="T91" fmla="*/ 2147483647 h 875"/>
                  <a:gd name="T92" fmla="*/ 2147483647 w 478"/>
                  <a:gd name="T93" fmla="*/ 2147483647 h 875"/>
                  <a:gd name="T94" fmla="*/ 2147483647 w 478"/>
                  <a:gd name="T95" fmla="*/ 720842987 h 875"/>
                  <a:gd name="T96" fmla="*/ 2147483647 w 478"/>
                  <a:gd name="T97" fmla="*/ 2147483647 h 875"/>
                  <a:gd name="T98" fmla="*/ 2147483647 w 478"/>
                  <a:gd name="T99" fmla="*/ 2147483647 h 875"/>
                  <a:gd name="T100" fmla="*/ 2147483647 w 478"/>
                  <a:gd name="T101" fmla="*/ 2147483647 h 87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0" name="Freeform 543"/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12603430" y="4082622"/>
                <a:ext cx="25400" cy="57150"/>
              </a:xfrm>
              <a:custGeom>
                <a:avLst/>
                <a:gdLst>
                  <a:gd name="T0" fmla="*/ 2147483647 w 59"/>
                  <a:gd name="T1" fmla="*/ 2147483647 h 31"/>
                  <a:gd name="T2" fmla="*/ 2147483647 w 59"/>
                  <a:gd name="T3" fmla="*/ 2147483647 h 31"/>
                  <a:gd name="T4" fmla="*/ 2147483647 w 59"/>
                  <a:gd name="T5" fmla="*/ 2147483647 h 31"/>
                  <a:gd name="T6" fmla="*/ 2147483647 w 59"/>
                  <a:gd name="T7" fmla="*/ 2147483647 h 31"/>
                  <a:gd name="T8" fmla="*/ 2147483647 w 59"/>
                  <a:gd name="T9" fmla="*/ 2147483647 h 31"/>
                  <a:gd name="T10" fmla="*/ 2147483647 w 59"/>
                  <a:gd name="T11" fmla="*/ 2147483647 h 31"/>
                  <a:gd name="T12" fmla="*/ 2147483647 w 59"/>
                  <a:gd name="T13" fmla="*/ 2147483647 h 31"/>
                  <a:gd name="T14" fmla="*/ 2147483647 w 59"/>
                  <a:gd name="T15" fmla="*/ 2147483647 h 31"/>
                  <a:gd name="T16" fmla="*/ 2074483007 w 59"/>
                  <a:gd name="T17" fmla="*/ 2147483647 h 31"/>
                  <a:gd name="T18" fmla="*/ 1675636708 w 59"/>
                  <a:gd name="T19" fmla="*/ 2147483647 h 31"/>
                  <a:gd name="T20" fmla="*/ 1356485708 w 59"/>
                  <a:gd name="T21" fmla="*/ 2147483647 h 31"/>
                  <a:gd name="T22" fmla="*/ 1117029576 w 59"/>
                  <a:gd name="T23" fmla="*/ 2147483647 h 31"/>
                  <a:gd name="T24" fmla="*/ 877758563 w 59"/>
                  <a:gd name="T25" fmla="*/ 2147483647 h 31"/>
                  <a:gd name="T26" fmla="*/ 319151431 w 59"/>
                  <a:gd name="T27" fmla="*/ 2147483647 h 31"/>
                  <a:gd name="T28" fmla="*/ 0 w 59"/>
                  <a:gd name="T29" fmla="*/ 2147483647 h 31"/>
                  <a:gd name="T30" fmla="*/ 79880417 w 59"/>
                  <a:gd name="T31" fmla="*/ 2147483647 h 31"/>
                  <a:gd name="T32" fmla="*/ 239456132 w 59"/>
                  <a:gd name="T33" fmla="*/ 2147483647 h 31"/>
                  <a:gd name="T34" fmla="*/ 399031847 w 59"/>
                  <a:gd name="T35" fmla="*/ 2147483647 h 31"/>
                  <a:gd name="T36" fmla="*/ 638302431 w 59"/>
                  <a:gd name="T37" fmla="*/ 2147483647 h 31"/>
                  <a:gd name="T38" fmla="*/ 1276604861 w 59"/>
                  <a:gd name="T39" fmla="*/ 2147483647 h 31"/>
                  <a:gd name="T40" fmla="*/ 1914907722 w 59"/>
                  <a:gd name="T41" fmla="*/ 0 h 31"/>
                  <a:gd name="T42" fmla="*/ 2147483647 w 59"/>
                  <a:gd name="T43" fmla="*/ 0 h 31"/>
                  <a:gd name="T44" fmla="*/ 2147483647 w 59"/>
                  <a:gd name="T45" fmla="*/ 2147483647 h 31"/>
                  <a:gd name="T46" fmla="*/ 2147483647 w 59"/>
                  <a:gd name="T47" fmla="*/ 2147483647 h 31"/>
                  <a:gd name="T48" fmla="*/ 2147483647 w 59"/>
                  <a:gd name="T49" fmla="*/ 2147483647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1" name="Freeform 544"/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11295330" y="3341260"/>
                <a:ext cx="174625" cy="271462"/>
              </a:xfrm>
              <a:custGeom>
                <a:avLst/>
                <a:gdLst>
                  <a:gd name="T0" fmla="*/ 2147483647 w 399"/>
                  <a:gd name="T1" fmla="*/ 1151277155 h 518"/>
                  <a:gd name="T2" fmla="*/ 2147483647 w 399"/>
                  <a:gd name="T3" fmla="*/ 2147483647 h 518"/>
                  <a:gd name="T4" fmla="*/ 2147483647 w 399"/>
                  <a:gd name="T5" fmla="*/ 2147483647 h 518"/>
                  <a:gd name="T6" fmla="*/ 2147483647 w 399"/>
                  <a:gd name="T7" fmla="*/ 2147483647 h 518"/>
                  <a:gd name="T8" fmla="*/ 2147483647 w 399"/>
                  <a:gd name="T9" fmla="*/ 2147483647 h 518"/>
                  <a:gd name="T10" fmla="*/ 2147483647 w 399"/>
                  <a:gd name="T11" fmla="*/ 2147483647 h 518"/>
                  <a:gd name="T12" fmla="*/ 2147483647 w 399"/>
                  <a:gd name="T13" fmla="*/ 2147483647 h 518"/>
                  <a:gd name="T14" fmla="*/ 2147483647 w 399"/>
                  <a:gd name="T15" fmla="*/ 2147483647 h 518"/>
                  <a:gd name="T16" fmla="*/ 2147483647 w 399"/>
                  <a:gd name="T17" fmla="*/ 2147483647 h 518"/>
                  <a:gd name="T18" fmla="*/ 2147483647 w 399"/>
                  <a:gd name="T19" fmla="*/ 2147483647 h 518"/>
                  <a:gd name="T20" fmla="*/ 2147483647 w 399"/>
                  <a:gd name="T21" fmla="*/ 2147483647 h 518"/>
                  <a:gd name="T22" fmla="*/ 2147483647 w 399"/>
                  <a:gd name="T23" fmla="*/ 2147483647 h 518"/>
                  <a:gd name="T24" fmla="*/ 2147483647 w 399"/>
                  <a:gd name="T25" fmla="*/ 2147483647 h 518"/>
                  <a:gd name="T26" fmla="*/ 2147483647 w 399"/>
                  <a:gd name="T27" fmla="*/ 2147483647 h 518"/>
                  <a:gd name="T28" fmla="*/ 2147483647 w 399"/>
                  <a:gd name="T29" fmla="*/ 2147483647 h 518"/>
                  <a:gd name="T30" fmla="*/ 2147483647 w 399"/>
                  <a:gd name="T31" fmla="*/ 2147483647 h 518"/>
                  <a:gd name="T32" fmla="*/ 2147483647 w 399"/>
                  <a:gd name="T33" fmla="*/ 2147483647 h 518"/>
                  <a:gd name="T34" fmla="*/ 2147483647 w 399"/>
                  <a:gd name="T35" fmla="*/ 2147483647 h 518"/>
                  <a:gd name="T36" fmla="*/ 2147483647 w 399"/>
                  <a:gd name="T37" fmla="*/ 2147483647 h 518"/>
                  <a:gd name="T38" fmla="*/ 2147483647 w 399"/>
                  <a:gd name="T39" fmla="*/ 2147483647 h 518"/>
                  <a:gd name="T40" fmla="*/ 2147483647 w 399"/>
                  <a:gd name="T41" fmla="*/ 2147483647 h 518"/>
                  <a:gd name="T42" fmla="*/ 2147483647 w 399"/>
                  <a:gd name="T43" fmla="*/ 2147483647 h 518"/>
                  <a:gd name="T44" fmla="*/ 2147483647 w 399"/>
                  <a:gd name="T45" fmla="*/ 2147483647 h 518"/>
                  <a:gd name="T46" fmla="*/ 2147483647 w 399"/>
                  <a:gd name="T47" fmla="*/ 2147483647 h 518"/>
                  <a:gd name="T48" fmla="*/ 2147483647 w 399"/>
                  <a:gd name="T49" fmla="*/ 2147483647 h 518"/>
                  <a:gd name="T50" fmla="*/ 2147483647 w 399"/>
                  <a:gd name="T51" fmla="*/ 2147483647 h 518"/>
                  <a:gd name="T52" fmla="*/ 2147483647 w 399"/>
                  <a:gd name="T53" fmla="*/ 2147483647 h 518"/>
                  <a:gd name="T54" fmla="*/ 2147483647 w 399"/>
                  <a:gd name="T55" fmla="*/ 2147483647 h 518"/>
                  <a:gd name="T56" fmla="*/ 2147483647 w 399"/>
                  <a:gd name="T57" fmla="*/ 2147483647 h 518"/>
                  <a:gd name="T58" fmla="*/ 2147483647 w 399"/>
                  <a:gd name="T59" fmla="*/ 2147483647 h 518"/>
                  <a:gd name="T60" fmla="*/ 2147483647 w 399"/>
                  <a:gd name="T61" fmla="*/ 2147483647 h 518"/>
                  <a:gd name="T62" fmla="*/ 2147483647 w 399"/>
                  <a:gd name="T63" fmla="*/ 2147483647 h 518"/>
                  <a:gd name="T64" fmla="*/ 2147483647 w 399"/>
                  <a:gd name="T65" fmla="*/ 2147483647 h 518"/>
                  <a:gd name="T66" fmla="*/ 2147483647 w 399"/>
                  <a:gd name="T67" fmla="*/ 2147483647 h 518"/>
                  <a:gd name="T68" fmla="*/ 2147483647 w 399"/>
                  <a:gd name="T69" fmla="*/ 2147483647 h 518"/>
                  <a:gd name="T70" fmla="*/ 2147483647 w 399"/>
                  <a:gd name="T71" fmla="*/ 2147483647 h 518"/>
                  <a:gd name="T72" fmla="*/ 2147483647 w 399"/>
                  <a:gd name="T73" fmla="*/ 2147483647 h 518"/>
                  <a:gd name="T74" fmla="*/ 2147483647 w 399"/>
                  <a:gd name="T75" fmla="*/ 2147483647 h 518"/>
                  <a:gd name="T76" fmla="*/ 2147483647 w 399"/>
                  <a:gd name="T77" fmla="*/ 2147483647 h 518"/>
                  <a:gd name="T78" fmla="*/ 2147483647 w 399"/>
                  <a:gd name="T79" fmla="*/ 2147483647 h 518"/>
                  <a:gd name="T80" fmla="*/ 2147483647 w 399"/>
                  <a:gd name="T81" fmla="*/ 2147483647 h 518"/>
                  <a:gd name="T82" fmla="*/ 2147483647 w 399"/>
                  <a:gd name="T83" fmla="*/ 2147483647 h 518"/>
                  <a:gd name="T84" fmla="*/ 1425082238 w 399"/>
                  <a:gd name="T85" fmla="*/ 2147483647 h 518"/>
                  <a:gd name="T86" fmla="*/ 0 w 399"/>
                  <a:gd name="T87" fmla="*/ 2147483647 h 518"/>
                  <a:gd name="T88" fmla="*/ 2147483647 w 399"/>
                  <a:gd name="T89" fmla="*/ 2147483647 h 518"/>
                  <a:gd name="T90" fmla="*/ 2147483647 w 399"/>
                  <a:gd name="T91" fmla="*/ 0 h 51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99" h="518">
                    <a:moveTo>
                      <a:pt x="200" y="0"/>
                    </a:moveTo>
                    <a:lnTo>
                      <a:pt x="200" y="8"/>
                    </a:lnTo>
                    <a:lnTo>
                      <a:pt x="201" y="15"/>
                    </a:lnTo>
                    <a:lnTo>
                      <a:pt x="202" y="22"/>
                    </a:lnTo>
                    <a:lnTo>
                      <a:pt x="205" y="29"/>
                    </a:lnTo>
                    <a:lnTo>
                      <a:pt x="208" y="36"/>
                    </a:lnTo>
                    <a:lnTo>
                      <a:pt x="211" y="42"/>
                    </a:lnTo>
                    <a:lnTo>
                      <a:pt x="214" y="49"/>
                    </a:lnTo>
                    <a:lnTo>
                      <a:pt x="219" y="56"/>
                    </a:lnTo>
                    <a:lnTo>
                      <a:pt x="224" y="63"/>
                    </a:lnTo>
                    <a:lnTo>
                      <a:pt x="230" y="69"/>
                    </a:lnTo>
                    <a:lnTo>
                      <a:pt x="235" y="75"/>
                    </a:lnTo>
                    <a:lnTo>
                      <a:pt x="242" y="81"/>
                    </a:lnTo>
                    <a:lnTo>
                      <a:pt x="249" y="86"/>
                    </a:lnTo>
                    <a:lnTo>
                      <a:pt x="256" y="91"/>
                    </a:lnTo>
                    <a:lnTo>
                      <a:pt x="264" y="95"/>
                    </a:lnTo>
                    <a:lnTo>
                      <a:pt x="273" y="98"/>
                    </a:lnTo>
                    <a:lnTo>
                      <a:pt x="316" y="106"/>
                    </a:lnTo>
                    <a:lnTo>
                      <a:pt x="356" y="116"/>
                    </a:lnTo>
                    <a:lnTo>
                      <a:pt x="365" y="119"/>
                    </a:lnTo>
                    <a:lnTo>
                      <a:pt x="374" y="123"/>
                    </a:lnTo>
                    <a:lnTo>
                      <a:pt x="380" y="127"/>
                    </a:lnTo>
                    <a:lnTo>
                      <a:pt x="387" y="132"/>
                    </a:lnTo>
                    <a:lnTo>
                      <a:pt x="392" y="137"/>
                    </a:lnTo>
                    <a:lnTo>
                      <a:pt x="396" y="144"/>
                    </a:lnTo>
                    <a:lnTo>
                      <a:pt x="398" y="151"/>
                    </a:lnTo>
                    <a:lnTo>
                      <a:pt x="399" y="160"/>
                    </a:lnTo>
                    <a:lnTo>
                      <a:pt x="398" y="174"/>
                    </a:lnTo>
                    <a:lnTo>
                      <a:pt x="396" y="187"/>
                    </a:lnTo>
                    <a:lnTo>
                      <a:pt x="390" y="200"/>
                    </a:lnTo>
                    <a:lnTo>
                      <a:pt x="385" y="213"/>
                    </a:lnTo>
                    <a:lnTo>
                      <a:pt x="369" y="239"/>
                    </a:lnTo>
                    <a:lnTo>
                      <a:pt x="353" y="263"/>
                    </a:lnTo>
                    <a:lnTo>
                      <a:pt x="344" y="276"/>
                    </a:lnTo>
                    <a:lnTo>
                      <a:pt x="335" y="290"/>
                    </a:lnTo>
                    <a:lnTo>
                      <a:pt x="328" y="303"/>
                    </a:lnTo>
                    <a:lnTo>
                      <a:pt x="321" y="316"/>
                    </a:lnTo>
                    <a:lnTo>
                      <a:pt x="314" y="330"/>
                    </a:lnTo>
                    <a:lnTo>
                      <a:pt x="310" y="345"/>
                    </a:lnTo>
                    <a:lnTo>
                      <a:pt x="307" y="360"/>
                    </a:lnTo>
                    <a:lnTo>
                      <a:pt x="306" y="376"/>
                    </a:lnTo>
                    <a:lnTo>
                      <a:pt x="297" y="377"/>
                    </a:lnTo>
                    <a:lnTo>
                      <a:pt x="284" y="381"/>
                    </a:lnTo>
                    <a:lnTo>
                      <a:pt x="268" y="387"/>
                    </a:lnTo>
                    <a:lnTo>
                      <a:pt x="254" y="395"/>
                    </a:lnTo>
                    <a:lnTo>
                      <a:pt x="246" y="399"/>
                    </a:lnTo>
                    <a:lnTo>
                      <a:pt x="241" y="403"/>
                    </a:lnTo>
                    <a:lnTo>
                      <a:pt x="235" y="408"/>
                    </a:lnTo>
                    <a:lnTo>
                      <a:pt x="231" y="413"/>
                    </a:lnTo>
                    <a:lnTo>
                      <a:pt x="227" y="417"/>
                    </a:lnTo>
                    <a:lnTo>
                      <a:pt x="225" y="422"/>
                    </a:lnTo>
                    <a:lnTo>
                      <a:pt x="224" y="427"/>
                    </a:lnTo>
                    <a:lnTo>
                      <a:pt x="227" y="431"/>
                    </a:lnTo>
                    <a:lnTo>
                      <a:pt x="213" y="438"/>
                    </a:lnTo>
                    <a:lnTo>
                      <a:pt x="197" y="446"/>
                    </a:lnTo>
                    <a:lnTo>
                      <a:pt x="188" y="450"/>
                    </a:lnTo>
                    <a:lnTo>
                      <a:pt x="179" y="454"/>
                    </a:lnTo>
                    <a:lnTo>
                      <a:pt x="173" y="456"/>
                    </a:lnTo>
                    <a:lnTo>
                      <a:pt x="166" y="456"/>
                    </a:lnTo>
                    <a:lnTo>
                      <a:pt x="166" y="467"/>
                    </a:lnTo>
                    <a:lnTo>
                      <a:pt x="163" y="475"/>
                    </a:lnTo>
                    <a:lnTo>
                      <a:pt x="158" y="481"/>
                    </a:lnTo>
                    <a:lnTo>
                      <a:pt x="153" y="486"/>
                    </a:lnTo>
                    <a:lnTo>
                      <a:pt x="146" y="490"/>
                    </a:lnTo>
                    <a:lnTo>
                      <a:pt x="139" y="493"/>
                    </a:lnTo>
                    <a:lnTo>
                      <a:pt x="131" y="494"/>
                    </a:lnTo>
                    <a:lnTo>
                      <a:pt x="122" y="496"/>
                    </a:lnTo>
                    <a:lnTo>
                      <a:pt x="102" y="498"/>
                    </a:lnTo>
                    <a:lnTo>
                      <a:pt x="83" y="501"/>
                    </a:lnTo>
                    <a:lnTo>
                      <a:pt x="73" y="504"/>
                    </a:lnTo>
                    <a:lnTo>
                      <a:pt x="64" y="507"/>
                    </a:lnTo>
                    <a:lnTo>
                      <a:pt x="55" y="512"/>
                    </a:lnTo>
                    <a:lnTo>
                      <a:pt x="46" y="518"/>
                    </a:lnTo>
                    <a:lnTo>
                      <a:pt x="46" y="514"/>
                    </a:lnTo>
                    <a:lnTo>
                      <a:pt x="45" y="510"/>
                    </a:lnTo>
                    <a:lnTo>
                      <a:pt x="43" y="506"/>
                    </a:lnTo>
                    <a:lnTo>
                      <a:pt x="40" y="501"/>
                    </a:lnTo>
                    <a:lnTo>
                      <a:pt x="38" y="497"/>
                    </a:lnTo>
                    <a:lnTo>
                      <a:pt x="36" y="492"/>
                    </a:lnTo>
                    <a:lnTo>
                      <a:pt x="34" y="487"/>
                    </a:lnTo>
                    <a:lnTo>
                      <a:pt x="33" y="481"/>
                    </a:lnTo>
                    <a:lnTo>
                      <a:pt x="33" y="468"/>
                    </a:lnTo>
                    <a:lnTo>
                      <a:pt x="31" y="456"/>
                    </a:lnTo>
                    <a:lnTo>
                      <a:pt x="29" y="445"/>
                    </a:lnTo>
                    <a:lnTo>
                      <a:pt x="26" y="436"/>
                    </a:lnTo>
                    <a:lnTo>
                      <a:pt x="17" y="418"/>
                    </a:lnTo>
                    <a:lnTo>
                      <a:pt x="7" y="401"/>
                    </a:lnTo>
                    <a:lnTo>
                      <a:pt x="0" y="358"/>
                    </a:lnTo>
                    <a:lnTo>
                      <a:pt x="113" y="332"/>
                    </a:lnTo>
                    <a:lnTo>
                      <a:pt x="194" y="185"/>
                    </a:lnTo>
                    <a:lnTo>
                      <a:pt x="166" y="136"/>
                    </a:lnTo>
                    <a:lnTo>
                      <a:pt x="20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2" name="Freeform 545"/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10022155" y="3395235"/>
                <a:ext cx="376238" cy="385762"/>
              </a:xfrm>
              <a:custGeom>
                <a:avLst/>
                <a:gdLst>
                  <a:gd name="T0" fmla="*/ 2147483647 w 866"/>
                  <a:gd name="T1" fmla="*/ 2147483647 h 740"/>
                  <a:gd name="T2" fmla="*/ 2147483647 w 866"/>
                  <a:gd name="T3" fmla="*/ 2147483647 h 740"/>
                  <a:gd name="T4" fmla="*/ 2147483647 w 866"/>
                  <a:gd name="T5" fmla="*/ 2147483647 h 740"/>
                  <a:gd name="T6" fmla="*/ 2147483647 w 866"/>
                  <a:gd name="T7" fmla="*/ 141583516 h 740"/>
                  <a:gd name="T8" fmla="*/ 2147483647 w 866"/>
                  <a:gd name="T9" fmla="*/ 850045334 h 740"/>
                  <a:gd name="T10" fmla="*/ 2147483647 w 866"/>
                  <a:gd name="T11" fmla="*/ 2147483647 h 740"/>
                  <a:gd name="T12" fmla="*/ 2147483647 w 866"/>
                  <a:gd name="T13" fmla="*/ 2147483647 h 740"/>
                  <a:gd name="T14" fmla="*/ 2147483647 w 866"/>
                  <a:gd name="T15" fmla="*/ 2147483647 h 740"/>
                  <a:gd name="T16" fmla="*/ 2147483647 w 866"/>
                  <a:gd name="T17" fmla="*/ 2147483647 h 740"/>
                  <a:gd name="T18" fmla="*/ 2147483647 w 866"/>
                  <a:gd name="T19" fmla="*/ 2147483647 h 740"/>
                  <a:gd name="T20" fmla="*/ 2147483647 w 866"/>
                  <a:gd name="T21" fmla="*/ 2147483647 h 740"/>
                  <a:gd name="T22" fmla="*/ 2147483647 w 866"/>
                  <a:gd name="T23" fmla="*/ 2147483647 h 740"/>
                  <a:gd name="T24" fmla="*/ 2147483647 w 866"/>
                  <a:gd name="T25" fmla="*/ 2147483647 h 740"/>
                  <a:gd name="T26" fmla="*/ 2147483647 w 866"/>
                  <a:gd name="T27" fmla="*/ 2147483647 h 740"/>
                  <a:gd name="T28" fmla="*/ 2147483647 w 866"/>
                  <a:gd name="T29" fmla="*/ 2147483647 h 740"/>
                  <a:gd name="T30" fmla="*/ 2147483647 w 866"/>
                  <a:gd name="T31" fmla="*/ 2147483647 h 740"/>
                  <a:gd name="T32" fmla="*/ 2147483647 w 866"/>
                  <a:gd name="T33" fmla="*/ 2147483647 h 740"/>
                  <a:gd name="T34" fmla="*/ 2147483647 w 866"/>
                  <a:gd name="T35" fmla="*/ 2147483647 h 740"/>
                  <a:gd name="T36" fmla="*/ 2147483647 w 866"/>
                  <a:gd name="T37" fmla="*/ 2147483647 h 740"/>
                  <a:gd name="T38" fmla="*/ 2147483647 w 866"/>
                  <a:gd name="T39" fmla="*/ 2147483647 h 740"/>
                  <a:gd name="T40" fmla="*/ 2147483647 w 866"/>
                  <a:gd name="T41" fmla="*/ 2147483647 h 740"/>
                  <a:gd name="T42" fmla="*/ 2147483647 w 866"/>
                  <a:gd name="T43" fmla="*/ 2147483647 h 740"/>
                  <a:gd name="T44" fmla="*/ 2147483647 w 866"/>
                  <a:gd name="T45" fmla="*/ 2147483647 h 740"/>
                  <a:gd name="T46" fmla="*/ 2147483647 w 866"/>
                  <a:gd name="T47" fmla="*/ 2147483647 h 740"/>
                  <a:gd name="T48" fmla="*/ 2147483647 w 866"/>
                  <a:gd name="T49" fmla="*/ 2147483647 h 740"/>
                  <a:gd name="T50" fmla="*/ 2147483647 w 866"/>
                  <a:gd name="T51" fmla="*/ 2147483647 h 740"/>
                  <a:gd name="T52" fmla="*/ 2147483647 w 866"/>
                  <a:gd name="T53" fmla="*/ 2147483647 h 740"/>
                  <a:gd name="T54" fmla="*/ 2147483647 w 866"/>
                  <a:gd name="T55" fmla="*/ 2147483647 h 740"/>
                  <a:gd name="T56" fmla="*/ 2147483647 w 866"/>
                  <a:gd name="T57" fmla="*/ 2147483647 h 740"/>
                  <a:gd name="T58" fmla="*/ 2147483647 w 866"/>
                  <a:gd name="T59" fmla="*/ 2147483647 h 740"/>
                  <a:gd name="T60" fmla="*/ 2147483647 w 866"/>
                  <a:gd name="T61" fmla="*/ 2147483647 h 740"/>
                  <a:gd name="T62" fmla="*/ 2147483647 w 866"/>
                  <a:gd name="T63" fmla="*/ 2147483647 h 740"/>
                  <a:gd name="T64" fmla="*/ 2147483647 w 866"/>
                  <a:gd name="T65" fmla="*/ 2147483647 h 740"/>
                  <a:gd name="T66" fmla="*/ 2147483647 w 866"/>
                  <a:gd name="T67" fmla="*/ 2147483647 h 740"/>
                  <a:gd name="T68" fmla="*/ 2147483647 w 866"/>
                  <a:gd name="T69" fmla="*/ 2147483647 h 740"/>
                  <a:gd name="T70" fmla="*/ 2147483647 w 866"/>
                  <a:gd name="T71" fmla="*/ 2147483647 h 740"/>
                  <a:gd name="T72" fmla="*/ 2147483647 w 866"/>
                  <a:gd name="T73" fmla="*/ 2147483647 h 740"/>
                  <a:gd name="T74" fmla="*/ 2147483647 w 866"/>
                  <a:gd name="T75" fmla="*/ 2147483647 h 740"/>
                  <a:gd name="T76" fmla="*/ 2147483647 w 866"/>
                  <a:gd name="T77" fmla="*/ 2147483647 h 740"/>
                  <a:gd name="T78" fmla="*/ 2147483647 w 866"/>
                  <a:gd name="T79" fmla="*/ 2147483647 h 740"/>
                  <a:gd name="T80" fmla="*/ 2147483647 w 866"/>
                  <a:gd name="T81" fmla="*/ 2147483647 h 740"/>
                  <a:gd name="T82" fmla="*/ 2147483647 w 866"/>
                  <a:gd name="T83" fmla="*/ 2147483647 h 740"/>
                  <a:gd name="T84" fmla="*/ 2147483647 w 866"/>
                  <a:gd name="T85" fmla="*/ 2147483647 h 740"/>
                  <a:gd name="T86" fmla="*/ 1640058371 w 866"/>
                  <a:gd name="T87" fmla="*/ 2147483647 h 740"/>
                  <a:gd name="T88" fmla="*/ 409967346 w 866"/>
                  <a:gd name="T89" fmla="*/ 2147483647 h 740"/>
                  <a:gd name="T90" fmla="*/ 2147483647 w 866"/>
                  <a:gd name="T91" fmla="*/ 2147483647 h 740"/>
                  <a:gd name="T92" fmla="*/ 2147483647 w 866"/>
                  <a:gd name="T93" fmla="*/ 2147483647 h 740"/>
                  <a:gd name="T94" fmla="*/ 2147483647 w 866"/>
                  <a:gd name="T95" fmla="*/ 2147483647 h 740"/>
                  <a:gd name="T96" fmla="*/ 2147483647 w 866"/>
                  <a:gd name="T97" fmla="*/ 2147483647 h 740"/>
                  <a:gd name="T98" fmla="*/ 2147483647 w 866"/>
                  <a:gd name="T99" fmla="*/ 2147483647 h 740"/>
                  <a:gd name="T100" fmla="*/ 2147483647 w 866"/>
                  <a:gd name="T101" fmla="*/ 2147483647 h 740"/>
                  <a:gd name="T102" fmla="*/ 2147483647 w 866"/>
                  <a:gd name="T103" fmla="*/ 2147483647 h 740"/>
                  <a:gd name="T104" fmla="*/ 2147483647 w 866"/>
                  <a:gd name="T105" fmla="*/ 2147483647 h 7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3" name="Freeform 546"/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9691955" y="3012647"/>
                <a:ext cx="300038" cy="260350"/>
              </a:xfrm>
              <a:custGeom>
                <a:avLst/>
                <a:gdLst>
                  <a:gd name="T0" fmla="*/ 2147483647 w 697"/>
                  <a:gd name="T1" fmla="*/ 2147483647 h 500"/>
                  <a:gd name="T2" fmla="*/ 2147483647 w 697"/>
                  <a:gd name="T3" fmla="*/ 2147483647 h 500"/>
                  <a:gd name="T4" fmla="*/ 2147483647 w 697"/>
                  <a:gd name="T5" fmla="*/ 2147483647 h 500"/>
                  <a:gd name="T6" fmla="*/ 2147483647 w 697"/>
                  <a:gd name="T7" fmla="*/ 2147483647 h 500"/>
                  <a:gd name="T8" fmla="*/ 2147483647 w 697"/>
                  <a:gd name="T9" fmla="*/ 2147483647 h 500"/>
                  <a:gd name="T10" fmla="*/ 2147483647 w 697"/>
                  <a:gd name="T11" fmla="*/ 2147483647 h 500"/>
                  <a:gd name="T12" fmla="*/ 2147483647 w 697"/>
                  <a:gd name="T13" fmla="*/ 2147483647 h 500"/>
                  <a:gd name="T14" fmla="*/ 2147483647 w 697"/>
                  <a:gd name="T15" fmla="*/ 2147483647 h 500"/>
                  <a:gd name="T16" fmla="*/ 2147483647 w 697"/>
                  <a:gd name="T17" fmla="*/ 2147483647 h 500"/>
                  <a:gd name="T18" fmla="*/ 2147483647 w 697"/>
                  <a:gd name="T19" fmla="*/ 2147483647 h 500"/>
                  <a:gd name="T20" fmla="*/ 2147483647 w 697"/>
                  <a:gd name="T21" fmla="*/ 2147483647 h 500"/>
                  <a:gd name="T22" fmla="*/ 2147483647 w 697"/>
                  <a:gd name="T23" fmla="*/ 2147483647 h 500"/>
                  <a:gd name="T24" fmla="*/ 2147483647 w 697"/>
                  <a:gd name="T25" fmla="*/ 2147483647 h 500"/>
                  <a:gd name="T26" fmla="*/ 2147483647 w 697"/>
                  <a:gd name="T27" fmla="*/ 2147483647 h 500"/>
                  <a:gd name="T28" fmla="*/ 2147483647 w 697"/>
                  <a:gd name="T29" fmla="*/ 2147483647 h 500"/>
                  <a:gd name="T30" fmla="*/ 2147483647 w 697"/>
                  <a:gd name="T31" fmla="*/ 2147483647 h 500"/>
                  <a:gd name="T32" fmla="*/ 2147483647 w 697"/>
                  <a:gd name="T33" fmla="*/ 2147483647 h 500"/>
                  <a:gd name="T34" fmla="*/ 2147483647 w 697"/>
                  <a:gd name="T35" fmla="*/ 2147483647 h 500"/>
                  <a:gd name="T36" fmla="*/ 2147483647 w 697"/>
                  <a:gd name="T37" fmla="*/ 2147483647 h 500"/>
                  <a:gd name="T38" fmla="*/ 2147483647 w 697"/>
                  <a:gd name="T39" fmla="*/ 2147483647 h 500"/>
                  <a:gd name="T40" fmla="*/ 2147483647 w 697"/>
                  <a:gd name="T41" fmla="*/ 2147483647 h 500"/>
                  <a:gd name="T42" fmla="*/ 2147483647 w 697"/>
                  <a:gd name="T43" fmla="*/ 2147483647 h 500"/>
                  <a:gd name="T44" fmla="*/ 398776330 w 697"/>
                  <a:gd name="T45" fmla="*/ 2147483647 h 500"/>
                  <a:gd name="T46" fmla="*/ 2147483647 w 697"/>
                  <a:gd name="T47" fmla="*/ 2147483647 h 500"/>
                  <a:gd name="T48" fmla="*/ 2147483647 w 697"/>
                  <a:gd name="T49" fmla="*/ 2147483647 h 500"/>
                  <a:gd name="T50" fmla="*/ 2147483647 w 697"/>
                  <a:gd name="T51" fmla="*/ 2147483647 h 500"/>
                  <a:gd name="T52" fmla="*/ 2147483647 w 697"/>
                  <a:gd name="T53" fmla="*/ 2147483647 h 500"/>
                  <a:gd name="T54" fmla="*/ 2147483647 w 697"/>
                  <a:gd name="T55" fmla="*/ 2147483647 h 500"/>
                  <a:gd name="T56" fmla="*/ 2147483647 w 697"/>
                  <a:gd name="T57" fmla="*/ 2147483647 h 500"/>
                  <a:gd name="T58" fmla="*/ 2147483647 w 697"/>
                  <a:gd name="T59" fmla="*/ 2147483647 h 500"/>
                  <a:gd name="T60" fmla="*/ 2147483647 w 697"/>
                  <a:gd name="T61" fmla="*/ 2147483647 h 500"/>
                  <a:gd name="T62" fmla="*/ 2147483647 w 697"/>
                  <a:gd name="T63" fmla="*/ 2147483647 h 500"/>
                  <a:gd name="T64" fmla="*/ 2147483647 w 697"/>
                  <a:gd name="T65" fmla="*/ 2147483647 h 500"/>
                  <a:gd name="T66" fmla="*/ 2147483647 w 697"/>
                  <a:gd name="T67" fmla="*/ 2147483647 h 500"/>
                  <a:gd name="T68" fmla="*/ 2147483647 w 697"/>
                  <a:gd name="T69" fmla="*/ 2147483647 h 500"/>
                  <a:gd name="T70" fmla="*/ 2147483647 w 697"/>
                  <a:gd name="T71" fmla="*/ 2147483647 h 500"/>
                  <a:gd name="T72" fmla="*/ 2147483647 w 697"/>
                  <a:gd name="T73" fmla="*/ 2147483647 h 500"/>
                  <a:gd name="T74" fmla="*/ 2147483647 w 697"/>
                  <a:gd name="T75" fmla="*/ 2147483647 h 500"/>
                  <a:gd name="T76" fmla="*/ 2147483647 w 697"/>
                  <a:gd name="T77" fmla="*/ 2147483647 h 500"/>
                  <a:gd name="T78" fmla="*/ 2147483647 w 697"/>
                  <a:gd name="T79" fmla="*/ 2147483647 h 500"/>
                  <a:gd name="T80" fmla="*/ 2147483647 w 697"/>
                  <a:gd name="T81" fmla="*/ 2147483647 h 500"/>
                  <a:gd name="T82" fmla="*/ 2147483647 w 697"/>
                  <a:gd name="T83" fmla="*/ 2147483647 h 500"/>
                  <a:gd name="T84" fmla="*/ 2147483647 w 697"/>
                  <a:gd name="T85" fmla="*/ 2147483647 h 500"/>
                  <a:gd name="T86" fmla="*/ 2147483647 w 697"/>
                  <a:gd name="T87" fmla="*/ 1694011014 h 500"/>
                  <a:gd name="T88" fmla="*/ 2147483647 w 697"/>
                  <a:gd name="T89" fmla="*/ 1129521185 h 500"/>
                  <a:gd name="T90" fmla="*/ 2147483647 w 697"/>
                  <a:gd name="T91" fmla="*/ 2147483647 h 500"/>
                  <a:gd name="T92" fmla="*/ 2147483647 w 697"/>
                  <a:gd name="T93" fmla="*/ 2147483647 h 500"/>
                  <a:gd name="T94" fmla="*/ 2147483647 w 697"/>
                  <a:gd name="T95" fmla="*/ 1835268593 h 500"/>
                  <a:gd name="T96" fmla="*/ 2147483647 w 697"/>
                  <a:gd name="T97" fmla="*/ 2147483647 h 500"/>
                  <a:gd name="T98" fmla="*/ 2147483647 w 697"/>
                  <a:gd name="T99" fmla="*/ 2147483647 h 500"/>
                  <a:gd name="T100" fmla="*/ 2147483647 w 697"/>
                  <a:gd name="T101" fmla="*/ 2147483647 h 500"/>
                  <a:gd name="T102" fmla="*/ 2147483647 w 697"/>
                  <a:gd name="T103" fmla="*/ 2147483647 h 50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4" name="Freeform 547"/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10392043" y="1942672"/>
                <a:ext cx="236537" cy="92075"/>
              </a:xfrm>
              <a:custGeom>
                <a:avLst/>
                <a:gdLst>
                  <a:gd name="T0" fmla="*/ 2147483647 w 546"/>
                  <a:gd name="T1" fmla="*/ 2147483647 h 173"/>
                  <a:gd name="T2" fmla="*/ 2147483647 w 546"/>
                  <a:gd name="T3" fmla="*/ 2147483647 h 173"/>
                  <a:gd name="T4" fmla="*/ 2147483647 w 546"/>
                  <a:gd name="T5" fmla="*/ 2147483647 h 173"/>
                  <a:gd name="T6" fmla="*/ 2147483647 w 546"/>
                  <a:gd name="T7" fmla="*/ 2147483647 h 173"/>
                  <a:gd name="T8" fmla="*/ 2147483647 w 546"/>
                  <a:gd name="T9" fmla="*/ 2147483647 h 173"/>
                  <a:gd name="T10" fmla="*/ 2147483647 w 546"/>
                  <a:gd name="T11" fmla="*/ 2147483647 h 173"/>
                  <a:gd name="T12" fmla="*/ 2147483647 w 546"/>
                  <a:gd name="T13" fmla="*/ 2147483647 h 173"/>
                  <a:gd name="T14" fmla="*/ 2147483647 w 546"/>
                  <a:gd name="T15" fmla="*/ 2147483647 h 173"/>
                  <a:gd name="T16" fmla="*/ 2147483647 w 546"/>
                  <a:gd name="T17" fmla="*/ 2110599566 h 173"/>
                  <a:gd name="T18" fmla="*/ 2147483647 w 546"/>
                  <a:gd name="T19" fmla="*/ 1658227108 h 173"/>
                  <a:gd name="T20" fmla="*/ 2147483647 w 546"/>
                  <a:gd name="T21" fmla="*/ 452372458 h 173"/>
                  <a:gd name="T22" fmla="*/ 2147483647 w 546"/>
                  <a:gd name="T23" fmla="*/ 753765335 h 173"/>
                  <a:gd name="T24" fmla="*/ 2147483647 w 546"/>
                  <a:gd name="T25" fmla="*/ 1809206690 h 173"/>
                  <a:gd name="T26" fmla="*/ 2147483647 w 546"/>
                  <a:gd name="T27" fmla="*/ 1055441355 h 173"/>
                  <a:gd name="T28" fmla="*/ 2147483647 w 546"/>
                  <a:gd name="T29" fmla="*/ 0 h 173"/>
                  <a:gd name="T30" fmla="*/ 2147483647 w 546"/>
                  <a:gd name="T31" fmla="*/ 1055441355 h 173"/>
                  <a:gd name="T32" fmla="*/ 2147483647 w 546"/>
                  <a:gd name="T33" fmla="*/ 1055441355 h 173"/>
                  <a:gd name="T34" fmla="*/ 2147483647 w 546"/>
                  <a:gd name="T35" fmla="*/ 150696438 h 173"/>
                  <a:gd name="T36" fmla="*/ 2147483647 w 546"/>
                  <a:gd name="T37" fmla="*/ 904461773 h 173"/>
                  <a:gd name="T38" fmla="*/ 2147483647 w 546"/>
                  <a:gd name="T39" fmla="*/ 1809206690 h 173"/>
                  <a:gd name="T40" fmla="*/ 2147483647 w 546"/>
                  <a:gd name="T41" fmla="*/ 2147483647 h 173"/>
                  <a:gd name="T42" fmla="*/ 2147483647 w 546"/>
                  <a:gd name="T43" fmla="*/ 2147483647 h 173"/>
                  <a:gd name="T44" fmla="*/ 2147483647 w 546"/>
                  <a:gd name="T45" fmla="*/ 2147483647 h 173"/>
                  <a:gd name="T46" fmla="*/ 2147483647 w 546"/>
                  <a:gd name="T47" fmla="*/ 2147483647 h 173"/>
                  <a:gd name="T48" fmla="*/ 2147483647 w 546"/>
                  <a:gd name="T49" fmla="*/ 2147483647 h 173"/>
                  <a:gd name="T50" fmla="*/ 2147483647 w 546"/>
                  <a:gd name="T51" fmla="*/ 2147483647 h 173"/>
                  <a:gd name="T52" fmla="*/ 2147483647 w 546"/>
                  <a:gd name="T53" fmla="*/ 2147483647 h 173"/>
                  <a:gd name="T54" fmla="*/ 2147483647 w 546"/>
                  <a:gd name="T55" fmla="*/ 2147483647 h 173"/>
                  <a:gd name="T56" fmla="*/ 2147483647 w 546"/>
                  <a:gd name="T57" fmla="*/ 2147483647 h 173"/>
                  <a:gd name="T58" fmla="*/ 2147483647 w 546"/>
                  <a:gd name="T59" fmla="*/ 2147483647 h 173"/>
                  <a:gd name="T60" fmla="*/ 2147483647 w 546"/>
                  <a:gd name="T61" fmla="*/ 2147483647 h 173"/>
                  <a:gd name="T62" fmla="*/ 2147483647 w 546"/>
                  <a:gd name="T63" fmla="*/ 2147483647 h 173"/>
                  <a:gd name="T64" fmla="*/ 2147483647 w 546"/>
                  <a:gd name="T65" fmla="*/ 2147483647 h 173"/>
                  <a:gd name="T66" fmla="*/ 2147483647 w 546"/>
                  <a:gd name="T67" fmla="*/ 2147483647 h 173"/>
                  <a:gd name="T68" fmla="*/ 2147483647 w 546"/>
                  <a:gd name="T69" fmla="*/ 2147483647 h 173"/>
                  <a:gd name="T70" fmla="*/ 2147483647 w 546"/>
                  <a:gd name="T71" fmla="*/ 2147483647 h 173"/>
                  <a:gd name="T72" fmla="*/ 2147483647 w 546"/>
                  <a:gd name="T73" fmla="*/ 2147483647 h 173"/>
                  <a:gd name="T74" fmla="*/ 2147483647 w 546"/>
                  <a:gd name="T75" fmla="*/ 2147483647 h 173"/>
                  <a:gd name="T76" fmla="*/ 2147483647 w 546"/>
                  <a:gd name="T77" fmla="*/ 2147483647 h 173"/>
                  <a:gd name="T78" fmla="*/ 2147483647 w 546"/>
                  <a:gd name="T79" fmla="*/ 2147483647 h 173"/>
                  <a:gd name="T80" fmla="*/ 2147483647 w 546"/>
                  <a:gd name="T81" fmla="*/ 2147483647 h 173"/>
                  <a:gd name="T82" fmla="*/ 2147483647 w 546"/>
                  <a:gd name="T83" fmla="*/ 2147483647 h 173"/>
                  <a:gd name="T84" fmla="*/ 2147483647 w 546"/>
                  <a:gd name="T85" fmla="*/ 2147483647 h 173"/>
                  <a:gd name="T86" fmla="*/ 2147483647 w 546"/>
                  <a:gd name="T87" fmla="*/ 2147483647 h 173"/>
                  <a:gd name="T88" fmla="*/ 2147483647 w 546"/>
                  <a:gd name="T89" fmla="*/ 2147483647 h 173"/>
                  <a:gd name="T90" fmla="*/ 2147483647 w 546"/>
                  <a:gd name="T91" fmla="*/ 2147483647 h 173"/>
                  <a:gd name="T92" fmla="*/ 2147483647 w 546"/>
                  <a:gd name="T93" fmla="*/ 2147483647 h 173"/>
                  <a:gd name="T94" fmla="*/ 1300794942 w 546"/>
                  <a:gd name="T95" fmla="*/ 2147483647 h 173"/>
                  <a:gd name="T96" fmla="*/ 894284880 w 546"/>
                  <a:gd name="T97" fmla="*/ 2147483647 h 173"/>
                  <a:gd name="T98" fmla="*/ 2147483647 w 546"/>
                  <a:gd name="T99" fmla="*/ 2147483647 h 173"/>
                  <a:gd name="T100" fmla="*/ 2147483647 w 546"/>
                  <a:gd name="T101" fmla="*/ 1809206690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5" name="Freeform 548"/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10903218" y="1926797"/>
                <a:ext cx="107950" cy="60325"/>
              </a:xfrm>
              <a:custGeom>
                <a:avLst/>
                <a:gdLst>
                  <a:gd name="T0" fmla="*/ 2147483647 w 246"/>
                  <a:gd name="T1" fmla="*/ 2147483647 h 42"/>
                  <a:gd name="T2" fmla="*/ 2147483647 w 246"/>
                  <a:gd name="T3" fmla="*/ 2147483647 h 42"/>
                  <a:gd name="T4" fmla="*/ 2147483647 w 246"/>
                  <a:gd name="T5" fmla="*/ 2147483647 h 42"/>
                  <a:gd name="T6" fmla="*/ 2147483647 w 246"/>
                  <a:gd name="T7" fmla="*/ 2147483647 h 42"/>
                  <a:gd name="T8" fmla="*/ 2147483647 w 246"/>
                  <a:gd name="T9" fmla="*/ 2147483647 h 42"/>
                  <a:gd name="T10" fmla="*/ 2147483647 w 246"/>
                  <a:gd name="T11" fmla="*/ 2147483647 h 42"/>
                  <a:gd name="T12" fmla="*/ 2147483647 w 246"/>
                  <a:gd name="T13" fmla="*/ 2147483647 h 42"/>
                  <a:gd name="T14" fmla="*/ 2147483647 w 246"/>
                  <a:gd name="T15" fmla="*/ 2147483647 h 42"/>
                  <a:gd name="T16" fmla="*/ 2147483647 w 246"/>
                  <a:gd name="T17" fmla="*/ 2147483647 h 42"/>
                  <a:gd name="T18" fmla="*/ 2147483647 w 246"/>
                  <a:gd name="T19" fmla="*/ 2147483647 h 42"/>
                  <a:gd name="T20" fmla="*/ 2147483647 w 246"/>
                  <a:gd name="T21" fmla="*/ 2147483647 h 42"/>
                  <a:gd name="T22" fmla="*/ 2147483647 w 246"/>
                  <a:gd name="T23" fmla="*/ 2147483647 h 42"/>
                  <a:gd name="T24" fmla="*/ 2147483647 w 246"/>
                  <a:gd name="T25" fmla="*/ 2147483647 h 42"/>
                  <a:gd name="T26" fmla="*/ 2147483647 w 246"/>
                  <a:gd name="T27" fmla="*/ 2147483647 h 42"/>
                  <a:gd name="T28" fmla="*/ 2147483647 w 246"/>
                  <a:gd name="T29" fmla="*/ 2147483647 h 42"/>
                  <a:gd name="T30" fmla="*/ 2147483647 w 246"/>
                  <a:gd name="T31" fmla="*/ 2147483647 h 42"/>
                  <a:gd name="T32" fmla="*/ 2147483647 w 246"/>
                  <a:gd name="T33" fmla="*/ 2147483647 h 42"/>
                  <a:gd name="T34" fmla="*/ 2147483647 w 246"/>
                  <a:gd name="T35" fmla="*/ 2147483647 h 42"/>
                  <a:gd name="T36" fmla="*/ 2147483647 w 246"/>
                  <a:gd name="T37" fmla="*/ 2147483647 h 42"/>
                  <a:gd name="T38" fmla="*/ 2147483647 w 246"/>
                  <a:gd name="T39" fmla="*/ 2147483647 h 42"/>
                  <a:gd name="T40" fmla="*/ 2147483647 w 246"/>
                  <a:gd name="T41" fmla="*/ 2147483647 h 42"/>
                  <a:gd name="T42" fmla="*/ 2147483647 w 246"/>
                  <a:gd name="T43" fmla="*/ 2147483647 h 42"/>
                  <a:gd name="T44" fmla="*/ 2147483647 w 246"/>
                  <a:gd name="T45" fmla="*/ 2147483647 h 42"/>
                  <a:gd name="T46" fmla="*/ 2147483647 w 246"/>
                  <a:gd name="T47" fmla="*/ 2147483647 h 42"/>
                  <a:gd name="T48" fmla="*/ 2147483647 w 246"/>
                  <a:gd name="T49" fmla="*/ 2147483647 h 42"/>
                  <a:gd name="T50" fmla="*/ 2147483647 w 246"/>
                  <a:gd name="T51" fmla="*/ 2147483647 h 42"/>
                  <a:gd name="T52" fmla="*/ 2147483647 w 246"/>
                  <a:gd name="T53" fmla="*/ 2147483647 h 42"/>
                  <a:gd name="T54" fmla="*/ 2147483647 w 246"/>
                  <a:gd name="T55" fmla="*/ 2147483647 h 42"/>
                  <a:gd name="T56" fmla="*/ 2147483647 w 246"/>
                  <a:gd name="T57" fmla="*/ 2147483647 h 42"/>
                  <a:gd name="T58" fmla="*/ 2147483647 w 246"/>
                  <a:gd name="T59" fmla="*/ 2147483647 h 42"/>
                  <a:gd name="T60" fmla="*/ 2147483647 w 246"/>
                  <a:gd name="T61" fmla="*/ 2147483647 h 42"/>
                  <a:gd name="T62" fmla="*/ 2147483647 w 246"/>
                  <a:gd name="T63" fmla="*/ 2147483647 h 42"/>
                  <a:gd name="T64" fmla="*/ 2147483647 w 246"/>
                  <a:gd name="T65" fmla="*/ 0 h 42"/>
                  <a:gd name="T66" fmla="*/ 2147483647 w 246"/>
                  <a:gd name="T67" fmla="*/ 2147483647 h 42"/>
                  <a:gd name="T68" fmla="*/ 2147483647 w 246"/>
                  <a:gd name="T69" fmla="*/ 2147483647 h 42"/>
                  <a:gd name="T70" fmla="*/ 2147483647 w 246"/>
                  <a:gd name="T71" fmla="*/ 2147483647 h 42"/>
                  <a:gd name="T72" fmla="*/ 2147483647 w 246"/>
                  <a:gd name="T73" fmla="*/ 2147483647 h 42"/>
                  <a:gd name="T74" fmla="*/ 2147483647 w 246"/>
                  <a:gd name="T75" fmla="*/ 2147483647 h 42"/>
                  <a:gd name="T76" fmla="*/ 2147483647 w 246"/>
                  <a:gd name="T77" fmla="*/ 2147483647 h 42"/>
                  <a:gd name="T78" fmla="*/ 2147483647 w 246"/>
                  <a:gd name="T79" fmla="*/ 2147483647 h 42"/>
                  <a:gd name="T80" fmla="*/ 2147483647 w 246"/>
                  <a:gd name="T81" fmla="*/ 2147483647 h 42"/>
                  <a:gd name="T82" fmla="*/ 2147483647 w 246"/>
                  <a:gd name="T83" fmla="*/ 2147483647 h 42"/>
                  <a:gd name="T84" fmla="*/ 2147483647 w 246"/>
                  <a:gd name="T85" fmla="*/ 2147483647 h 42"/>
                  <a:gd name="T86" fmla="*/ 2147483647 w 246"/>
                  <a:gd name="T87" fmla="*/ 2147483647 h 42"/>
                  <a:gd name="T88" fmla="*/ 2147483647 w 246"/>
                  <a:gd name="T89" fmla="*/ 2147483647 h 42"/>
                  <a:gd name="T90" fmla="*/ 1182920488 w 246"/>
                  <a:gd name="T91" fmla="*/ 2147483647 h 42"/>
                  <a:gd name="T92" fmla="*/ 0 w 246"/>
                  <a:gd name="T93" fmla="*/ 2147483647 h 42"/>
                  <a:gd name="T94" fmla="*/ 84535382 w 246"/>
                  <a:gd name="T95" fmla="*/ 2147483647 h 42"/>
                  <a:gd name="T96" fmla="*/ 253414380 w 246"/>
                  <a:gd name="T97" fmla="*/ 2147483647 h 42"/>
                  <a:gd name="T98" fmla="*/ 422485583 w 246"/>
                  <a:gd name="T99" fmla="*/ 2147483647 h 42"/>
                  <a:gd name="T100" fmla="*/ 760435345 w 246"/>
                  <a:gd name="T101" fmla="*/ 2147483647 h 42"/>
                  <a:gd name="T102" fmla="*/ 1436527511 w 246"/>
                  <a:gd name="T103" fmla="*/ 2147483647 h 42"/>
                  <a:gd name="T104" fmla="*/ 2147483647 w 246"/>
                  <a:gd name="T105" fmla="*/ 2147483647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6" name="Freeform 549"/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11046093" y="1909335"/>
                <a:ext cx="63500" cy="57150"/>
              </a:xfrm>
              <a:custGeom>
                <a:avLst/>
                <a:gdLst>
                  <a:gd name="T0" fmla="*/ 2147483647 w 149"/>
                  <a:gd name="T1" fmla="*/ 0 h 61"/>
                  <a:gd name="T2" fmla="*/ 2147483647 w 149"/>
                  <a:gd name="T3" fmla="*/ 822455019 h 61"/>
                  <a:gd name="T4" fmla="*/ 2147483647 w 149"/>
                  <a:gd name="T5" fmla="*/ 2147483647 h 61"/>
                  <a:gd name="T6" fmla="*/ 2147483647 w 149"/>
                  <a:gd name="T7" fmla="*/ 2147483647 h 61"/>
                  <a:gd name="T8" fmla="*/ 2147483647 w 149"/>
                  <a:gd name="T9" fmla="*/ 2147483647 h 61"/>
                  <a:gd name="T10" fmla="*/ 2147483647 w 149"/>
                  <a:gd name="T11" fmla="*/ 2147483647 h 61"/>
                  <a:gd name="T12" fmla="*/ 2147483647 w 149"/>
                  <a:gd name="T13" fmla="*/ 2147483647 h 61"/>
                  <a:gd name="T14" fmla="*/ 2147483647 w 149"/>
                  <a:gd name="T15" fmla="*/ 2147483647 h 61"/>
                  <a:gd name="T16" fmla="*/ 2147483647 w 149"/>
                  <a:gd name="T17" fmla="*/ 2147483647 h 61"/>
                  <a:gd name="T18" fmla="*/ 2147483647 w 149"/>
                  <a:gd name="T19" fmla="*/ 2147483647 h 61"/>
                  <a:gd name="T20" fmla="*/ 2147483647 w 149"/>
                  <a:gd name="T21" fmla="*/ 2147483647 h 61"/>
                  <a:gd name="T22" fmla="*/ 2147483647 w 149"/>
                  <a:gd name="T23" fmla="*/ 2147483647 h 61"/>
                  <a:gd name="T24" fmla="*/ 2147483647 w 149"/>
                  <a:gd name="T25" fmla="*/ 2147483647 h 61"/>
                  <a:gd name="T26" fmla="*/ 2147483647 w 149"/>
                  <a:gd name="T27" fmla="*/ 2147483647 h 61"/>
                  <a:gd name="T28" fmla="*/ 2147483647 w 149"/>
                  <a:gd name="T29" fmla="*/ 2147483647 h 61"/>
                  <a:gd name="T30" fmla="*/ 2147483647 w 149"/>
                  <a:gd name="T31" fmla="*/ 2147483647 h 61"/>
                  <a:gd name="T32" fmla="*/ 2147483647 w 149"/>
                  <a:gd name="T33" fmla="*/ 2147483647 h 61"/>
                  <a:gd name="T34" fmla="*/ 2147483647 w 149"/>
                  <a:gd name="T35" fmla="*/ 2147483647 h 61"/>
                  <a:gd name="T36" fmla="*/ 2147483647 w 149"/>
                  <a:gd name="T37" fmla="*/ 2147483647 h 61"/>
                  <a:gd name="T38" fmla="*/ 2147483647 w 149"/>
                  <a:gd name="T39" fmla="*/ 2147483647 h 61"/>
                  <a:gd name="T40" fmla="*/ 2147483647 w 149"/>
                  <a:gd name="T41" fmla="*/ 2147483647 h 61"/>
                  <a:gd name="T42" fmla="*/ 2147483647 w 149"/>
                  <a:gd name="T43" fmla="*/ 2147483647 h 61"/>
                  <a:gd name="T44" fmla="*/ 2147483647 w 149"/>
                  <a:gd name="T45" fmla="*/ 2147483647 h 61"/>
                  <a:gd name="T46" fmla="*/ 2147483647 w 149"/>
                  <a:gd name="T47" fmla="*/ 2147483647 h 61"/>
                  <a:gd name="T48" fmla="*/ 2147483647 w 149"/>
                  <a:gd name="T49" fmla="*/ 2147483647 h 61"/>
                  <a:gd name="T50" fmla="*/ 2147483647 w 149"/>
                  <a:gd name="T51" fmla="*/ 2147483647 h 61"/>
                  <a:gd name="T52" fmla="*/ 2147483647 w 149"/>
                  <a:gd name="T53" fmla="*/ 2147483647 h 61"/>
                  <a:gd name="T54" fmla="*/ 2147483647 w 149"/>
                  <a:gd name="T55" fmla="*/ 2147483647 h 61"/>
                  <a:gd name="T56" fmla="*/ 1935029534 w 149"/>
                  <a:gd name="T57" fmla="*/ 2147483647 h 61"/>
                  <a:gd name="T58" fmla="*/ 928828564 w 149"/>
                  <a:gd name="T59" fmla="*/ 2147483647 h 61"/>
                  <a:gd name="T60" fmla="*/ 232297916 w 149"/>
                  <a:gd name="T61" fmla="*/ 2147483647 h 61"/>
                  <a:gd name="T62" fmla="*/ 77371980 w 149"/>
                  <a:gd name="T63" fmla="*/ 2147483647 h 61"/>
                  <a:gd name="T64" fmla="*/ 0 w 149"/>
                  <a:gd name="T65" fmla="*/ 2147483647 h 61"/>
                  <a:gd name="T66" fmla="*/ 0 w 149"/>
                  <a:gd name="T67" fmla="*/ 2147483647 h 61"/>
                  <a:gd name="T68" fmla="*/ 232297916 w 149"/>
                  <a:gd name="T69" fmla="*/ 2147483647 h 61"/>
                  <a:gd name="T70" fmla="*/ 1470615252 w 149"/>
                  <a:gd name="T71" fmla="*/ 2147483647 h 61"/>
                  <a:gd name="T72" fmla="*/ 2147483647 w 149"/>
                  <a:gd name="T73" fmla="*/ 2147483647 h 61"/>
                  <a:gd name="T74" fmla="*/ 2147483647 w 149"/>
                  <a:gd name="T75" fmla="*/ 2147483647 h 61"/>
                  <a:gd name="T76" fmla="*/ 2147483647 w 149"/>
                  <a:gd name="T77" fmla="*/ 2147483647 h 61"/>
                  <a:gd name="T78" fmla="*/ 2147483647 w 149"/>
                  <a:gd name="T79" fmla="*/ 2147483647 h 61"/>
                  <a:gd name="T80" fmla="*/ 2147483647 w 149"/>
                  <a:gd name="T81" fmla="*/ 2147483647 h 61"/>
                  <a:gd name="T82" fmla="*/ 2147483647 w 149"/>
                  <a:gd name="T83" fmla="*/ 2147483647 h 61"/>
                  <a:gd name="T84" fmla="*/ 2147483647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  <p:sp>
            <p:nvSpPr>
              <p:cNvPr id="307" name="Freeform 550"/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11082605" y="1917272"/>
                <a:ext cx="130175" cy="57150"/>
              </a:xfrm>
              <a:custGeom>
                <a:avLst/>
                <a:gdLst>
                  <a:gd name="T0" fmla="*/ 2147483647 w 299"/>
                  <a:gd name="T1" fmla="*/ 2147483647 h 74"/>
                  <a:gd name="T2" fmla="*/ 2147483647 w 299"/>
                  <a:gd name="T3" fmla="*/ 2147483647 h 74"/>
                  <a:gd name="T4" fmla="*/ 2147483647 w 299"/>
                  <a:gd name="T5" fmla="*/ 2147483647 h 74"/>
                  <a:gd name="T6" fmla="*/ 2147483647 w 299"/>
                  <a:gd name="T7" fmla="*/ 2147483647 h 74"/>
                  <a:gd name="T8" fmla="*/ 2147483647 w 299"/>
                  <a:gd name="T9" fmla="*/ 2147483647 h 74"/>
                  <a:gd name="T10" fmla="*/ 2147483647 w 299"/>
                  <a:gd name="T11" fmla="*/ 2147483647 h 74"/>
                  <a:gd name="T12" fmla="*/ 2147483647 w 299"/>
                  <a:gd name="T13" fmla="*/ 2147483647 h 74"/>
                  <a:gd name="T14" fmla="*/ 2147483647 w 299"/>
                  <a:gd name="T15" fmla="*/ 2147483647 h 74"/>
                  <a:gd name="T16" fmla="*/ 2147483647 w 299"/>
                  <a:gd name="T17" fmla="*/ 2147483647 h 74"/>
                  <a:gd name="T18" fmla="*/ 2147483647 w 299"/>
                  <a:gd name="T19" fmla="*/ 2147483647 h 74"/>
                  <a:gd name="T20" fmla="*/ 2147483647 w 299"/>
                  <a:gd name="T21" fmla="*/ 2147483647 h 74"/>
                  <a:gd name="T22" fmla="*/ 2147483647 w 299"/>
                  <a:gd name="T23" fmla="*/ 2147483647 h 74"/>
                  <a:gd name="T24" fmla="*/ 2147483647 w 299"/>
                  <a:gd name="T25" fmla="*/ 2147483647 h 74"/>
                  <a:gd name="T26" fmla="*/ 2147483647 w 299"/>
                  <a:gd name="T27" fmla="*/ 2147483647 h 74"/>
                  <a:gd name="T28" fmla="*/ 2147483647 w 299"/>
                  <a:gd name="T29" fmla="*/ 2147483647 h 74"/>
                  <a:gd name="T30" fmla="*/ 2147483647 w 299"/>
                  <a:gd name="T31" fmla="*/ 2147483647 h 74"/>
                  <a:gd name="T32" fmla="*/ 2147483647 w 299"/>
                  <a:gd name="T33" fmla="*/ 2147483647 h 74"/>
                  <a:gd name="T34" fmla="*/ 2147483647 w 299"/>
                  <a:gd name="T35" fmla="*/ 2147483647 h 74"/>
                  <a:gd name="T36" fmla="*/ 2147483647 w 299"/>
                  <a:gd name="T37" fmla="*/ 2147483647 h 74"/>
                  <a:gd name="T38" fmla="*/ 2147483647 w 299"/>
                  <a:gd name="T39" fmla="*/ 2147483647 h 74"/>
                  <a:gd name="T40" fmla="*/ 2147483647 w 299"/>
                  <a:gd name="T41" fmla="*/ 2147483647 h 74"/>
                  <a:gd name="T42" fmla="*/ 2147483647 w 299"/>
                  <a:gd name="T43" fmla="*/ 2147483647 h 74"/>
                  <a:gd name="T44" fmla="*/ 2147483647 w 299"/>
                  <a:gd name="T45" fmla="*/ 0 h 74"/>
                  <a:gd name="T46" fmla="*/ 2147483647 w 299"/>
                  <a:gd name="T47" fmla="*/ 1381958824 h 74"/>
                  <a:gd name="T48" fmla="*/ 2147483647 w 299"/>
                  <a:gd name="T49" fmla="*/ 2147483647 h 74"/>
                  <a:gd name="T50" fmla="*/ 2147483647 w 299"/>
                  <a:gd name="T51" fmla="*/ 2147483647 h 74"/>
                  <a:gd name="T52" fmla="*/ 2147483647 w 299"/>
                  <a:gd name="T53" fmla="*/ 2147483647 h 74"/>
                  <a:gd name="T54" fmla="*/ 2147483647 w 299"/>
                  <a:gd name="T55" fmla="*/ 2147483647 h 74"/>
                  <a:gd name="T56" fmla="*/ 2147483647 w 299"/>
                  <a:gd name="T57" fmla="*/ 2147483647 h 74"/>
                  <a:gd name="T58" fmla="*/ 2147483647 w 299"/>
                  <a:gd name="T59" fmla="*/ 2147483647 h 74"/>
                  <a:gd name="T60" fmla="*/ 2147483647 w 299"/>
                  <a:gd name="T61" fmla="*/ 2147483647 h 74"/>
                  <a:gd name="T62" fmla="*/ 990184192 w 299"/>
                  <a:gd name="T63" fmla="*/ 2147483647 h 74"/>
                  <a:gd name="T64" fmla="*/ 165093682 w 299"/>
                  <a:gd name="T65" fmla="*/ 2147483647 h 74"/>
                  <a:gd name="T66" fmla="*/ 2147483647 w 299"/>
                  <a:gd name="T67" fmla="*/ 2147483647 h 74"/>
                  <a:gd name="T68" fmla="*/ 2147483647 w 299"/>
                  <a:gd name="T69" fmla="*/ 2147483647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MX" dirty="0"/>
              </a:p>
            </p:txBody>
          </p:sp>
        </p:grpSp>
      </p:grpSp>
      <p:sp>
        <p:nvSpPr>
          <p:cNvPr id="511" name="TextBox 510"/>
          <p:cNvSpPr txBox="1"/>
          <p:nvPr/>
        </p:nvSpPr>
        <p:spPr>
          <a:xfrm>
            <a:off x="5022929" y="1813235"/>
            <a:ext cx="2283087" cy="232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s-MX" sz="2000" b="1" dirty="0" smtClean="0"/>
          </a:p>
          <a:p>
            <a:pPr algn="ctr"/>
            <a:endParaRPr lang="es-MX" sz="1600" dirty="0"/>
          </a:p>
          <a:p>
            <a:pPr algn="ctr"/>
            <a:r>
              <a:rPr lang="es-MX" sz="2400" b="1" dirty="0"/>
              <a:t>6,816,054 </a:t>
            </a:r>
            <a:endParaRPr lang="es-MX" sz="2400" b="1" dirty="0" smtClean="0"/>
          </a:p>
          <a:p>
            <a:pPr algn="ctr"/>
            <a:r>
              <a:rPr lang="es-MX" sz="2000" dirty="0" smtClean="0"/>
              <a:t>de </a:t>
            </a:r>
            <a:r>
              <a:rPr lang="es-MX" sz="2000" dirty="0"/>
              <a:t>visitas a </a:t>
            </a:r>
            <a:r>
              <a:rPr lang="es-MX" sz="2000" dirty="0" smtClean="0"/>
              <a:t>las</a:t>
            </a:r>
          </a:p>
          <a:p>
            <a:pPr algn="ctr"/>
            <a:r>
              <a:rPr lang="es-MX" sz="2000" dirty="0" smtClean="0"/>
              <a:t> </a:t>
            </a:r>
            <a:r>
              <a:rPr lang="es-MX" sz="2000" dirty="0"/>
              <a:t>comunidades de aprendizaje</a:t>
            </a:r>
          </a:p>
          <a:p>
            <a:pPr algn="ctr"/>
            <a:r>
              <a:rPr lang="es-MX" sz="1400" dirty="0"/>
              <a:t>(2009-2014)</a:t>
            </a:r>
            <a:endParaRPr lang="es-MX" sz="2400" dirty="0"/>
          </a:p>
          <a:p>
            <a:pPr algn="ctr"/>
            <a:endParaRPr lang="es-MX" sz="1200" dirty="0"/>
          </a:p>
        </p:txBody>
      </p:sp>
      <p:sp>
        <p:nvSpPr>
          <p:cNvPr id="517" name="Title 516"/>
          <p:cNvSpPr>
            <a:spLocks noGrp="1"/>
          </p:cNvSpPr>
          <p:nvPr>
            <p:ph type="title"/>
          </p:nvPr>
        </p:nvSpPr>
        <p:spPr>
          <a:xfrm>
            <a:off x="579549" y="286603"/>
            <a:ext cx="11101589" cy="1450757"/>
          </a:xfrm>
        </p:spPr>
        <p:txBody>
          <a:bodyPr>
            <a:noAutofit/>
          </a:bodyPr>
          <a:lstStyle/>
          <a:p>
            <a:r>
              <a:rPr lang="es-MX" sz="3200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s-MX" sz="3200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s-MX" sz="2800" dirty="0"/>
              <a:t>¿Cómo podemos innovar </a:t>
            </a:r>
            <a:r>
              <a:rPr lang="en-US" sz="2800" dirty="0"/>
              <a:t>y </a:t>
            </a:r>
            <a:r>
              <a:rPr lang="en-US" sz="2800" dirty="0" err="1"/>
              <a:t>brindar</a:t>
            </a:r>
            <a:r>
              <a:rPr lang="en-US" sz="2800" dirty="0"/>
              <a:t> </a:t>
            </a:r>
            <a:r>
              <a:rPr lang="en-US" sz="2800" dirty="0" err="1"/>
              <a:t>soluciones</a:t>
            </a:r>
            <a:r>
              <a:rPr lang="en-US" sz="2800" dirty="0"/>
              <a:t> a los </a:t>
            </a:r>
            <a:r>
              <a:rPr lang="en-US" sz="2800" dirty="0" err="1"/>
              <a:t>retos</a:t>
            </a:r>
            <a:r>
              <a:rPr lang="en-US" sz="2800" dirty="0"/>
              <a:t>?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s-MX" sz="2800" dirty="0" smtClean="0">
                <a:solidFill>
                  <a:schemeClr val="accent1">
                    <a:lumMod val="75000"/>
                  </a:schemeClr>
                </a:solidFill>
              </a:rPr>
              <a:t>Creando </a:t>
            </a:r>
            <a:r>
              <a:rPr lang="es-MX" sz="2800" dirty="0">
                <a:solidFill>
                  <a:schemeClr val="accent1">
                    <a:lumMod val="75000"/>
                  </a:schemeClr>
                </a:solidFill>
              </a:rPr>
              <a:t>comunidades de aprendizaje que permitan informar, capacitar, innovar y transformar la cultura a través de modelos educativos innovadores</a:t>
            </a:r>
            <a:r>
              <a:rPr lang="es-MX" sz="2800" dirty="0" smtClean="0">
                <a:solidFill>
                  <a:schemeClr val="accent1">
                    <a:lumMod val="75000"/>
                  </a:schemeClr>
                </a:solidFill>
              </a:rPr>
              <a:t>:</a:t>
            </a:r>
            <a:endParaRPr lang="es-MX" sz="3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42" name="Rectangle 541"/>
          <p:cNvSpPr/>
          <p:nvPr/>
        </p:nvSpPr>
        <p:spPr>
          <a:xfrm>
            <a:off x="701576" y="2219633"/>
            <a:ext cx="4199865" cy="6736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17475"/>
            <a:r>
              <a:rPr lang="es-MX" sz="1400" b="1" dirty="0">
                <a:solidFill>
                  <a:schemeClr val="tx1"/>
                </a:solidFill>
                <a:latin typeface="Calibri" pitchFamily="34" charset="0"/>
              </a:rPr>
              <a:t>Inclusión digital y educación accesible para todos</a:t>
            </a:r>
          </a:p>
        </p:txBody>
      </p:sp>
      <p:sp>
        <p:nvSpPr>
          <p:cNvPr id="543" name="TextBox 542"/>
          <p:cNvSpPr txBox="1"/>
          <p:nvPr/>
        </p:nvSpPr>
        <p:spPr>
          <a:xfrm>
            <a:off x="2354760" y="2893260"/>
            <a:ext cx="26297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/>
              <a:t>Aliados</a:t>
            </a:r>
            <a:r>
              <a:rPr lang="en-US" sz="1200" dirty="0" smtClean="0"/>
              <a:t>:</a:t>
            </a:r>
            <a:endParaRPr lang="es-MX" sz="1200" dirty="0"/>
          </a:p>
        </p:txBody>
      </p:sp>
      <p:pic>
        <p:nvPicPr>
          <p:cNvPr id="544" name="Picture 30" descr="http://www.sedesol.gob.mx/work/models/SEDESOL/Template/2/1/images/logo.png"/>
          <p:cNvPicPr>
            <a:picLocks noChangeAspect="1" noChangeArrowheads="1"/>
          </p:cNvPicPr>
          <p:nvPr/>
        </p:nvPicPr>
        <p:blipFill>
          <a:blip r:embed="rId35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2962" y="3443538"/>
            <a:ext cx="1025433" cy="424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5" name="Picture 40" descr="http://t3.gstatic.com/images?q=tbn:ANd9GcQT9u4-NnXfKfhuJfkfKO5up5CIRr7vYCKdB6Wdux7ZqXbed42BBg"/>
          <p:cNvPicPr>
            <a:picLocks noChangeAspect="1" noChangeArrowheads="1"/>
          </p:cNvPicPr>
          <p:nvPr/>
        </p:nvPicPr>
        <p:blipFill>
          <a:blip r:embed="rId35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652" y="4095302"/>
            <a:ext cx="747387" cy="279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6" name="Picture 42" descr="http://commguide.asu.edu/downloads/asulogo/jpg/logo_mg.jpg"/>
          <p:cNvPicPr>
            <a:picLocks noChangeAspect="1" noChangeArrowheads="1"/>
          </p:cNvPicPr>
          <p:nvPr/>
        </p:nvPicPr>
        <p:blipFill>
          <a:blip r:embed="rId358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14692" y="4441379"/>
            <a:ext cx="509275" cy="256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8" name="Picture 6" descr="http://www.renace.org.mx/images/logo_alianz_05.gif"/>
          <p:cNvPicPr>
            <a:picLocks noChangeAspect="1" noChangeArrowheads="1"/>
          </p:cNvPicPr>
          <p:nvPr/>
        </p:nvPicPr>
        <p:blipFill rotWithShape="1">
          <a:blip r:embed="rId359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5" t="-1" r="17088" b="-1"/>
          <a:stretch/>
        </p:blipFill>
        <p:spPr bwMode="auto">
          <a:xfrm>
            <a:off x="3290812" y="2902844"/>
            <a:ext cx="701227" cy="509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9" name="Picture 36" descr="http://lifevp.com/miescuelita/wp-content/uploads/2012/11/Bancomer-logo1.jpg"/>
          <p:cNvPicPr>
            <a:picLocks noChangeAspect="1" noChangeArrowheads="1"/>
          </p:cNvPicPr>
          <p:nvPr/>
        </p:nvPicPr>
        <p:blipFill>
          <a:blip r:embed="rId360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24163" y="4082519"/>
            <a:ext cx="880560" cy="258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0" name="TextBox 549"/>
          <p:cNvSpPr txBox="1">
            <a:spLocks noChangeArrowheads="1"/>
          </p:cNvSpPr>
          <p:nvPr/>
        </p:nvSpPr>
        <p:spPr bwMode="auto">
          <a:xfrm>
            <a:off x="384900" y="4894823"/>
            <a:ext cx="317288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MX" sz="2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itchFamily="34" charset="0"/>
                <a:hlinkClick r:id="rId361"/>
              </a:rPr>
              <a:t>www.cca.org.mx</a:t>
            </a:r>
            <a:r>
              <a:rPr lang="es-MX" sz="2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itchFamily="34" charset="0"/>
              </a:rPr>
              <a:t> </a:t>
            </a:r>
          </a:p>
        </p:txBody>
      </p:sp>
      <p:pic>
        <p:nvPicPr>
          <p:cNvPr id="551" name="Picture 550"/>
          <p:cNvPicPr>
            <a:picLocks noChangeAspect="1"/>
          </p:cNvPicPr>
          <p:nvPr/>
        </p:nvPicPr>
        <p:blipFill rotWithShape="1">
          <a:blip r:embed="rId36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972" y="3216258"/>
            <a:ext cx="1977022" cy="1194478"/>
          </a:xfrm>
          <a:prstGeom prst="rect">
            <a:avLst/>
          </a:prstGeom>
        </p:spPr>
      </p:pic>
      <p:sp>
        <p:nvSpPr>
          <p:cNvPr id="553" name="Rectangle 552"/>
          <p:cNvSpPr/>
          <p:nvPr/>
        </p:nvSpPr>
        <p:spPr>
          <a:xfrm>
            <a:off x="7512995" y="4388633"/>
            <a:ext cx="3511134" cy="4504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400" b="1" dirty="0" smtClean="0">
                <a:solidFill>
                  <a:schemeClr val="tx1"/>
                </a:solidFill>
                <a:latin typeface="Calibri" pitchFamily="34" charset="0"/>
              </a:rPr>
              <a:t>Recursos para </a:t>
            </a:r>
            <a:r>
              <a:rPr lang="en-US" sz="1400" b="1" dirty="0" err="1" smtClean="0">
                <a:solidFill>
                  <a:schemeClr val="tx1"/>
                </a:solidFill>
                <a:latin typeface="Calibri" pitchFamily="34" charset="0"/>
              </a:rPr>
              <a:t>promover</a:t>
            </a:r>
            <a:r>
              <a:rPr lang="en-US" sz="1400" b="1" dirty="0" smtClean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US" sz="1400" b="1" dirty="0" err="1" smtClean="0">
                <a:solidFill>
                  <a:schemeClr val="tx1"/>
                </a:solidFill>
                <a:latin typeface="Calibri" pitchFamily="34" charset="0"/>
              </a:rPr>
              <a:t>Cultura</a:t>
            </a:r>
            <a:r>
              <a:rPr lang="en-US" sz="1400" b="1" dirty="0" smtClean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US" sz="1400" b="1" dirty="0" err="1" smtClean="0">
                <a:solidFill>
                  <a:schemeClr val="tx1"/>
                </a:solidFill>
                <a:latin typeface="Calibri" pitchFamily="34" charset="0"/>
              </a:rPr>
              <a:t>Ecológica</a:t>
            </a:r>
            <a:endParaRPr lang="es-MX" sz="1400" b="1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554" name="TextBox 553"/>
          <p:cNvSpPr txBox="1">
            <a:spLocks noChangeArrowheads="1"/>
          </p:cNvSpPr>
          <p:nvPr/>
        </p:nvSpPr>
        <p:spPr bwMode="auto">
          <a:xfrm>
            <a:off x="7779716" y="5871011"/>
            <a:ext cx="3388338" cy="623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MX" sz="2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itchFamily="34" charset="0"/>
                <a:hlinkClick r:id="rId363"/>
              </a:rPr>
              <a:t>www.aprendizajeverde.net</a:t>
            </a:r>
            <a:endParaRPr lang="es-MX" sz="2400" b="1" dirty="0" smtClean="0">
              <a:solidFill>
                <a:schemeClr val="tx1">
                  <a:lumMod val="95000"/>
                  <a:lumOff val="5000"/>
                </a:schemeClr>
              </a:solidFill>
              <a:latin typeface="Arial Narrow" pitchFamily="34" charset="0"/>
            </a:endParaRPr>
          </a:p>
          <a:p>
            <a:pPr algn="ctr"/>
            <a:r>
              <a:rPr lang="es-MX" sz="105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itchFamily="34" charset="0"/>
              </a:rPr>
              <a:t> </a:t>
            </a:r>
            <a:endParaRPr lang="es-MX" sz="1050" b="1" dirty="0">
              <a:solidFill>
                <a:schemeClr val="tx1">
                  <a:lumMod val="95000"/>
                  <a:lumOff val="5000"/>
                </a:schemeClr>
              </a:solidFill>
              <a:latin typeface="Arial Narrow" pitchFamily="34" charset="0"/>
            </a:endParaRPr>
          </a:p>
        </p:txBody>
      </p:sp>
      <p:pic>
        <p:nvPicPr>
          <p:cNvPr id="555" name="Picture 2"/>
          <p:cNvPicPr>
            <a:picLocks noChangeAspect="1" noChangeArrowheads="1"/>
          </p:cNvPicPr>
          <p:nvPr/>
        </p:nvPicPr>
        <p:blipFill rotWithShape="1">
          <a:blip r:embed="rId3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587" r="25122"/>
          <a:stretch/>
        </p:blipFill>
        <p:spPr bwMode="auto">
          <a:xfrm>
            <a:off x="10131545" y="5100879"/>
            <a:ext cx="1297803" cy="443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6" name="Picture 555"/>
          <p:cNvPicPr>
            <a:picLocks noChangeAspect="1"/>
          </p:cNvPicPr>
          <p:nvPr/>
        </p:nvPicPr>
        <p:blipFill>
          <a:blip r:embed="rId365"/>
          <a:stretch>
            <a:fillRect/>
          </a:stretch>
        </p:blipFill>
        <p:spPr>
          <a:xfrm>
            <a:off x="9647046" y="5501021"/>
            <a:ext cx="1651625" cy="405746"/>
          </a:xfrm>
          <a:prstGeom prst="rect">
            <a:avLst/>
          </a:prstGeom>
        </p:spPr>
      </p:pic>
      <p:pic>
        <p:nvPicPr>
          <p:cNvPr id="557" name="Picture 2"/>
          <p:cNvPicPr>
            <a:picLocks noChangeAspect="1" noChangeArrowheads="1"/>
          </p:cNvPicPr>
          <p:nvPr/>
        </p:nvPicPr>
        <p:blipFill rotWithShape="1">
          <a:blip r:embed="rId3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72" r="12540" b="18751"/>
          <a:stretch/>
        </p:blipFill>
        <p:spPr bwMode="auto">
          <a:xfrm>
            <a:off x="7552698" y="4906427"/>
            <a:ext cx="1709835" cy="1010591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59" name="Picture 2"/>
          <p:cNvPicPr>
            <a:picLocks noChangeArrowheads="1"/>
          </p:cNvPicPr>
          <p:nvPr/>
        </p:nvPicPr>
        <p:blipFill>
          <a:blip r:embed="rId36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4264" y="2510538"/>
            <a:ext cx="944420" cy="7947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60" name="Rectangle 559"/>
          <p:cNvSpPr/>
          <p:nvPr/>
        </p:nvSpPr>
        <p:spPr>
          <a:xfrm>
            <a:off x="7742046" y="1978815"/>
            <a:ext cx="3482768" cy="5416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s-MX" sz="1400" b="1" dirty="0">
                <a:solidFill>
                  <a:schemeClr val="tx1"/>
                </a:solidFill>
                <a:latin typeface="Calibri" pitchFamily="34" charset="0"/>
              </a:rPr>
              <a:t>Servicio público eficiente, eficaz y transparente</a:t>
            </a:r>
          </a:p>
        </p:txBody>
      </p:sp>
      <p:sp>
        <p:nvSpPr>
          <p:cNvPr id="561" name="TextBox 560"/>
          <p:cNvSpPr txBox="1"/>
          <p:nvPr/>
        </p:nvSpPr>
        <p:spPr>
          <a:xfrm>
            <a:off x="9601309" y="2460674"/>
            <a:ext cx="12083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/>
              <a:t>Socios:</a:t>
            </a:r>
          </a:p>
        </p:txBody>
      </p:sp>
      <p:pic>
        <p:nvPicPr>
          <p:cNvPr id="562" name="Picture 22" descr="http://thelevantpost.com/wp-content/uploads/2013/03/World-Bank.jpg"/>
          <p:cNvPicPr>
            <a:picLocks noChangeAspect="1" noChangeArrowheads="1"/>
          </p:cNvPicPr>
          <p:nvPr/>
        </p:nvPicPr>
        <p:blipFill>
          <a:blip r:embed="rId36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01308" y="2758145"/>
            <a:ext cx="463094" cy="350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" name="Picture 24" descr="http://recursostic.educacion.es/blogs/europa/media/blogs/europa/oecd-logo.jpg"/>
          <p:cNvPicPr>
            <a:picLocks noChangeAspect="1" noChangeArrowheads="1"/>
          </p:cNvPicPr>
          <p:nvPr/>
        </p:nvPicPr>
        <p:blipFill>
          <a:blip r:embed="rId369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39825" y="3117074"/>
            <a:ext cx="640962" cy="427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4" name="Picture 10" descr="http://www.educacionyculturaaz.com/wp-content/uploads/2013/02/LogoBID.jpg"/>
          <p:cNvPicPr>
            <a:picLocks noChangeAspect="1" noChangeArrowheads="1"/>
          </p:cNvPicPr>
          <p:nvPr/>
        </p:nvPicPr>
        <p:blipFill>
          <a:blip r:embed="rId37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9087" y="2687593"/>
            <a:ext cx="589453" cy="310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5" name="Picture 26" descr="http://www.cinu.org.mx/negocios/images/pnud_logo.gif"/>
          <p:cNvPicPr>
            <a:picLocks noChangeAspect="1" noChangeArrowheads="1"/>
          </p:cNvPicPr>
          <p:nvPr/>
        </p:nvPicPr>
        <p:blipFill>
          <a:blip r:embed="rId371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24317" y="3011166"/>
            <a:ext cx="404667" cy="209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6" name="Picture 4" descr="http://wbi.worldbank.org/wbi/Data/wbi/wbicms/files/drupal-acquia/wbi/imagecache/Story400x264/einstitutefeatured.gif"/>
          <p:cNvPicPr>
            <a:picLocks noChangeAspect="1" noChangeArrowheads="1"/>
          </p:cNvPicPr>
          <p:nvPr/>
        </p:nvPicPr>
        <p:blipFill rotWithShape="1">
          <a:blip r:embed="rId37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289" t="41398" r="23357" b="29623"/>
          <a:stretch/>
        </p:blipFill>
        <p:spPr bwMode="auto">
          <a:xfrm>
            <a:off x="10161951" y="3293898"/>
            <a:ext cx="647708" cy="242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7" name="TextBox 14"/>
          <p:cNvSpPr txBox="1">
            <a:spLocks noChangeArrowheads="1"/>
          </p:cNvSpPr>
          <p:nvPr/>
        </p:nvSpPr>
        <p:spPr bwMode="auto">
          <a:xfrm>
            <a:off x="8002792" y="3633933"/>
            <a:ext cx="33261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MX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itchFamily="34" charset="0"/>
                <a:hlinkClick r:id="rId373"/>
              </a:rPr>
              <a:t>www.emprendegestionpublica.org</a:t>
            </a:r>
            <a:r>
              <a:rPr lang="es-MX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itchFamily="34" charset="0"/>
              </a:rPr>
              <a:t> </a:t>
            </a:r>
          </a:p>
        </p:txBody>
      </p:sp>
      <p:sp>
        <p:nvSpPr>
          <p:cNvPr id="536" name="Rectangle 535"/>
          <p:cNvSpPr/>
          <p:nvPr/>
        </p:nvSpPr>
        <p:spPr>
          <a:xfrm>
            <a:off x="3743586" y="1738592"/>
            <a:ext cx="40508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2400" b="1" dirty="0">
                <a:solidFill>
                  <a:schemeClr val="accent1">
                    <a:lumMod val="75000"/>
                  </a:schemeClr>
                </a:solidFill>
              </a:rPr>
              <a:t>EJEMPLOS DE COMUNIDADES:</a:t>
            </a:r>
            <a:endParaRPr lang="es-MX" sz="2400" b="1" dirty="0"/>
          </a:p>
        </p:txBody>
      </p:sp>
    </p:spTree>
    <p:extLst>
      <p:ext uri="{BB962C8B-B14F-4D97-AF65-F5344CB8AC3E}">
        <p14:creationId xmlns:p14="http://schemas.microsoft.com/office/powerpoint/2010/main" val="3226605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MX" u="sng" dirty="0">
                <a:solidFill>
                  <a:schemeClr val="accent1">
                    <a:lumMod val="50000"/>
                  </a:schemeClr>
                </a:solidFill>
              </a:rPr>
              <a:t>Nuevas propuestas </a:t>
            </a:r>
            <a:r>
              <a:rPr lang="es-MX" u="sng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es-MX" u="sng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es-MX" dirty="0" smtClean="0">
                <a:solidFill>
                  <a:schemeClr val="accent1">
                    <a:lumMod val="50000"/>
                  </a:schemeClr>
                </a:solidFill>
              </a:rPr>
              <a:t>Comunidad de EMPRENDIMIENTO SOCIAL: </a:t>
            </a:r>
            <a:endParaRPr lang="es-MX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49840" t="8184" b="12710"/>
          <a:stretch/>
        </p:blipFill>
        <p:spPr>
          <a:xfrm>
            <a:off x="1589276" y="1846263"/>
            <a:ext cx="9073773" cy="4022725"/>
          </a:xfrm>
          <a:prstGeom prst="rect">
            <a:avLst/>
          </a:prstGeom>
        </p:spPr>
      </p:pic>
      <p:sp>
        <p:nvSpPr>
          <p:cNvPr id="5" name="Subtitle 2"/>
          <p:cNvSpPr txBox="1">
            <a:spLocks/>
          </p:cNvSpPr>
          <p:nvPr/>
        </p:nvSpPr>
        <p:spPr>
          <a:xfrm>
            <a:off x="7423579" y="6418247"/>
            <a:ext cx="4649151" cy="515624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smtClean="0">
                <a:solidFill>
                  <a:srgbClr val="FFFF00"/>
                </a:solidFill>
              </a:rPr>
              <a:t>Dirección de Educación para el desarrollo</a:t>
            </a:r>
            <a:endParaRPr lang="es-MX" b="1" dirty="0">
              <a:solidFill>
                <a:srgbClr val="FFFF00"/>
              </a:solidFill>
            </a:endParaRPr>
          </a:p>
        </p:txBody>
      </p:sp>
      <p:pic>
        <p:nvPicPr>
          <p:cNvPr id="6" name="Picture 2" descr="http://www.itesm.mx/wps/wcm/connect/d5a3070043c4ee59b9ffffa3bdd0ae95/1/Logo_EGAP.jpg?MOD=AJPERES&amp;CACHEID=d5a3070043c4ee59b9ffffa3bdd0ae95/1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168040" y="177700"/>
            <a:ext cx="1734614" cy="42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7851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12" b="28867"/>
          <a:stretch/>
        </p:blipFill>
        <p:spPr>
          <a:xfrm>
            <a:off x="6470694" y="1905506"/>
            <a:ext cx="4695289" cy="421139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88641" y="1737360"/>
            <a:ext cx="418563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 smtClean="0"/>
              <a:t>Espacio</a:t>
            </a:r>
            <a:r>
              <a:rPr lang="en-US" sz="2400" dirty="0" smtClean="0"/>
              <a:t> Virtual para:</a:t>
            </a:r>
            <a:endParaRPr lang="es-MX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MX" sz="2400" dirty="0" smtClean="0"/>
              <a:t>Apoyar a las Organizaciones de la Sociedad Civil para transformarse en Empresas Social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Trabajar</a:t>
            </a:r>
            <a:r>
              <a:rPr lang="en-US" sz="2400" dirty="0" smtClean="0"/>
              <a:t> </a:t>
            </a:r>
            <a:r>
              <a:rPr lang="en-US" sz="2400" dirty="0" err="1" smtClean="0"/>
              <a:t>colaborativamente</a:t>
            </a: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Establecer</a:t>
            </a:r>
            <a:r>
              <a:rPr lang="en-US" sz="2400" dirty="0" smtClean="0"/>
              <a:t> </a:t>
            </a:r>
            <a:r>
              <a:rPr lang="en-US" sz="2400" dirty="0" err="1" smtClean="0"/>
              <a:t>Alianzas</a:t>
            </a: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Innovar</a:t>
            </a: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 smtClean="0"/>
              <a:t>Tener</a:t>
            </a:r>
            <a:r>
              <a:rPr lang="en-US" sz="2400" dirty="0" smtClean="0"/>
              <a:t> </a:t>
            </a:r>
            <a:r>
              <a:rPr lang="en-US" sz="2400" dirty="0" err="1" smtClean="0"/>
              <a:t>acceso</a:t>
            </a:r>
            <a:r>
              <a:rPr lang="en-US" sz="2400" dirty="0" smtClean="0"/>
              <a:t> a </a:t>
            </a:r>
            <a:r>
              <a:rPr lang="en-US" sz="2400" dirty="0" err="1" smtClean="0"/>
              <a:t>convocatorias</a:t>
            </a:r>
            <a:r>
              <a:rPr lang="en-US" sz="2400" dirty="0" smtClean="0"/>
              <a:t> y Recurs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MX" sz="2400" dirty="0" smtClean="0"/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MX" u="sng" dirty="0">
                <a:solidFill>
                  <a:schemeClr val="accent1">
                    <a:lumMod val="50000"/>
                  </a:schemeClr>
                </a:solidFill>
              </a:rPr>
              <a:t>Nuevas propuestas </a:t>
            </a:r>
            <a:br>
              <a:rPr lang="es-MX" u="sng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s-MX" dirty="0">
                <a:solidFill>
                  <a:schemeClr val="accent1">
                    <a:lumMod val="50000"/>
                  </a:schemeClr>
                </a:solidFill>
              </a:rPr>
              <a:t>Comunidad de EMPRENDIMIENTO SOCIAL: 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04175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156" y="2824963"/>
            <a:ext cx="4723971" cy="1450757"/>
          </a:xfrm>
        </p:spPr>
        <p:txBody>
          <a:bodyPr/>
          <a:lstStyle/>
          <a:p>
            <a:r>
              <a:rPr lang="en-US" dirty="0" err="1" smtClean="0"/>
              <a:t>Muchas</a:t>
            </a:r>
            <a:r>
              <a:rPr lang="en-US" dirty="0" smtClean="0"/>
              <a:t> gracias!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36705" y="1983022"/>
            <a:ext cx="5664128" cy="4023360"/>
          </a:xfrm>
        </p:spPr>
        <p:txBody>
          <a:bodyPr/>
          <a:lstStyle/>
          <a:p>
            <a:pPr marL="0" indent="0">
              <a:buNone/>
            </a:pPr>
            <a:r>
              <a:rPr lang="en-US" sz="2400" u="sng" dirty="0" err="1" smtClean="0"/>
              <a:t>Datos</a:t>
            </a:r>
            <a:r>
              <a:rPr lang="en-US" sz="2400" u="sng" dirty="0" smtClean="0"/>
              <a:t> de </a:t>
            </a:r>
            <a:r>
              <a:rPr lang="en-US" sz="2400" u="sng" dirty="0" err="1" smtClean="0"/>
              <a:t>Contacto</a:t>
            </a:r>
            <a:r>
              <a:rPr lang="en-US" sz="2400" u="sng" dirty="0" smtClean="0"/>
              <a:t>:</a:t>
            </a:r>
          </a:p>
          <a:p>
            <a:r>
              <a:rPr lang="en-US" dirty="0" smtClean="0"/>
              <a:t>Dra: Laura Ruiz</a:t>
            </a:r>
          </a:p>
          <a:p>
            <a:r>
              <a:rPr lang="en-US" dirty="0" err="1" smtClean="0"/>
              <a:t>Directora</a:t>
            </a:r>
            <a:r>
              <a:rPr lang="en-US" dirty="0" smtClean="0"/>
              <a:t> de Educación para el </a:t>
            </a:r>
            <a:r>
              <a:rPr lang="en-US" dirty="0" err="1" smtClean="0"/>
              <a:t>Desarrollo</a:t>
            </a:r>
            <a:endParaRPr lang="en-US" dirty="0" smtClean="0"/>
          </a:p>
          <a:p>
            <a:r>
              <a:rPr lang="en-US" dirty="0" smtClean="0">
                <a:hlinkClick r:id="rId2"/>
              </a:rPr>
              <a:t>laruiz@itesm.mx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Dra. Claudia Salinas</a:t>
            </a:r>
          </a:p>
          <a:p>
            <a:r>
              <a:rPr lang="en-US" dirty="0" err="1" smtClean="0"/>
              <a:t>Directora</a:t>
            </a:r>
            <a:r>
              <a:rPr lang="en-US" dirty="0" smtClean="0"/>
              <a:t> de </a:t>
            </a:r>
            <a:r>
              <a:rPr lang="en-US" dirty="0" err="1" smtClean="0"/>
              <a:t>Desarrollo</a:t>
            </a:r>
            <a:r>
              <a:rPr lang="en-US" dirty="0" smtClean="0"/>
              <a:t> </a:t>
            </a:r>
            <a:r>
              <a:rPr lang="en-US" dirty="0" err="1" smtClean="0"/>
              <a:t>Comunitario</a:t>
            </a:r>
            <a:r>
              <a:rPr lang="en-US" dirty="0" smtClean="0"/>
              <a:t> y </a:t>
            </a:r>
            <a:r>
              <a:rPr lang="en-US" dirty="0" err="1" smtClean="0"/>
              <a:t>Emprendimiento</a:t>
            </a:r>
            <a:r>
              <a:rPr lang="en-US" dirty="0" smtClean="0"/>
              <a:t> Social</a:t>
            </a:r>
          </a:p>
          <a:p>
            <a:r>
              <a:rPr lang="en-US" dirty="0" smtClean="0">
                <a:hlinkClick r:id="rId3"/>
              </a:rPr>
              <a:t>claudia.salinas@itesm.mx</a:t>
            </a:r>
            <a:endParaRPr lang="en-US" dirty="0" smtClean="0"/>
          </a:p>
          <a:p>
            <a:endParaRPr lang="en-US" dirty="0" smtClean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7423579" y="6418247"/>
            <a:ext cx="4649151" cy="515624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smtClean="0">
                <a:solidFill>
                  <a:srgbClr val="FFFF00"/>
                </a:solidFill>
              </a:rPr>
              <a:t>Dirección de Educación para el desarrollo</a:t>
            </a:r>
            <a:endParaRPr lang="es-MX" b="1" dirty="0">
              <a:solidFill>
                <a:srgbClr val="FFFF00"/>
              </a:solidFill>
            </a:endParaRPr>
          </a:p>
        </p:txBody>
      </p:sp>
      <p:pic>
        <p:nvPicPr>
          <p:cNvPr id="5" name="Picture 2" descr="http://www.itesm.mx/wps/wcm/connect/d5a3070043c4ee59b9ffffa3bdd0ae95/1/Logo_EGAP.jpg?MOD=AJPERES&amp;CACHEID=d5a3070043c4ee59b9ffffa3bdd0ae95/1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0305" y="267834"/>
            <a:ext cx="3604323" cy="88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9523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heme/theme1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Retrospect" id="{5F128B03-DCCA-4EEB-AB3B-CF2899314A46}" vid="{D26EA377-59BD-4C9C-9D94-EE8416EE4C7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Urls xmlns="http://schemas.microsoft.com/sharepoint/v3/contenttype/forms/url">
  <Display>_catalogs/masterpage/ECMForms/DisclosureCorporateCT/view.aspx</Display>
  <Edit>_catalogs/masterpage/ECMForms/DisclosureCorporateCT/Edit.aspx</Edit>
</FormUrl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z-Disclosure Corporate" ma:contentTypeID="0x010100FBDC791374248D49AF91D63F8C9846CC008DD411669AA86349AF54BBC746C02478" ma:contentTypeVersion="4" ma:contentTypeDescription="A content type to manage public (corporate) IDB documents" ma:contentTypeScope="" ma:versionID="c1d8cad33fc7044b599bf41d8bde6a17">
  <xsd:schema xmlns:xsd="http://www.w3.org/2001/XMLSchema" xmlns:xs="http://www.w3.org/2001/XMLSchema" xmlns:p="http://schemas.microsoft.com/office/2006/metadata/properties" xmlns:ns2="9c571b2f-e523-4ab2-ba2e-09e151a03ef4" targetNamespace="http://schemas.microsoft.com/office/2006/metadata/properties" ma:root="true" ma:fieldsID="22261a46ae6099a974d6242ca79e3bad" ns2:_="">
    <xsd:import namespace="9c571b2f-e523-4ab2-ba2e-09e151a03ef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kec44a8f19e94123ac6e16fcf3f0ea78" minOccurs="0"/>
                <xsd:element ref="ns2:TaxCatchAll" minOccurs="0"/>
                <xsd:element ref="ns2:TaxCatchAllLabel" minOccurs="0"/>
                <xsd:element ref="ns2:Access_x0020_to_x0020_Information_x00a0_Policy"/>
                <xsd:element ref="ns2:b19f620ab0cb412bbbcd401bf603221b" minOccurs="0"/>
                <xsd:element ref="ns2:Webtopic" minOccurs="0"/>
                <xsd:element ref="ns2:Disclosure_x0020_Activity"/>
                <xsd:element ref="ns2:Document_x0020_Language_x0020_IDB"/>
                <xsd:element ref="ns2:Division_x0020_or_x0020_Unit" minOccurs="0"/>
                <xsd:element ref="ns2:Document_x0020_Author" minOccurs="0"/>
                <xsd:element ref="ns2:Other_x0020_Author" minOccurs="0"/>
                <xsd:element ref="ns2:j8b96605ee2f4c4e988849e658583fee" minOccurs="0"/>
                <xsd:element ref="ns2:Identifier" minOccurs="0"/>
                <xsd:element ref="ns2:IDBDocs_x0020_Number" minOccurs="0"/>
                <xsd:element ref="ns2:Migration_x0020_Info" minOccurs="0"/>
                <xsd:element ref="ns2:Abstract" minOccurs="0"/>
                <xsd:element ref="ns2:Editor1" minOccurs="0"/>
                <xsd:element ref="ns2:Issue_x0020_Date" minOccurs="0"/>
                <xsd:element ref="ns2:Publishing_x0020_House" minOccurs="0"/>
                <xsd:element ref="ns2:KP_x0020_Topics" minOccurs="0"/>
                <xsd:element ref="ns2:Region" minOccurs="0"/>
                <xsd:element ref="ns2:Publication_x0020_Type" minOccurs="0"/>
                <xsd:element ref="ns2:SISCOR_x0020_Number" minOccurs="0"/>
                <xsd:element ref="ns2:Fiscal_x0020_Year_x0020_IDB" minOccurs="0"/>
                <xsd:element ref="ns2:Disclos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571b2f-e523-4ab2-ba2e-09e151a03ef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kec44a8f19e94123ac6e16fcf3f0ea78" ma:index="11" ma:taxonomy="true" ma:internalName="kec44a8f19e94123ac6e16fcf3f0ea78" ma:taxonomyFieldName="Function_x0020_Corporate_x0020_IDB" ma:displayName="Function Corporate IDB" ma:readOnly="false" ma:default="" ma:fieldId="{4ec44a8f-19e9-4123-ac6e-16fcf3f0ea78}" ma:sspId="cf0be0ad-272c-4e7f-a157-3f0abda6cde5" ma:termSetId="1bf608e2-0951-45af-b6ad-dda35a5d875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hidden="true" ma:list="{cd221125-afbd-4743-8ab5-d7283615f7e2}" ma:internalName="TaxCatchAll" ma:showField="CatchAllData" ma:web="10ecf9ae-126d-4a4e-bdb0-07fad6bdbc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cd221125-afbd-4743-8ab5-d7283615f7e2}" ma:internalName="TaxCatchAllLabel" ma:readOnly="true" ma:showField="CatchAllDataLabel" ma:web="10ecf9ae-126d-4a4e-bdb0-07fad6bdbce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Access_x0020_to_x0020_Information_x00a0_Policy" ma:index="15" ma:displayName="Access to Information Policy" ma:default="Confidential" ma:format="Dropdown" ma:internalName="Access_x0020_to_x0020_Information_x00A0_Policy">
      <xsd:simpleType>
        <xsd:restriction base="dms:Choice">
          <xsd:enumeration value="Confidential"/>
          <xsd:enumeration value="Disclosed Over Time – 5 years"/>
          <xsd:enumeration value="Disclosed Over Time – 20 years"/>
          <xsd:enumeration value="Disclosed Over Time – 10 years"/>
          <xsd:enumeration value="Public"/>
          <xsd:enumeration value="Public - Simultaneous Disclosure"/>
        </xsd:restriction>
      </xsd:simpleType>
    </xsd:element>
    <xsd:element name="b19f620ab0cb412bbbcd401bf603221b" ma:index="16" ma:taxonomy="true" ma:internalName="b19f620ab0cb412bbbcd401bf603221b" ma:taxonomyFieldName="Series_x0020_Corporate_x0020_IDB" ma:displayName="Series Corporate IDB" ma:readOnly="false" ma:default="" ma:fieldId="{b19f620a-b0cb-412b-bbcd-401bf603221b}" ma:sspId="cf0be0ad-272c-4e7f-a157-3f0abda6cde5" ma:termSetId="efdc246b-bb85-42ef-a4b1-4b9dfc236b4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Webtopic" ma:index="18" nillable="true" ma:displayName="Webtopic" ma:internalName="Webtopic">
      <xsd:simpleType>
        <xsd:restriction base="dms:Text">
          <xsd:maxLength value="255"/>
        </xsd:restriction>
      </xsd:simpleType>
    </xsd:element>
    <xsd:element name="Disclosure_x0020_Activity" ma:index="19" ma:displayName="Disclosure Activity" ma:internalName="Disclosure_x0020_Activity" ma:readOnly="false">
      <xsd:simpleType>
        <xsd:restriction base="dms:Text">
          <xsd:maxLength value="255"/>
        </xsd:restriction>
      </xsd:simpleType>
    </xsd:element>
    <xsd:element name="Document_x0020_Language_x0020_IDB" ma:index="20" ma:displayName="Document Language IDB" ma:format="Dropdown" ma:internalName="Document_x0020_Language_x0020_IDB" ma:readOnly="false">
      <xsd:simpleType>
        <xsd:restriction base="dms:Choice">
          <xsd:enumeration value="English"/>
          <xsd:enumeration value="French"/>
          <xsd:enumeration value="Italian"/>
          <xsd:enumeration value="Japanese"/>
          <xsd:enumeration value="Korean"/>
          <xsd:enumeration value="Other"/>
          <xsd:enumeration value="Portuguese"/>
          <xsd:enumeration value="Spanish"/>
        </xsd:restriction>
      </xsd:simpleType>
    </xsd:element>
    <xsd:element name="Division_x0020_or_x0020_Unit" ma:index="21" nillable="true" ma:displayName="Division or Unit" ma:internalName="Division_x0020_or_x0020_Unit">
      <xsd:simpleType>
        <xsd:restriction base="dms:Text">
          <xsd:maxLength value="255"/>
        </xsd:restriction>
      </xsd:simpleType>
    </xsd:element>
    <xsd:element name="Document_x0020_Author" ma:index="22" nillable="true" ma:displayName="Document Author" ma:internalName="Document_x0020_Author">
      <xsd:simpleType>
        <xsd:restriction base="dms:Text">
          <xsd:maxLength value="255"/>
        </xsd:restriction>
      </xsd:simpleType>
    </xsd:element>
    <xsd:element name="Other_x0020_Author" ma:index="23" nillable="true" ma:displayName="Other Author" ma:internalName="Other_x0020_Author">
      <xsd:simpleType>
        <xsd:restriction base="dms:Text">
          <xsd:maxLength value="255"/>
        </xsd:restriction>
      </xsd:simpleType>
    </xsd:element>
    <xsd:element name="j8b96605ee2f4c4e988849e658583fee" ma:index="24" nillable="true" ma:taxonomy="true" ma:internalName="j8b96605ee2f4c4e988849e658583fee" ma:taxonomyFieldName="Country" ma:displayName="Country" ma:default="" ma:fieldId="{38b96605-ee2f-4c4e-9888-49e658583fee}" ma:taxonomyMulti="true" ma:sspId="cf0be0ad-272c-4e7f-a157-3f0abda6cde5" ma:termSetId="2a7cd356-0181-422a-926d-b928cc7346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dentifier" ma:index="26" nillable="true" ma:displayName="Identifier" ma:internalName="Identifier">
      <xsd:simpleType>
        <xsd:restriction base="dms:Text">
          <xsd:maxLength value="255"/>
        </xsd:restriction>
      </xsd:simpleType>
    </xsd:element>
    <xsd:element name="IDBDocs_x0020_Number" ma:index="27" nillable="true" ma:displayName="IDBDocs Number" ma:description="Brought over as part of Migration" ma:internalName="IDBDocs_x0020_Number">
      <xsd:simpleType>
        <xsd:restriction base="dms:Text">
          <xsd:maxLength value="255"/>
        </xsd:restriction>
      </xsd:simpleType>
    </xsd:element>
    <xsd:element name="Migration_x0020_Info" ma:index="28" nillable="true" ma:displayName="Migration Info" ma:internalName="Migration_x0020_Info" ma:readOnly="false">
      <xsd:simpleType>
        <xsd:restriction base="dms:Note"/>
      </xsd:simpleType>
    </xsd:element>
    <xsd:element name="Abstract" ma:index="29" nillable="true" ma:displayName="Abstract" ma:internalName="Abstract">
      <xsd:simpleType>
        <xsd:restriction base="dms:Note">
          <xsd:maxLength value="255"/>
        </xsd:restriction>
      </xsd:simpleType>
    </xsd:element>
    <xsd:element name="Editor1" ma:index="30" nillable="true" ma:displayName="Editor" ma:internalName="Editor1">
      <xsd:simpleType>
        <xsd:restriction base="dms:Text">
          <xsd:maxLength value="255"/>
        </xsd:restriction>
      </xsd:simpleType>
    </xsd:element>
    <xsd:element name="Issue_x0020_Date" ma:index="31" nillable="true" ma:displayName="Issue Date" ma:format="DateOnly" ma:internalName="Issue_x0020_Date">
      <xsd:simpleType>
        <xsd:restriction base="dms:DateTime"/>
      </xsd:simpleType>
    </xsd:element>
    <xsd:element name="Publishing_x0020_House" ma:index="32" nillable="true" ma:displayName="Publishing House" ma:internalName="Publishing_x0020_House">
      <xsd:simpleType>
        <xsd:restriction base="dms:Text">
          <xsd:maxLength value="255"/>
        </xsd:restriction>
      </xsd:simpleType>
    </xsd:element>
    <xsd:element name="KP_x0020_Topics" ma:index="33" nillable="true" ma:displayName="KP Topics" ma:internalName="KP_x0020_Topics">
      <xsd:simpleType>
        <xsd:restriction base="dms:Text">
          <xsd:maxLength value="255"/>
        </xsd:restriction>
      </xsd:simpleType>
    </xsd:element>
    <xsd:element name="Region" ma:index="34" nillable="true" ma:displayName="Region" ma:internalName="Region">
      <xsd:simpleType>
        <xsd:restriction base="dms:Text">
          <xsd:maxLength value="255"/>
        </xsd:restriction>
      </xsd:simpleType>
    </xsd:element>
    <xsd:element name="Publication_x0020_Type" ma:index="35" nillable="true" ma:displayName="Publication Type" ma:internalName="Publication_x0020_Type">
      <xsd:simpleType>
        <xsd:restriction base="dms:Text">
          <xsd:maxLength value="255"/>
        </xsd:restriction>
      </xsd:simpleType>
    </xsd:element>
    <xsd:element name="SISCOR_x0020_Number" ma:index="36" nillable="true" ma:displayName="SISCOR Number" ma:internalName="SISCOR_x0020_Number" ma:readOnly="false">
      <xsd:simpleType>
        <xsd:restriction base="dms:Text">
          <xsd:maxLength value="255"/>
        </xsd:restriction>
      </xsd:simpleType>
    </xsd:element>
    <xsd:element name="Fiscal_x0020_Year_x0020_IDB" ma:index="37" nillable="true" ma:displayName="Fiscal Year IDB" ma:default="=TEXT(TODAY(),&quot;yyyy&quot;)" ma:internalName="Fiscal_x0020_Year_x0020_IDB">
      <xsd:simpleType>
        <xsd:restriction base="dms:Text">
          <xsd:maxLength value="255"/>
        </xsd:restriction>
      </xsd:simpleType>
    </xsd:element>
    <xsd:element name="Disclosed" ma:index="38" nillable="true" ma:displayName="Disclosed" ma:default="0" ma:internalName="Disclosed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DBDocs_x0020_Number xmlns="9c571b2f-e523-4ab2-ba2e-09e151a03ef4">39949332</IDBDocs_x0020_Number>
    <TaxCatchAll xmlns="9c571b2f-e523-4ab2-ba2e-09e151a03ef4">
      <Value>41</Value>
      <Value>88</Value>
      <Value>81</Value>
    </TaxCatchAll>
    <SISCOR_x0020_Number xmlns="9c571b2f-e523-4ab2-ba2e-09e151a03ef4" xsi:nil="true"/>
    <Division_x0020_or_x0020_Unit xmlns="9c571b2f-e523-4ab2-ba2e-09e151a03ef4">CID/CNI</Division_x0020_or_x0020_Unit>
    <Document_x0020_Author xmlns="9c571b2f-e523-4ab2-ba2e-09e151a03ef4">Perez Martinez, Luis Carlos</Document_x0020_Author>
    <Fiscal_x0020_Year_x0020_IDB xmlns="9c571b2f-e523-4ab2-ba2e-09e151a03ef4">2015</Fiscal_x0020_Year_x0020_IDB>
    <b19f620ab0cb412bbbcd401bf603221b xmlns="9c571b2f-e523-4ab2-ba2e-09e151a03ef4">
      <Terms xmlns="http://schemas.microsoft.com/office/infopath/2007/PartnerControls">
        <TermInfo xmlns="http://schemas.microsoft.com/office/infopath/2007/PartnerControls">
          <TermName xmlns="http://schemas.microsoft.com/office/infopath/2007/PartnerControls">PUB-07 Public Information Programs</TermName>
          <TermId xmlns="http://schemas.microsoft.com/office/infopath/2007/PartnerControls">0cb56884-7660-44f3-ae7f-b2aacb4a7ec7</TermId>
        </TermInfo>
      </Terms>
    </b19f620ab0cb412bbbcd401bf603221b>
    <Other_x0020_Author xmlns="9c571b2f-e523-4ab2-ba2e-09e151a03ef4" xsi:nil="true"/>
    <Access_x0020_to_x0020_Information_x00a0_Policy xmlns="9c571b2f-e523-4ab2-ba2e-09e151a03ef4">Confidential</Access_x0020_to_x0020_Information_x00a0_Policy>
    <kec44a8f19e94123ac6e16fcf3f0ea78 xmlns="9c571b2f-e523-4ab2-ba2e-09e151a03ef4">
      <Terms xmlns="http://schemas.microsoft.com/office/infopath/2007/PartnerControls">
        <TermInfo xmlns="http://schemas.microsoft.com/office/infopath/2007/PartnerControls">
          <TermName xmlns="http://schemas.microsoft.com/office/infopath/2007/PartnerControls">7 Public Relations</TermName>
          <TermId xmlns="http://schemas.microsoft.com/office/infopath/2007/PartnerControls">d23e511c-fa8c-4069-b074-dbe83e1cd122</TermId>
        </TermInfo>
      </Terms>
    </kec44a8f19e94123ac6e16fcf3f0ea78>
    <j8b96605ee2f4c4e988849e658583fee xmlns="9c571b2f-e523-4ab2-ba2e-09e151a03ef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icaragua</TermName>
          <TermId xmlns="http://schemas.microsoft.com/office/infopath/2007/PartnerControls">69900e44-351c-4695-b42f-d4fe027272ef</TermId>
        </TermInfo>
      </Terms>
    </j8b96605ee2f4c4e988849e658583fee>
    <Migration_x0020_Info xmlns="9c571b2f-e523-4ab2-ba2e-09e151a03ef4">&lt;Data&gt;&lt;APPLICATION&gt;MS POWERPOINT&lt;/APPLICATION&gt;&lt;STAGE_CODE&gt;CONSOC&lt;/STAGE_CODE&gt;&lt;USER_STAGE&gt;Civil Society Consultative Groups&lt;/USER_STAGE&gt;&lt;PD_OBJ_TYPE&gt;0&lt;/PD_OBJ_TYPE&gt;&lt;MAKERECORD&gt;N&lt;/MAKERECORD&gt;&lt;MULTI_SUBREGION&gt;Central America&lt;/MULTI_SUBREGION&gt;&lt;/Data&gt;</Migration_x0020_Info>
    <Document_x0020_Language_x0020_IDB xmlns="9c571b2f-e523-4ab2-ba2e-09e151a03ef4">Spanish</Document_x0020_Language_x0020_IDB>
    <Identifier xmlns="9c571b2f-e523-4ab2-ba2e-09e151a03ef4">México </Identifier>
    <Disclosure_x0020_Activity xmlns="9c571b2f-e523-4ab2-ba2e-09e151a03ef4">Civil Society Consultative Groups</Disclosure_x0020_Activity>
    <Webtopic xmlns="9c571b2f-e523-4ab2-ba2e-09e151a03ef4">Civil Society</Webtopic>
    <Issue_x0020_Date xmlns="9c571b2f-e523-4ab2-ba2e-09e151a03ef4" xsi:nil="true"/>
    <Disclosed xmlns="9c571b2f-e523-4ab2-ba2e-09e151a03ef4">false</Disclosed>
    <Publication_x0020_Type xmlns="9c571b2f-e523-4ab2-ba2e-09e151a03ef4" xsi:nil="true"/>
    <Abstract xmlns="9c571b2f-e523-4ab2-ba2e-09e151a03ef4" xsi:nil="true"/>
    <KP_x0020_Topics xmlns="9c571b2f-e523-4ab2-ba2e-09e151a03ef4" xsi:nil="true"/>
    <Editor1 xmlns="9c571b2f-e523-4ab2-ba2e-09e151a03ef4" xsi:nil="true"/>
    <Region xmlns="9c571b2f-e523-4ab2-ba2e-09e151a03ef4" xsi:nil="true"/>
    <Publishing_x0020_House xmlns="9c571b2f-e523-4ab2-ba2e-09e151a03ef4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pe:Receivers xmlns:spe="http://schemas.microsoft.com/sharepoint/events"/>
</file>

<file path=customXml/item6.xml><?xml version="1.0" encoding="utf-8"?>
<?mso-contentType ?>
<SharedContentType xmlns="Microsoft.SharePoint.Taxonomy.ContentTypeSync" SourceId="cf0be0ad-272c-4e7f-a157-3f0abda6cde5" ContentTypeId="0x010100FBDC791374248D49AF91D63F8C9846CC" PreviousValue="false"/>
</file>

<file path=customXml/itemProps1.xml><?xml version="1.0" encoding="utf-8"?>
<ds:datastoreItem xmlns:ds="http://schemas.openxmlformats.org/officeDocument/2006/customXml" ds:itemID="{E4C9CA59-97B9-49DC-8627-1D48428A111E}"/>
</file>

<file path=customXml/itemProps2.xml><?xml version="1.0" encoding="utf-8"?>
<ds:datastoreItem xmlns:ds="http://schemas.openxmlformats.org/officeDocument/2006/customXml" ds:itemID="{88C71D21-4870-454B-93F4-A6969319BFE1}"/>
</file>

<file path=customXml/itemProps3.xml><?xml version="1.0" encoding="utf-8"?>
<ds:datastoreItem xmlns:ds="http://schemas.openxmlformats.org/officeDocument/2006/customXml" ds:itemID="{F0808B00-6DEE-4704-B003-E4720FFA2E0C}"/>
</file>

<file path=customXml/itemProps4.xml><?xml version="1.0" encoding="utf-8"?>
<ds:datastoreItem xmlns:ds="http://schemas.openxmlformats.org/officeDocument/2006/customXml" ds:itemID="{3E2F4D89-54FC-4AAE-9A9E-53B93EBE9F79}"/>
</file>

<file path=customXml/itemProps5.xml><?xml version="1.0" encoding="utf-8"?>
<ds:datastoreItem xmlns:ds="http://schemas.openxmlformats.org/officeDocument/2006/customXml" ds:itemID="{0F47A46F-C0C1-49A9-A161-A52403B9367F}"/>
</file>

<file path=customXml/itemProps6.xml><?xml version="1.0" encoding="utf-8"?>
<ds:datastoreItem xmlns:ds="http://schemas.openxmlformats.org/officeDocument/2006/customXml" ds:itemID="{726D3518-8467-42A6-A7B9-D28E6A71E328}"/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411</TotalTime>
  <Words>234</Words>
  <Application>Microsoft Office PowerPoint</Application>
  <PresentationFormat>Custom</PresentationFormat>
  <Paragraphs>76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Retrospect</vt:lpstr>
      <vt:lpstr>Innovación Social</vt:lpstr>
      <vt:lpstr> Retos a los que nos  enfrentamos vs el empoderamiento de </vt:lpstr>
      <vt:lpstr> ¿Cómo podemos innovar y brindar soluciones a los retos?</vt:lpstr>
      <vt:lpstr>¿Cómo podemos innovar y brindar soluciones a los retos? Creando comunidades virtuales de aprendizaje que permitan informar, capacitar, innovar y transformar la cultura a través de modelos educativos innovadores que desarrollen capacidades. </vt:lpstr>
      <vt:lpstr> ¿Cómo podemos innovar y brindar soluciones a los retos?  Creando comunidades de aprendizaje que permitan informar, capacitar, innovar y transformar la cultura a través de modelos educativos innovadores:</vt:lpstr>
      <vt:lpstr>Nuevas propuestas  Comunidad de EMPRENDIMIENTO SOCIAL: </vt:lpstr>
      <vt:lpstr>Nuevas propuestas  Comunidad de EMPRENDIMIENTO SOCIAL: </vt:lpstr>
      <vt:lpstr>Muchas gracias!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aciónSocial-BID-TecMty-rev</dc:title>
  <dc:creator>L00841452</dc:creator>
  <cp:lastModifiedBy>Luisper</cp:lastModifiedBy>
  <cp:revision>48</cp:revision>
  <cp:lastPrinted>2015-10-14T22:17:18Z</cp:lastPrinted>
  <dcterms:created xsi:type="dcterms:W3CDTF">2015-10-14T19:09:11Z</dcterms:created>
  <dcterms:modified xsi:type="dcterms:W3CDTF">2015-10-30T00:5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DC791374248D49AF91D63F8C9846CC008DD411669AA86349AF54BBC746C02478</vt:lpwstr>
  </property>
  <property fmtid="{D5CDD505-2E9C-101B-9397-08002B2CF9AE}" pid="3" name="TaxKeyword">
    <vt:lpwstr/>
  </property>
  <property fmtid="{D5CDD505-2E9C-101B-9397-08002B2CF9AE}" pid="4" name="Series Corporate IDB">
    <vt:lpwstr>88;#PUB-07 Public Information Programs|0cb56884-7660-44f3-ae7f-b2aacb4a7ec7</vt:lpwstr>
  </property>
  <property fmtid="{D5CDD505-2E9C-101B-9397-08002B2CF9AE}" pid="5" name="Function Corporate IDB">
    <vt:lpwstr>41;#7 Public Relations|d23e511c-fa8c-4069-b074-dbe83e1cd122</vt:lpwstr>
  </property>
  <property fmtid="{D5CDD505-2E9C-101B-9397-08002B2CF9AE}" pid="6" name="TaxKeywordTaxHTField">
    <vt:lpwstr/>
  </property>
  <property fmtid="{D5CDD505-2E9C-101B-9397-08002B2CF9AE}" pid="7" name="Country">
    <vt:lpwstr>81;#Nicaragua|69900e44-351c-4695-b42f-d4fe027272ef</vt:lpwstr>
  </property>
  <property fmtid="{D5CDD505-2E9C-101B-9397-08002B2CF9AE}" pid="8" name="To:">
    <vt:lpwstr/>
  </property>
  <property fmtid="{D5CDD505-2E9C-101B-9397-08002B2CF9AE}" pid="9" name="From:">
    <vt:lpwstr/>
  </property>
</Properties>
</file>